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tiff" ContentType="image/tif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4.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ags/tag9.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7.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8.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2.xml" ContentType="application/vnd.openxmlformats-officedocument.presentationml.notesSlide+xml"/>
  <Override PartName="/ppt/charts/chart4.xml" ContentType="application/vnd.openxmlformats-officedocument.drawingml.chart+xml"/>
  <Override PartName="/ppt/tags/tag4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91" r:id="rId2"/>
    <p:sldMasterId id="2147483701" r:id="rId3"/>
    <p:sldMasterId id="2147483732" r:id="rId4"/>
    <p:sldMasterId id="2147483744" r:id="rId5"/>
    <p:sldMasterId id="2147483750" r:id="rId6"/>
    <p:sldMasterId id="2147483797" r:id="rId7"/>
    <p:sldMasterId id="2147483844" r:id="rId8"/>
  </p:sldMasterIdLst>
  <p:notesMasterIdLst>
    <p:notesMasterId r:id="rId79"/>
  </p:notesMasterIdLst>
  <p:sldIdLst>
    <p:sldId id="256" r:id="rId9"/>
    <p:sldId id="668" r:id="rId10"/>
    <p:sldId id="325" r:id="rId11"/>
    <p:sldId id="665" r:id="rId12"/>
    <p:sldId id="669" r:id="rId13"/>
    <p:sldId id="666" r:id="rId14"/>
    <p:sldId id="670" r:id="rId15"/>
    <p:sldId id="667" r:id="rId16"/>
    <p:sldId id="671" r:id="rId17"/>
    <p:sldId id="672" r:id="rId18"/>
    <p:sldId id="673" r:id="rId19"/>
    <p:sldId id="674" r:id="rId20"/>
    <p:sldId id="675" r:id="rId21"/>
    <p:sldId id="676" r:id="rId22"/>
    <p:sldId id="677" r:id="rId23"/>
    <p:sldId id="678" r:id="rId24"/>
    <p:sldId id="679" r:id="rId25"/>
    <p:sldId id="680" r:id="rId26"/>
    <p:sldId id="681" r:id="rId27"/>
    <p:sldId id="682" r:id="rId28"/>
    <p:sldId id="683" r:id="rId29"/>
    <p:sldId id="684" r:id="rId30"/>
    <p:sldId id="685" r:id="rId31"/>
    <p:sldId id="686" r:id="rId32"/>
    <p:sldId id="751" r:id="rId33"/>
    <p:sldId id="752" r:id="rId34"/>
    <p:sldId id="753" r:id="rId35"/>
    <p:sldId id="754" r:id="rId36"/>
    <p:sldId id="763" r:id="rId37"/>
    <p:sldId id="695" r:id="rId38"/>
    <p:sldId id="724" r:id="rId39"/>
    <p:sldId id="725" r:id="rId40"/>
    <p:sldId id="727" r:id="rId41"/>
    <p:sldId id="729" r:id="rId42"/>
    <p:sldId id="756" r:id="rId43"/>
    <p:sldId id="757" r:id="rId44"/>
    <p:sldId id="758" r:id="rId45"/>
    <p:sldId id="759" r:id="rId46"/>
    <p:sldId id="760" r:id="rId47"/>
    <p:sldId id="761" r:id="rId48"/>
    <p:sldId id="762" r:id="rId49"/>
    <p:sldId id="696" r:id="rId50"/>
    <p:sldId id="698" r:id="rId51"/>
    <p:sldId id="699" r:id="rId52"/>
    <p:sldId id="700" r:id="rId53"/>
    <p:sldId id="701" r:id="rId54"/>
    <p:sldId id="702" r:id="rId55"/>
    <p:sldId id="703" r:id="rId56"/>
    <p:sldId id="704" r:id="rId57"/>
    <p:sldId id="705" r:id="rId58"/>
    <p:sldId id="706" r:id="rId59"/>
    <p:sldId id="707" r:id="rId60"/>
    <p:sldId id="708" r:id="rId61"/>
    <p:sldId id="697" r:id="rId62"/>
    <p:sldId id="736" r:id="rId63"/>
    <p:sldId id="737" r:id="rId64"/>
    <p:sldId id="738" r:id="rId65"/>
    <p:sldId id="739" r:id="rId66"/>
    <p:sldId id="740" r:id="rId67"/>
    <p:sldId id="741" r:id="rId68"/>
    <p:sldId id="742" r:id="rId69"/>
    <p:sldId id="743" r:id="rId70"/>
    <p:sldId id="744" r:id="rId71"/>
    <p:sldId id="745" r:id="rId72"/>
    <p:sldId id="746" r:id="rId73"/>
    <p:sldId id="747" r:id="rId74"/>
    <p:sldId id="748" r:id="rId75"/>
    <p:sldId id="749" r:id="rId76"/>
    <p:sldId id="750" r:id="rId77"/>
    <p:sldId id="310" r:id="rId78"/>
  </p:sldIdLst>
  <p:sldSz cx="12192000" cy="6858000"/>
  <p:notesSz cx="6858000" cy="91440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en-Ly Dang" initials="MD" lastIdx="4" clrIdx="0">
    <p:extLst>
      <p:ext uri="{19B8F6BF-5375-455C-9EA6-DF929625EA0E}">
        <p15:presenceInfo xmlns:p15="http://schemas.microsoft.com/office/powerpoint/2012/main" userId="S-1-5-21-3617041687-1381671131-3877928529-1243" providerId="AD"/>
      </p:ext>
    </p:extLst>
  </p:cmAuthor>
  <p:cmAuthor id="2" name="Jack Tol" initials="JT" lastIdx="18" clrIdx="1">
    <p:extLst>
      <p:ext uri="{19B8F6BF-5375-455C-9EA6-DF929625EA0E}">
        <p15:presenceInfo xmlns:p15="http://schemas.microsoft.com/office/powerpoint/2012/main" userId="S-1-5-21-3617041687-1381671131-3877928529-11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E7E8EA"/>
    <a:srgbClr val="CBCED2"/>
    <a:srgbClr val="008080"/>
    <a:srgbClr val="0036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119" d="100"/>
          <a:sy n="119" d="100"/>
        </p:scale>
        <p:origin x="96" y="378"/>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tableStyles" Target="tableStyles.xml"/><Relationship Id="rId7" Type="http://schemas.openxmlformats.org/officeDocument/2006/relationships/slideMaster" Target="slideMasters/slideMaster7.xml"/><Relationship Id="rId71"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oleObject" Target="file:///C:\Users\GPereboom\Downloads\Inkomen%20en%20levensverwachting.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werkblad.xlsx"/></Relationships>
</file>

<file path=ppt/charts/_rels/chart3.xml.rels><?xml version="1.0" encoding="UTF-8" standalone="yes"?>
<Relationships xmlns="http://schemas.openxmlformats.org/package/2006/relationships"><Relationship Id="rId3" Type="http://schemas.openxmlformats.org/officeDocument/2006/relationships/oleObject" Target="file:///C:\blp\data\grid1_yrw5qerb.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werkblad1.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werkblad2.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werkblad3.xlsx"/></Relationships>
</file>

<file path=ppt/charts/_rels/chart7.xml.rels><?xml version="1.0" encoding="UTF-8" standalone="yes"?>
<Relationships xmlns="http://schemas.openxmlformats.org/package/2006/relationships"><Relationship Id="rId3" Type="http://schemas.openxmlformats.org/officeDocument/2006/relationships/oleObject" Target="file:///C:\Jovana\RMO\NL%20Pension%20Plans\First%20round%20of%20meetings\Final_Output_Quantiles_ST.xlsx" TargetMode="External"/><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oleObject" Target="file:///C:\Jovana\RMO\NL%20Pension%20Plans\First%20round%20of%20meetings\Final_Output_Quantiles_ST.xlsx" TargetMode="External"/><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1"/>
          <c:order val="0"/>
          <c:tx>
            <c:strRef>
              <c:f>Levensverwachting!$J$2</c:f>
              <c:strCache>
                <c:ptCount val="1"/>
                <c:pt idx="0">
                  <c:v>Levensverwachting in jaren</c:v>
                </c:pt>
              </c:strCache>
            </c:strRef>
          </c:tx>
          <c:spPr>
            <a:solidFill>
              <a:schemeClr val="accent6">
                <a:lumMod val="60000"/>
                <a:lumOff val="40000"/>
                <a:alpha val="63000"/>
              </a:schemeClr>
            </a:solidFill>
            <a:ln>
              <a:noFill/>
            </a:ln>
            <a:effectLst/>
          </c:spPr>
          <c:cat>
            <c:numRef>
              <c:f>Levensverwachting!$I$20:$I$102</c:f>
              <c:numCache>
                <c:formatCode>General</c:formatCode>
                <c:ptCount val="83"/>
                <c:pt idx="0">
                  <c:v>17</c:v>
                </c:pt>
                <c:pt idx="1">
                  <c:v>18</c:v>
                </c:pt>
                <c:pt idx="2">
                  <c:v>19</c:v>
                </c:pt>
                <c:pt idx="3">
                  <c:v>20</c:v>
                </c:pt>
                <c:pt idx="4">
                  <c:v>21</c:v>
                </c:pt>
                <c:pt idx="5">
                  <c:v>22</c:v>
                </c:pt>
                <c:pt idx="6">
                  <c:v>23</c:v>
                </c:pt>
                <c:pt idx="7">
                  <c:v>24</c:v>
                </c:pt>
                <c:pt idx="8">
                  <c:v>25</c:v>
                </c:pt>
                <c:pt idx="9">
                  <c:v>26</c:v>
                </c:pt>
                <c:pt idx="10">
                  <c:v>27</c:v>
                </c:pt>
                <c:pt idx="11">
                  <c:v>28</c:v>
                </c:pt>
                <c:pt idx="12">
                  <c:v>29</c:v>
                </c:pt>
                <c:pt idx="13">
                  <c:v>30</c:v>
                </c:pt>
                <c:pt idx="14">
                  <c:v>31</c:v>
                </c:pt>
                <c:pt idx="15">
                  <c:v>32</c:v>
                </c:pt>
                <c:pt idx="16">
                  <c:v>33</c:v>
                </c:pt>
                <c:pt idx="17">
                  <c:v>34</c:v>
                </c:pt>
                <c:pt idx="18">
                  <c:v>35</c:v>
                </c:pt>
                <c:pt idx="19">
                  <c:v>36</c:v>
                </c:pt>
                <c:pt idx="20">
                  <c:v>37</c:v>
                </c:pt>
                <c:pt idx="21">
                  <c:v>38</c:v>
                </c:pt>
                <c:pt idx="22">
                  <c:v>39</c:v>
                </c:pt>
                <c:pt idx="23">
                  <c:v>40</c:v>
                </c:pt>
                <c:pt idx="24">
                  <c:v>41</c:v>
                </c:pt>
                <c:pt idx="25">
                  <c:v>42</c:v>
                </c:pt>
                <c:pt idx="26">
                  <c:v>43</c:v>
                </c:pt>
                <c:pt idx="27">
                  <c:v>44</c:v>
                </c:pt>
                <c:pt idx="28">
                  <c:v>45</c:v>
                </c:pt>
                <c:pt idx="29">
                  <c:v>46</c:v>
                </c:pt>
                <c:pt idx="30">
                  <c:v>47</c:v>
                </c:pt>
                <c:pt idx="31">
                  <c:v>48</c:v>
                </c:pt>
                <c:pt idx="32">
                  <c:v>49</c:v>
                </c:pt>
                <c:pt idx="33">
                  <c:v>50</c:v>
                </c:pt>
                <c:pt idx="34">
                  <c:v>51</c:v>
                </c:pt>
                <c:pt idx="35">
                  <c:v>52</c:v>
                </c:pt>
                <c:pt idx="36">
                  <c:v>53</c:v>
                </c:pt>
                <c:pt idx="37">
                  <c:v>54</c:v>
                </c:pt>
                <c:pt idx="38">
                  <c:v>55</c:v>
                </c:pt>
                <c:pt idx="39">
                  <c:v>56</c:v>
                </c:pt>
                <c:pt idx="40">
                  <c:v>57</c:v>
                </c:pt>
                <c:pt idx="41">
                  <c:v>58</c:v>
                </c:pt>
                <c:pt idx="42">
                  <c:v>59</c:v>
                </c:pt>
                <c:pt idx="43">
                  <c:v>60</c:v>
                </c:pt>
                <c:pt idx="44">
                  <c:v>61</c:v>
                </c:pt>
                <c:pt idx="45">
                  <c:v>62</c:v>
                </c:pt>
                <c:pt idx="46">
                  <c:v>63</c:v>
                </c:pt>
                <c:pt idx="47">
                  <c:v>64</c:v>
                </c:pt>
                <c:pt idx="48">
                  <c:v>65</c:v>
                </c:pt>
                <c:pt idx="49">
                  <c:v>66</c:v>
                </c:pt>
                <c:pt idx="50">
                  <c:v>67</c:v>
                </c:pt>
                <c:pt idx="51">
                  <c:v>68</c:v>
                </c:pt>
                <c:pt idx="52">
                  <c:v>69</c:v>
                </c:pt>
                <c:pt idx="53">
                  <c:v>70</c:v>
                </c:pt>
                <c:pt idx="54">
                  <c:v>71</c:v>
                </c:pt>
                <c:pt idx="55">
                  <c:v>72</c:v>
                </c:pt>
                <c:pt idx="56">
                  <c:v>73</c:v>
                </c:pt>
                <c:pt idx="57">
                  <c:v>74</c:v>
                </c:pt>
                <c:pt idx="58">
                  <c:v>75</c:v>
                </c:pt>
                <c:pt idx="59">
                  <c:v>76</c:v>
                </c:pt>
                <c:pt idx="60">
                  <c:v>77</c:v>
                </c:pt>
                <c:pt idx="61">
                  <c:v>78</c:v>
                </c:pt>
                <c:pt idx="62">
                  <c:v>79</c:v>
                </c:pt>
                <c:pt idx="63">
                  <c:v>80</c:v>
                </c:pt>
                <c:pt idx="64">
                  <c:v>81</c:v>
                </c:pt>
                <c:pt idx="65">
                  <c:v>82</c:v>
                </c:pt>
                <c:pt idx="66">
                  <c:v>83</c:v>
                </c:pt>
                <c:pt idx="67">
                  <c:v>84</c:v>
                </c:pt>
                <c:pt idx="68">
                  <c:v>85</c:v>
                </c:pt>
                <c:pt idx="69">
                  <c:v>86</c:v>
                </c:pt>
                <c:pt idx="70">
                  <c:v>87</c:v>
                </c:pt>
                <c:pt idx="71">
                  <c:v>88</c:v>
                </c:pt>
                <c:pt idx="72">
                  <c:v>89</c:v>
                </c:pt>
                <c:pt idx="73">
                  <c:v>90</c:v>
                </c:pt>
                <c:pt idx="74">
                  <c:v>91</c:v>
                </c:pt>
                <c:pt idx="75">
                  <c:v>92</c:v>
                </c:pt>
                <c:pt idx="76">
                  <c:v>93</c:v>
                </c:pt>
                <c:pt idx="77">
                  <c:v>94</c:v>
                </c:pt>
                <c:pt idx="78">
                  <c:v>95</c:v>
                </c:pt>
                <c:pt idx="79">
                  <c:v>96</c:v>
                </c:pt>
                <c:pt idx="80">
                  <c:v>97</c:v>
                </c:pt>
                <c:pt idx="81">
                  <c:v>98</c:v>
                </c:pt>
                <c:pt idx="82">
                  <c:v>99</c:v>
                </c:pt>
              </c:numCache>
            </c:numRef>
          </c:cat>
          <c:val>
            <c:numRef>
              <c:f>Levensverwachting!$J$20:$J$102</c:f>
              <c:numCache>
                <c:formatCode>General</c:formatCode>
                <c:ptCount val="83"/>
                <c:pt idx="0">
                  <c:v>65.3</c:v>
                </c:pt>
                <c:pt idx="1">
                  <c:v>64.31</c:v>
                </c:pt>
                <c:pt idx="2">
                  <c:v>63.32</c:v>
                </c:pt>
                <c:pt idx="3">
                  <c:v>62.33</c:v>
                </c:pt>
                <c:pt idx="4">
                  <c:v>61.35</c:v>
                </c:pt>
                <c:pt idx="5">
                  <c:v>60.37</c:v>
                </c:pt>
                <c:pt idx="6">
                  <c:v>59.38</c:v>
                </c:pt>
                <c:pt idx="7">
                  <c:v>58.4</c:v>
                </c:pt>
                <c:pt idx="8">
                  <c:v>57.41</c:v>
                </c:pt>
                <c:pt idx="9">
                  <c:v>56.43</c:v>
                </c:pt>
                <c:pt idx="10">
                  <c:v>55.44</c:v>
                </c:pt>
                <c:pt idx="11">
                  <c:v>54.46</c:v>
                </c:pt>
                <c:pt idx="12">
                  <c:v>53.48</c:v>
                </c:pt>
                <c:pt idx="13">
                  <c:v>52.5</c:v>
                </c:pt>
                <c:pt idx="14">
                  <c:v>51.52</c:v>
                </c:pt>
                <c:pt idx="15">
                  <c:v>50.54</c:v>
                </c:pt>
                <c:pt idx="16">
                  <c:v>49.56</c:v>
                </c:pt>
                <c:pt idx="17">
                  <c:v>48.58</c:v>
                </c:pt>
                <c:pt idx="18">
                  <c:v>47.61</c:v>
                </c:pt>
                <c:pt idx="19">
                  <c:v>46.63</c:v>
                </c:pt>
                <c:pt idx="20">
                  <c:v>45.66</c:v>
                </c:pt>
                <c:pt idx="21">
                  <c:v>44.69</c:v>
                </c:pt>
                <c:pt idx="22">
                  <c:v>43.72</c:v>
                </c:pt>
                <c:pt idx="23">
                  <c:v>42.75</c:v>
                </c:pt>
                <c:pt idx="24">
                  <c:v>41.78</c:v>
                </c:pt>
                <c:pt idx="25">
                  <c:v>40.82</c:v>
                </c:pt>
                <c:pt idx="26">
                  <c:v>39.86</c:v>
                </c:pt>
                <c:pt idx="27">
                  <c:v>38.9</c:v>
                </c:pt>
                <c:pt idx="28">
                  <c:v>37.94</c:v>
                </c:pt>
                <c:pt idx="29">
                  <c:v>36.979999999999997</c:v>
                </c:pt>
                <c:pt idx="30">
                  <c:v>36.04</c:v>
                </c:pt>
                <c:pt idx="31">
                  <c:v>35.090000000000003</c:v>
                </c:pt>
                <c:pt idx="32">
                  <c:v>34.15</c:v>
                </c:pt>
                <c:pt idx="33">
                  <c:v>33.22</c:v>
                </c:pt>
                <c:pt idx="34">
                  <c:v>32.28</c:v>
                </c:pt>
                <c:pt idx="35">
                  <c:v>31.36</c:v>
                </c:pt>
                <c:pt idx="36">
                  <c:v>30.44</c:v>
                </c:pt>
                <c:pt idx="37">
                  <c:v>29.52</c:v>
                </c:pt>
                <c:pt idx="38">
                  <c:v>28.61</c:v>
                </c:pt>
                <c:pt idx="39">
                  <c:v>27.7</c:v>
                </c:pt>
                <c:pt idx="40">
                  <c:v>26.79</c:v>
                </c:pt>
                <c:pt idx="41">
                  <c:v>25.89</c:v>
                </c:pt>
                <c:pt idx="42">
                  <c:v>25</c:v>
                </c:pt>
                <c:pt idx="43">
                  <c:v>24.12</c:v>
                </c:pt>
                <c:pt idx="44">
                  <c:v>23.24</c:v>
                </c:pt>
                <c:pt idx="45">
                  <c:v>22.39</c:v>
                </c:pt>
                <c:pt idx="46">
                  <c:v>21.54</c:v>
                </c:pt>
                <c:pt idx="47">
                  <c:v>20.7</c:v>
                </c:pt>
                <c:pt idx="48">
                  <c:v>19.87</c:v>
                </c:pt>
                <c:pt idx="49">
                  <c:v>19.05</c:v>
                </c:pt>
                <c:pt idx="50">
                  <c:v>18.25</c:v>
                </c:pt>
                <c:pt idx="51">
                  <c:v>17.45</c:v>
                </c:pt>
                <c:pt idx="52">
                  <c:v>16.66</c:v>
                </c:pt>
                <c:pt idx="53">
                  <c:v>15.88</c:v>
                </c:pt>
                <c:pt idx="54">
                  <c:v>15.11</c:v>
                </c:pt>
                <c:pt idx="55">
                  <c:v>14.36</c:v>
                </c:pt>
                <c:pt idx="56">
                  <c:v>13.62</c:v>
                </c:pt>
                <c:pt idx="57">
                  <c:v>12.89</c:v>
                </c:pt>
                <c:pt idx="58">
                  <c:v>12.16</c:v>
                </c:pt>
                <c:pt idx="59">
                  <c:v>11.48</c:v>
                </c:pt>
                <c:pt idx="60">
                  <c:v>10.81</c:v>
                </c:pt>
                <c:pt idx="61">
                  <c:v>10.15</c:v>
                </c:pt>
                <c:pt idx="62">
                  <c:v>9.51</c:v>
                </c:pt>
                <c:pt idx="63">
                  <c:v>8.9</c:v>
                </c:pt>
                <c:pt idx="64">
                  <c:v>8.3000000000000007</c:v>
                </c:pt>
                <c:pt idx="65">
                  <c:v>7.72</c:v>
                </c:pt>
                <c:pt idx="66">
                  <c:v>7.16</c:v>
                </c:pt>
                <c:pt idx="67">
                  <c:v>6.64</c:v>
                </c:pt>
                <c:pt idx="68">
                  <c:v>6.14</c:v>
                </c:pt>
                <c:pt idx="69">
                  <c:v>5.65</c:v>
                </c:pt>
                <c:pt idx="70">
                  <c:v>5.21</c:v>
                </c:pt>
                <c:pt idx="71">
                  <c:v>4.8</c:v>
                </c:pt>
                <c:pt idx="72">
                  <c:v>4.42</c:v>
                </c:pt>
                <c:pt idx="73">
                  <c:v>4.08</c:v>
                </c:pt>
                <c:pt idx="74">
                  <c:v>3.77</c:v>
                </c:pt>
                <c:pt idx="75">
                  <c:v>3.48</c:v>
                </c:pt>
                <c:pt idx="76">
                  <c:v>3.22</c:v>
                </c:pt>
                <c:pt idx="77">
                  <c:v>2.97</c:v>
                </c:pt>
                <c:pt idx="78">
                  <c:v>2.76</c:v>
                </c:pt>
                <c:pt idx="79">
                  <c:v>2.5499999999999998</c:v>
                </c:pt>
                <c:pt idx="80">
                  <c:v>2.37</c:v>
                </c:pt>
                <c:pt idx="81">
                  <c:v>2.23</c:v>
                </c:pt>
                <c:pt idx="82">
                  <c:v>2.09</c:v>
                </c:pt>
              </c:numCache>
            </c:numRef>
          </c:val>
          <c:extLst>
            <c:ext xmlns:c16="http://schemas.microsoft.com/office/drawing/2014/chart" uri="{C3380CC4-5D6E-409C-BE32-E72D297353CC}">
              <c16:uniqueId val="{00000000-4772-4089-B00F-AC9B0D84DD44}"/>
            </c:ext>
          </c:extLst>
        </c:ser>
        <c:dLbls>
          <c:showLegendKey val="0"/>
          <c:showVal val="0"/>
          <c:showCatName val="0"/>
          <c:showSerName val="0"/>
          <c:showPercent val="0"/>
          <c:showBubbleSize val="0"/>
        </c:dLbls>
        <c:axId val="844221455"/>
        <c:axId val="844231023"/>
      </c:areaChart>
      <c:areaChart>
        <c:grouping val="stacked"/>
        <c:varyColors val="0"/>
        <c:ser>
          <c:idx val="2"/>
          <c:order val="1"/>
          <c:tx>
            <c:strRef>
              <c:f>Levensverwachting!$K$2</c:f>
              <c:strCache>
                <c:ptCount val="1"/>
                <c:pt idx="0">
                  <c:v>Bruto jaarloon</c:v>
                </c:pt>
              </c:strCache>
            </c:strRef>
          </c:tx>
          <c:spPr>
            <a:solidFill>
              <a:schemeClr val="accent5">
                <a:lumMod val="75000"/>
                <a:alpha val="30000"/>
              </a:schemeClr>
            </a:solidFill>
            <a:ln>
              <a:noFill/>
            </a:ln>
            <a:effectLst/>
          </c:spPr>
          <c:val>
            <c:numRef>
              <c:f>Levensverwachting!$K$20:$K$102</c:f>
              <c:numCache>
                <c:formatCode>#,##0</c:formatCode>
                <c:ptCount val="83"/>
                <c:pt idx="0">
                  <c:v>4688</c:v>
                </c:pt>
                <c:pt idx="1">
                  <c:v>6519.5</c:v>
                </c:pt>
                <c:pt idx="2">
                  <c:v>8351</c:v>
                </c:pt>
                <c:pt idx="3">
                  <c:v>10182.5</c:v>
                </c:pt>
                <c:pt idx="4">
                  <c:v>12014</c:v>
                </c:pt>
                <c:pt idx="5">
                  <c:v>13845.5</c:v>
                </c:pt>
                <c:pt idx="6">
                  <c:v>15677</c:v>
                </c:pt>
                <c:pt idx="7">
                  <c:v>18232.400000000001</c:v>
                </c:pt>
                <c:pt idx="8">
                  <c:v>20787.800000000003</c:v>
                </c:pt>
                <c:pt idx="9">
                  <c:v>23343.200000000004</c:v>
                </c:pt>
                <c:pt idx="10">
                  <c:v>25898.600000000006</c:v>
                </c:pt>
                <c:pt idx="11">
                  <c:v>28454</c:v>
                </c:pt>
                <c:pt idx="12">
                  <c:v>29703.8</c:v>
                </c:pt>
                <c:pt idx="13">
                  <c:v>30953.599999999999</c:v>
                </c:pt>
                <c:pt idx="14">
                  <c:v>32203.399999999998</c:v>
                </c:pt>
                <c:pt idx="15">
                  <c:v>33453.199999999997</c:v>
                </c:pt>
                <c:pt idx="16">
                  <c:v>34703</c:v>
                </c:pt>
                <c:pt idx="17">
                  <c:v>35459.199999999997</c:v>
                </c:pt>
                <c:pt idx="18">
                  <c:v>36215.399999999994</c:v>
                </c:pt>
                <c:pt idx="19">
                  <c:v>36971.599999999991</c:v>
                </c:pt>
                <c:pt idx="20">
                  <c:v>37727.799999999988</c:v>
                </c:pt>
                <c:pt idx="21">
                  <c:v>38484</c:v>
                </c:pt>
                <c:pt idx="22">
                  <c:v>38988.6</c:v>
                </c:pt>
                <c:pt idx="23">
                  <c:v>39493.199999999997</c:v>
                </c:pt>
                <c:pt idx="24">
                  <c:v>39997.799999999996</c:v>
                </c:pt>
                <c:pt idx="25">
                  <c:v>40502.399999999994</c:v>
                </c:pt>
                <c:pt idx="26">
                  <c:v>41007</c:v>
                </c:pt>
                <c:pt idx="27">
                  <c:v>41295.199999999997</c:v>
                </c:pt>
                <c:pt idx="28">
                  <c:v>41583.399999999994</c:v>
                </c:pt>
                <c:pt idx="29">
                  <c:v>41871.599999999991</c:v>
                </c:pt>
                <c:pt idx="30">
                  <c:v>42159.799999999988</c:v>
                </c:pt>
                <c:pt idx="31">
                  <c:v>42448</c:v>
                </c:pt>
                <c:pt idx="32">
                  <c:v>42464.800000000003</c:v>
                </c:pt>
                <c:pt idx="33">
                  <c:v>42481.600000000006</c:v>
                </c:pt>
                <c:pt idx="34">
                  <c:v>42498.400000000009</c:v>
                </c:pt>
                <c:pt idx="35">
                  <c:v>42515.200000000012</c:v>
                </c:pt>
                <c:pt idx="36">
                  <c:v>42532</c:v>
                </c:pt>
                <c:pt idx="37">
                  <c:v>42291.4</c:v>
                </c:pt>
                <c:pt idx="38">
                  <c:v>42050.8</c:v>
                </c:pt>
                <c:pt idx="39">
                  <c:v>41810.200000000004</c:v>
                </c:pt>
                <c:pt idx="40">
                  <c:v>41569.600000000006</c:v>
                </c:pt>
                <c:pt idx="41">
                  <c:v>41329</c:v>
                </c:pt>
                <c:pt idx="42">
                  <c:v>40898.800000000003</c:v>
                </c:pt>
                <c:pt idx="43">
                  <c:v>40468.600000000006</c:v>
                </c:pt>
                <c:pt idx="44">
                  <c:v>40038.400000000009</c:v>
                </c:pt>
                <c:pt idx="45">
                  <c:v>39608.200000000012</c:v>
                </c:pt>
                <c:pt idx="46">
                  <c:v>39178</c:v>
                </c:pt>
                <c:pt idx="47">
                  <c:v>39178</c:v>
                </c:pt>
                <c:pt idx="48">
                  <c:v>39178</c:v>
                </c:pt>
                <c:pt idx="49">
                  <c:v>39178</c:v>
                </c:pt>
                <c:pt idx="50">
                  <c:v>39178</c:v>
                </c:pt>
                <c:pt idx="51">
                  <c:v>39178</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numCache>
            </c:numRef>
          </c:val>
          <c:extLst>
            <c:ext xmlns:c16="http://schemas.microsoft.com/office/drawing/2014/chart" uri="{C3380CC4-5D6E-409C-BE32-E72D297353CC}">
              <c16:uniqueId val="{00000001-4772-4089-B00F-AC9B0D84DD44}"/>
            </c:ext>
          </c:extLst>
        </c:ser>
        <c:ser>
          <c:idx val="0"/>
          <c:order val="2"/>
          <c:tx>
            <c:v>AOW</c:v>
          </c:tx>
          <c:spPr>
            <a:solidFill>
              <a:srgbClr val="A76F37">
                <a:alpha val="30000"/>
              </a:srgbClr>
            </a:solidFill>
            <a:ln w="25400">
              <a:noFill/>
            </a:ln>
            <a:effectLst/>
          </c:spPr>
          <c:val>
            <c:numRef>
              <c:f>Levensverwachting!$L$20:$L$102</c:f>
              <c:numCache>
                <c:formatCode>General</c:formatCode>
                <c:ptCount val="83"/>
                <c:pt idx="52" formatCode="#,##0">
                  <c:v>11220.48</c:v>
                </c:pt>
                <c:pt idx="53" formatCode="#,##0">
                  <c:v>11220.48</c:v>
                </c:pt>
                <c:pt idx="54" formatCode="#,##0">
                  <c:v>11220.48</c:v>
                </c:pt>
                <c:pt idx="55" formatCode="#,##0">
                  <c:v>11220.48</c:v>
                </c:pt>
                <c:pt idx="56" formatCode="#,##0">
                  <c:v>11220.48</c:v>
                </c:pt>
                <c:pt idx="57" formatCode="#,##0">
                  <c:v>11220.48</c:v>
                </c:pt>
                <c:pt idx="58" formatCode="#,##0">
                  <c:v>11220.48</c:v>
                </c:pt>
                <c:pt idx="59" formatCode="#,##0">
                  <c:v>11220.48</c:v>
                </c:pt>
                <c:pt idx="60" formatCode="#,##0">
                  <c:v>11220.48</c:v>
                </c:pt>
                <c:pt idx="61" formatCode="#,##0">
                  <c:v>11220.48</c:v>
                </c:pt>
                <c:pt idx="62" formatCode="#,##0">
                  <c:v>11220.48</c:v>
                </c:pt>
                <c:pt idx="63" formatCode="#,##0">
                  <c:v>11220.48</c:v>
                </c:pt>
                <c:pt idx="64" formatCode="#,##0">
                  <c:v>11220.48</c:v>
                </c:pt>
                <c:pt idx="65" formatCode="#,##0">
                  <c:v>11220.48</c:v>
                </c:pt>
                <c:pt idx="66" formatCode="#,##0">
                  <c:v>11220.48</c:v>
                </c:pt>
                <c:pt idx="67" formatCode="#,##0">
                  <c:v>11220.48</c:v>
                </c:pt>
                <c:pt idx="68" formatCode="#,##0">
                  <c:v>11220.48</c:v>
                </c:pt>
                <c:pt idx="69" formatCode="#,##0">
                  <c:v>16061</c:v>
                </c:pt>
                <c:pt idx="70" formatCode="#,##0">
                  <c:v>16061</c:v>
                </c:pt>
                <c:pt idx="71" formatCode="#,##0">
                  <c:v>16061</c:v>
                </c:pt>
                <c:pt idx="72" formatCode="#,##0">
                  <c:v>16061</c:v>
                </c:pt>
                <c:pt idx="73" formatCode="#,##0">
                  <c:v>16061</c:v>
                </c:pt>
                <c:pt idx="74" formatCode="#,##0">
                  <c:v>16061</c:v>
                </c:pt>
                <c:pt idx="75" formatCode="#,##0">
                  <c:v>16061</c:v>
                </c:pt>
                <c:pt idx="76" formatCode="#,##0">
                  <c:v>16061</c:v>
                </c:pt>
                <c:pt idx="77" formatCode="#,##0">
                  <c:v>16061</c:v>
                </c:pt>
                <c:pt idx="78" formatCode="#,##0">
                  <c:v>16061</c:v>
                </c:pt>
                <c:pt idx="79" formatCode="#,##0">
                  <c:v>16061</c:v>
                </c:pt>
                <c:pt idx="80" formatCode="#,##0">
                  <c:v>16061</c:v>
                </c:pt>
                <c:pt idx="81" formatCode="#,##0">
                  <c:v>16061</c:v>
                </c:pt>
                <c:pt idx="82" formatCode="#,##0">
                  <c:v>16061</c:v>
                </c:pt>
              </c:numCache>
            </c:numRef>
          </c:val>
          <c:extLst>
            <c:ext xmlns:c16="http://schemas.microsoft.com/office/drawing/2014/chart" uri="{C3380CC4-5D6E-409C-BE32-E72D297353CC}">
              <c16:uniqueId val="{00000002-4772-4089-B00F-AC9B0D84DD44}"/>
            </c:ext>
          </c:extLst>
        </c:ser>
        <c:ser>
          <c:idx val="3"/>
          <c:order val="3"/>
          <c:tx>
            <c:v>Aanvullend pensioen</c:v>
          </c:tx>
          <c:spPr>
            <a:solidFill>
              <a:srgbClr val="A76F37">
                <a:alpha val="63000"/>
              </a:srgbClr>
            </a:solidFill>
            <a:ln w="25400">
              <a:noFill/>
            </a:ln>
            <a:effectLst/>
          </c:spPr>
          <c:val>
            <c:numRef>
              <c:f>Levensverwachting!$M$20:$M$102</c:f>
              <c:numCache>
                <c:formatCode>General</c:formatCode>
                <c:ptCount val="83"/>
                <c:pt idx="52" formatCode="#,##0">
                  <c:v>18085.875</c:v>
                </c:pt>
                <c:pt idx="53" formatCode="#,##0">
                  <c:v>18085.875</c:v>
                </c:pt>
                <c:pt idx="54" formatCode="#,##0">
                  <c:v>18085.875</c:v>
                </c:pt>
                <c:pt idx="55" formatCode="#,##0">
                  <c:v>18085.875</c:v>
                </c:pt>
                <c:pt idx="56" formatCode="#,##0">
                  <c:v>18085.875</c:v>
                </c:pt>
                <c:pt idx="57" formatCode="#,##0">
                  <c:v>18085.875</c:v>
                </c:pt>
                <c:pt idx="58" formatCode="#,##0">
                  <c:v>18085.875</c:v>
                </c:pt>
                <c:pt idx="59" formatCode="#,##0">
                  <c:v>18085.875</c:v>
                </c:pt>
                <c:pt idx="60" formatCode="#,##0">
                  <c:v>18085.875</c:v>
                </c:pt>
                <c:pt idx="61" formatCode="#,##0">
                  <c:v>18085.875</c:v>
                </c:pt>
                <c:pt idx="62" formatCode="#,##0">
                  <c:v>18085.875</c:v>
                </c:pt>
                <c:pt idx="63" formatCode="#,##0">
                  <c:v>18085.875</c:v>
                </c:pt>
                <c:pt idx="64" formatCode="#,##0">
                  <c:v>18085.875</c:v>
                </c:pt>
                <c:pt idx="65" formatCode="#,##0">
                  <c:v>18085.875</c:v>
                </c:pt>
                <c:pt idx="66" formatCode="#,##0">
                  <c:v>18085.875</c:v>
                </c:pt>
                <c:pt idx="67" formatCode="#,##0">
                  <c:v>18085.875</c:v>
                </c:pt>
                <c:pt idx="68" formatCode="#,##0">
                  <c:v>18085.875</c:v>
                </c:pt>
                <c:pt idx="69" formatCode="#,##0">
                  <c:v>12660.112499999999</c:v>
                </c:pt>
                <c:pt idx="70" formatCode="#,##0">
                  <c:v>12660.112499999999</c:v>
                </c:pt>
                <c:pt idx="71" formatCode="#,##0">
                  <c:v>12660.112499999999</c:v>
                </c:pt>
                <c:pt idx="72" formatCode="#,##0">
                  <c:v>12660.112499999999</c:v>
                </c:pt>
                <c:pt idx="73" formatCode="#,##0">
                  <c:v>12660.112499999999</c:v>
                </c:pt>
                <c:pt idx="74" formatCode="#,##0">
                  <c:v>12660.112499999999</c:v>
                </c:pt>
                <c:pt idx="75" formatCode="#,##0">
                  <c:v>12660.112499999999</c:v>
                </c:pt>
                <c:pt idx="76" formatCode="#,##0">
                  <c:v>12660.112499999999</c:v>
                </c:pt>
                <c:pt idx="77" formatCode="#,##0">
                  <c:v>12660.112499999999</c:v>
                </c:pt>
                <c:pt idx="78" formatCode="#,##0">
                  <c:v>12660.112499999999</c:v>
                </c:pt>
                <c:pt idx="79" formatCode="#,##0">
                  <c:v>12660.112499999999</c:v>
                </c:pt>
                <c:pt idx="80" formatCode="#,##0">
                  <c:v>12660.112499999999</c:v>
                </c:pt>
                <c:pt idx="81" formatCode="#,##0">
                  <c:v>12660.112499999999</c:v>
                </c:pt>
                <c:pt idx="82" formatCode="#,##0">
                  <c:v>12660.112499999999</c:v>
                </c:pt>
              </c:numCache>
            </c:numRef>
          </c:val>
          <c:extLst>
            <c:ext xmlns:c16="http://schemas.microsoft.com/office/drawing/2014/chart" uri="{C3380CC4-5D6E-409C-BE32-E72D297353CC}">
              <c16:uniqueId val="{00000003-4772-4089-B00F-AC9B0D84DD44}"/>
            </c:ext>
          </c:extLst>
        </c:ser>
        <c:dLbls>
          <c:showLegendKey val="0"/>
          <c:showVal val="0"/>
          <c:showCatName val="0"/>
          <c:showSerName val="0"/>
          <c:showPercent val="0"/>
          <c:showBubbleSize val="0"/>
        </c:dLbls>
        <c:axId val="851709471"/>
        <c:axId val="851702399"/>
      </c:areaChart>
      <c:catAx>
        <c:axId val="844221455"/>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nl-NL" sz="1200" baseline="0">
                    <a:solidFill>
                      <a:schemeClr val="tx1"/>
                    </a:solidFill>
                    <a:latin typeface="Open Sans" panose="020B0606030504020204" pitchFamily="34" charset="0"/>
                    <a:ea typeface="Open Sans" panose="020B0606030504020204" pitchFamily="34" charset="0"/>
                    <a:cs typeface="Open Sans" panose="020B0606030504020204" pitchFamily="34" charset="0"/>
                  </a:rPr>
                  <a:t>Leeftijd</a:t>
                </a:r>
              </a:p>
            </c:rich>
          </c:tx>
          <c:layout>
            <c:manualLayout>
              <c:xMode val="edge"/>
              <c:yMode val="edge"/>
              <c:x val="0.47378959073809157"/>
              <c:y val="0.9526713113740363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nl-NL"/>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nl-NL"/>
          </a:p>
        </c:txPr>
        <c:crossAx val="844231023"/>
        <c:crosses val="autoZero"/>
        <c:auto val="1"/>
        <c:lblAlgn val="ctr"/>
        <c:lblOffset val="100"/>
        <c:tickLblSkip val="3"/>
        <c:tickMarkSkip val="1"/>
        <c:noMultiLvlLbl val="0"/>
      </c:catAx>
      <c:valAx>
        <c:axId val="844231023"/>
        <c:scaling>
          <c:orientation val="minMax"/>
          <c:max val="65"/>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200" b="0" i="0" u="none" strike="noStrike" kern="12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pPr>
                <a:r>
                  <a:rPr lang="nl-NL" sz="1200">
                    <a:solidFill>
                      <a:schemeClr val="accent6"/>
                    </a:solidFill>
                    <a:latin typeface="Open Sans" panose="020B0606030504020204" pitchFamily="34" charset="0"/>
                    <a:ea typeface="Open Sans" panose="020B0606030504020204" pitchFamily="34" charset="0"/>
                    <a:cs typeface="Open Sans" panose="020B0606030504020204" pitchFamily="34" charset="0"/>
                  </a:rPr>
                  <a:t>Levenswachting in jaren</a:t>
                </a:r>
              </a:p>
            </c:rich>
          </c:tx>
          <c:layout>
            <c:manualLayout>
              <c:xMode val="edge"/>
              <c:yMode val="edge"/>
              <c:x val="1.2298681716895968E-2"/>
              <c:y val="0.37536798957814627"/>
            </c:manualLayout>
          </c:layout>
          <c:overlay val="0"/>
          <c:spPr>
            <a:noFill/>
            <a:ln>
              <a:noFill/>
            </a:ln>
            <a:effectLst/>
          </c:spPr>
          <c:txPr>
            <a:bodyPr rot="-5400000" spcFirstLastPara="1" vertOverflow="ellipsis" vert="horz" wrap="square" anchor="ctr" anchorCtr="1"/>
            <a:lstStyle/>
            <a:p>
              <a:pPr>
                <a:defRPr sz="1200" b="0" i="0" u="none" strike="noStrike" kern="12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pPr>
              <a:endParaRPr lang="nl-NL"/>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accent6"/>
                </a:solidFill>
                <a:latin typeface="Open Sans" panose="020B0606030504020204" pitchFamily="34" charset="0"/>
                <a:ea typeface="Open Sans" panose="020B0606030504020204" pitchFamily="34" charset="0"/>
                <a:cs typeface="Open Sans" panose="020B0606030504020204" pitchFamily="34" charset="0"/>
              </a:defRPr>
            </a:pPr>
            <a:endParaRPr lang="nl-NL"/>
          </a:p>
        </c:txPr>
        <c:crossAx val="844221455"/>
        <c:crosses val="autoZero"/>
        <c:crossBetween val="midCat"/>
        <c:majorUnit val="5"/>
      </c:valAx>
      <c:valAx>
        <c:axId val="851702399"/>
        <c:scaling>
          <c:orientation val="minMax"/>
          <c:max val="45000"/>
          <c:min val="0"/>
        </c:scaling>
        <c:delete val="0"/>
        <c:axPos val="r"/>
        <c:title>
          <c:tx>
            <c:rich>
              <a:bodyPr rot="-5400000" spcFirstLastPara="1" vertOverflow="ellipsis" vert="horz" wrap="square" anchor="ctr" anchorCtr="1"/>
              <a:lstStyle/>
              <a:p>
                <a:pPr>
                  <a:defRPr sz="1200" b="0" i="0" u="none" strike="noStrike" kern="1200" baseline="0">
                    <a:solidFill>
                      <a:schemeClr val="accent5">
                        <a:lumMod val="75000"/>
                      </a:schemeClr>
                    </a:solidFill>
                    <a:latin typeface="Open Sans" panose="020B0606030504020204" pitchFamily="34" charset="0"/>
                    <a:ea typeface="Open Sans" panose="020B0606030504020204" pitchFamily="34" charset="0"/>
                    <a:cs typeface="Open Sans" panose="020B0606030504020204" pitchFamily="34" charset="0"/>
                  </a:defRPr>
                </a:pPr>
                <a:r>
                  <a:rPr lang="nl-NL" sz="1200">
                    <a:solidFill>
                      <a:schemeClr val="accent5">
                        <a:lumMod val="75000"/>
                      </a:schemeClr>
                    </a:solidFill>
                    <a:latin typeface="Open Sans" panose="020B0606030504020204" pitchFamily="34" charset="0"/>
                    <a:ea typeface="Open Sans" panose="020B0606030504020204" pitchFamily="34" charset="0"/>
                    <a:cs typeface="Open Sans" panose="020B0606030504020204" pitchFamily="34" charset="0"/>
                  </a:rPr>
                  <a:t>Bruto jaarloon</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accent5">
                      <a:lumMod val="75000"/>
                    </a:schemeClr>
                  </a:solidFill>
                  <a:latin typeface="Open Sans" panose="020B0606030504020204" pitchFamily="34" charset="0"/>
                  <a:ea typeface="Open Sans" panose="020B0606030504020204" pitchFamily="34" charset="0"/>
                  <a:cs typeface="Open Sans" panose="020B0606030504020204" pitchFamily="34" charset="0"/>
                </a:defRPr>
              </a:pPr>
              <a:endParaRPr lang="nl-NL"/>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accent5">
                    <a:lumMod val="75000"/>
                  </a:schemeClr>
                </a:solidFill>
                <a:latin typeface="Open Sans" panose="020B0606030504020204" pitchFamily="34" charset="0"/>
                <a:ea typeface="Open Sans" panose="020B0606030504020204" pitchFamily="34" charset="0"/>
                <a:cs typeface="Open Sans" panose="020B0606030504020204" pitchFamily="34" charset="0"/>
              </a:defRPr>
            </a:pPr>
            <a:endParaRPr lang="nl-NL"/>
          </a:p>
        </c:txPr>
        <c:crossAx val="851709471"/>
        <c:crosses val="max"/>
        <c:crossBetween val="midCat"/>
        <c:majorUnit val="5000"/>
      </c:valAx>
      <c:catAx>
        <c:axId val="851709471"/>
        <c:scaling>
          <c:orientation val="minMax"/>
        </c:scaling>
        <c:delete val="1"/>
        <c:axPos val="b"/>
        <c:majorTickMark val="out"/>
        <c:minorTickMark val="none"/>
        <c:tickLblPos val="nextTo"/>
        <c:crossAx val="851702399"/>
        <c:crosses val="autoZero"/>
        <c:auto val="1"/>
        <c:lblAlgn val="ctr"/>
        <c:lblOffset val="100"/>
        <c:noMultiLvlLbl val="0"/>
      </c:catAx>
      <c:spPr>
        <a:noFill/>
        <a:ln>
          <a:noFill/>
        </a:ln>
        <a:effectLst/>
      </c:spPr>
    </c:plotArea>
    <c:legend>
      <c:legendPos val="t"/>
      <c:layout>
        <c:manualLayout>
          <c:xMode val="edge"/>
          <c:yMode val="edge"/>
          <c:x val="0.12800060524095183"/>
          <c:y val="2.9319371727748691E-2"/>
          <c:w val="0.71666383094492381"/>
          <c:h val="4.6443171043410149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nl-N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0853018372703414E-2"/>
          <c:y val="4.3205027494108407E-2"/>
          <c:w val="0.88639999327007202"/>
          <c:h val="0.79700162676051978"/>
        </c:manualLayout>
      </c:layout>
      <c:lineChart>
        <c:grouping val="standard"/>
        <c:varyColors val="0"/>
        <c:ser>
          <c:idx val="0"/>
          <c:order val="0"/>
          <c:tx>
            <c:strRef>
              <c:f>Sheet1!$B$1</c:f>
              <c:strCache>
                <c:ptCount val="1"/>
                <c:pt idx="0">
                  <c:v>Dotcom Crisis</c:v>
                </c:pt>
              </c:strCache>
            </c:strRef>
          </c:tx>
          <c:spPr>
            <a:ln w="15875" cap="rnd">
              <a:solidFill>
                <a:schemeClr val="accent1"/>
              </a:solidFill>
              <a:round/>
            </a:ln>
            <a:effectLst/>
          </c:spPr>
          <c:marker>
            <c:symbol val="none"/>
          </c:marker>
          <c:cat>
            <c:numRef>
              <c:f>Sheet1!$A$2:$A$2002</c:f>
              <c:numCache>
                <c:formatCode>#,##0.00</c:formatCode>
                <c:ptCount val="20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numCache>
            </c:numRef>
          </c:cat>
          <c:val>
            <c:numRef>
              <c:f>Sheet1!$B$2:$B$2002</c:f>
              <c:numCache>
                <c:formatCode>0%</c:formatCode>
                <c:ptCount val="2001"/>
                <c:pt idx="0">
                  <c:v>0</c:v>
                </c:pt>
                <c:pt idx="1">
                  <c:v>0</c:v>
                </c:pt>
                <c:pt idx="2">
                  <c:v>0</c:v>
                </c:pt>
                <c:pt idx="3">
                  <c:v>-1.9565250109110366E-4</c:v>
                </c:pt>
                <c:pt idx="4">
                  <c:v>-6.968239077322802E-3</c:v>
                </c:pt>
                <c:pt idx="5">
                  <c:v>-1.3595340460434979E-3</c:v>
                </c:pt>
                <c:pt idx="6">
                  <c:v>1.8561903949687597E-4</c:v>
                </c:pt>
                <c:pt idx="7">
                  <c:v>-1.8817757220329745E-2</c:v>
                </c:pt>
                <c:pt idx="8">
                  <c:v>-1.8817757220329745E-2</c:v>
                </c:pt>
                <c:pt idx="9">
                  <c:v>-1.8817757220329745E-2</c:v>
                </c:pt>
                <c:pt idx="10">
                  <c:v>-2.3663919170433312E-2</c:v>
                </c:pt>
                <c:pt idx="11">
                  <c:v>-3.407363557464127E-2</c:v>
                </c:pt>
                <c:pt idx="12">
                  <c:v>-4.9645567969177185E-2</c:v>
                </c:pt>
                <c:pt idx="13">
                  <c:v>-7.3871360988897905E-2</c:v>
                </c:pt>
                <c:pt idx="14">
                  <c:v>-4.2953249085700751E-2</c:v>
                </c:pt>
                <c:pt idx="15">
                  <c:v>-4.2953249085700751E-2</c:v>
                </c:pt>
                <c:pt idx="16">
                  <c:v>-4.2953249085700751E-2</c:v>
                </c:pt>
                <c:pt idx="17">
                  <c:v>-4.2637195045476695E-2</c:v>
                </c:pt>
                <c:pt idx="18">
                  <c:v>-5.9804447833524899E-2</c:v>
                </c:pt>
                <c:pt idx="19">
                  <c:v>-6.5207466902118538E-2</c:v>
                </c:pt>
                <c:pt idx="20">
                  <c:v>-3.2724134990192222E-2</c:v>
                </c:pt>
                <c:pt idx="21">
                  <c:v>-2.7035162266157542E-2</c:v>
                </c:pt>
                <c:pt idx="22">
                  <c:v>-2.7035162266157542E-2</c:v>
                </c:pt>
                <c:pt idx="23">
                  <c:v>-2.7035162266157542E-2</c:v>
                </c:pt>
                <c:pt idx="24">
                  <c:v>-2.7827805732116517E-2</c:v>
                </c:pt>
                <c:pt idx="25">
                  <c:v>-2.6187334761429204E-2</c:v>
                </c:pt>
                <c:pt idx="26">
                  <c:v>-4.9314463736561343E-2</c:v>
                </c:pt>
                <c:pt idx="27">
                  <c:v>-4.9620484315190949E-2</c:v>
                </c:pt>
                <c:pt idx="28">
                  <c:v>-3.9020132140689001E-2</c:v>
                </c:pt>
                <c:pt idx="29">
                  <c:v>-3.9020132140689001E-2</c:v>
                </c:pt>
                <c:pt idx="30">
                  <c:v>-3.9020132140689001E-2</c:v>
                </c:pt>
                <c:pt idx="31">
                  <c:v>-2.5650544566127809E-2</c:v>
                </c:pt>
                <c:pt idx="32">
                  <c:v>-4.2240873312495708E-3</c:v>
                </c:pt>
                <c:pt idx="33">
                  <c:v>-9.8378090933262108E-3</c:v>
                </c:pt>
                <c:pt idx="34">
                  <c:v>-4.8160615653202177E-3</c:v>
                </c:pt>
                <c:pt idx="35">
                  <c:v>-5.9347925330978102E-3</c:v>
                </c:pt>
                <c:pt idx="36">
                  <c:v>-5.9347925330978102E-3</c:v>
                </c:pt>
                <c:pt idx="37">
                  <c:v>-5.9347925330978102E-3</c:v>
                </c:pt>
                <c:pt idx="38">
                  <c:v>-2.0769265500443224E-3</c:v>
                </c:pt>
                <c:pt idx="39">
                  <c:v>-2.272579051135537E-3</c:v>
                </c:pt>
                <c:pt idx="40">
                  <c:v>-1.7914745676832267E-2</c:v>
                </c:pt>
                <c:pt idx="41">
                  <c:v>-2.4125458403776556E-2</c:v>
                </c:pt>
                <c:pt idx="42">
                  <c:v>-4.7934862767329056E-2</c:v>
                </c:pt>
                <c:pt idx="43">
                  <c:v>-4.7934862767329056E-2</c:v>
                </c:pt>
                <c:pt idx="44">
                  <c:v>-4.7934862767329056E-2</c:v>
                </c:pt>
                <c:pt idx="45">
                  <c:v>-5.8103776093270998E-2</c:v>
                </c:pt>
                <c:pt idx="46">
                  <c:v>-3.5949892892797264E-2</c:v>
                </c:pt>
                <c:pt idx="47">
                  <c:v>-3.1048546903924334E-2</c:v>
                </c:pt>
                <c:pt idx="48">
                  <c:v>-4.320910235635822E-2</c:v>
                </c:pt>
                <c:pt idx="49">
                  <c:v>-4.6379676220194122E-2</c:v>
                </c:pt>
                <c:pt idx="50">
                  <c:v>-4.6379676220194122E-2</c:v>
                </c:pt>
                <c:pt idx="51">
                  <c:v>-4.6379676220194122E-2</c:v>
                </c:pt>
                <c:pt idx="52">
                  <c:v>-6.3873016510060943E-2</c:v>
                </c:pt>
                <c:pt idx="53">
                  <c:v>-6.0506790145133937E-2</c:v>
                </c:pt>
                <c:pt idx="54">
                  <c:v>-7.7924879473042497E-2</c:v>
                </c:pt>
                <c:pt idx="55">
                  <c:v>-7.7924879473042497E-2</c:v>
                </c:pt>
                <c:pt idx="56">
                  <c:v>-6.4379706320578989E-2</c:v>
                </c:pt>
                <c:pt idx="57">
                  <c:v>-6.4379706320578989E-2</c:v>
                </c:pt>
                <c:pt idx="58">
                  <c:v>-6.4379706320578989E-2</c:v>
                </c:pt>
                <c:pt idx="59">
                  <c:v>-5.9357958792572996E-2</c:v>
                </c:pt>
                <c:pt idx="60">
                  <c:v>-6.8242589034429813E-2</c:v>
                </c:pt>
                <c:pt idx="61">
                  <c:v>-6.3933217279627419E-2</c:v>
                </c:pt>
                <c:pt idx="62">
                  <c:v>-8.2730907576768486E-2</c:v>
                </c:pt>
                <c:pt idx="63">
                  <c:v>-8.2535255075677272E-2</c:v>
                </c:pt>
                <c:pt idx="64">
                  <c:v>-8.2535255075677272E-2</c:v>
                </c:pt>
                <c:pt idx="65">
                  <c:v>-8.2535255075677272E-2</c:v>
                </c:pt>
                <c:pt idx="66">
                  <c:v>-7.573758484545956E-2</c:v>
                </c:pt>
                <c:pt idx="67">
                  <c:v>-3.9752574837081611E-2</c:v>
                </c:pt>
                <c:pt idx="68">
                  <c:v>-5.7065312818248892E-2</c:v>
                </c:pt>
                <c:pt idx="69">
                  <c:v>-6.2553616310395133E-2</c:v>
                </c:pt>
                <c:pt idx="70">
                  <c:v>-4.4167297938625283E-2</c:v>
                </c:pt>
                <c:pt idx="71">
                  <c:v>-4.4167297938625283E-2</c:v>
                </c:pt>
                <c:pt idx="72">
                  <c:v>-4.4167297938625283E-2</c:v>
                </c:pt>
                <c:pt idx="73">
                  <c:v>-3.6963272513833578E-2</c:v>
                </c:pt>
                <c:pt idx="74">
                  <c:v>-4.3259269664330691E-2</c:v>
                </c:pt>
                <c:pt idx="75">
                  <c:v>-5.0869650283696055E-2</c:v>
                </c:pt>
                <c:pt idx="76">
                  <c:v>-6.4153953434704647E-2</c:v>
                </c:pt>
                <c:pt idx="77">
                  <c:v>-8.4235926815931061E-2</c:v>
                </c:pt>
                <c:pt idx="78">
                  <c:v>-8.4235926815931061E-2</c:v>
                </c:pt>
                <c:pt idx="79">
                  <c:v>-8.4235926815931061E-2</c:v>
                </c:pt>
                <c:pt idx="80">
                  <c:v>-7.6831232159251139E-2</c:v>
                </c:pt>
                <c:pt idx="81">
                  <c:v>-8.8781084918202358E-2</c:v>
                </c:pt>
                <c:pt idx="82">
                  <c:v>-0.11724601546156443</c:v>
                </c:pt>
                <c:pt idx="83">
                  <c:v>-0.11017744176829725</c:v>
                </c:pt>
                <c:pt idx="84">
                  <c:v>-8.8460014147180743E-2</c:v>
                </c:pt>
                <c:pt idx="85">
                  <c:v>-8.8460014147180743E-2</c:v>
                </c:pt>
                <c:pt idx="86">
                  <c:v>-8.8460014147180743E-2</c:v>
                </c:pt>
                <c:pt idx="87">
                  <c:v>-8.8460014147180632E-2</c:v>
                </c:pt>
                <c:pt idx="88">
                  <c:v>-8.202354853436189E-2</c:v>
                </c:pt>
                <c:pt idx="89">
                  <c:v>-7.2235906749007706E-2</c:v>
                </c:pt>
                <c:pt idx="90">
                  <c:v>-6.8513492497478734E-2</c:v>
                </c:pt>
                <c:pt idx="91">
                  <c:v>-7.8240933513266331E-2</c:v>
                </c:pt>
                <c:pt idx="92">
                  <c:v>-7.8240933513266331E-2</c:v>
                </c:pt>
                <c:pt idx="93">
                  <c:v>-7.8240933513266331E-2</c:v>
                </c:pt>
                <c:pt idx="94">
                  <c:v>-7.8240933513266331E-2</c:v>
                </c:pt>
                <c:pt idx="95">
                  <c:v>-0.10408211384968835</c:v>
                </c:pt>
                <c:pt idx="96">
                  <c:v>-5.9082038598726405E-2</c:v>
                </c:pt>
                <c:pt idx="97">
                  <c:v>-6.8985065192416428E-2</c:v>
                </c:pt>
                <c:pt idx="98">
                  <c:v>-9.3411527444025477E-2</c:v>
                </c:pt>
                <c:pt idx="99">
                  <c:v>-9.3411527444025477E-2</c:v>
                </c:pt>
                <c:pt idx="100">
                  <c:v>-9.3411527444025477E-2</c:v>
                </c:pt>
                <c:pt idx="101">
                  <c:v>-9.4961697260362965E-2</c:v>
                </c:pt>
                <c:pt idx="102">
                  <c:v>-9.1480086087100232E-2</c:v>
                </c:pt>
                <c:pt idx="103">
                  <c:v>-8.2690773730390577E-2</c:v>
                </c:pt>
                <c:pt idx="104">
                  <c:v>-7.3224202716057785E-2</c:v>
                </c:pt>
                <c:pt idx="105">
                  <c:v>-7.9158995249155595E-2</c:v>
                </c:pt>
                <c:pt idx="106">
                  <c:v>-7.9158995249155595E-2</c:v>
                </c:pt>
                <c:pt idx="107">
                  <c:v>-7.9158995249155595E-2</c:v>
                </c:pt>
                <c:pt idx="108">
                  <c:v>-7.9158995249155595E-2</c:v>
                </c:pt>
                <c:pt idx="109">
                  <c:v>-7.3344604255190626E-2</c:v>
                </c:pt>
                <c:pt idx="110">
                  <c:v>-7.1322861743915555E-2</c:v>
                </c:pt>
                <c:pt idx="111">
                  <c:v>-5.8389729748711483E-2</c:v>
                </c:pt>
                <c:pt idx="112">
                  <c:v>-6.218237823140127E-2</c:v>
                </c:pt>
                <c:pt idx="113">
                  <c:v>-6.218237823140127E-2</c:v>
                </c:pt>
                <c:pt idx="114">
                  <c:v>-6.218237823140127E-2</c:v>
                </c:pt>
                <c:pt idx="115">
                  <c:v>-6.1926524960743579E-2</c:v>
                </c:pt>
                <c:pt idx="116">
                  <c:v>-4.9705768738743217E-2</c:v>
                </c:pt>
                <c:pt idx="117">
                  <c:v>-4.6966633723467432E-2</c:v>
                </c:pt>
                <c:pt idx="118">
                  <c:v>-5.1702427596032385E-2</c:v>
                </c:pt>
                <c:pt idx="119">
                  <c:v>-5.3443233182663752E-2</c:v>
                </c:pt>
                <c:pt idx="120">
                  <c:v>-5.3443233182663752E-2</c:v>
                </c:pt>
                <c:pt idx="121">
                  <c:v>-5.3443233182663752E-2</c:v>
                </c:pt>
                <c:pt idx="122">
                  <c:v>-4.6946566800278422E-2</c:v>
                </c:pt>
                <c:pt idx="123">
                  <c:v>-4.02341809936132E-2</c:v>
                </c:pt>
                <c:pt idx="124">
                  <c:v>-4.5541882177060122E-2</c:v>
                </c:pt>
                <c:pt idx="125">
                  <c:v>-4.0244214455207761E-2</c:v>
                </c:pt>
                <c:pt idx="126">
                  <c:v>-5.7010128779479086E-2</c:v>
                </c:pt>
                <c:pt idx="127">
                  <c:v>-5.7010128779479086E-2</c:v>
                </c:pt>
                <c:pt idx="128">
                  <c:v>-5.7010128779479086E-2</c:v>
                </c:pt>
                <c:pt idx="129">
                  <c:v>-5.3603768568174504E-2</c:v>
                </c:pt>
                <c:pt idx="130">
                  <c:v>-5.4988386268204126E-2</c:v>
                </c:pt>
                <c:pt idx="131">
                  <c:v>-6.2729201888297115E-2</c:v>
                </c:pt>
                <c:pt idx="132">
                  <c:v>-6.8563659805450761E-2</c:v>
                </c:pt>
                <c:pt idx="133">
                  <c:v>-8.0954984874556213E-2</c:v>
                </c:pt>
                <c:pt idx="134">
                  <c:v>-8.0954984874556213E-2</c:v>
                </c:pt>
                <c:pt idx="135">
                  <c:v>-8.0954984874556213E-2</c:v>
                </c:pt>
                <c:pt idx="136">
                  <c:v>-7.007369577541056E-2</c:v>
                </c:pt>
                <c:pt idx="137">
                  <c:v>-7.8040264281378002E-2</c:v>
                </c:pt>
                <c:pt idx="138">
                  <c:v>-7.9881404483953533E-2</c:v>
                </c:pt>
                <c:pt idx="139">
                  <c:v>-7.2331224634154423E-2</c:v>
                </c:pt>
                <c:pt idx="140">
                  <c:v>-8.9854665308804371E-2</c:v>
                </c:pt>
                <c:pt idx="141">
                  <c:v>-8.9854665308804371E-2</c:v>
                </c:pt>
                <c:pt idx="142">
                  <c:v>-8.9854665308804371E-2</c:v>
                </c:pt>
                <c:pt idx="143">
                  <c:v>-8.9854665308804371E-2</c:v>
                </c:pt>
                <c:pt idx="144">
                  <c:v>-0.10564231712762029</c:v>
                </c:pt>
                <c:pt idx="145">
                  <c:v>-0.12214234471963958</c:v>
                </c:pt>
                <c:pt idx="146">
                  <c:v>-0.1238279662675017</c:v>
                </c:pt>
                <c:pt idx="147">
                  <c:v>-0.1286841616791996</c:v>
                </c:pt>
                <c:pt idx="148">
                  <c:v>-0.1286841616791996</c:v>
                </c:pt>
                <c:pt idx="149">
                  <c:v>-0.1286841616791996</c:v>
                </c:pt>
                <c:pt idx="150">
                  <c:v>-0.11339818294010473</c:v>
                </c:pt>
                <c:pt idx="151">
                  <c:v>-0.12012561893916163</c:v>
                </c:pt>
                <c:pt idx="152">
                  <c:v>-0.13256711131623933</c:v>
                </c:pt>
                <c:pt idx="153">
                  <c:v>-0.13164403284955295</c:v>
                </c:pt>
                <c:pt idx="154">
                  <c:v>-0.13657547922320912</c:v>
                </c:pt>
                <c:pt idx="155">
                  <c:v>-0.13657547922320912</c:v>
                </c:pt>
                <c:pt idx="156">
                  <c:v>-0.13657547922320912</c:v>
                </c:pt>
                <c:pt idx="157">
                  <c:v>-0.13139319630969226</c:v>
                </c:pt>
                <c:pt idx="158">
                  <c:v>-0.12270421856892688</c:v>
                </c:pt>
                <c:pt idx="159">
                  <c:v>-0.11687477738257046</c:v>
                </c:pt>
                <c:pt idx="160">
                  <c:v>-0.11485303487129528</c:v>
                </c:pt>
                <c:pt idx="161">
                  <c:v>-0.13676611499350277</c:v>
                </c:pt>
                <c:pt idx="162">
                  <c:v>-0.13676611499350277</c:v>
                </c:pt>
                <c:pt idx="163">
                  <c:v>-0.13676611499350277</c:v>
                </c:pt>
                <c:pt idx="164">
                  <c:v>-0.17403540808596618</c:v>
                </c:pt>
                <c:pt idx="165">
                  <c:v>-0.16160896590128015</c:v>
                </c:pt>
                <c:pt idx="166">
                  <c:v>-0.18326619275283018</c:v>
                </c:pt>
                <c:pt idx="167">
                  <c:v>-0.17845514791830697</c:v>
                </c:pt>
                <c:pt idx="168">
                  <c:v>-0.19457390396973839</c:v>
                </c:pt>
                <c:pt idx="169">
                  <c:v>-0.19457390396973839</c:v>
                </c:pt>
                <c:pt idx="170">
                  <c:v>-0.19457390396973839</c:v>
                </c:pt>
                <c:pt idx="171">
                  <c:v>-0.18036150562124631</c:v>
                </c:pt>
                <c:pt idx="172">
                  <c:v>-0.20008227438507364</c:v>
                </c:pt>
                <c:pt idx="173">
                  <c:v>-0.21438999061871278</c:v>
                </c:pt>
                <c:pt idx="174">
                  <c:v>-0.21756558121334602</c:v>
                </c:pt>
                <c:pt idx="175">
                  <c:v>-0.2019886320880131</c:v>
                </c:pt>
                <c:pt idx="176">
                  <c:v>-0.2019886320880131</c:v>
                </c:pt>
                <c:pt idx="177">
                  <c:v>-0.2019886320880131</c:v>
                </c:pt>
                <c:pt idx="178">
                  <c:v>-0.19298360030702344</c:v>
                </c:pt>
                <c:pt idx="179">
                  <c:v>-0.17234476980730706</c:v>
                </c:pt>
                <c:pt idx="180">
                  <c:v>-0.19247189376570839</c:v>
                </c:pt>
                <c:pt idx="181">
                  <c:v>-0.19618929128644014</c:v>
                </c:pt>
                <c:pt idx="182">
                  <c:v>-0.18752038046886343</c:v>
                </c:pt>
                <c:pt idx="183">
                  <c:v>-0.18752038046886343</c:v>
                </c:pt>
                <c:pt idx="184">
                  <c:v>-0.18752038046886343</c:v>
                </c:pt>
                <c:pt idx="185">
                  <c:v>-0.19764414321763069</c:v>
                </c:pt>
                <c:pt idx="186">
                  <c:v>-0.22524117933307564</c:v>
                </c:pt>
                <c:pt idx="187">
                  <c:v>-0.22733817280630875</c:v>
                </c:pt>
                <c:pt idx="188">
                  <c:v>-0.19358059127189142</c:v>
                </c:pt>
                <c:pt idx="189">
                  <c:v>-0.20950871155302908</c:v>
                </c:pt>
                <c:pt idx="190">
                  <c:v>-0.20950871155302908</c:v>
                </c:pt>
                <c:pt idx="191">
                  <c:v>-0.20950871155302908</c:v>
                </c:pt>
                <c:pt idx="192">
                  <c:v>-0.20309231286339924</c:v>
                </c:pt>
                <c:pt idx="193">
                  <c:v>-0.18142505255025487</c:v>
                </c:pt>
                <c:pt idx="194">
                  <c:v>-0.18316084140608901</c:v>
                </c:pt>
                <c:pt idx="195">
                  <c:v>-0.17081968364495559</c:v>
                </c:pt>
                <c:pt idx="196">
                  <c:v>-0.17081968364495559</c:v>
                </c:pt>
                <c:pt idx="197">
                  <c:v>-0.17081968364495559</c:v>
                </c:pt>
                <c:pt idx="198">
                  <c:v>-0.17081968364495559</c:v>
                </c:pt>
                <c:pt idx="199">
                  <c:v>-0.17349360115986778</c:v>
                </c:pt>
                <c:pt idx="200">
                  <c:v>-0.16499525918939628</c:v>
                </c:pt>
                <c:pt idx="201">
                  <c:v>-0.1324768101618895</c:v>
                </c:pt>
                <c:pt idx="202">
                  <c:v>-0.12158047087035229</c:v>
                </c:pt>
                <c:pt idx="203">
                  <c:v>-0.12908550014297637</c:v>
                </c:pt>
                <c:pt idx="204">
                  <c:v>-0.12908550014297637</c:v>
                </c:pt>
                <c:pt idx="205">
                  <c:v>-0.12908550014297637</c:v>
                </c:pt>
                <c:pt idx="206">
                  <c:v>-0.14213401694651628</c:v>
                </c:pt>
                <c:pt idx="207">
                  <c:v>-0.15255878354311603</c:v>
                </c:pt>
                <c:pt idx="208">
                  <c:v>-0.13904371077543565</c:v>
                </c:pt>
                <c:pt idx="209">
                  <c:v>-0.13492497479092724</c:v>
                </c:pt>
                <c:pt idx="210">
                  <c:v>-0.12191157510296791</c:v>
                </c:pt>
                <c:pt idx="211">
                  <c:v>-0.12191157510296791</c:v>
                </c:pt>
                <c:pt idx="212">
                  <c:v>-0.12191157510296791</c:v>
                </c:pt>
                <c:pt idx="213">
                  <c:v>-0.12438482338599166</c:v>
                </c:pt>
                <c:pt idx="214">
                  <c:v>-0.11248012120421558</c:v>
                </c:pt>
                <c:pt idx="215">
                  <c:v>-0.11170754466144528</c:v>
                </c:pt>
                <c:pt idx="216">
                  <c:v>-0.12481124550375455</c:v>
                </c:pt>
                <c:pt idx="217">
                  <c:v>-0.11214901697159974</c:v>
                </c:pt>
                <c:pt idx="218">
                  <c:v>-0.11214901697159974</c:v>
                </c:pt>
                <c:pt idx="219">
                  <c:v>-0.11214901697159974</c:v>
                </c:pt>
                <c:pt idx="220">
                  <c:v>-0.11430119448360221</c:v>
                </c:pt>
                <c:pt idx="221">
                  <c:v>-0.11584634756914258</c:v>
                </c:pt>
                <c:pt idx="222">
                  <c:v>-0.11970421355219618</c:v>
                </c:pt>
                <c:pt idx="223">
                  <c:v>-0.11983464855292358</c:v>
                </c:pt>
                <c:pt idx="224">
                  <c:v>-0.12642161608965863</c:v>
                </c:pt>
                <c:pt idx="225">
                  <c:v>-0.12642161608965863</c:v>
                </c:pt>
                <c:pt idx="226">
                  <c:v>-0.12642161608965863</c:v>
                </c:pt>
                <c:pt idx="227">
                  <c:v>-0.12407378607656483</c:v>
                </c:pt>
                <c:pt idx="228">
                  <c:v>-0.12370254799757141</c:v>
                </c:pt>
                <c:pt idx="229">
                  <c:v>-9.8633944203919466E-2</c:v>
                </c:pt>
                <c:pt idx="230">
                  <c:v>-9.6170729382489939E-2</c:v>
                </c:pt>
                <c:pt idx="231">
                  <c:v>-9.3562029367941446E-2</c:v>
                </c:pt>
                <c:pt idx="232">
                  <c:v>-9.3562029367941446E-2</c:v>
                </c:pt>
                <c:pt idx="233">
                  <c:v>-9.3562029367941446E-2</c:v>
                </c:pt>
                <c:pt idx="234">
                  <c:v>-7.8918192170889134E-2</c:v>
                </c:pt>
                <c:pt idx="235">
                  <c:v>-8.1336256415143637E-2</c:v>
                </c:pt>
                <c:pt idx="236">
                  <c:v>-9.5563704956027729E-2</c:v>
                </c:pt>
                <c:pt idx="237">
                  <c:v>-9.2654001093646521E-2</c:v>
                </c:pt>
                <c:pt idx="238">
                  <c:v>-0.10336973807648431</c:v>
                </c:pt>
                <c:pt idx="239">
                  <c:v>-0.10336973807648431</c:v>
                </c:pt>
                <c:pt idx="240">
                  <c:v>-0.10336973807648431</c:v>
                </c:pt>
                <c:pt idx="241">
                  <c:v>-0.10336973807648431</c:v>
                </c:pt>
                <c:pt idx="242">
                  <c:v>-0.11030286003822676</c:v>
                </c:pt>
                <c:pt idx="243">
                  <c:v>-0.12402361876859247</c:v>
                </c:pt>
                <c:pt idx="244">
                  <c:v>-0.11851524835325722</c:v>
                </c:pt>
                <c:pt idx="245">
                  <c:v>-0.11511390487274975</c:v>
                </c:pt>
                <c:pt idx="246">
                  <c:v>-0.11511390487274975</c:v>
                </c:pt>
                <c:pt idx="247">
                  <c:v>-0.11511390487274975</c:v>
                </c:pt>
                <c:pt idx="248">
                  <c:v>-0.11057376350127568</c:v>
                </c:pt>
                <c:pt idx="249">
                  <c:v>-9.9015215744506779E-2</c:v>
                </c:pt>
                <c:pt idx="250">
                  <c:v>-0.1084015190660842</c:v>
                </c:pt>
                <c:pt idx="251">
                  <c:v>-0.10351522326960294</c:v>
                </c:pt>
                <c:pt idx="252">
                  <c:v>-0.11193329754731929</c:v>
                </c:pt>
                <c:pt idx="253">
                  <c:v>-0.11193329754731929</c:v>
                </c:pt>
                <c:pt idx="254">
                  <c:v>-0.11193329754731929</c:v>
                </c:pt>
                <c:pt idx="255">
                  <c:v>-0.11934802566559355</c:v>
                </c:pt>
                <c:pt idx="256">
                  <c:v>-0.11831959585216578</c:v>
                </c:pt>
                <c:pt idx="257">
                  <c:v>-0.12812228782991142</c:v>
                </c:pt>
                <c:pt idx="258">
                  <c:v>-0.1433631159918316</c:v>
                </c:pt>
                <c:pt idx="259">
                  <c:v>-0.14723101543647954</c:v>
                </c:pt>
                <c:pt idx="260">
                  <c:v>-0.14723101543647954</c:v>
                </c:pt>
                <c:pt idx="261">
                  <c:v>-0.14723101543647954</c:v>
                </c:pt>
                <c:pt idx="262">
                  <c:v>-0.15137483507497385</c:v>
                </c:pt>
                <c:pt idx="263">
                  <c:v>-0.14845509775099819</c:v>
                </c:pt>
                <c:pt idx="264">
                  <c:v>-0.14100525251714335</c:v>
                </c:pt>
                <c:pt idx="265">
                  <c:v>-0.13122262746258639</c:v>
                </c:pt>
                <c:pt idx="266">
                  <c:v>-0.13943501577761697</c:v>
                </c:pt>
                <c:pt idx="267">
                  <c:v>-0.13943501577761697</c:v>
                </c:pt>
                <c:pt idx="268">
                  <c:v>-0.13943501577761697</c:v>
                </c:pt>
                <c:pt idx="269">
                  <c:v>-0.14417582638097926</c:v>
                </c:pt>
                <c:pt idx="270">
                  <c:v>-0.14546512619586183</c:v>
                </c:pt>
                <c:pt idx="271">
                  <c:v>-0.14935810929449589</c:v>
                </c:pt>
                <c:pt idx="272">
                  <c:v>-0.13872264000441348</c:v>
                </c:pt>
                <c:pt idx="273">
                  <c:v>-0.13997180597291836</c:v>
                </c:pt>
                <c:pt idx="274">
                  <c:v>-0.13997180597291836</c:v>
                </c:pt>
                <c:pt idx="275">
                  <c:v>-0.13997180597291836</c:v>
                </c:pt>
                <c:pt idx="276">
                  <c:v>-0.13133801227092234</c:v>
                </c:pt>
                <c:pt idx="277">
                  <c:v>-0.13278283074051833</c:v>
                </c:pt>
                <c:pt idx="278">
                  <c:v>-0.13278283074051833</c:v>
                </c:pt>
                <c:pt idx="279">
                  <c:v>-0.14330291522226501</c:v>
                </c:pt>
                <c:pt idx="280">
                  <c:v>-0.16325947033356136</c:v>
                </c:pt>
                <c:pt idx="281">
                  <c:v>-0.16325947033356136</c:v>
                </c:pt>
                <c:pt idx="282">
                  <c:v>-0.16325947033356136</c:v>
                </c:pt>
                <c:pt idx="283">
                  <c:v>-0.15749022991677131</c:v>
                </c:pt>
                <c:pt idx="284">
                  <c:v>-0.16957553440724704</c:v>
                </c:pt>
                <c:pt idx="285">
                  <c:v>-0.17046349575835307</c:v>
                </c:pt>
                <c:pt idx="286">
                  <c:v>-0.15080292776409199</c:v>
                </c:pt>
                <c:pt idx="287">
                  <c:v>-0.14549522658064529</c:v>
                </c:pt>
                <c:pt idx="288">
                  <c:v>-0.14549522658064529</c:v>
                </c:pt>
                <c:pt idx="289">
                  <c:v>-0.14549522658064529</c:v>
                </c:pt>
                <c:pt idx="290">
                  <c:v>-0.15479624547867021</c:v>
                </c:pt>
                <c:pt idx="291">
                  <c:v>-0.14636813773935953</c:v>
                </c:pt>
                <c:pt idx="292">
                  <c:v>-0.15103369738076355</c:v>
                </c:pt>
                <c:pt idx="293">
                  <c:v>-0.1458915483136245</c:v>
                </c:pt>
                <c:pt idx="294">
                  <c:v>-0.14882633582999139</c:v>
                </c:pt>
                <c:pt idx="295">
                  <c:v>-0.14882633582999139</c:v>
                </c:pt>
                <c:pt idx="296">
                  <c:v>-0.14882633582999139</c:v>
                </c:pt>
                <c:pt idx="297">
                  <c:v>-0.16275779725383999</c:v>
                </c:pt>
                <c:pt idx="298">
                  <c:v>-0.17637320463746442</c:v>
                </c:pt>
                <c:pt idx="299">
                  <c:v>-0.16312903533283341</c:v>
                </c:pt>
                <c:pt idx="300">
                  <c:v>-0.1543698233609071</c:v>
                </c:pt>
                <c:pt idx="301">
                  <c:v>-0.15227784661847099</c:v>
                </c:pt>
                <c:pt idx="302">
                  <c:v>-0.15227784661847099</c:v>
                </c:pt>
                <c:pt idx="303">
                  <c:v>-0.15227784661847099</c:v>
                </c:pt>
                <c:pt idx="304">
                  <c:v>-0.15316079123877968</c:v>
                </c:pt>
                <c:pt idx="305">
                  <c:v>-0.14843503082780907</c:v>
                </c:pt>
                <c:pt idx="306">
                  <c:v>-0.14502867061650426</c:v>
                </c:pt>
                <c:pt idx="307">
                  <c:v>-0.14155207617403875</c:v>
                </c:pt>
                <c:pt idx="308">
                  <c:v>-0.14593669889079897</c:v>
                </c:pt>
                <c:pt idx="309">
                  <c:v>-0.14593669889079897</c:v>
                </c:pt>
                <c:pt idx="310">
                  <c:v>-0.14593669889079897</c:v>
                </c:pt>
                <c:pt idx="311">
                  <c:v>-0.15566915663738401</c:v>
                </c:pt>
                <c:pt idx="312">
                  <c:v>-0.15287483758333886</c:v>
                </c:pt>
                <c:pt idx="313">
                  <c:v>-0.16743339035683857</c:v>
                </c:pt>
                <c:pt idx="314">
                  <c:v>-0.16734308920248875</c:v>
                </c:pt>
                <c:pt idx="315">
                  <c:v>-0.16260227859912657</c:v>
                </c:pt>
                <c:pt idx="316">
                  <c:v>-0.16260227859912657</c:v>
                </c:pt>
                <c:pt idx="317">
                  <c:v>-0.16260227859912657</c:v>
                </c:pt>
                <c:pt idx="318">
                  <c:v>-0.16172435070961511</c:v>
                </c:pt>
                <c:pt idx="319">
                  <c:v>-0.16490997476584268</c:v>
                </c:pt>
                <c:pt idx="320">
                  <c:v>-0.17087988441452096</c:v>
                </c:pt>
                <c:pt idx="321">
                  <c:v>-0.16828623459236403</c:v>
                </c:pt>
                <c:pt idx="322">
                  <c:v>-0.18209729447707956</c:v>
                </c:pt>
                <c:pt idx="323">
                  <c:v>-0.18209729447707956</c:v>
                </c:pt>
                <c:pt idx="324">
                  <c:v>-0.18209729447707956</c:v>
                </c:pt>
                <c:pt idx="325">
                  <c:v>-0.17545514290157527</c:v>
                </c:pt>
                <c:pt idx="326">
                  <c:v>-0.18541335353403443</c:v>
                </c:pt>
                <c:pt idx="327">
                  <c:v>-0.17968424696362206</c:v>
                </c:pt>
                <c:pt idx="328">
                  <c:v>-0.18193675909156881</c:v>
                </c:pt>
                <c:pt idx="329">
                  <c:v>-0.16584810342492051</c:v>
                </c:pt>
                <c:pt idx="330">
                  <c:v>-0.16584810342492051</c:v>
                </c:pt>
                <c:pt idx="331">
                  <c:v>-0.16584810342492051</c:v>
                </c:pt>
                <c:pt idx="332">
                  <c:v>-0.16987152152428187</c:v>
                </c:pt>
                <c:pt idx="333">
                  <c:v>-0.18231803063215646</c:v>
                </c:pt>
                <c:pt idx="334">
                  <c:v>-0.1912779118359712</c:v>
                </c:pt>
                <c:pt idx="335">
                  <c:v>-0.20496355345075656</c:v>
                </c:pt>
                <c:pt idx="336">
                  <c:v>-0.20174782900974564</c:v>
                </c:pt>
                <c:pt idx="337">
                  <c:v>-0.20174782900974564</c:v>
                </c:pt>
                <c:pt idx="338">
                  <c:v>-0.20174782900974564</c:v>
                </c:pt>
                <c:pt idx="339">
                  <c:v>-0.20174782900974564</c:v>
                </c:pt>
                <c:pt idx="340">
                  <c:v>-0.20219431805069732</c:v>
                </c:pt>
                <c:pt idx="341">
                  <c:v>-0.20287659343911768</c:v>
                </c:pt>
                <c:pt idx="342">
                  <c:v>-0.2206960212308029</c:v>
                </c:pt>
                <c:pt idx="343">
                  <c:v>-0.23521444015792492</c:v>
                </c:pt>
                <c:pt idx="344">
                  <c:v>-0.23521444015792492</c:v>
                </c:pt>
                <c:pt idx="345">
                  <c:v>-0.23521444015792492</c:v>
                </c:pt>
                <c:pt idx="346">
                  <c:v>-0.2304435291697795</c:v>
                </c:pt>
                <c:pt idx="347">
                  <c:v>-0.2304435291697795</c:v>
                </c:pt>
                <c:pt idx="348">
                  <c:v>-0.2304435291697795</c:v>
                </c:pt>
                <c:pt idx="349">
                  <c:v>-0.2304435291697795</c:v>
                </c:pt>
                <c:pt idx="350">
                  <c:v>-0.2304435291697795</c:v>
                </c:pt>
                <c:pt idx="351">
                  <c:v>-0.2304435291697795</c:v>
                </c:pt>
                <c:pt idx="352">
                  <c:v>-0.2304435291697795</c:v>
                </c:pt>
                <c:pt idx="353">
                  <c:v>-0.26805897668725032</c:v>
                </c:pt>
                <c:pt idx="354">
                  <c:v>-0.27230313094168901</c:v>
                </c:pt>
                <c:pt idx="355">
                  <c:v>-0.28398709696838809</c:v>
                </c:pt>
                <c:pt idx="356">
                  <c:v>-0.30622124786161697</c:v>
                </c:pt>
                <c:pt idx="357">
                  <c:v>-0.31942528331987041</c:v>
                </c:pt>
                <c:pt idx="358">
                  <c:v>-0.31942528331987041</c:v>
                </c:pt>
                <c:pt idx="359">
                  <c:v>-0.31942528331987041</c:v>
                </c:pt>
                <c:pt idx="360">
                  <c:v>-0.29289179413343347</c:v>
                </c:pt>
                <c:pt idx="361">
                  <c:v>-0.28666603121409751</c:v>
                </c:pt>
                <c:pt idx="362">
                  <c:v>-0.29012757546417145</c:v>
                </c:pt>
                <c:pt idx="363">
                  <c:v>-0.28196033772631579</c:v>
                </c:pt>
                <c:pt idx="364">
                  <c:v>-0.26620780302308056</c:v>
                </c:pt>
                <c:pt idx="365">
                  <c:v>-0.26620780302308056</c:v>
                </c:pt>
                <c:pt idx="366">
                  <c:v>-0.26620780302308056</c:v>
                </c:pt>
                <c:pt idx="367">
                  <c:v>-0.26789342457094278</c:v>
                </c:pt>
                <c:pt idx="368">
                  <c:v>-0.25888337605915601</c:v>
                </c:pt>
                <c:pt idx="369">
                  <c:v>-0.24396361866825733</c:v>
                </c:pt>
                <c:pt idx="370">
                  <c:v>-0.2458298425248191</c:v>
                </c:pt>
                <c:pt idx="371">
                  <c:v>-0.24442515790160069</c:v>
                </c:pt>
                <c:pt idx="372">
                  <c:v>-0.24442515790160069</c:v>
                </c:pt>
                <c:pt idx="373">
                  <c:v>-0.24442515790160069</c:v>
                </c:pt>
                <c:pt idx="374">
                  <c:v>-0.25073118851369192</c:v>
                </c:pt>
                <c:pt idx="375">
                  <c:v>-0.25469942257428391</c:v>
                </c:pt>
                <c:pt idx="376">
                  <c:v>-0.2375723036326135</c:v>
                </c:pt>
                <c:pt idx="377">
                  <c:v>-0.22592847145229211</c:v>
                </c:pt>
                <c:pt idx="378">
                  <c:v>-0.23000205685962571</c:v>
                </c:pt>
                <c:pt idx="379">
                  <c:v>-0.23000205685962571</c:v>
                </c:pt>
                <c:pt idx="380">
                  <c:v>-0.23000205685962571</c:v>
                </c:pt>
                <c:pt idx="381">
                  <c:v>-0.23117597186617245</c:v>
                </c:pt>
                <c:pt idx="382">
                  <c:v>-0.22584318702873951</c:v>
                </c:pt>
                <c:pt idx="383">
                  <c:v>-0.24021612076274246</c:v>
                </c:pt>
                <c:pt idx="384">
                  <c:v>-0.24618101368062373</c:v>
                </c:pt>
                <c:pt idx="385">
                  <c:v>-0.24274455308453569</c:v>
                </c:pt>
                <c:pt idx="386">
                  <c:v>-0.24274455308453569</c:v>
                </c:pt>
                <c:pt idx="387">
                  <c:v>-0.24274455308453569</c:v>
                </c:pt>
                <c:pt idx="388">
                  <c:v>-0.23116092167378088</c:v>
                </c:pt>
                <c:pt idx="389">
                  <c:v>-0.23477296784777113</c:v>
                </c:pt>
                <c:pt idx="390">
                  <c:v>-0.23446694726914141</c:v>
                </c:pt>
                <c:pt idx="391">
                  <c:v>-0.22396191297978629</c:v>
                </c:pt>
                <c:pt idx="392">
                  <c:v>-0.2207712721927616</c:v>
                </c:pt>
                <c:pt idx="393">
                  <c:v>-0.2207712721927616</c:v>
                </c:pt>
                <c:pt idx="394">
                  <c:v>-0.2207712721927616</c:v>
                </c:pt>
                <c:pt idx="395">
                  <c:v>-0.23926795864206996</c:v>
                </c:pt>
                <c:pt idx="396">
                  <c:v>-0.25228637506082663</c:v>
                </c:pt>
                <c:pt idx="397">
                  <c:v>-0.25221614082966581</c:v>
                </c:pt>
                <c:pt idx="398">
                  <c:v>-0.23496862034886223</c:v>
                </c:pt>
                <c:pt idx="399">
                  <c:v>-0.23276627552888762</c:v>
                </c:pt>
                <c:pt idx="400">
                  <c:v>-0.23276627552888762</c:v>
                </c:pt>
                <c:pt idx="401">
                  <c:v>-0.23276627552888762</c:v>
                </c:pt>
                <c:pt idx="402">
                  <c:v>-0.22170940085183954</c:v>
                </c:pt>
                <c:pt idx="403">
                  <c:v>-0.21040168963493111</c:v>
                </c:pt>
                <c:pt idx="404">
                  <c:v>-0.21229299714547878</c:v>
                </c:pt>
                <c:pt idx="405">
                  <c:v>-0.21032142194217585</c:v>
                </c:pt>
                <c:pt idx="406">
                  <c:v>-0.20905720578127929</c:v>
                </c:pt>
                <c:pt idx="407">
                  <c:v>-0.20905720578127929</c:v>
                </c:pt>
                <c:pt idx="408">
                  <c:v>-0.20905720578127929</c:v>
                </c:pt>
                <c:pt idx="409">
                  <c:v>-0.21045687367370058</c:v>
                </c:pt>
                <c:pt idx="410">
                  <c:v>-0.19567758474512376</c:v>
                </c:pt>
                <c:pt idx="411">
                  <c:v>-0.19399196319726164</c:v>
                </c:pt>
                <c:pt idx="412">
                  <c:v>-0.19326453723166648</c:v>
                </c:pt>
                <c:pt idx="413">
                  <c:v>-0.19573276878389301</c:v>
                </c:pt>
                <c:pt idx="414">
                  <c:v>-0.19573276878389301</c:v>
                </c:pt>
                <c:pt idx="415">
                  <c:v>-0.19573276878389301</c:v>
                </c:pt>
                <c:pt idx="416">
                  <c:v>-0.18695850661957503</c:v>
                </c:pt>
                <c:pt idx="417">
                  <c:v>-0.19285818203709248</c:v>
                </c:pt>
                <c:pt idx="418">
                  <c:v>-0.19681136590529291</c:v>
                </c:pt>
                <c:pt idx="419">
                  <c:v>-0.19681136590529291</c:v>
                </c:pt>
                <c:pt idx="420">
                  <c:v>-0.18739997892972937</c:v>
                </c:pt>
                <c:pt idx="421">
                  <c:v>-0.18739997892972937</c:v>
                </c:pt>
                <c:pt idx="422">
                  <c:v>-0.18739997892972937</c:v>
                </c:pt>
                <c:pt idx="423">
                  <c:v>-0.18239328159411494</c:v>
                </c:pt>
                <c:pt idx="424">
                  <c:v>-0.18798191970220557</c:v>
                </c:pt>
                <c:pt idx="425">
                  <c:v>-0.20265084055324367</c:v>
                </c:pt>
                <c:pt idx="426">
                  <c:v>-0.19431805069908015</c:v>
                </c:pt>
                <c:pt idx="427">
                  <c:v>-0.19485484089438154</c:v>
                </c:pt>
                <c:pt idx="428">
                  <c:v>-0.19485484089438154</c:v>
                </c:pt>
                <c:pt idx="429">
                  <c:v>-0.19485484089438154</c:v>
                </c:pt>
                <c:pt idx="430">
                  <c:v>-0.20159732708583011</c:v>
                </c:pt>
                <c:pt idx="431">
                  <c:v>-0.19107222587328632</c:v>
                </c:pt>
                <c:pt idx="432">
                  <c:v>-0.17274109154028572</c:v>
                </c:pt>
                <c:pt idx="433">
                  <c:v>-0.17500865386062414</c:v>
                </c:pt>
                <c:pt idx="434">
                  <c:v>-0.18121936658756854</c:v>
                </c:pt>
                <c:pt idx="435">
                  <c:v>-0.18121936658756854</c:v>
                </c:pt>
                <c:pt idx="436">
                  <c:v>-0.18121936658756854</c:v>
                </c:pt>
                <c:pt idx="437">
                  <c:v>-0.19419764915994731</c:v>
                </c:pt>
                <c:pt idx="438">
                  <c:v>-0.19644012782629972</c:v>
                </c:pt>
                <c:pt idx="439">
                  <c:v>-0.1960939734012922</c:v>
                </c:pt>
                <c:pt idx="440">
                  <c:v>-0.20857058289395036</c:v>
                </c:pt>
                <c:pt idx="441">
                  <c:v>-0.20594683268701031</c:v>
                </c:pt>
                <c:pt idx="442">
                  <c:v>-0.20594683268701031</c:v>
                </c:pt>
                <c:pt idx="443">
                  <c:v>-0.20594683268701031</c:v>
                </c:pt>
                <c:pt idx="444">
                  <c:v>-0.19795518052705674</c:v>
                </c:pt>
                <c:pt idx="445">
                  <c:v>-0.19188995299323142</c:v>
                </c:pt>
                <c:pt idx="446">
                  <c:v>-0.18715415912066646</c:v>
                </c:pt>
                <c:pt idx="447">
                  <c:v>-0.19385149473494001</c:v>
                </c:pt>
                <c:pt idx="448">
                  <c:v>-0.19032974971529948</c:v>
                </c:pt>
                <c:pt idx="449">
                  <c:v>-0.19032974971529948</c:v>
                </c:pt>
                <c:pt idx="450">
                  <c:v>-0.19032974971529948</c:v>
                </c:pt>
                <c:pt idx="451">
                  <c:v>-0.19050031856240468</c:v>
                </c:pt>
                <c:pt idx="452">
                  <c:v>-0.19050031856240468</c:v>
                </c:pt>
                <c:pt idx="453">
                  <c:v>-0.18715917585146369</c:v>
                </c:pt>
                <c:pt idx="454">
                  <c:v>-0.1814250525502541</c:v>
                </c:pt>
                <c:pt idx="455">
                  <c:v>-0.17864578368860051</c:v>
                </c:pt>
                <c:pt idx="456">
                  <c:v>-0.17864578368860051</c:v>
                </c:pt>
                <c:pt idx="457">
                  <c:v>-0.17864578368860051</c:v>
                </c:pt>
                <c:pt idx="458">
                  <c:v>-0.18780131739350647</c:v>
                </c:pt>
                <c:pt idx="459">
                  <c:v>-0.18780131739350647</c:v>
                </c:pt>
                <c:pt idx="460">
                  <c:v>-0.18302037294376661</c:v>
                </c:pt>
                <c:pt idx="461">
                  <c:v>-0.17551032694034507</c:v>
                </c:pt>
                <c:pt idx="462">
                  <c:v>-0.17038824479639492</c:v>
                </c:pt>
                <c:pt idx="463">
                  <c:v>-0.17038824479639492</c:v>
                </c:pt>
                <c:pt idx="464">
                  <c:v>-0.17038824479639492</c:v>
                </c:pt>
                <c:pt idx="465">
                  <c:v>-0.17577621367259721</c:v>
                </c:pt>
                <c:pt idx="466">
                  <c:v>-0.17852036541867033</c:v>
                </c:pt>
                <c:pt idx="467">
                  <c:v>-0.18242338197889874</c:v>
                </c:pt>
                <c:pt idx="468">
                  <c:v>-0.18141000235786264</c:v>
                </c:pt>
                <c:pt idx="469">
                  <c:v>-0.18912071759317239</c:v>
                </c:pt>
                <c:pt idx="470">
                  <c:v>-0.18912071759317239</c:v>
                </c:pt>
                <c:pt idx="471">
                  <c:v>-0.18912071759317239</c:v>
                </c:pt>
                <c:pt idx="472">
                  <c:v>-0.1942126993523392</c:v>
                </c:pt>
                <c:pt idx="473">
                  <c:v>-0.18870432893700406</c:v>
                </c:pt>
                <c:pt idx="474">
                  <c:v>-0.20181806324090756</c:v>
                </c:pt>
                <c:pt idx="475">
                  <c:v>-0.1938013274269681</c:v>
                </c:pt>
                <c:pt idx="476">
                  <c:v>-0.20179799631771878</c:v>
                </c:pt>
                <c:pt idx="477">
                  <c:v>-0.20179799631771878</c:v>
                </c:pt>
                <c:pt idx="478">
                  <c:v>-0.20179799631771878</c:v>
                </c:pt>
                <c:pt idx="479">
                  <c:v>-0.20179799631771878</c:v>
                </c:pt>
                <c:pt idx="480">
                  <c:v>-0.20765252115806132</c:v>
                </c:pt>
                <c:pt idx="481">
                  <c:v>-0.20136655746915877</c:v>
                </c:pt>
                <c:pt idx="482">
                  <c:v>-0.19855217149192472</c:v>
                </c:pt>
                <c:pt idx="483">
                  <c:v>-0.19775451129516852</c:v>
                </c:pt>
                <c:pt idx="484">
                  <c:v>-0.19775451129516852</c:v>
                </c:pt>
                <c:pt idx="485">
                  <c:v>-0.19775451129516852</c:v>
                </c:pt>
                <c:pt idx="486">
                  <c:v>-0.19789497975749037</c:v>
                </c:pt>
                <c:pt idx="487">
                  <c:v>-0.22078632238515361</c:v>
                </c:pt>
                <c:pt idx="488">
                  <c:v>-0.21152543733350637</c:v>
                </c:pt>
                <c:pt idx="489">
                  <c:v>-0.19965585226731064</c:v>
                </c:pt>
                <c:pt idx="490">
                  <c:v>-0.20531974133735909</c:v>
                </c:pt>
                <c:pt idx="491">
                  <c:v>-0.20531974133735909</c:v>
                </c:pt>
                <c:pt idx="492">
                  <c:v>-0.20531974133735909</c:v>
                </c:pt>
                <c:pt idx="493">
                  <c:v>-0.22497027587002549</c:v>
                </c:pt>
                <c:pt idx="494">
                  <c:v>-0.2280756322334978</c:v>
                </c:pt>
                <c:pt idx="495">
                  <c:v>-0.23260072341257998</c:v>
                </c:pt>
                <c:pt idx="496">
                  <c:v>-0.23481811842494638</c:v>
                </c:pt>
                <c:pt idx="497">
                  <c:v>-0.22344017297687702</c:v>
                </c:pt>
                <c:pt idx="498">
                  <c:v>-0.22344017297687702</c:v>
                </c:pt>
                <c:pt idx="499">
                  <c:v>-0.22344017297687702</c:v>
                </c:pt>
                <c:pt idx="500">
                  <c:v>-0.21226791349149332</c:v>
                </c:pt>
                <c:pt idx="501">
                  <c:v>-0.21540838697054587</c:v>
                </c:pt>
                <c:pt idx="502">
                  <c:v>-0.20734148384863438</c:v>
                </c:pt>
                <c:pt idx="503">
                  <c:v>-0.20871606808706944</c:v>
                </c:pt>
                <c:pt idx="504">
                  <c:v>-0.21740002909703771</c:v>
                </c:pt>
                <c:pt idx="505">
                  <c:v>-0.21740002909703771</c:v>
                </c:pt>
                <c:pt idx="506">
                  <c:v>-0.21740002909703771</c:v>
                </c:pt>
                <c:pt idx="507">
                  <c:v>-0.21740002909703771</c:v>
                </c:pt>
                <c:pt idx="508">
                  <c:v>-0.2321492176408313</c:v>
                </c:pt>
                <c:pt idx="509">
                  <c:v>-0.22171943431343444</c:v>
                </c:pt>
                <c:pt idx="510">
                  <c:v>-0.23377463841912693</c:v>
                </c:pt>
                <c:pt idx="511">
                  <c:v>-0.22746860780703559</c:v>
                </c:pt>
                <c:pt idx="512">
                  <c:v>-0.22746860780703559</c:v>
                </c:pt>
                <c:pt idx="513">
                  <c:v>-0.22746860780703559</c:v>
                </c:pt>
                <c:pt idx="514">
                  <c:v>-0.21358229696036191</c:v>
                </c:pt>
                <c:pt idx="515">
                  <c:v>-0.21355219657557856</c:v>
                </c:pt>
                <c:pt idx="516">
                  <c:v>-0.21286992118715831</c:v>
                </c:pt>
                <c:pt idx="517">
                  <c:v>-0.2150873161995247</c:v>
                </c:pt>
                <c:pt idx="518">
                  <c:v>-0.19731303898501418</c:v>
                </c:pt>
                <c:pt idx="519">
                  <c:v>-0.19731303898501418</c:v>
                </c:pt>
                <c:pt idx="520">
                  <c:v>-0.19731303898501418</c:v>
                </c:pt>
                <c:pt idx="521">
                  <c:v>-0.18164578870533143</c:v>
                </c:pt>
                <c:pt idx="522">
                  <c:v>-0.18710399181269455</c:v>
                </c:pt>
                <c:pt idx="523">
                  <c:v>-0.17514912232294622</c:v>
                </c:pt>
                <c:pt idx="524">
                  <c:v>-0.17883140272809739</c:v>
                </c:pt>
                <c:pt idx="525">
                  <c:v>-0.1740253746243714</c:v>
                </c:pt>
                <c:pt idx="526">
                  <c:v>-0.1740253746243714</c:v>
                </c:pt>
                <c:pt idx="527">
                  <c:v>-0.1740253746243714</c:v>
                </c:pt>
                <c:pt idx="528">
                  <c:v>-0.17121600537793447</c:v>
                </c:pt>
                <c:pt idx="529">
                  <c:v>-0.1731022961576848</c:v>
                </c:pt>
                <c:pt idx="530">
                  <c:v>-0.18103876427886911</c:v>
                </c:pt>
                <c:pt idx="531">
                  <c:v>-0.1817712069752615</c:v>
                </c:pt>
                <c:pt idx="532">
                  <c:v>-0.17246015461564213</c:v>
                </c:pt>
                <c:pt idx="533">
                  <c:v>-0.17246015461564213</c:v>
                </c:pt>
                <c:pt idx="534">
                  <c:v>-0.17246015461564213</c:v>
                </c:pt>
                <c:pt idx="535">
                  <c:v>-0.17287654327181046</c:v>
                </c:pt>
                <c:pt idx="536">
                  <c:v>-0.16951031690688345</c:v>
                </c:pt>
                <c:pt idx="537">
                  <c:v>-0.18255883371042325</c:v>
                </c:pt>
                <c:pt idx="538">
                  <c:v>-0.18130465101112114</c:v>
                </c:pt>
                <c:pt idx="539">
                  <c:v>-0.18477121199199231</c:v>
                </c:pt>
                <c:pt idx="540">
                  <c:v>-0.18477121199199231</c:v>
                </c:pt>
                <c:pt idx="541">
                  <c:v>-0.18477121199199231</c:v>
                </c:pt>
                <c:pt idx="542">
                  <c:v>-0.19671604802014631</c:v>
                </c:pt>
                <c:pt idx="543">
                  <c:v>-0.19189998645482598</c:v>
                </c:pt>
                <c:pt idx="544">
                  <c:v>-0.18756553104603768</c:v>
                </c:pt>
                <c:pt idx="545">
                  <c:v>-0.18556887218874862</c:v>
                </c:pt>
                <c:pt idx="546">
                  <c:v>-0.18556887218874862</c:v>
                </c:pt>
                <c:pt idx="547">
                  <c:v>-0.18556887218874862</c:v>
                </c:pt>
                <c:pt idx="548">
                  <c:v>-0.18556887218874862</c:v>
                </c:pt>
                <c:pt idx="549">
                  <c:v>-0.18617087988441361</c:v>
                </c:pt>
                <c:pt idx="550">
                  <c:v>-0.1931140353077504</c:v>
                </c:pt>
                <c:pt idx="551">
                  <c:v>-0.20103545323654304</c:v>
                </c:pt>
                <c:pt idx="552">
                  <c:v>-0.20035317784812257</c:v>
                </c:pt>
                <c:pt idx="553">
                  <c:v>-0.20290167709310447</c:v>
                </c:pt>
                <c:pt idx="554">
                  <c:v>-0.20290167709310447</c:v>
                </c:pt>
                <c:pt idx="555">
                  <c:v>-0.20290167709310447</c:v>
                </c:pt>
                <c:pt idx="556">
                  <c:v>-0.20089498477422096</c:v>
                </c:pt>
                <c:pt idx="557">
                  <c:v>-0.20617258557288476</c:v>
                </c:pt>
                <c:pt idx="558">
                  <c:v>-0.19714247013790909</c:v>
                </c:pt>
                <c:pt idx="559">
                  <c:v>-0.2161257794745467</c:v>
                </c:pt>
                <c:pt idx="560">
                  <c:v>-0.21092342963784128</c:v>
                </c:pt>
                <c:pt idx="561">
                  <c:v>-0.21092342963784128</c:v>
                </c:pt>
                <c:pt idx="562">
                  <c:v>-0.21092342963784128</c:v>
                </c:pt>
                <c:pt idx="563">
                  <c:v>-0.21692845640210012</c:v>
                </c:pt>
                <c:pt idx="564">
                  <c:v>-0.1985872886075053</c:v>
                </c:pt>
                <c:pt idx="565">
                  <c:v>-0.20017257553942325</c:v>
                </c:pt>
                <c:pt idx="566">
                  <c:v>-0.20129632323799806</c:v>
                </c:pt>
                <c:pt idx="567">
                  <c:v>-0.20079966688907425</c:v>
                </c:pt>
                <c:pt idx="568">
                  <c:v>-0.20079966688907425</c:v>
                </c:pt>
                <c:pt idx="569">
                  <c:v>-0.20079966688907425</c:v>
                </c:pt>
                <c:pt idx="570">
                  <c:v>-0.21311574099622155</c:v>
                </c:pt>
                <c:pt idx="571">
                  <c:v>-0.21799702006190569</c:v>
                </c:pt>
                <c:pt idx="572">
                  <c:v>-0.22354050759282118</c:v>
                </c:pt>
                <c:pt idx="573">
                  <c:v>-0.22471442259936814</c:v>
                </c:pt>
                <c:pt idx="574">
                  <c:v>-0.23541009265901713</c:v>
                </c:pt>
                <c:pt idx="575">
                  <c:v>-0.23541009265901713</c:v>
                </c:pt>
                <c:pt idx="576">
                  <c:v>-0.23541009265901713</c:v>
                </c:pt>
                <c:pt idx="577">
                  <c:v>-0.2431007409711381</c:v>
                </c:pt>
                <c:pt idx="578">
                  <c:v>-0.234948553425674</c:v>
                </c:pt>
                <c:pt idx="579">
                  <c:v>-0.22810071588748404</c:v>
                </c:pt>
                <c:pt idx="580">
                  <c:v>-0.22934988185598904</c:v>
                </c:pt>
                <c:pt idx="581">
                  <c:v>-0.2372361826692011</c:v>
                </c:pt>
                <c:pt idx="582">
                  <c:v>-0.2372361826692011</c:v>
                </c:pt>
                <c:pt idx="583">
                  <c:v>-0.2372361826692011</c:v>
                </c:pt>
                <c:pt idx="584">
                  <c:v>-0.25198035448219747</c:v>
                </c:pt>
                <c:pt idx="585">
                  <c:v>-0.25422784987934699</c:v>
                </c:pt>
                <c:pt idx="586">
                  <c:v>-0.22615422433816701</c:v>
                </c:pt>
                <c:pt idx="587">
                  <c:v>-0.23726126632318711</c:v>
                </c:pt>
                <c:pt idx="588">
                  <c:v>-0.2500639633176639</c:v>
                </c:pt>
                <c:pt idx="589">
                  <c:v>-0.2500639633176639</c:v>
                </c:pt>
                <c:pt idx="590">
                  <c:v>-0.2500639633176639</c:v>
                </c:pt>
                <c:pt idx="591">
                  <c:v>-0.23605223420106003</c:v>
                </c:pt>
                <c:pt idx="592">
                  <c:v>-0.21987829411085913</c:v>
                </c:pt>
                <c:pt idx="593">
                  <c:v>-0.22404719740333956</c:v>
                </c:pt>
                <c:pt idx="594">
                  <c:v>-0.21893013199018674</c:v>
                </c:pt>
                <c:pt idx="595">
                  <c:v>-0.21278965349440315</c:v>
                </c:pt>
                <c:pt idx="596">
                  <c:v>-0.21278965349440315</c:v>
                </c:pt>
                <c:pt idx="597">
                  <c:v>-0.21278965349440315</c:v>
                </c:pt>
                <c:pt idx="598">
                  <c:v>-0.22325455393738047</c:v>
                </c:pt>
                <c:pt idx="599">
                  <c:v>-0.23177797956183799</c:v>
                </c:pt>
                <c:pt idx="600">
                  <c:v>-0.22736325646029432</c:v>
                </c:pt>
                <c:pt idx="601">
                  <c:v>-0.2194869891086767</c:v>
                </c:pt>
                <c:pt idx="602">
                  <c:v>-0.22891844300742903</c:v>
                </c:pt>
                <c:pt idx="603">
                  <c:v>-0.22891844300742903</c:v>
                </c:pt>
                <c:pt idx="604">
                  <c:v>-0.22891844300742903</c:v>
                </c:pt>
                <c:pt idx="605">
                  <c:v>-0.22891844300742903</c:v>
                </c:pt>
                <c:pt idx="606">
                  <c:v>-0.23550541054416396</c:v>
                </c:pt>
                <c:pt idx="607">
                  <c:v>-0.2403014051862955</c:v>
                </c:pt>
                <c:pt idx="608">
                  <c:v>-0.24234823135155659</c:v>
                </c:pt>
                <c:pt idx="609">
                  <c:v>-0.2405823421109391</c:v>
                </c:pt>
                <c:pt idx="610">
                  <c:v>-0.2405823421109391</c:v>
                </c:pt>
                <c:pt idx="611">
                  <c:v>-0.2405823421109391</c:v>
                </c:pt>
                <c:pt idx="612">
                  <c:v>-0.25940009933126895</c:v>
                </c:pt>
                <c:pt idx="613">
                  <c:v>-0.25939006586967461</c:v>
                </c:pt>
                <c:pt idx="614">
                  <c:v>-0.25256731198547078</c:v>
                </c:pt>
                <c:pt idx="615">
                  <c:v>-0.26730646706767003</c:v>
                </c:pt>
                <c:pt idx="616">
                  <c:v>-0.26845529842023075</c:v>
                </c:pt>
                <c:pt idx="617">
                  <c:v>-0.26845529842023075</c:v>
                </c:pt>
                <c:pt idx="618">
                  <c:v>-0.26845529842023075</c:v>
                </c:pt>
                <c:pt idx="619">
                  <c:v>-0.26616265244590631</c:v>
                </c:pt>
                <c:pt idx="620">
                  <c:v>-0.27835832501392066</c:v>
                </c:pt>
                <c:pt idx="621">
                  <c:v>-0.27349711287142553</c:v>
                </c:pt>
                <c:pt idx="622">
                  <c:v>-0.28109746002919678</c:v>
                </c:pt>
                <c:pt idx="623">
                  <c:v>-0.28271786407669519</c:v>
                </c:pt>
                <c:pt idx="624">
                  <c:v>-0.28271786407669519</c:v>
                </c:pt>
                <c:pt idx="625">
                  <c:v>-0.28271786407669519</c:v>
                </c:pt>
                <c:pt idx="626">
                  <c:v>-0.2621191674233565</c:v>
                </c:pt>
                <c:pt idx="627">
                  <c:v>-0.26141180838095002</c:v>
                </c:pt>
                <c:pt idx="628">
                  <c:v>-0.27358741402577558</c:v>
                </c:pt>
                <c:pt idx="629">
                  <c:v>-0.28333492196475207</c:v>
                </c:pt>
                <c:pt idx="630">
                  <c:v>-0.29554564472515787</c:v>
                </c:pt>
                <c:pt idx="631">
                  <c:v>-0.29554564472515787</c:v>
                </c:pt>
                <c:pt idx="632">
                  <c:v>-0.29554564472515787</c:v>
                </c:pt>
                <c:pt idx="633">
                  <c:v>-0.29299212874937886</c:v>
                </c:pt>
                <c:pt idx="634">
                  <c:v>-0.30479649631521089</c:v>
                </c:pt>
                <c:pt idx="635">
                  <c:v>-0.30629649882357635</c:v>
                </c:pt>
                <c:pt idx="636">
                  <c:v>-0.29409079279396766</c:v>
                </c:pt>
                <c:pt idx="637">
                  <c:v>-0.29467775029724097</c:v>
                </c:pt>
                <c:pt idx="638">
                  <c:v>-0.29467775029724097</c:v>
                </c:pt>
                <c:pt idx="639">
                  <c:v>-0.29467775029724097</c:v>
                </c:pt>
                <c:pt idx="640">
                  <c:v>-0.30975804307365018</c:v>
                </c:pt>
                <c:pt idx="641">
                  <c:v>-0.32426642853917775</c:v>
                </c:pt>
                <c:pt idx="642">
                  <c:v>-0.32003230774633351</c:v>
                </c:pt>
                <c:pt idx="643">
                  <c:v>-0.32003230774633351</c:v>
                </c:pt>
                <c:pt idx="644">
                  <c:v>-0.29504898837623428</c:v>
                </c:pt>
                <c:pt idx="645">
                  <c:v>-0.29504898837623428</c:v>
                </c:pt>
                <c:pt idx="646">
                  <c:v>-0.29504898837623428</c:v>
                </c:pt>
                <c:pt idx="647">
                  <c:v>-0.30345702919235595</c:v>
                </c:pt>
                <c:pt idx="648">
                  <c:v>-0.32061926524960693</c:v>
                </c:pt>
                <c:pt idx="649">
                  <c:v>-0.34366110980118647</c:v>
                </c:pt>
                <c:pt idx="650">
                  <c:v>-0.33870457977354407</c:v>
                </c:pt>
                <c:pt idx="651">
                  <c:v>-0.34296880095117144</c:v>
                </c:pt>
                <c:pt idx="652">
                  <c:v>-0.34296880095117144</c:v>
                </c:pt>
                <c:pt idx="653">
                  <c:v>-0.34296880095117144</c:v>
                </c:pt>
                <c:pt idx="654">
                  <c:v>-0.34543703250339819</c:v>
                </c:pt>
                <c:pt idx="655">
                  <c:v>-0.35746715295510478</c:v>
                </c:pt>
                <c:pt idx="656">
                  <c:v>-0.35385510678111454</c:v>
                </c:pt>
                <c:pt idx="657">
                  <c:v>-0.37129827976300922</c:v>
                </c:pt>
                <c:pt idx="658">
                  <c:v>-0.39540367124359699</c:v>
                </c:pt>
                <c:pt idx="659">
                  <c:v>-0.39540367124359699</c:v>
                </c:pt>
                <c:pt idx="660">
                  <c:v>-0.39540367124359699</c:v>
                </c:pt>
                <c:pt idx="661">
                  <c:v>-0.41531005904692098</c:v>
                </c:pt>
                <c:pt idx="662">
                  <c:v>-0.43110774432733123</c:v>
                </c:pt>
                <c:pt idx="663">
                  <c:v>-0.39848896068388029</c:v>
                </c:pt>
                <c:pt idx="664">
                  <c:v>-0.40186522051040163</c:v>
                </c:pt>
                <c:pt idx="665">
                  <c:v>-0.39176654141562051</c:v>
                </c:pt>
                <c:pt idx="666">
                  <c:v>-0.39176654141562051</c:v>
                </c:pt>
                <c:pt idx="667">
                  <c:v>-0.39176654141562051</c:v>
                </c:pt>
                <c:pt idx="668">
                  <c:v>-0.35881163680875672</c:v>
                </c:pt>
                <c:pt idx="669">
                  <c:v>-0.35604240140869758</c:v>
                </c:pt>
                <c:pt idx="670">
                  <c:v>-0.34966111983464809</c:v>
                </c:pt>
                <c:pt idx="671">
                  <c:v>-0.36878489763360744</c:v>
                </c:pt>
                <c:pt idx="672">
                  <c:v>-0.38334846713790438</c:v>
                </c:pt>
                <c:pt idx="673">
                  <c:v>-0.38334846713790438</c:v>
                </c:pt>
                <c:pt idx="674">
                  <c:v>-0.38334846713790438</c:v>
                </c:pt>
                <c:pt idx="675">
                  <c:v>-0.40447893725574735</c:v>
                </c:pt>
                <c:pt idx="676">
                  <c:v>-0.38665950946406213</c:v>
                </c:pt>
                <c:pt idx="677">
                  <c:v>-0.3742732011257538</c:v>
                </c:pt>
                <c:pt idx="678">
                  <c:v>-0.35378487254995361</c:v>
                </c:pt>
                <c:pt idx="679">
                  <c:v>-0.351366808305699</c:v>
                </c:pt>
                <c:pt idx="680">
                  <c:v>-0.351366808305699</c:v>
                </c:pt>
                <c:pt idx="681">
                  <c:v>-0.351366808305699</c:v>
                </c:pt>
                <c:pt idx="682">
                  <c:v>-0.35480326890178704</c:v>
                </c:pt>
                <c:pt idx="683">
                  <c:v>-0.36871466340244663</c:v>
                </c:pt>
                <c:pt idx="684">
                  <c:v>-0.34328987172219316</c:v>
                </c:pt>
                <c:pt idx="685">
                  <c:v>-0.33562430706405832</c:v>
                </c:pt>
                <c:pt idx="686">
                  <c:v>-0.33660758630031118</c:v>
                </c:pt>
                <c:pt idx="687">
                  <c:v>-0.33660758630031118</c:v>
                </c:pt>
                <c:pt idx="688">
                  <c:v>-0.33660758630031118</c:v>
                </c:pt>
                <c:pt idx="689">
                  <c:v>-0.32092026909743954</c:v>
                </c:pt>
                <c:pt idx="690">
                  <c:v>-0.33041694049655568</c:v>
                </c:pt>
                <c:pt idx="691">
                  <c:v>-0.32182829737173435</c:v>
                </c:pt>
                <c:pt idx="692">
                  <c:v>-0.31228145866464618</c:v>
                </c:pt>
                <c:pt idx="693">
                  <c:v>-0.32786342452077655</c:v>
                </c:pt>
                <c:pt idx="694">
                  <c:v>-0.32786342452077655</c:v>
                </c:pt>
                <c:pt idx="695">
                  <c:v>-0.32786342452077655</c:v>
                </c:pt>
                <c:pt idx="696">
                  <c:v>-0.32280154314639287</c:v>
                </c:pt>
                <c:pt idx="697">
                  <c:v>-0.33217279627557872</c:v>
                </c:pt>
                <c:pt idx="698">
                  <c:v>-0.34417281634250185</c:v>
                </c:pt>
                <c:pt idx="699">
                  <c:v>-0.34417281634250185</c:v>
                </c:pt>
                <c:pt idx="700">
                  <c:v>-0.34538686519542638</c:v>
                </c:pt>
                <c:pt idx="701">
                  <c:v>-0.34538686519542638</c:v>
                </c:pt>
                <c:pt idx="702">
                  <c:v>-0.34538686519542638</c:v>
                </c:pt>
                <c:pt idx="703">
                  <c:v>-0.34538686519542638</c:v>
                </c:pt>
                <c:pt idx="704">
                  <c:v>-0.37256751265470289</c:v>
                </c:pt>
                <c:pt idx="705">
                  <c:v>-0.36135511932294162</c:v>
                </c:pt>
                <c:pt idx="706">
                  <c:v>-0.37151901591808634</c:v>
                </c:pt>
                <c:pt idx="707">
                  <c:v>-0.36092869720517873</c:v>
                </c:pt>
                <c:pt idx="708">
                  <c:v>-0.36092869720517873</c:v>
                </c:pt>
                <c:pt idx="709">
                  <c:v>-0.36092869720517873</c:v>
                </c:pt>
                <c:pt idx="710">
                  <c:v>-0.35445209774598252</c:v>
                </c:pt>
                <c:pt idx="711">
                  <c:v>-0.34971630387341734</c:v>
                </c:pt>
                <c:pt idx="712">
                  <c:v>-0.34970627041182301</c:v>
                </c:pt>
                <c:pt idx="713">
                  <c:v>-0.36567452453933824</c:v>
                </c:pt>
                <c:pt idx="714">
                  <c:v>-0.36359258125849681</c:v>
                </c:pt>
                <c:pt idx="715">
                  <c:v>-0.36359258125849681</c:v>
                </c:pt>
                <c:pt idx="716">
                  <c:v>-0.36359258125849681</c:v>
                </c:pt>
                <c:pt idx="717">
                  <c:v>-0.36264943586862153</c:v>
                </c:pt>
                <c:pt idx="718">
                  <c:v>-0.37522136324642641</c:v>
                </c:pt>
                <c:pt idx="719">
                  <c:v>-0.37807588307003814</c:v>
                </c:pt>
                <c:pt idx="720">
                  <c:v>-0.39675818855884337</c:v>
                </c:pt>
                <c:pt idx="721">
                  <c:v>-0.39527323624286947</c:v>
                </c:pt>
                <c:pt idx="722">
                  <c:v>-0.39527323624286947</c:v>
                </c:pt>
                <c:pt idx="723">
                  <c:v>-0.39527323624286947</c:v>
                </c:pt>
                <c:pt idx="724">
                  <c:v>-0.40363110975101923</c:v>
                </c:pt>
                <c:pt idx="725">
                  <c:v>-0.4139354748084858</c:v>
                </c:pt>
                <c:pt idx="726">
                  <c:v>-0.39921638664947545</c:v>
                </c:pt>
                <c:pt idx="727">
                  <c:v>-0.3881595119724276</c:v>
                </c:pt>
                <c:pt idx="728">
                  <c:v>-0.40788529746705204</c:v>
                </c:pt>
                <c:pt idx="729">
                  <c:v>-0.40788529746705204</c:v>
                </c:pt>
                <c:pt idx="730">
                  <c:v>-0.40788529746705204</c:v>
                </c:pt>
                <c:pt idx="731">
                  <c:v>-0.41653414136143985</c:v>
                </c:pt>
                <c:pt idx="732">
                  <c:v>-0.39318125950043337</c:v>
                </c:pt>
                <c:pt idx="733">
                  <c:v>-0.40736355746414243</c:v>
                </c:pt>
                <c:pt idx="734">
                  <c:v>-0.41375988923058338</c:v>
                </c:pt>
                <c:pt idx="735">
                  <c:v>-0.42690874065006745</c:v>
                </c:pt>
                <c:pt idx="736">
                  <c:v>-0.42690874065006745</c:v>
                </c:pt>
                <c:pt idx="737">
                  <c:v>-0.42690874065006745</c:v>
                </c:pt>
                <c:pt idx="738">
                  <c:v>-0.43786528071117115</c:v>
                </c:pt>
                <c:pt idx="739">
                  <c:v>-0.42814285642618077</c:v>
                </c:pt>
                <c:pt idx="740">
                  <c:v>-0.44368970516673045</c:v>
                </c:pt>
                <c:pt idx="741">
                  <c:v>-0.42417963909638601</c:v>
                </c:pt>
                <c:pt idx="742">
                  <c:v>-0.40168963493249921</c:v>
                </c:pt>
                <c:pt idx="743">
                  <c:v>-0.40168963493249921</c:v>
                </c:pt>
                <c:pt idx="744">
                  <c:v>-0.40168963493249921</c:v>
                </c:pt>
                <c:pt idx="745">
                  <c:v>-0.397305012215739</c:v>
                </c:pt>
                <c:pt idx="746">
                  <c:v>-0.36877486417201311</c:v>
                </c:pt>
                <c:pt idx="747">
                  <c:v>-0.38394044137197503</c:v>
                </c:pt>
                <c:pt idx="748">
                  <c:v>-0.37018958225682597</c:v>
                </c:pt>
                <c:pt idx="749">
                  <c:v>-0.36646716800529722</c:v>
                </c:pt>
                <c:pt idx="750">
                  <c:v>-0.36646716800529722</c:v>
                </c:pt>
                <c:pt idx="751">
                  <c:v>-0.36646716800529722</c:v>
                </c:pt>
                <c:pt idx="752">
                  <c:v>-0.35548554429020729</c:v>
                </c:pt>
                <c:pt idx="753">
                  <c:v>-0.36233338182839714</c:v>
                </c:pt>
                <c:pt idx="754">
                  <c:v>-0.35804407699678376</c:v>
                </c:pt>
                <c:pt idx="755">
                  <c:v>-0.36780663512815182</c:v>
                </c:pt>
                <c:pt idx="756">
                  <c:v>-0.35695042968299229</c:v>
                </c:pt>
                <c:pt idx="757">
                  <c:v>-0.35695042968299229</c:v>
                </c:pt>
                <c:pt idx="758">
                  <c:v>-0.35695042968299229</c:v>
                </c:pt>
                <c:pt idx="759">
                  <c:v>-0.36227318105883066</c:v>
                </c:pt>
                <c:pt idx="760">
                  <c:v>-0.36799727089844581</c:v>
                </c:pt>
                <c:pt idx="761">
                  <c:v>-0.36174642432512383</c:v>
                </c:pt>
                <c:pt idx="762">
                  <c:v>-0.36517786819041453</c:v>
                </c:pt>
                <c:pt idx="763">
                  <c:v>-0.35428152889887721</c:v>
                </c:pt>
                <c:pt idx="764">
                  <c:v>-0.35428152889887721</c:v>
                </c:pt>
                <c:pt idx="765">
                  <c:v>-0.35428152889887721</c:v>
                </c:pt>
                <c:pt idx="766">
                  <c:v>-0.34898386117702485</c:v>
                </c:pt>
                <c:pt idx="767">
                  <c:v>-0.34391194634104683</c:v>
                </c:pt>
                <c:pt idx="768">
                  <c:v>-0.33777146784526335</c:v>
                </c:pt>
                <c:pt idx="769">
                  <c:v>-0.35276647619812018</c:v>
                </c:pt>
                <c:pt idx="770">
                  <c:v>-0.35839023142179116</c:v>
                </c:pt>
                <c:pt idx="771">
                  <c:v>-0.35839023142179116</c:v>
                </c:pt>
                <c:pt idx="772">
                  <c:v>-0.35839023142179116</c:v>
                </c:pt>
                <c:pt idx="773">
                  <c:v>-0.37169460149598854</c:v>
                </c:pt>
                <c:pt idx="774">
                  <c:v>-0.36681833916110174</c:v>
                </c:pt>
                <c:pt idx="775">
                  <c:v>-0.36690362358465445</c:v>
                </c:pt>
                <c:pt idx="776">
                  <c:v>-0.35123135657417459</c:v>
                </c:pt>
                <c:pt idx="777">
                  <c:v>-0.34718285482082711</c:v>
                </c:pt>
                <c:pt idx="778">
                  <c:v>-0.34718285482082711</c:v>
                </c:pt>
                <c:pt idx="779">
                  <c:v>-0.34718285482082711</c:v>
                </c:pt>
                <c:pt idx="780">
                  <c:v>-0.35395042466626159</c:v>
                </c:pt>
                <c:pt idx="781">
                  <c:v>-0.35654909121921574</c:v>
                </c:pt>
                <c:pt idx="782">
                  <c:v>-0.3440072642261941</c:v>
                </c:pt>
                <c:pt idx="783">
                  <c:v>-0.32989018376284884</c:v>
                </c:pt>
                <c:pt idx="784">
                  <c:v>-0.33218784646797039</c:v>
                </c:pt>
                <c:pt idx="785">
                  <c:v>-0.33218784646797039</c:v>
                </c:pt>
                <c:pt idx="786">
                  <c:v>-0.33218784646797039</c:v>
                </c:pt>
                <c:pt idx="787">
                  <c:v>-0.3305072416509055</c:v>
                </c:pt>
                <c:pt idx="788">
                  <c:v>-0.34441863615156521</c:v>
                </c:pt>
                <c:pt idx="789">
                  <c:v>-0.32601726758740368</c:v>
                </c:pt>
                <c:pt idx="790">
                  <c:v>-0.32601726758740368</c:v>
                </c:pt>
                <c:pt idx="791">
                  <c:v>-0.3278132572128043</c:v>
                </c:pt>
                <c:pt idx="792">
                  <c:v>-0.3278132572128043</c:v>
                </c:pt>
                <c:pt idx="793">
                  <c:v>-0.3278132572128043</c:v>
                </c:pt>
                <c:pt idx="794">
                  <c:v>-0.32908750683529553</c:v>
                </c:pt>
                <c:pt idx="795">
                  <c:v>-0.33897046650579654</c:v>
                </c:pt>
                <c:pt idx="796">
                  <c:v>-0.34103234286344941</c:v>
                </c:pt>
                <c:pt idx="797">
                  <c:v>-0.34892867713825582</c:v>
                </c:pt>
                <c:pt idx="798">
                  <c:v>-0.34482499134613898</c:v>
                </c:pt>
                <c:pt idx="799">
                  <c:v>-0.34482499134613898</c:v>
                </c:pt>
                <c:pt idx="800">
                  <c:v>-0.34482499134613898</c:v>
                </c:pt>
                <c:pt idx="801">
                  <c:v>-0.35933839354246377</c:v>
                </c:pt>
                <c:pt idx="802">
                  <c:v>-0.35037851233864903</c:v>
                </c:pt>
                <c:pt idx="803">
                  <c:v>-0.3498768392589281</c:v>
                </c:pt>
                <c:pt idx="804">
                  <c:v>-0.35225978638760214</c:v>
                </c:pt>
                <c:pt idx="805">
                  <c:v>-0.36095378085916496</c:v>
                </c:pt>
                <c:pt idx="806">
                  <c:v>-0.36095378085916496</c:v>
                </c:pt>
                <c:pt idx="807">
                  <c:v>-0.36095378085916496</c:v>
                </c:pt>
                <c:pt idx="808">
                  <c:v>-0.34589355500594432</c:v>
                </c:pt>
                <c:pt idx="809">
                  <c:v>-0.35120627292018824</c:v>
                </c:pt>
                <c:pt idx="810">
                  <c:v>-0.35968454796747096</c:v>
                </c:pt>
                <c:pt idx="811">
                  <c:v>-0.36448555934039972</c:v>
                </c:pt>
                <c:pt idx="812">
                  <c:v>-0.3562230037173969</c:v>
                </c:pt>
                <c:pt idx="813">
                  <c:v>-0.3562230037173969</c:v>
                </c:pt>
                <c:pt idx="814">
                  <c:v>-0.3562230037173969</c:v>
                </c:pt>
                <c:pt idx="815">
                  <c:v>-0.35504908871085006</c:v>
                </c:pt>
                <c:pt idx="816">
                  <c:v>-0.35857083373049048</c:v>
                </c:pt>
                <c:pt idx="817">
                  <c:v>-0.35857083373049037</c:v>
                </c:pt>
                <c:pt idx="818">
                  <c:v>-0.36058755951096821</c:v>
                </c:pt>
                <c:pt idx="819">
                  <c:v>-0.37057085379741361</c:v>
                </c:pt>
                <c:pt idx="820">
                  <c:v>-0.37057085379741361</c:v>
                </c:pt>
                <c:pt idx="821">
                  <c:v>-0.37057085379741361</c:v>
                </c:pt>
                <c:pt idx="822">
                  <c:v>-0.3676812168582213</c:v>
                </c:pt>
                <c:pt idx="823">
                  <c:v>-0.36729994531763344</c:v>
                </c:pt>
                <c:pt idx="824">
                  <c:v>-0.36729994531763344</c:v>
                </c:pt>
                <c:pt idx="825">
                  <c:v>-0.34623469270015406</c:v>
                </c:pt>
                <c:pt idx="826">
                  <c:v>-0.346545730009581</c:v>
                </c:pt>
                <c:pt idx="827">
                  <c:v>-0.346545730009581</c:v>
                </c:pt>
                <c:pt idx="828">
                  <c:v>-0.346545730009581</c:v>
                </c:pt>
                <c:pt idx="829">
                  <c:v>-0.331861758966151</c:v>
                </c:pt>
                <c:pt idx="830">
                  <c:v>-0.33620123110573652</c:v>
                </c:pt>
                <c:pt idx="831">
                  <c:v>-0.34534171461825069</c:v>
                </c:pt>
                <c:pt idx="832">
                  <c:v>-0.3326192853165294</c:v>
                </c:pt>
                <c:pt idx="833">
                  <c:v>-0.33262931877812374</c:v>
                </c:pt>
                <c:pt idx="834">
                  <c:v>-0.33262931877812374</c:v>
                </c:pt>
                <c:pt idx="835">
                  <c:v>-0.33262931877812374</c:v>
                </c:pt>
                <c:pt idx="836">
                  <c:v>-0.33352731359082399</c:v>
                </c:pt>
                <c:pt idx="837">
                  <c:v>-0.32963934722298727</c:v>
                </c:pt>
                <c:pt idx="838">
                  <c:v>-0.33920625285326433</c:v>
                </c:pt>
                <c:pt idx="839">
                  <c:v>-0.34179990267542126</c:v>
                </c:pt>
                <c:pt idx="840">
                  <c:v>-0.35102065388069092</c:v>
                </c:pt>
                <c:pt idx="841">
                  <c:v>-0.35102065388069092</c:v>
                </c:pt>
                <c:pt idx="842">
                  <c:v>-0.35102065388069092</c:v>
                </c:pt>
                <c:pt idx="843">
                  <c:v>-0.35102065388069092</c:v>
                </c:pt>
                <c:pt idx="844">
                  <c:v>-0.36121465086061899</c:v>
                </c:pt>
                <c:pt idx="845">
                  <c:v>-0.36781165185894837</c:v>
                </c:pt>
                <c:pt idx="846">
                  <c:v>-0.36135010259214373</c:v>
                </c:pt>
                <c:pt idx="847">
                  <c:v>-0.38001234115776017</c:v>
                </c:pt>
                <c:pt idx="848">
                  <c:v>-0.38001234115776017</c:v>
                </c:pt>
                <c:pt idx="849">
                  <c:v>-0.38001234115776017</c:v>
                </c:pt>
                <c:pt idx="850">
                  <c:v>-0.39003576929058303</c:v>
                </c:pt>
                <c:pt idx="851">
                  <c:v>-0.38206920078461559</c:v>
                </c:pt>
                <c:pt idx="852">
                  <c:v>-0.37776986249140787</c:v>
                </c:pt>
                <c:pt idx="853">
                  <c:v>-0.39185684256996978</c:v>
                </c:pt>
                <c:pt idx="854">
                  <c:v>-0.38387522387161066</c:v>
                </c:pt>
                <c:pt idx="855">
                  <c:v>-0.38387522387161066</c:v>
                </c:pt>
                <c:pt idx="856">
                  <c:v>-0.38387522387161066</c:v>
                </c:pt>
                <c:pt idx="857">
                  <c:v>-0.38053909789146689</c:v>
                </c:pt>
                <c:pt idx="858">
                  <c:v>-0.38926319274781285</c:v>
                </c:pt>
                <c:pt idx="859">
                  <c:v>-0.39245383353483765</c:v>
                </c:pt>
                <c:pt idx="860">
                  <c:v>-0.3961963147095553</c:v>
                </c:pt>
                <c:pt idx="861">
                  <c:v>-0.40227659243577218</c:v>
                </c:pt>
                <c:pt idx="862">
                  <c:v>-0.40227659243577218</c:v>
                </c:pt>
                <c:pt idx="863">
                  <c:v>-0.40227659243577218</c:v>
                </c:pt>
                <c:pt idx="864">
                  <c:v>-0.39773645106429834</c:v>
                </c:pt>
                <c:pt idx="865">
                  <c:v>-0.40259264647599635</c:v>
                </c:pt>
                <c:pt idx="866">
                  <c:v>-0.40995720728629859</c:v>
                </c:pt>
                <c:pt idx="867">
                  <c:v>-0.4108200849834186</c:v>
                </c:pt>
                <c:pt idx="868">
                  <c:v>-0.39818795683604713</c:v>
                </c:pt>
                <c:pt idx="869">
                  <c:v>-0.39818795683604713</c:v>
                </c:pt>
                <c:pt idx="870">
                  <c:v>-0.39818795683604713</c:v>
                </c:pt>
                <c:pt idx="871">
                  <c:v>-0.39818795683604713</c:v>
                </c:pt>
                <c:pt idx="872">
                  <c:v>-0.38639863946260666</c:v>
                </c:pt>
                <c:pt idx="873">
                  <c:v>-0.39063777698624791</c:v>
                </c:pt>
                <c:pt idx="874">
                  <c:v>-0.39639698394144351</c:v>
                </c:pt>
                <c:pt idx="875">
                  <c:v>-0.3884103485122874</c:v>
                </c:pt>
                <c:pt idx="876">
                  <c:v>-0.3884103485122874</c:v>
                </c:pt>
                <c:pt idx="877">
                  <c:v>-0.3884103485122874</c:v>
                </c:pt>
                <c:pt idx="878">
                  <c:v>-0.39964280876723757</c:v>
                </c:pt>
                <c:pt idx="879">
                  <c:v>-0.39532340355084095</c:v>
                </c:pt>
                <c:pt idx="880">
                  <c:v>-0.40301906859375902</c:v>
                </c:pt>
                <c:pt idx="881">
                  <c:v>-0.39593042797730327</c:v>
                </c:pt>
                <c:pt idx="882">
                  <c:v>-0.39312105873086634</c:v>
                </c:pt>
                <c:pt idx="883">
                  <c:v>-0.39312105873086634</c:v>
                </c:pt>
                <c:pt idx="884">
                  <c:v>-0.39312105873086634</c:v>
                </c:pt>
                <c:pt idx="885">
                  <c:v>-0.39769130048712364</c:v>
                </c:pt>
                <c:pt idx="886">
                  <c:v>-0.40693713534637921</c:v>
                </c:pt>
                <c:pt idx="887">
                  <c:v>-0.40106756031364521</c:v>
                </c:pt>
                <c:pt idx="888">
                  <c:v>-0.4066110478445607</c:v>
                </c:pt>
                <c:pt idx="889">
                  <c:v>-0.40169465166329621</c:v>
                </c:pt>
                <c:pt idx="890">
                  <c:v>-0.40169465166329621</c:v>
                </c:pt>
                <c:pt idx="891">
                  <c:v>-0.40169465166329621</c:v>
                </c:pt>
                <c:pt idx="892">
                  <c:v>-0.41713113232630739</c:v>
                </c:pt>
                <c:pt idx="893">
                  <c:v>-0.42199736119959974</c:v>
                </c:pt>
                <c:pt idx="894">
                  <c:v>-0.41925822618432396</c:v>
                </c:pt>
                <c:pt idx="895">
                  <c:v>-0.39921638664947523</c:v>
                </c:pt>
                <c:pt idx="896">
                  <c:v>-0.3982180572208307</c:v>
                </c:pt>
                <c:pt idx="897">
                  <c:v>-0.3982180572208307</c:v>
                </c:pt>
                <c:pt idx="898">
                  <c:v>-0.3982180572208307</c:v>
                </c:pt>
                <c:pt idx="899">
                  <c:v>-0.37687688440950484</c:v>
                </c:pt>
                <c:pt idx="900">
                  <c:v>-0.37421300035618688</c:v>
                </c:pt>
                <c:pt idx="901">
                  <c:v>-0.36870964667164907</c:v>
                </c:pt>
                <c:pt idx="902">
                  <c:v>-0.36750563128031899</c:v>
                </c:pt>
                <c:pt idx="903">
                  <c:v>-0.3529721621608054</c:v>
                </c:pt>
                <c:pt idx="904">
                  <c:v>-0.3529721621608054</c:v>
                </c:pt>
                <c:pt idx="905">
                  <c:v>-0.3529721621608054</c:v>
                </c:pt>
                <c:pt idx="906">
                  <c:v>-0.37576317017252447</c:v>
                </c:pt>
                <c:pt idx="907">
                  <c:v>-0.36817285647634768</c:v>
                </c:pt>
                <c:pt idx="908">
                  <c:v>-0.37160931707243572</c:v>
                </c:pt>
                <c:pt idx="909">
                  <c:v>-0.372552462462311</c:v>
                </c:pt>
                <c:pt idx="910">
                  <c:v>-0.37616450863630124</c:v>
                </c:pt>
                <c:pt idx="911">
                  <c:v>-0.37616450863630124</c:v>
                </c:pt>
                <c:pt idx="912">
                  <c:v>-0.37616450863630124</c:v>
                </c:pt>
                <c:pt idx="913">
                  <c:v>-0.38722640004414632</c:v>
                </c:pt>
                <c:pt idx="914">
                  <c:v>-0.3797815715410886</c:v>
                </c:pt>
                <c:pt idx="915">
                  <c:v>-0.36346716298856596</c:v>
                </c:pt>
                <c:pt idx="916">
                  <c:v>-0.36667285396798222</c:v>
                </c:pt>
                <c:pt idx="917">
                  <c:v>-0.36493204838135085</c:v>
                </c:pt>
                <c:pt idx="918">
                  <c:v>-0.36493204838135085</c:v>
                </c:pt>
                <c:pt idx="919">
                  <c:v>-0.36493204838135085</c:v>
                </c:pt>
                <c:pt idx="920">
                  <c:v>-0.36413438818459465</c:v>
                </c:pt>
                <c:pt idx="921">
                  <c:v>-0.36509760049765871</c:v>
                </c:pt>
                <c:pt idx="922">
                  <c:v>-0.37391701323915161</c:v>
                </c:pt>
                <c:pt idx="923">
                  <c:v>-0.36987854494739869</c:v>
                </c:pt>
                <c:pt idx="924">
                  <c:v>-0.37220129130650625</c:v>
                </c:pt>
                <c:pt idx="925">
                  <c:v>-0.37220129130650625</c:v>
                </c:pt>
                <c:pt idx="926">
                  <c:v>-0.37220129130650625</c:v>
                </c:pt>
                <c:pt idx="927">
                  <c:v>-0.35995545143051999</c:v>
                </c:pt>
                <c:pt idx="928">
                  <c:v>-0.35587183256159194</c:v>
                </c:pt>
                <c:pt idx="929">
                  <c:v>-0.36373806645161533</c:v>
                </c:pt>
                <c:pt idx="930">
                  <c:v>-0.35385009005031698</c:v>
                </c:pt>
                <c:pt idx="931">
                  <c:v>-0.35385009005031698</c:v>
                </c:pt>
                <c:pt idx="932">
                  <c:v>-0.35385009005031698</c:v>
                </c:pt>
                <c:pt idx="933">
                  <c:v>-0.35385009005031698</c:v>
                </c:pt>
                <c:pt idx="934">
                  <c:v>-0.35498888794128336</c:v>
                </c:pt>
                <c:pt idx="935">
                  <c:v>-0.34098719228627383</c:v>
                </c:pt>
                <c:pt idx="936">
                  <c:v>-0.33544370475535823</c:v>
                </c:pt>
                <c:pt idx="937">
                  <c:v>-0.34092699151670747</c:v>
                </c:pt>
                <c:pt idx="938">
                  <c:v>-0.35004740810603296</c:v>
                </c:pt>
                <c:pt idx="939">
                  <c:v>-0.35004740810603296</c:v>
                </c:pt>
                <c:pt idx="940">
                  <c:v>-0.35004740810603296</c:v>
                </c:pt>
                <c:pt idx="941">
                  <c:v>-0.33836845881013122</c:v>
                </c:pt>
                <c:pt idx="942">
                  <c:v>-0.33615608052856216</c:v>
                </c:pt>
                <c:pt idx="943">
                  <c:v>-0.33675307149343015</c:v>
                </c:pt>
                <c:pt idx="944">
                  <c:v>-0.33709420918764033</c:v>
                </c:pt>
                <c:pt idx="945">
                  <c:v>-0.32711593163199237</c:v>
                </c:pt>
                <c:pt idx="946">
                  <c:v>-0.32711593163199237</c:v>
                </c:pt>
                <c:pt idx="947">
                  <c:v>-0.32711593163199237</c:v>
                </c:pt>
                <c:pt idx="948">
                  <c:v>-0.32964436395378549</c:v>
                </c:pt>
                <c:pt idx="949">
                  <c:v>-0.32397545815293971</c:v>
                </c:pt>
                <c:pt idx="950">
                  <c:v>-0.32732161759467793</c:v>
                </c:pt>
                <c:pt idx="951">
                  <c:v>-0.33406912051692361</c:v>
                </c:pt>
                <c:pt idx="952">
                  <c:v>-0.32440689700149949</c:v>
                </c:pt>
                <c:pt idx="953">
                  <c:v>-0.32440689700149949</c:v>
                </c:pt>
                <c:pt idx="954">
                  <c:v>-0.32440689700149949</c:v>
                </c:pt>
                <c:pt idx="955">
                  <c:v>-0.31591357176182533</c:v>
                </c:pt>
                <c:pt idx="956">
                  <c:v>-0.31785504658034514</c:v>
                </c:pt>
                <c:pt idx="957">
                  <c:v>-0.31985170543763419</c:v>
                </c:pt>
                <c:pt idx="958">
                  <c:v>-0.3144185859842572</c:v>
                </c:pt>
                <c:pt idx="959">
                  <c:v>-0.31605905695494441</c:v>
                </c:pt>
                <c:pt idx="960">
                  <c:v>-0.31605905695494441</c:v>
                </c:pt>
                <c:pt idx="961">
                  <c:v>-0.31605905695494441</c:v>
                </c:pt>
                <c:pt idx="962">
                  <c:v>-0.33308584128067065</c:v>
                </c:pt>
                <c:pt idx="963">
                  <c:v>-0.33384336763104938</c:v>
                </c:pt>
                <c:pt idx="964">
                  <c:v>-0.33110423261577338</c:v>
                </c:pt>
                <c:pt idx="965">
                  <c:v>-0.32498382104317869</c:v>
                </c:pt>
                <c:pt idx="966">
                  <c:v>-0.32400054180692583</c:v>
                </c:pt>
                <c:pt idx="967">
                  <c:v>-0.32400054180692583</c:v>
                </c:pt>
                <c:pt idx="968">
                  <c:v>-0.32400054180692583</c:v>
                </c:pt>
                <c:pt idx="969">
                  <c:v>-0.32400054180692583</c:v>
                </c:pt>
                <c:pt idx="970">
                  <c:v>-0.31077142269468649</c:v>
                </c:pt>
                <c:pt idx="971">
                  <c:v>-0.30940687191784577</c:v>
                </c:pt>
                <c:pt idx="972">
                  <c:v>-0.31195035443203045</c:v>
                </c:pt>
                <c:pt idx="973">
                  <c:v>-0.30181154149087175</c:v>
                </c:pt>
                <c:pt idx="974">
                  <c:v>-0.30181154149087175</c:v>
                </c:pt>
                <c:pt idx="975">
                  <c:v>-0.30181154149087175</c:v>
                </c:pt>
                <c:pt idx="976">
                  <c:v>-0.29931320955386176</c:v>
                </c:pt>
                <c:pt idx="977">
                  <c:v>-0.29600718395850134</c:v>
                </c:pt>
                <c:pt idx="978">
                  <c:v>-0.28516101197493593</c:v>
                </c:pt>
                <c:pt idx="979">
                  <c:v>-0.28228642522813541</c:v>
                </c:pt>
                <c:pt idx="980">
                  <c:v>-0.28397204677599752</c:v>
                </c:pt>
                <c:pt idx="981">
                  <c:v>-0.28397204677599752</c:v>
                </c:pt>
                <c:pt idx="982">
                  <c:v>-0.28397204677599752</c:v>
                </c:pt>
                <c:pt idx="983">
                  <c:v>-0.29253560624683272</c:v>
                </c:pt>
                <c:pt idx="984">
                  <c:v>-0.28606402351843363</c:v>
                </c:pt>
                <c:pt idx="985">
                  <c:v>-0.27665765327366743</c:v>
                </c:pt>
                <c:pt idx="986">
                  <c:v>-0.2758800600000999</c:v>
                </c:pt>
                <c:pt idx="987">
                  <c:v>-0.28305398504010848</c:v>
                </c:pt>
                <c:pt idx="988">
                  <c:v>-0.28305398504010848</c:v>
                </c:pt>
                <c:pt idx="989">
                  <c:v>-0.28305398504010848</c:v>
                </c:pt>
                <c:pt idx="990">
                  <c:v>-0.26698037956585163</c:v>
                </c:pt>
                <c:pt idx="991">
                  <c:v>-0.26631315436982295</c:v>
                </c:pt>
                <c:pt idx="992">
                  <c:v>-0.26739676822201996</c:v>
                </c:pt>
                <c:pt idx="993">
                  <c:v>-0.27854896078421487</c:v>
                </c:pt>
                <c:pt idx="994">
                  <c:v>-0.2778215348186196</c:v>
                </c:pt>
                <c:pt idx="995">
                  <c:v>-0.2778215348186196</c:v>
                </c:pt>
                <c:pt idx="996">
                  <c:v>-0.2778215348186196</c:v>
                </c:pt>
                <c:pt idx="997">
                  <c:v>-0.28800549833695321</c:v>
                </c:pt>
                <c:pt idx="998">
                  <c:v>-0.28669111486808463</c:v>
                </c:pt>
                <c:pt idx="999">
                  <c:v>-0.29259079028560198</c:v>
                </c:pt>
                <c:pt idx="1000">
                  <c:v>-0.2847044894723898</c:v>
                </c:pt>
                <c:pt idx="1001">
                  <c:v>-0.29165266162652381</c:v>
                </c:pt>
                <c:pt idx="1002">
                  <c:v>-0.29165266162652381</c:v>
                </c:pt>
                <c:pt idx="1003">
                  <c:v>-0.29165266162652381</c:v>
                </c:pt>
                <c:pt idx="1004">
                  <c:v>-0.29290182759502892</c:v>
                </c:pt>
                <c:pt idx="1005">
                  <c:v>-0.28710750352425285</c:v>
                </c:pt>
                <c:pt idx="1006">
                  <c:v>-0.27878976386248089</c:v>
                </c:pt>
                <c:pt idx="1007">
                  <c:v>-0.28462923851043165</c:v>
                </c:pt>
                <c:pt idx="1008">
                  <c:v>-0.28462923851043165</c:v>
                </c:pt>
                <c:pt idx="1009">
                  <c:v>-0.28462923851043165</c:v>
                </c:pt>
                <c:pt idx="1010">
                  <c:v>-0.28462923851043165</c:v>
                </c:pt>
                <c:pt idx="1011">
                  <c:v>-0.27103389804999622</c:v>
                </c:pt>
                <c:pt idx="1012">
                  <c:v>-0.26830479649631467</c:v>
                </c:pt>
                <c:pt idx="1013">
                  <c:v>-0.27231818113408157</c:v>
                </c:pt>
                <c:pt idx="1014">
                  <c:v>-0.28212588984262443</c:v>
                </c:pt>
                <c:pt idx="1015">
                  <c:v>-0.27523290172725967</c:v>
                </c:pt>
                <c:pt idx="1016">
                  <c:v>-0.27523290172725967</c:v>
                </c:pt>
                <c:pt idx="1017">
                  <c:v>-0.27523290172725967</c:v>
                </c:pt>
                <c:pt idx="1018">
                  <c:v>-0.27106901516557647</c:v>
                </c:pt>
                <c:pt idx="1019">
                  <c:v>-0.27356734710258634</c:v>
                </c:pt>
                <c:pt idx="1020">
                  <c:v>-0.27816267251282956</c:v>
                </c:pt>
                <c:pt idx="1021">
                  <c:v>-0.28706736967787494</c:v>
                </c:pt>
                <c:pt idx="1022">
                  <c:v>-0.2786492954001587</c:v>
                </c:pt>
                <c:pt idx="1023">
                  <c:v>-0.2786492954001587</c:v>
                </c:pt>
                <c:pt idx="1024">
                  <c:v>-0.2786492954001587</c:v>
                </c:pt>
                <c:pt idx="1025">
                  <c:v>-0.28918944680509406</c:v>
                </c:pt>
                <c:pt idx="1026">
                  <c:v>-0.28243191042125404</c:v>
                </c:pt>
                <c:pt idx="1027">
                  <c:v>-0.2820556556114634</c:v>
                </c:pt>
                <c:pt idx="1028">
                  <c:v>-0.28714262063983309</c:v>
                </c:pt>
                <c:pt idx="1029">
                  <c:v>-0.27473122864753874</c:v>
                </c:pt>
                <c:pt idx="1030">
                  <c:v>-0.27473122864753874</c:v>
                </c:pt>
                <c:pt idx="1031">
                  <c:v>-0.27473122864753874</c:v>
                </c:pt>
                <c:pt idx="1032">
                  <c:v>-0.2762964486562679</c:v>
                </c:pt>
                <c:pt idx="1033">
                  <c:v>-0.28144863118500119</c:v>
                </c:pt>
                <c:pt idx="1034">
                  <c:v>-0.28265264657633127</c:v>
                </c:pt>
                <c:pt idx="1035">
                  <c:v>-0.28043525156396509</c:v>
                </c:pt>
                <c:pt idx="1036">
                  <c:v>-0.28780482910506455</c:v>
                </c:pt>
                <c:pt idx="1037">
                  <c:v>-0.28780482910506455</c:v>
                </c:pt>
                <c:pt idx="1038">
                  <c:v>-0.28780482910506455</c:v>
                </c:pt>
                <c:pt idx="1039">
                  <c:v>-0.28586335428654475</c:v>
                </c:pt>
                <c:pt idx="1040">
                  <c:v>-0.2984503318567413</c:v>
                </c:pt>
                <c:pt idx="1041">
                  <c:v>-0.29715099858026428</c:v>
                </c:pt>
                <c:pt idx="1042">
                  <c:v>-0.29200383278232811</c:v>
                </c:pt>
                <c:pt idx="1043">
                  <c:v>-0.28948041719133222</c:v>
                </c:pt>
                <c:pt idx="1044">
                  <c:v>-0.28948041719133222</c:v>
                </c:pt>
                <c:pt idx="1045">
                  <c:v>-0.28948041719133222</c:v>
                </c:pt>
                <c:pt idx="1046">
                  <c:v>-0.28711753698584697</c:v>
                </c:pt>
                <c:pt idx="1047">
                  <c:v>-0.28001384617699943</c:v>
                </c:pt>
                <c:pt idx="1048">
                  <c:v>-0.28433826812419349</c:v>
                </c:pt>
                <c:pt idx="1049">
                  <c:v>-0.27961752444401999</c:v>
                </c:pt>
                <c:pt idx="1050">
                  <c:v>-0.27938173809655109</c:v>
                </c:pt>
                <c:pt idx="1051">
                  <c:v>-0.27938173809655109</c:v>
                </c:pt>
                <c:pt idx="1052">
                  <c:v>-0.27938173809655109</c:v>
                </c:pt>
                <c:pt idx="1053">
                  <c:v>-0.27274961998264124</c:v>
                </c:pt>
                <c:pt idx="1054">
                  <c:v>-0.27084326227970201</c:v>
                </c:pt>
                <c:pt idx="1055">
                  <c:v>-0.27226801382610921</c:v>
                </c:pt>
                <c:pt idx="1056">
                  <c:v>-0.27007570246772905</c:v>
                </c:pt>
                <c:pt idx="1057">
                  <c:v>-0.2775054807783951</c:v>
                </c:pt>
                <c:pt idx="1058">
                  <c:v>-0.2775054807783951</c:v>
                </c:pt>
                <c:pt idx="1059">
                  <c:v>-0.2775054807783951</c:v>
                </c:pt>
                <c:pt idx="1060">
                  <c:v>-0.27703390808345763</c:v>
                </c:pt>
                <c:pt idx="1061">
                  <c:v>-0.27482654653268557</c:v>
                </c:pt>
                <c:pt idx="1062">
                  <c:v>-0.2746609944163777</c:v>
                </c:pt>
                <c:pt idx="1063">
                  <c:v>-0.27021617093005079</c:v>
                </c:pt>
                <c:pt idx="1064">
                  <c:v>-0.26640345552417222</c:v>
                </c:pt>
                <c:pt idx="1065">
                  <c:v>-0.26640345552417222</c:v>
                </c:pt>
                <c:pt idx="1066">
                  <c:v>-0.26640345552417222</c:v>
                </c:pt>
                <c:pt idx="1067">
                  <c:v>-0.26640345552417222</c:v>
                </c:pt>
                <c:pt idx="1068">
                  <c:v>-0.25621447527504138</c:v>
                </c:pt>
                <c:pt idx="1069">
                  <c:v>-0.25288336602569494</c:v>
                </c:pt>
                <c:pt idx="1070">
                  <c:v>-0.25161914986479839</c:v>
                </c:pt>
                <c:pt idx="1071">
                  <c:v>-0.25640009431453825</c:v>
                </c:pt>
                <c:pt idx="1072">
                  <c:v>-0.25640009431453825</c:v>
                </c:pt>
                <c:pt idx="1073">
                  <c:v>-0.25640009431453825</c:v>
                </c:pt>
                <c:pt idx="1074">
                  <c:v>-0.2488850315803196</c:v>
                </c:pt>
                <c:pt idx="1075">
                  <c:v>-0.25505059373008898</c:v>
                </c:pt>
                <c:pt idx="1076">
                  <c:v>-0.26390010685636511</c:v>
                </c:pt>
                <c:pt idx="1077">
                  <c:v>-0.25967100279431821</c:v>
                </c:pt>
                <c:pt idx="1078">
                  <c:v>-0.25805561547761702</c:v>
                </c:pt>
                <c:pt idx="1079">
                  <c:v>-0.25805561547761702</c:v>
                </c:pt>
                <c:pt idx="1080">
                  <c:v>-0.25805561547761702</c:v>
                </c:pt>
                <c:pt idx="1081">
                  <c:v>-0.26081983414687904</c:v>
                </c:pt>
                <c:pt idx="1082">
                  <c:v>-0.25024958235716033</c:v>
                </c:pt>
                <c:pt idx="1083">
                  <c:v>-0.25265761313982038</c:v>
                </c:pt>
                <c:pt idx="1084">
                  <c:v>-0.24273953635373879</c:v>
                </c:pt>
                <c:pt idx="1085">
                  <c:v>-0.24511245002081861</c:v>
                </c:pt>
                <c:pt idx="1086">
                  <c:v>-0.24511245002081861</c:v>
                </c:pt>
                <c:pt idx="1087">
                  <c:v>-0.24511245002081861</c:v>
                </c:pt>
                <c:pt idx="1088">
                  <c:v>-0.25493520892175314</c:v>
                </c:pt>
                <c:pt idx="1089">
                  <c:v>-0.25040510101187374</c:v>
                </c:pt>
                <c:pt idx="1090">
                  <c:v>-0.26471783397631021</c:v>
                </c:pt>
                <c:pt idx="1091">
                  <c:v>-0.26901717226951816</c:v>
                </c:pt>
                <c:pt idx="1092">
                  <c:v>-0.27356233037178923</c:v>
                </c:pt>
                <c:pt idx="1093">
                  <c:v>-0.27356233037178923</c:v>
                </c:pt>
                <c:pt idx="1094">
                  <c:v>-0.27356233037178923</c:v>
                </c:pt>
                <c:pt idx="1095">
                  <c:v>-0.26645362283214447</c:v>
                </c:pt>
                <c:pt idx="1096">
                  <c:v>-0.27419443845223745</c:v>
                </c:pt>
                <c:pt idx="1097">
                  <c:v>-0.25791013028449794</c:v>
                </c:pt>
                <c:pt idx="1098">
                  <c:v>-0.25633989354497178</c:v>
                </c:pt>
                <c:pt idx="1099">
                  <c:v>-0.24933653735206829</c:v>
                </c:pt>
                <c:pt idx="1100">
                  <c:v>-0.24933653735206829</c:v>
                </c:pt>
                <c:pt idx="1101">
                  <c:v>-0.24933653735206829</c:v>
                </c:pt>
                <c:pt idx="1102">
                  <c:v>-0.24605559541069388</c:v>
                </c:pt>
                <c:pt idx="1103">
                  <c:v>-0.24244856596750075</c:v>
                </c:pt>
                <c:pt idx="1104">
                  <c:v>-0.24616094675743527</c:v>
                </c:pt>
                <c:pt idx="1105">
                  <c:v>-0.2425438838526478</c:v>
                </c:pt>
                <c:pt idx="1106">
                  <c:v>-0.24297532270120759</c:v>
                </c:pt>
                <c:pt idx="1107">
                  <c:v>-0.24297532270120759</c:v>
                </c:pt>
                <c:pt idx="1108">
                  <c:v>-0.24297532270120759</c:v>
                </c:pt>
                <c:pt idx="1109">
                  <c:v>-0.23765758805616644</c:v>
                </c:pt>
                <c:pt idx="1110">
                  <c:v>-0.23464754957784129</c:v>
                </c:pt>
                <c:pt idx="1111">
                  <c:v>-0.23647865631882237</c:v>
                </c:pt>
                <c:pt idx="1112">
                  <c:v>-0.23404554188217619</c:v>
                </c:pt>
                <c:pt idx="1113">
                  <c:v>-0.24188167538741612</c:v>
                </c:pt>
                <c:pt idx="1114">
                  <c:v>-0.24188167538741612</c:v>
                </c:pt>
                <c:pt idx="1115">
                  <c:v>-0.24188167538741612</c:v>
                </c:pt>
                <c:pt idx="1116">
                  <c:v>-0.2379736420963906</c:v>
                </c:pt>
                <c:pt idx="1117">
                  <c:v>-0.23699036286013764</c:v>
                </c:pt>
                <c:pt idx="1118">
                  <c:v>-0.24835325811581555</c:v>
                </c:pt>
                <c:pt idx="1119">
                  <c:v>-0.24585492617880567</c:v>
                </c:pt>
                <c:pt idx="1120">
                  <c:v>-0.24939673812163488</c:v>
                </c:pt>
                <c:pt idx="1121">
                  <c:v>-0.24939673812163488</c:v>
                </c:pt>
                <c:pt idx="1122">
                  <c:v>-0.24939673812163488</c:v>
                </c:pt>
                <c:pt idx="1123">
                  <c:v>-0.24777633407413646</c:v>
                </c:pt>
                <c:pt idx="1124">
                  <c:v>-0.23634822131809496</c:v>
                </c:pt>
                <c:pt idx="1125">
                  <c:v>-0.23524454054270905</c:v>
                </c:pt>
                <c:pt idx="1126">
                  <c:v>-0.23589169881554917</c:v>
                </c:pt>
                <c:pt idx="1127">
                  <c:v>-0.23313249687708448</c:v>
                </c:pt>
                <c:pt idx="1128">
                  <c:v>-0.23313249687708448</c:v>
                </c:pt>
                <c:pt idx="1129">
                  <c:v>-0.23313249687708448</c:v>
                </c:pt>
                <c:pt idx="1130">
                  <c:v>-0.22706726934325916</c:v>
                </c:pt>
                <c:pt idx="1131">
                  <c:v>-0.23126627302052283</c:v>
                </c:pt>
                <c:pt idx="1132">
                  <c:v>-0.23216928456402042</c:v>
                </c:pt>
                <c:pt idx="1133">
                  <c:v>-0.22754887549979108</c:v>
                </c:pt>
                <c:pt idx="1134">
                  <c:v>-0.23092513532631254</c:v>
                </c:pt>
                <c:pt idx="1135">
                  <c:v>-0.23092513532631254</c:v>
                </c:pt>
                <c:pt idx="1136">
                  <c:v>-0.23092513532631254</c:v>
                </c:pt>
                <c:pt idx="1137">
                  <c:v>-0.23531979150466731</c:v>
                </c:pt>
                <c:pt idx="1138">
                  <c:v>-0.23571611323764674</c:v>
                </c:pt>
                <c:pt idx="1139">
                  <c:v>-0.22667596434107662</c:v>
                </c:pt>
                <c:pt idx="1140">
                  <c:v>-0.22677128222622367</c:v>
                </c:pt>
                <c:pt idx="1141">
                  <c:v>-0.23252045571982494</c:v>
                </c:pt>
                <c:pt idx="1142">
                  <c:v>-0.23252045571982494</c:v>
                </c:pt>
                <c:pt idx="1143">
                  <c:v>-0.23252045571982494</c:v>
                </c:pt>
                <c:pt idx="1144">
                  <c:v>-0.23742180170869776</c:v>
                </c:pt>
                <c:pt idx="1145">
                  <c:v>-0.24431980655485963</c:v>
                </c:pt>
                <c:pt idx="1146">
                  <c:v>-0.23820441171306217</c:v>
                </c:pt>
                <c:pt idx="1147">
                  <c:v>-0.24460074347950322</c:v>
                </c:pt>
                <c:pt idx="1148">
                  <c:v>-0.24337164443418702</c:v>
                </c:pt>
                <c:pt idx="1149">
                  <c:v>-0.24337164443418702</c:v>
                </c:pt>
                <c:pt idx="1150">
                  <c:v>-0.24337164443418702</c:v>
                </c:pt>
                <c:pt idx="1151">
                  <c:v>-0.23109068744262007</c:v>
                </c:pt>
                <c:pt idx="1152">
                  <c:v>-0.22968600281940177</c:v>
                </c:pt>
                <c:pt idx="1153">
                  <c:v>-0.2262194418385306</c:v>
                </c:pt>
                <c:pt idx="1154">
                  <c:v>-0.2262194418385306</c:v>
                </c:pt>
                <c:pt idx="1155">
                  <c:v>-0.22638499395483858</c:v>
                </c:pt>
                <c:pt idx="1156">
                  <c:v>-0.22638499395483858</c:v>
                </c:pt>
                <c:pt idx="1157">
                  <c:v>-0.22638499395483858</c:v>
                </c:pt>
                <c:pt idx="1158">
                  <c:v>-0.21764083217530372</c:v>
                </c:pt>
                <c:pt idx="1159">
                  <c:v>-0.22018933142028574</c:v>
                </c:pt>
                <c:pt idx="1160">
                  <c:v>-0.22135822969603547</c:v>
                </c:pt>
                <c:pt idx="1161">
                  <c:v>-0.2176558823676954</c:v>
                </c:pt>
                <c:pt idx="1162">
                  <c:v>-0.22365087567035979</c:v>
                </c:pt>
                <c:pt idx="1163">
                  <c:v>-0.22365087567035979</c:v>
                </c:pt>
                <c:pt idx="1164">
                  <c:v>-0.22365087567035979</c:v>
                </c:pt>
                <c:pt idx="1165">
                  <c:v>-0.21791173563835309</c:v>
                </c:pt>
                <c:pt idx="1166">
                  <c:v>-0.22457395413704606</c:v>
                </c:pt>
                <c:pt idx="1167">
                  <c:v>-0.22526124625626365</c:v>
                </c:pt>
                <c:pt idx="1168">
                  <c:v>-0.21627126466766566</c:v>
                </c:pt>
                <c:pt idx="1169">
                  <c:v>-0.21412912061725753</c:v>
                </c:pt>
                <c:pt idx="1170">
                  <c:v>-0.21412912061725753</c:v>
                </c:pt>
                <c:pt idx="1171">
                  <c:v>-0.21412912061725753</c:v>
                </c:pt>
                <c:pt idx="1172">
                  <c:v>-0.21856391064198999</c:v>
                </c:pt>
                <c:pt idx="1173">
                  <c:v>-0.2133665775360819</c:v>
                </c:pt>
                <c:pt idx="1174">
                  <c:v>-0.21229801387627645</c:v>
                </c:pt>
                <c:pt idx="1175">
                  <c:v>-0.20289164363151013</c:v>
                </c:pt>
                <c:pt idx="1176">
                  <c:v>-0.20324783151811199</c:v>
                </c:pt>
                <c:pt idx="1177">
                  <c:v>-0.20324783151811199</c:v>
                </c:pt>
                <c:pt idx="1178">
                  <c:v>-0.20324783151811199</c:v>
                </c:pt>
                <c:pt idx="1179">
                  <c:v>-0.20011739150065366</c:v>
                </c:pt>
                <c:pt idx="1180">
                  <c:v>-0.19785986264190991</c:v>
                </c:pt>
                <c:pt idx="1181">
                  <c:v>-0.19930468111150623</c:v>
                </c:pt>
                <c:pt idx="1182">
                  <c:v>-0.19930468111150623</c:v>
                </c:pt>
                <c:pt idx="1183">
                  <c:v>-0.19795016379625985</c:v>
                </c:pt>
                <c:pt idx="1184">
                  <c:v>-0.19795016379625985</c:v>
                </c:pt>
                <c:pt idx="1185">
                  <c:v>-0.19795016379625985</c:v>
                </c:pt>
                <c:pt idx="1186">
                  <c:v>-0.18771101623915687</c:v>
                </c:pt>
                <c:pt idx="1187">
                  <c:v>-0.18749529681487698</c:v>
                </c:pt>
                <c:pt idx="1188">
                  <c:v>-0.18581469199781198</c:v>
                </c:pt>
                <c:pt idx="1189">
                  <c:v>-0.18581469199781198</c:v>
                </c:pt>
                <c:pt idx="1190">
                  <c:v>-0.18826787335764705</c:v>
                </c:pt>
                <c:pt idx="1191">
                  <c:v>-0.18826787335764705</c:v>
                </c:pt>
                <c:pt idx="1192">
                  <c:v>-0.18826787335764705</c:v>
                </c:pt>
                <c:pt idx="1193">
                  <c:v>-0.1782093281092435</c:v>
                </c:pt>
                <c:pt idx="1194">
                  <c:v>-0.17710063060306036</c:v>
                </c:pt>
                <c:pt idx="1195">
                  <c:v>-0.17494845309105778</c:v>
                </c:pt>
                <c:pt idx="1196">
                  <c:v>-0.17081968364495492</c:v>
                </c:pt>
                <c:pt idx="1197">
                  <c:v>-0.17818926118605438</c:v>
                </c:pt>
                <c:pt idx="1198">
                  <c:v>-0.17818926118605438</c:v>
                </c:pt>
                <c:pt idx="1199">
                  <c:v>-0.17818926118605438</c:v>
                </c:pt>
                <c:pt idx="1200">
                  <c:v>-0.17423106058705673</c:v>
                </c:pt>
                <c:pt idx="1201">
                  <c:v>-0.17859561638062826</c:v>
                </c:pt>
                <c:pt idx="1202">
                  <c:v>-0.17175781230403275</c:v>
                </c:pt>
                <c:pt idx="1203">
                  <c:v>-0.17062904787466082</c:v>
                </c:pt>
                <c:pt idx="1204">
                  <c:v>-0.16493004168903169</c:v>
                </c:pt>
                <c:pt idx="1205">
                  <c:v>-0.16493004168903169</c:v>
                </c:pt>
                <c:pt idx="1206">
                  <c:v>-0.16493004168903169</c:v>
                </c:pt>
                <c:pt idx="1207">
                  <c:v>-0.16493004168903169</c:v>
                </c:pt>
                <c:pt idx="1208">
                  <c:v>-0.16570261823180177</c:v>
                </c:pt>
                <c:pt idx="1209">
                  <c:v>-0.15916080127224164</c:v>
                </c:pt>
                <c:pt idx="1210">
                  <c:v>-0.16183973551795106</c:v>
                </c:pt>
                <c:pt idx="1211">
                  <c:v>-0.16358054110458242</c:v>
                </c:pt>
                <c:pt idx="1212">
                  <c:v>-0.16358054110458242</c:v>
                </c:pt>
                <c:pt idx="1213">
                  <c:v>-0.16358054110458242</c:v>
                </c:pt>
                <c:pt idx="1214">
                  <c:v>-0.15345677835581528</c:v>
                </c:pt>
                <c:pt idx="1215">
                  <c:v>-0.16174943436360123</c:v>
                </c:pt>
                <c:pt idx="1216">
                  <c:v>-0.17302202846492898</c:v>
                </c:pt>
                <c:pt idx="1217">
                  <c:v>-0.16868255632534346</c:v>
                </c:pt>
                <c:pt idx="1218">
                  <c:v>-0.17086985095292639</c:v>
                </c:pt>
                <c:pt idx="1219">
                  <c:v>-0.17086985095292639</c:v>
                </c:pt>
                <c:pt idx="1220">
                  <c:v>-0.17086985095292639</c:v>
                </c:pt>
                <c:pt idx="1221">
                  <c:v>-0.16782971208981801</c:v>
                </c:pt>
                <c:pt idx="1222">
                  <c:v>-0.16726282150973315</c:v>
                </c:pt>
                <c:pt idx="1223">
                  <c:v>-0.17410062558632888</c:v>
                </c:pt>
                <c:pt idx="1224">
                  <c:v>-0.17256550596238307</c:v>
                </c:pt>
                <c:pt idx="1225">
                  <c:v>-0.16213572263498599</c:v>
                </c:pt>
                <c:pt idx="1226">
                  <c:v>-0.16213572263498599</c:v>
                </c:pt>
                <c:pt idx="1227">
                  <c:v>-0.16213572263498599</c:v>
                </c:pt>
                <c:pt idx="1228">
                  <c:v>-0.16413238149227505</c:v>
                </c:pt>
                <c:pt idx="1229">
                  <c:v>-0.15992334435341704</c:v>
                </c:pt>
                <c:pt idx="1230">
                  <c:v>-0.15065242584017524</c:v>
                </c:pt>
                <c:pt idx="1231">
                  <c:v>-0.15472099451671151</c:v>
                </c:pt>
                <c:pt idx="1232">
                  <c:v>-0.1592661526189828</c:v>
                </c:pt>
                <c:pt idx="1233">
                  <c:v>-0.1592661526189828</c:v>
                </c:pt>
                <c:pt idx="1234">
                  <c:v>-0.1592661526189828</c:v>
                </c:pt>
                <c:pt idx="1235">
                  <c:v>-0.1592661526189828</c:v>
                </c:pt>
                <c:pt idx="1236">
                  <c:v>-0.15105878103474912</c:v>
                </c:pt>
                <c:pt idx="1237">
                  <c:v>-0.15473102797830596</c:v>
                </c:pt>
                <c:pt idx="1238">
                  <c:v>-0.15818755549758268</c:v>
                </c:pt>
                <c:pt idx="1239">
                  <c:v>-0.16034474974038238</c:v>
                </c:pt>
                <c:pt idx="1240">
                  <c:v>-0.16034474974038238</c:v>
                </c:pt>
                <c:pt idx="1241">
                  <c:v>-0.16034474974038238</c:v>
                </c:pt>
                <c:pt idx="1242">
                  <c:v>-0.16260729532992346</c:v>
                </c:pt>
                <c:pt idx="1243">
                  <c:v>-0.16400194649154742</c:v>
                </c:pt>
                <c:pt idx="1244">
                  <c:v>-0.16053036877987914</c:v>
                </c:pt>
                <c:pt idx="1245">
                  <c:v>-0.1593815374273182</c:v>
                </c:pt>
                <c:pt idx="1246">
                  <c:v>-0.15934642031173785</c:v>
                </c:pt>
                <c:pt idx="1247">
                  <c:v>-0.15934642031173785</c:v>
                </c:pt>
                <c:pt idx="1248">
                  <c:v>-0.15934642031173785</c:v>
                </c:pt>
                <c:pt idx="1249">
                  <c:v>-0.15121931642025976</c:v>
                </c:pt>
                <c:pt idx="1250">
                  <c:v>-0.15624608067906276</c:v>
                </c:pt>
                <c:pt idx="1251">
                  <c:v>-0.15459557624678122</c:v>
                </c:pt>
                <c:pt idx="1252">
                  <c:v>-0.15175610661556105</c:v>
                </c:pt>
                <c:pt idx="1253">
                  <c:v>-0.15028620449197883</c:v>
                </c:pt>
                <c:pt idx="1254">
                  <c:v>-0.15028620449197883</c:v>
                </c:pt>
                <c:pt idx="1255">
                  <c:v>-0.15028620449197883</c:v>
                </c:pt>
                <c:pt idx="1256">
                  <c:v>-0.15731966106966544</c:v>
                </c:pt>
                <c:pt idx="1257">
                  <c:v>-0.16217083975056623</c:v>
                </c:pt>
                <c:pt idx="1258">
                  <c:v>-0.17435146212618891</c:v>
                </c:pt>
                <c:pt idx="1259">
                  <c:v>-0.18668258642572788</c:v>
                </c:pt>
                <c:pt idx="1260">
                  <c:v>-0.17654377348456907</c:v>
                </c:pt>
                <c:pt idx="1261">
                  <c:v>-0.17654377348456907</c:v>
                </c:pt>
                <c:pt idx="1262">
                  <c:v>-0.17654377348456907</c:v>
                </c:pt>
                <c:pt idx="1263">
                  <c:v>-0.18833810758880676</c:v>
                </c:pt>
                <c:pt idx="1264">
                  <c:v>-0.18376284910175245</c:v>
                </c:pt>
                <c:pt idx="1265">
                  <c:v>-0.17410062558632855</c:v>
                </c:pt>
                <c:pt idx="1266">
                  <c:v>-0.17514410559214799</c:v>
                </c:pt>
                <c:pt idx="1267">
                  <c:v>-0.18435984006662032</c:v>
                </c:pt>
                <c:pt idx="1268">
                  <c:v>-0.18435984006662032</c:v>
                </c:pt>
                <c:pt idx="1269">
                  <c:v>-0.18435984006662032</c:v>
                </c:pt>
                <c:pt idx="1270">
                  <c:v>-0.19491504166394746</c:v>
                </c:pt>
                <c:pt idx="1271">
                  <c:v>-0.19598360532375281</c:v>
                </c:pt>
                <c:pt idx="1272">
                  <c:v>-0.19789999648828649</c:v>
                </c:pt>
                <c:pt idx="1273">
                  <c:v>-0.18477622872278854</c:v>
                </c:pt>
                <c:pt idx="1274">
                  <c:v>-0.18560398930432809</c:v>
                </c:pt>
                <c:pt idx="1275">
                  <c:v>-0.18560398930432809</c:v>
                </c:pt>
                <c:pt idx="1276">
                  <c:v>-0.18560398930432809</c:v>
                </c:pt>
                <c:pt idx="1277">
                  <c:v>-0.17487320212909852</c:v>
                </c:pt>
                <c:pt idx="1278">
                  <c:v>-0.1715220259565633</c:v>
                </c:pt>
                <c:pt idx="1279">
                  <c:v>-0.17202871576708134</c:v>
                </c:pt>
                <c:pt idx="1280">
                  <c:v>-0.16764409305032091</c:v>
                </c:pt>
                <c:pt idx="1281">
                  <c:v>-0.16049525166429846</c:v>
                </c:pt>
                <c:pt idx="1282">
                  <c:v>-0.16049525166429846</c:v>
                </c:pt>
                <c:pt idx="1283">
                  <c:v>-0.16049525166429846</c:v>
                </c:pt>
                <c:pt idx="1284">
                  <c:v>-0.15405878605147971</c:v>
                </c:pt>
                <c:pt idx="1285">
                  <c:v>-0.15556882202143951</c:v>
                </c:pt>
                <c:pt idx="1286">
                  <c:v>-0.1611323764755439</c:v>
                </c:pt>
                <c:pt idx="1287">
                  <c:v>-0.16202535455744727</c:v>
                </c:pt>
                <c:pt idx="1288">
                  <c:v>-0.16202535455744727</c:v>
                </c:pt>
                <c:pt idx="1289">
                  <c:v>-0.16202535455744727</c:v>
                </c:pt>
                <c:pt idx="1290">
                  <c:v>-0.16202535455744727</c:v>
                </c:pt>
                <c:pt idx="1291">
                  <c:v>-0.15768086568706452</c:v>
                </c:pt>
                <c:pt idx="1292">
                  <c:v>-0.16923439671303619</c:v>
                </c:pt>
                <c:pt idx="1293">
                  <c:v>-0.17014744171812812</c:v>
                </c:pt>
                <c:pt idx="1294">
                  <c:v>-0.16965580210000175</c:v>
                </c:pt>
                <c:pt idx="1295">
                  <c:v>-0.16540663111476617</c:v>
                </c:pt>
                <c:pt idx="1296">
                  <c:v>-0.16540663111476617</c:v>
                </c:pt>
                <c:pt idx="1297">
                  <c:v>-0.16540663111476617</c:v>
                </c:pt>
                <c:pt idx="1298">
                  <c:v>-0.16451365303286281</c:v>
                </c:pt>
                <c:pt idx="1299">
                  <c:v>-0.17751200252843047</c:v>
                </c:pt>
                <c:pt idx="1300">
                  <c:v>-0.17308724596529257</c:v>
                </c:pt>
                <c:pt idx="1301">
                  <c:v>-0.16138822974620182</c:v>
                </c:pt>
                <c:pt idx="1302">
                  <c:v>-0.16089157339727833</c:v>
                </c:pt>
                <c:pt idx="1303">
                  <c:v>-0.16089157339727833</c:v>
                </c:pt>
                <c:pt idx="1304">
                  <c:v>-0.16089157339727833</c:v>
                </c:pt>
                <c:pt idx="1305">
                  <c:v>-0.16461398764880708</c:v>
                </c:pt>
                <c:pt idx="1306">
                  <c:v>-0.16271766340746219</c:v>
                </c:pt>
                <c:pt idx="1307">
                  <c:v>-0.1741457761635038</c:v>
                </c:pt>
                <c:pt idx="1308">
                  <c:v>-0.180185920043343</c:v>
                </c:pt>
                <c:pt idx="1309">
                  <c:v>-0.18502706526264945</c:v>
                </c:pt>
                <c:pt idx="1310">
                  <c:v>-0.18502706526264945</c:v>
                </c:pt>
                <c:pt idx="1311">
                  <c:v>-0.18502706526264945</c:v>
                </c:pt>
                <c:pt idx="1312">
                  <c:v>-0.17752705272082236</c:v>
                </c:pt>
                <c:pt idx="1313">
                  <c:v>-0.176001966558471</c:v>
                </c:pt>
                <c:pt idx="1314">
                  <c:v>-0.17442169635735028</c:v>
                </c:pt>
                <c:pt idx="1315">
                  <c:v>-0.17988993292630773</c:v>
                </c:pt>
                <c:pt idx="1316">
                  <c:v>-0.19114747683524413</c:v>
                </c:pt>
                <c:pt idx="1317">
                  <c:v>-0.19114747683524413</c:v>
                </c:pt>
                <c:pt idx="1318">
                  <c:v>-0.19114747683524413</c:v>
                </c:pt>
                <c:pt idx="1319">
                  <c:v>-0.1996408020749183</c:v>
                </c:pt>
                <c:pt idx="1320">
                  <c:v>-0.19333978819362418</c:v>
                </c:pt>
                <c:pt idx="1321">
                  <c:v>-0.19172941760772</c:v>
                </c:pt>
                <c:pt idx="1322">
                  <c:v>-0.19228125799541307</c:v>
                </c:pt>
                <c:pt idx="1323">
                  <c:v>-0.19274781395955354</c:v>
                </c:pt>
                <c:pt idx="1324">
                  <c:v>-0.19274781395955354</c:v>
                </c:pt>
                <c:pt idx="1325">
                  <c:v>-0.19274781395955354</c:v>
                </c:pt>
                <c:pt idx="1326">
                  <c:v>-0.20122107227603903</c:v>
                </c:pt>
                <c:pt idx="1327">
                  <c:v>-0.19574781897628413</c:v>
                </c:pt>
                <c:pt idx="1328">
                  <c:v>-0.19767926033320971</c:v>
                </c:pt>
                <c:pt idx="1329">
                  <c:v>-0.19729297206182472</c:v>
                </c:pt>
                <c:pt idx="1330">
                  <c:v>-0.19406721415921957</c:v>
                </c:pt>
                <c:pt idx="1331">
                  <c:v>-0.19406721415921957</c:v>
                </c:pt>
                <c:pt idx="1332">
                  <c:v>-0.19406721415921957</c:v>
                </c:pt>
                <c:pt idx="1333">
                  <c:v>-0.19269764665158151</c:v>
                </c:pt>
                <c:pt idx="1334">
                  <c:v>-0.17969428042521651</c:v>
                </c:pt>
                <c:pt idx="1335">
                  <c:v>-0.17817922772445949</c:v>
                </c:pt>
                <c:pt idx="1336">
                  <c:v>-0.17341835019790841</c:v>
                </c:pt>
                <c:pt idx="1337">
                  <c:v>-0.17384477231567119</c:v>
                </c:pt>
                <c:pt idx="1338">
                  <c:v>-0.17384477231567119</c:v>
                </c:pt>
                <c:pt idx="1339">
                  <c:v>-0.17384477231567119</c:v>
                </c:pt>
                <c:pt idx="1340">
                  <c:v>-0.17384477231567119</c:v>
                </c:pt>
                <c:pt idx="1341">
                  <c:v>-0.1734584840442861</c:v>
                </c:pt>
                <c:pt idx="1342">
                  <c:v>-0.17039827825798881</c:v>
                </c:pt>
                <c:pt idx="1343">
                  <c:v>-0.17653875675377217</c:v>
                </c:pt>
                <c:pt idx="1344">
                  <c:v>-0.17219928461418677</c:v>
                </c:pt>
                <c:pt idx="1345">
                  <c:v>-0.17219928461418677</c:v>
                </c:pt>
                <c:pt idx="1346">
                  <c:v>-0.17219928461418677</c:v>
                </c:pt>
                <c:pt idx="1347">
                  <c:v>-0.15895511530955575</c:v>
                </c:pt>
                <c:pt idx="1348">
                  <c:v>-0.15758554780191769</c:v>
                </c:pt>
                <c:pt idx="1349">
                  <c:v>-0.16552703265389901</c:v>
                </c:pt>
                <c:pt idx="1350">
                  <c:v>-0.16169425032483165</c:v>
                </c:pt>
                <c:pt idx="1351">
                  <c:v>-0.16169425032483176</c:v>
                </c:pt>
                <c:pt idx="1352">
                  <c:v>-0.16169425032483176</c:v>
                </c:pt>
                <c:pt idx="1353">
                  <c:v>-0.16169425032483176</c:v>
                </c:pt>
                <c:pt idx="1354">
                  <c:v>-0.16973105306196001</c:v>
                </c:pt>
                <c:pt idx="1355">
                  <c:v>-0.16475445611112904</c:v>
                </c:pt>
                <c:pt idx="1356">
                  <c:v>-0.16359559129697376</c:v>
                </c:pt>
                <c:pt idx="1357">
                  <c:v>-0.1647042888031568</c:v>
                </c:pt>
                <c:pt idx="1358">
                  <c:v>-0.16251197744477652</c:v>
                </c:pt>
                <c:pt idx="1359">
                  <c:v>-0.16251197744477652</c:v>
                </c:pt>
                <c:pt idx="1360">
                  <c:v>-0.16251197744477652</c:v>
                </c:pt>
                <c:pt idx="1361">
                  <c:v>-0.16598857188724214</c:v>
                </c:pt>
                <c:pt idx="1362">
                  <c:v>-0.16293338283174208</c:v>
                </c:pt>
                <c:pt idx="1363">
                  <c:v>-0.15580962509970564</c:v>
                </c:pt>
                <c:pt idx="1364">
                  <c:v>-0.15815745511279944</c:v>
                </c:pt>
                <c:pt idx="1365">
                  <c:v>-0.16274274706144809</c:v>
                </c:pt>
                <c:pt idx="1366">
                  <c:v>-0.16274274706144809</c:v>
                </c:pt>
                <c:pt idx="1367">
                  <c:v>-0.16274274706144809</c:v>
                </c:pt>
                <c:pt idx="1368">
                  <c:v>-0.16340495552667977</c:v>
                </c:pt>
                <c:pt idx="1369">
                  <c:v>-0.16128287839946043</c:v>
                </c:pt>
                <c:pt idx="1370">
                  <c:v>-0.15777618357221146</c:v>
                </c:pt>
                <c:pt idx="1371">
                  <c:v>-0.16645512785138239</c:v>
                </c:pt>
                <c:pt idx="1372">
                  <c:v>-0.16906382786593088</c:v>
                </c:pt>
                <c:pt idx="1373">
                  <c:v>-0.16906382786593088</c:v>
                </c:pt>
                <c:pt idx="1374">
                  <c:v>-0.16906382786593088</c:v>
                </c:pt>
                <c:pt idx="1375">
                  <c:v>-0.16906382786593088</c:v>
                </c:pt>
                <c:pt idx="1376">
                  <c:v>-0.17583139771136547</c:v>
                </c:pt>
                <c:pt idx="1377">
                  <c:v>-0.17406550847074798</c:v>
                </c:pt>
                <c:pt idx="1378">
                  <c:v>-0.18082304485458811</c:v>
                </c:pt>
                <c:pt idx="1379">
                  <c:v>-0.17804879272373175</c:v>
                </c:pt>
                <c:pt idx="1380">
                  <c:v>-0.17804879272373175</c:v>
                </c:pt>
                <c:pt idx="1381">
                  <c:v>-0.17804879272373175</c:v>
                </c:pt>
                <c:pt idx="1382">
                  <c:v>-0.17688992790957658</c:v>
                </c:pt>
                <c:pt idx="1383">
                  <c:v>-0.17627287002151981</c:v>
                </c:pt>
                <c:pt idx="1384">
                  <c:v>-0.17895180426722934</c:v>
                </c:pt>
                <c:pt idx="1385">
                  <c:v>-0.18248358274846421</c:v>
                </c:pt>
                <c:pt idx="1386">
                  <c:v>-0.18638158257789539</c:v>
                </c:pt>
                <c:pt idx="1387">
                  <c:v>-0.18638158257789539</c:v>
                </c:pt>
                <c:pt idx="1388">
                  <c:v>-0.18638158257789539</c:v>
                </c:pt>
                <c:pt idx="1389">
                  <c:v>-0.18674278719529447</c:v>
                </c:pt>
                <c:pt idx="1390">
                  <c:v>-0.18100866389408488</c:v>
                </c:pt>
                <c:pt idx="1391">
                  <c:v>-0.19186486933924429</c:v>
                </c:pt>
                <c:pt idx="1392">
                  <c:v>-0.18966252451926979</c:v>
                </c:pt>
                <c:pt idx="1393">
                  <c:v>-0.19751370821690151</c:v>
                </c:pt>
                <c:pt idx="1394">
                  <c:v>-0.19751370821690151</c:v>
                </c:pt>
                <c:pt idx="1395">
                  <c:v>-0.19751370821690151</c:v>
                </c:pt>
                <c:pt idx="1396">
                  <c:v>-0.19908896168722512</c:v>
                </c:pt>
                <c:pt idx="1397">
                  <c:v>-0.19113744337364935</c:v>
                </c:pt>
                <c:pt idx="1398">
                  <c:v>-0.19055048587037582</c:v>
                </c:pt>
                <c:pt idx="1399">
                  <c:v>-0.18661235219456707</c:v>
                </c:pt>
                <c:pt idx="1400">
                  <c:v>-0.1856541566123</c:v>
                </c:pt>
                <c:pt idx="1401">
                  <c:v>-0.1856541566123</c:v>
                </c:pt>
                <c:pt idx="1402">
                  <c:v>-0.1856541566123</c:v>
                </c:pt>
                <c:pt idx="1403">
                  <c:v>-0.18203207697671531</c:v>
                </c:pt>
                <c:pt idx="1404">
                  <c:v>-0.18714914238986835</c:v>
                </c:pt>
                <c:pt idx="1405">
                  <c:v>-0.18779128393191102</c:v>
                </c:pt>
                <c:pt idx="1406">
                  <c:v>-0.20101538631335314</c:v>
                </c:pt>
                <c:pt idx="1407">
                  <c:v>-0.213341493882095</c:v>
                </c:pt>
                <c:pt idx="1408">
                  <c:v>-0.213341493882095</c:v>
                </c:pt>
                <c:pt idx="1409">
                  <c:v>-0.213341493882095</c:v>
                </c:pt>
                <c:pt idx="1410">
                  <c:v>-0.21239333176142261</c:v>
                </c:pt>
                <c:pt idx="1411">
                  <c:v>-0.20216421766591419</c:v>
                </c:pt>
                <c:pt idx="1412">
                  <c:v>-0.20413077613841979</c:v>
                </c:pt>
                <c:pt idx="1413">
                  <c:v>-0.21340169465166148</c:v>
                </c:pt>
                <c:pt idx="1414">
                  <c:v>-0.21215252868315648</c:v>
                </c:pt>
                <c:pt idx="1415">
                  <c:v>-0.21215252868315648</c:v>
                </c:pt>
                <c:pt idx="1416">
                  <c:v>-0.21215252868315648</c:v>
                </c:pt>
                <c:pt idx="1417">
                  <c:v>-0.20136655746915777</c:v>
                </c:pt>
                <c:pt idx="1418">
                  <c:v>-0.19954548418977114</c:v>
                </c:pt>
                <c:pt idx="1419">
                  <c:v>-0.18943677163339556</c:v>
                </c:pt>
                <c:pt idx="1420">
                  <c:v>-0.19232139184179053</c:v>
                </c:pt>
                <c:pt idx="1421">
                  <c:v>-0.18705382450472141</c:v>
                </c:pt>
                <c:pt idx="1422">
                  <c:v>-0.18705382450472141</c:v>
                </c:pt>
                <c:pt idx="1423">
                  <c:v>-0.18705382450472141</c:v>
                </c:pt>
                <c:pt idx="1424">
                  <c:v>-0.18895516547686353</c:v>
                </c:pt>
                <c:pt idx="1425">
                  <c:v>-0.18856386047468132</c:v>
                </c:pt>
                <c:pt idx="1426">
                  <c:v>-0.1820270602459183</c:v>
                </c:pt>
                <c:pt idx="1427">
                  <c:v>-0.18193174236077148</c:v>
                </c:pt>
                <c:pt idx="1428">
                  <c:v>-0.17984979907992993</c:v>
                </c:pt>
                <c:pt idx="1429">
                  <c:v>-0.17984979907992993</c:v>
                </c:pt>
                <c:pt idx="1430">
                  <c:v>-0.17984979907992993</c:v>
                </c:pt>
                <c:pt idx="1431">
                  <c:v>-0.18614579623042682</c:v>
                </c:pt>
                <c:pt idx="1432">
                  <c:v>-0.18235816447853415</c:v>
                </c:pt>
                <c:pt idx="1433">
                  <c:v>-0.18085816197016891</c:v>
                </c:pt>
                <c:pt idx="1434">
                  <c:v>-0.17166751114968248</c:v>
                </c:pt>
                <c:pt idx="1435">
                  <c:v>-0.17512403866895943</c:v>
                </c:pt>
                <c:pt idx="1436">
                  <c:v>-0.17512403866895943</c:v>
                </c:pt>
                <c:pt idx="1437">
                  <c:v>-0.17512403866895943</c:v>
                </c:pt>
                <c:pt idx="1438">
                  <c:v>-0.17512403866895943</c:v>
                </c:pt>
                <c:pt idx="1439">
                  <c:v>-0.16940496556014151</c:v>
                </c:pt>
                <c:pt idx="1440">
                  <c:v>-0.1729818946185514</c:v>
                </c:pt>
                <c:pt idx="1441">
                  <c:v>-0.17141165787902513</c:v>
                </c:pt>
                <c:pt idx="1442">
                  <c:v>-0.16730295535611117</c:v>
                </c:pt>
                <c:pt idx="1443">
                  <c:v>-0.16730295535611117</c:v>
                </c:pt>
                <c:pt idx="1444">
                  <c:v>-0.16730295535611117</c:v>
                </c:pt>
                <c:pt idx="1445">
                  <c:v>-0.16566750111622119</c:v>
                </c:pt>
                <c:pt idx="1446">
                  <c:v>-0.16380127725965965</c:v>
                </c:pt>
                <c:pt idx="1447">
                  <c:v>-0.16968088575398821</c:v>
                </c:pt>
                <c:pt idx="1448">
                  <c:v>-0.1673330557408943</c:v>
                </c:pt>
                <c:pt idx="1449">
                  <c:v>-0.16358555783537931</c:v>
                </c:pt>
                <c:pt idx="1450">
                  <c:v>-0.16358555783537931</c:v>
                </c:pt>
                <c:pt idx="1451">
                  <c:v>-0.16358555783537931</c:v>
                </c:pt>
                <c:pt idx="1452">
                  <c:v>-0.1682862345923638</c:v>
                </c:pt>
                <c:pt idx="1453">
                  <c:v>-0.16301365052449746</c:v>
                </c:pt>
                <c:pt idx="1454">
                  <c:v>-0.17466249943561618</c:v>
                </c:pt>
                <c:pt idx="1455">
                  <c:v>-0.17834979657156458</c:v>
                </c:pt>
                <c:pt idx="1456">
                  <c:v>-0.17705548002588478</c:v>
                </c:pt>
                <c:pt idx="1457">
                  <c:v>-0.17705548002588478</c:v>
                </c:pt>
                <c:pt idx="1458">
                  <c:v>-0.17705548002588478</c:v>
                </c:pt>
                <c:pt idx="1459">
                  <c:v>-0.18193675909156881</c:v>
                </c:pt>
                <c:pt idx="1460">
                  <c:v>-0.17694511194834628</c:v>
                </c:pt>
                <c:pt idx="1461">
                  <c:v>-0.17334811596674771</c:v>
                </c:pt>
                <c:pt idx="1462">
                  <c:v>-0.17350363462146101</c:v>
                </c:pt>
                <c:pt idx="1463">
                  <c:v>-0.16095679089764203</c:v>
                </c:pt>
                <c:pt idx="1464">
                  <c:v>-0.16095679089764203</c:v>
                </c:pt>
                <c:pt idx="1465">
                  <c:v>-0.16095679089764203</c:v>
                </c:pt>
                <c:pt idx="1466">
                  <c:v>-0.1581424049204081</c:v>
                </c:pt>
                <c:pt idx="1467">
                  <c:v>-0.15864909473092625</c:v>
                </c:pt>
                <c:pt idx="1468">
                  <c:v>-0.15275945277500336</c:v>
                </c:pt>
                <c:pt idx="1469">
                  <c:v>-0.16116247686032792</c:v>
                </c:pt>
                <c:pt idx="1470">
                  <c:v>-0.16746850747241915</c:v>
                </c:pt>
                <c:pt idx="1471">
                  <c:v>-0.16746850747241915</c:v>
                </c:pt>
                <c:pt idx="1472">
                  <c:v>-0.16746850747241915</c:v>
                </c:pt>
                <c:pt idx="1473">
                  <c:v>-0.16579793611694882</c:v>
                </c:pt>
                <c:pt idx="1474">
                  <c:v>-0.16768924362749649</c:v>
                </c:pt>
                <c:pt idx="1475">
                  <c:v>-0.17367922019936366</c:v>
                </c:pt>
                <c:pt idx="1476">
                  <c:v>-0.1813648517806874</c:v>
                </c:pt>
                <c:pt idx="1477">
                  <c:v>-0.1777176884911168</c:v>
                </c:pt>
                <c:pt idx="1478">
                  <c:v>-0.1777176884911168</c:v>
                </c:pt>
                <c:pt idx="1479">
                  <c:v>-0.1777176884911168</c:v>
                </c:pt>
                <c:pt idx="1480">
                  <c:v>-0.17339326654392273</c:v>
                </c:pt>
                <c:pt idx="1481">
                  <c:v>-0.18139996889626786</c:v>
                </c:pt>
                <c:pt idx="1482">
                  <c:v>-0.18102371408647722</c:v>
                </c:pt>
                <c:pt idx="1483">
                  <c:v>-0.17888157003606897</c:v>
                </c:pt>
                <c:pt idx="1484">
                  <c:v>-0.1868631887344282</c:v>
                </c:pt>
                <c:pt idx="1485">
                  <c:v>-0.1868631887344282</c:v>
                </c:pt>
                <c:pt idx="1486">
                  <c:v>-0.1868631887344282</c:v>
                </c:pt>
                <c:pt idx="1487">
                  <c:v>-0.18755048085364567</c:v>
                </c:pt>
                <c:pt idx="1488">
                  <c:v>-0.17546517636316994</c:v>
                </c:pt>
                <c:pt idx="1489">
                  <c:v>-0.16470930553395435</c:v>
                </c:pt>
                <c:pt idx="1490">
                  <c:v>-0.16293338283174252</c:v>
                </c:pt>
                <c:pt idx="1491">
                  <c:v>-0.16087652320488688</c:v>
                </c:pt>
                <c:pt idx="1492">
                  <c:v>-0.16087652320488688</c:v>
                </c:pt>
                <c:pt idx="1493">
                  <c:v>-0.16087652320488688</c:v>
                </c:pt>
                <c:pt idx="1494">
                  <c:v>-0.16064575358821531</c:v>
                </c:pt>
                <c:pt idx="1495">
                  <c:v>-0.16062066993422919</c:v>
                </c:pt>
                <c:pt idx="1496">
                  <c:v>-0.15105878103474935</c:v>
                </c:pt>
                <c:pt idx="1497">
                  <c:v>-0.13730290518880317</c:v>
                </c:pt>
                <c:pt idx="1498">
                  <c:v>-0.13394169555467328</c:v>
                </c:pt>
                <c:pt idx="1499">
                  <c:v>-0.13394169555467328</c:v>
                </c:pt>
                <c:pt idx="1500">
                  <c:v>-0.13394169555467328</c:v>
                </c:pt>
                <c:pt idx="1501">
                  <c:v>-0.13481962344418486</c:v>
                </c:pt>
                <c:pt idx="1502">
                  <c:v>-0.13507547671484255</c:v>
                </c:pt>
                <c:pt idx="1503">
                  <c:v>-0.13578283575724881</c:v>
                </c:pt>
                <c:pt idx="1504">
                  <c:v>-0.12793165205961732</c:v>
                </c:pt>
                <c:pt idx="1505">
                  <c:v>-0.11989986605328606</c:v>
                </c:pt>
                <c:pt idx="1506">
                  <c:v>-0.11989986605328606</c:v>
                </c:pt>
                <c:pt idx="1507">
                  <c:v>-0.11989986605328606</c:v>
                </c:pt>
                <c:pt idx="1508">
                  <c:v>-0.12007043490039115</c:v>
                </c:pt>
                <c:pt idx="1509">
                  <c:v>-0.12622596358856608</c:v>
                </c:pt>
                <c:pt idx="1510">
                  <c:v>-0.12128448375331569</c:v>
                </c:pt>
                <c:pt idx="1511">
                  <c:v>-0.12008046836198571</c:v>
                </c:pt>
                <c:pt idx="1512">
                  <c:v>-0.12987312687813712</c:v>
                </c:pt>
                <c:pt idx="1513">
                  <c:v>-0.12987312687813712</c:v>
                </c:pt>
                <c:pt idx="1514">
                  <c:v>-0.12987312687813712</c:v>
                </c:pt>
                <c:pt idx="1515">
                  <c:v>-0.12472596108020095</c:v>
                </c:pt>
                <c:pt idx="1516">
                  <c:v>-0.12492663031208939</c:v>
                </c:pt>
                <c:pt idx="1517">
                  <c:v>-0.12129451721491025</c:v>
                </c:pt>
                <c:pt idx="1518">
                  <c:v>-0.12129451721491036</c:v>
                </c:pt>
                <c:pt idx="1519">
                  <c:v>-0.12052194067214017</c:v>
                </c:pt>
                <c:pt idx="1520">
                  <c:v>-0.12052194067214017</c:v>
                </c:pt>
                <c:pt idx="1521">
                  <c:v>-0.12052194067214017</c:v>
                </c:pt>
                <c:pt idx="1522">
                  <c:v>-0.12340656088053514</c:v>
                </c:pt>
                <c:pt idx="1523">
                  <c:v>-0.12692328916937834</c:v>
                </c:pt>
                <c:pt idx="1524">
                  <c:v>-0.11359383544119461</c:v>
                </c:pt>
                <c:pt idx="1525">
                  <c:v>-0.11436139525316769</c:v>
                </c:pt>
                <c:pt idx="1526">
                  <c:v>-0.11372928717271924</c:v>
                </c:pt>
                <c:pt idx="1527">
                  <c:v>-0.11372928717271924</c:v>
                </c:pt>
                <c:pt idx="1528">
                  <c:v>-0.11372928717271924</c:v>
                </c:pt>
                <c:pt idx="1529">
                  <c:v>-0.11438146217635647</c:v>
                </c:pt>
                <c:pt idx="1530">
                  <c:v>-0.12415907050011632</c:v>
                </c:pt>
                <c:pt idx="1531">
                  <c:v>-0.11968916335980329</c:v>
                </c:pt>
                <c:pt idx="1532">
                  <c:v>-0.11487310179448307</c:v>
                </c:pt>
                <c:pt idx="1533">
                  <c:v>-0.11579618026116945</c:v>
                </c:pt>
                <c:pt idx="1534">
                  <c:v>-0.11579618026116945</c:v>
                </c:pt>
                <c:pt idx="1535">
                  <c:v>-0.11579618026116945</c:v>
                </c:pt>
                <c:pt idx="1536">
                  <c:v>-0.10775436079324385</c:v>
                </c:pt>
                <c:pt idx="1537">
                  <c:v>-0.10425769942758933</c:v>
                </c:pt>
                <c:pt idx="1538">
                  <c:v>-0.10243662614820248</c:v>
                </c:pt>
                <c:pt idx="1539">
                  <c:v>-0.10425769942758933</c:v>
                </c:pt>
                <c:pt idx="1540">
                  <c:v>-0.11093998484947143</c:v>
                </c:pt>
                <c:pt idx="1541">
                  <c:v>-0.11093998484947143</c:v>
                </c:pt>
                <c:pt idx="1542">
                  <c:v>-0.11093998484947143</c:v>
                </c:pt>
                <c:pt idx="1543">
                  <c:v>-0.11059884715526136</c:v>
                </c:pt>
                <c:pt idx="1544">
                  <c:v>-0.10254197749494409</c:v>
                </c:pt>
                <c:pt idx="1545">
                  <c:v>-9.9165717668422637E-2</c:v>
                </c:pt>
                <c:pt idx="1546">
                  <c:v>-9.8749329012254417E-2</c:v>
                </c:pt>
                <c:pt idx="1547">
                  <c:v>-9.8749329012254417E-2</c:v>
                </c:pt>
                <c:pt idx="1548">
                  <c:v>-9.8749329012254417E-2</c:v>
                </c:pt>
                <c:pt idx="1549">
                  <c:v>-9.8749329012254417E-2</c:v>
                </c:pt>
                <c:pt idx="1550">
                  <c:v>-0.10262726191849669</c:v>
                </c:pt>
                <c:pt idx="1551">
                  <c:v>-9.6195813036475397E-2</c:v>
                </c:pt>
                <c:pt idx="1552">
                  <c:v>-9.6130595536111474E-2</c:v>
                </c:pt>
                <c:pt idx="1553">
                  <c:v>-9.5995143804586847E-2</c:v>
                </c:pt>
                <c:pt idx="1554">
                  <c:v>-9.7214209388308603E-2</c:v>
                </c:pt>
                <c:pt idx="1555">
                  <c:v>-9.7214209388308603E-2</c:v>
                </c:pt>
                <c:pt idx="1556">
                  <c:v>-9.7214209388308603E-2</c:v>
                </c:pt>
                <c:pt idx="1557">
                  <c:v>-0.10453361962143604</c:v>
                </c:pt>
                <c:pt idx="1558">
                  <c:v>-0.1148981854484693</c:v>
                </c:pt>
                <c:pt idx="1559">
                  <c:v>-0.11802360873513051</c:v>
                </c:pt>
                <c:pt idx="1560">
                  <c:v>-0.11473263333216133</c:v>
                </c:pt>
                <c:pt idx="1561">
                  <c:v>-0.11599183276226077</c:v>
                </c:pt>
                <c:pt idx="1562">
                  <c:v>-0.11599183276226077</c:v>
                </c:pt>
                <c:pt idx="1563">
                  <c:v>-0.11599183276226077</c:v>
                </c:pt>
                <c:pt idx="1564">
                  <c:v>-0.11295671062994939</c:v>
                </c:pt>
                <c:pt idx="1565">
                  <c:v>-0.11830454565977389</c:v>
                </c:pt>
                <c:pt idx="1566">
                  <c:v>-0.11468748275498653</c:v>
                </c:pt>
                <c:pt idx="1567">
                  <c:v>-0.12233298048993246</c:v>
                </c:pt>
                <c:pt idx="1568">
                  <c:v>-0.11706541315286334</c:v>
                </c:pt>
                <c:pt idx="1569">
                  <c:v>-0.11706541315286334</c:v>
                </c:pt>
                <c:pt idx="1570">
                  <c:v>-0.11706541315286334</c:v>
                </c:pt>
                <c:pt idx="1571">
                  <c:v>-0.11706541315286334</c:v>
                </c:pt>
                <c:pt idx="1572">
                  <c:v>-0.10850687041282536</c:v>
                </c:pt>
                <c:pt idx="1573">
                  <c:v>-0.11691491122894704</c:v>
                </c:pt>
                <c:pt idx="1574">
                  <c:v>-0.12377278222873145</c:v>
                </c:pt>
                <c:pt idx="1575">
                  <c:v>-0.12938148726001075</c:v>
                </c:pt>
                <c:pt idx="1576">
                  <c:v>-0.12938148726001075</c:v>
                </c:pt>
                <c:pt idx="1577">
                  <c:v>-0.12938148726001075</c:v>
                </c:pt>
                <c:pt idx="1578">
                  <c:v>-0.13244169304630815</c:v>
                </c:pt>
                <c:pt idx="1579">
                  <c:v>-0.12897011533463976</c:v>
                </c:pt>
                <c:pt idx="1580">
                  <c:v>-0.12472094434940406</c:v>
                </c:pt>
                <c:pt idx="1581">
                  <c:v>-0.12428950550084406</c:v>
                </c:pt>
                <c:pt idx="1582">
                  <c:v>-0.12660723512915451</c:v>
                </c:pt>
                <c:pt idx="1583">
                  <c:v>-0.12660723512915451</c:v>
                </c:pt>
                <c:pt idx="1584">
                  <c:v>-0.12660723512915451</c:v>
                </c:pt>
                <c:pt idx="1585">
                  <c:v>-0.11922260739566337</c:v>
                </c:pt>
                <c:pt idx="1586">
                  <c:v>-0.1131473464002436</c:v>
                </c:pt>
                <c:pt idx="1587">
                  <c:v>-0.11021757561467349</c:v>
                </c:pt>
                <c:pt idx="1588">
                  <c:v>-0.11240988697305376</c:v>
                </c:pt>
                <c:pt idx="1589">
                  <c:v>-0.10259716153371345</c:v>
                </c:pt>
                <c:pt idx="1590">
                  <c:v>-0.10259716153371345</c:v>
                </c:pt>
                <c:pt idx="1591">
                  <c:v>-0.10259716153371345</c:v>
                </c:pt>
                <c:pt idx="1592">
                  <c:v>-0.10355034038518307</c:v>
                </c:pt>
                <c:pt idx="1593">
                  <c:v>-0.10292826576632907</c:v>
                </c:pt>
                <c:pt idx="1594">
                  <c:v>-0.1103931611925757</c:v>
                </c:pt>
                <c:pt idx="1595">
                  <c:v>-0.10662057963307481</c:v>
                </c:pt>
                <c:pt idx="1596">
                  <c:v>-0.10022926459743098</c:v>
                </c:pt>
                <c:pt idx="1597">
                  <c:v>-0.10022926459743098</c:v>
                </c:pt>
                <c:pt idx="1598">
                  <c:v>-0.10022926459743098</c:v>
                </c:pt>
                <c:pt idx="1599">
                  <c:v>-9.9506855362632818E-2</c:v>
                </c:pt>
                <c:pt idx="1600">
                  <c:v>-9.6456683037929758E-2</c:v>
                </c:pt>
                <c:pt idx="1601">
                  <c:v>-9.6190796305677839E-2</c:v>
                </c:pt>
                <c:pt idx="1602">
                  <c:v>-0.10330452057611972</c:v>
                </c:pt>
                <c:pt idx="1603">
                  <c:v>-0.10268244595726583</c:v>
                </c:pt>
                <c:pt idx="1604">
                  <c:v>-0.10268244595726583</c:v>
                </c:pt>
                <c:pt idx="1605">
                  <c:v>-0.10268244595726583</c:v>
                </c:pt>
                <c:pt idx="1606">
                  <c:v>-0.10268244595726583</c:v>
                </c:pt>
                <c:pt idx="1607">
                  <c:v>-0.11567076199123927</c:v>
                </c:pt>
                <c:pt idx="1608">
                  <c:v>-0.1106540311940305</c:v>
                </c:pt>
                <c:pt idx="1609">
                  <c:v>-0.1033396376917004</c:v>
                </c:pt>
                <c:pt idx="1610">
                  <c:v>-9.4896479759998043E-2</c:v>
                </c:pt>
                <c:pt idx="1611">
                  <c:v>-9.4896479759998043E-2</c:v>
                </c:pt>
                <c:pt idx="1612">
                  <c:v>-9.4896479759998043E-2</c:v>
                </c:pt>
                <c:pt idx="1613">
                  <c:v>-0.10068578709997678</c:v>
                </c:pt>
                <c:pt idx="1614">
                  <c:v>-9.5588788610012743E-2</c:v>
                </c:pt>
                <c:pt idx="1615">
                  <c:v>-9.5523571109648819E-2</c:v>
                </c:pt>
                <c:pt idx="1616">
                  <c:v>-9.5227583992613662E-2</c:v>
                </c:pt>
                <c:pt idx="1617">
                  <c:v>-8.6513522597862047E-2</c:v>
                </c:pt>
                <c:pt idx="1618">
                  <c:v>-8.6513522597862047E-2</c:v>
                </c:pt>
                <c:pt idx="1619">
                  <c:v>-8.6513522597862047E-2</c:v>
                </c:pt>
                <c:pt idx="1620">
                  <c:v>-8.4095458353607433E-2</c:v>
                </c:pt>
                <c:pt idx="1621">
                  <c:v>-8.8399813377612602E-2</c:v>
                </c:pt>
                <c:pt idx="1622">
                  <c:v>-9.7595480928896139E-2</c:v>
                </c:pt>
                <c:pt idx="1623">
                  <c:v>-9.58847757270479E-2</c:v>
                </c:pt>
                <c:pt idx="1624">
                  <c:v>-0.10250184364856629</c:v>
                </c:pt>
                <c:pt idx="1625">
                  <c:v>-0.10250184364856629</c:v>
                </c:pt>
                <c:pt idx="1626">
                  <c:v>-0.10250184364856629</c:v>
                </c:pt>
                <c:pt idx="1627">
                  <c:v>-9.7419895350993713E-2</c:v>
                </c:pt>
                <c:pt idx="1628">
                  <c:v>-0.10420753211961742</c:v>
                </c:pt>
                <c:pt idx="1629">
                  <c:v>-0.11136139023643699</c:v>
                </c:pt>
                <c:pt idx="1630">
                  <c:v>-0.10975603638133014</c:v>
                </c:pt>
                <c:pt idx="1631">
                  <c:v>-0.11017242503749847</c:v>
                </c:pt>
                <c:pt idx="1632">
                  <c:v>-0.11017242503749847</c:v>
                </c:pt>
                <c:pt idx="1633">
                  <c:v>-0.11017242503749847</c:v>
                </c:pt>
                <c:pt idx="1634">
                  <c:v>-0.11455704775425879</c:v>
                </c:pt>
                <c:pt idx="1635">
                  <c:v>-0.12356207953524845</c:v>
                </c:pt>
                <c:pt idx="1636">
                  <c:v>-0.12293498818559734</c:v>
                </c:pt>
                <c:pt idx="1637">
                  <c:v>-0.12376776549793411</c:v>
                </c:pt>
                <c:pt idx="1638">
                  <c:v>-0.12376776549793411</c:v>
                </c:pt>
                <c:pt idx="1639">
                  <c:v>-0.12376776549793411</c:v>
                </c:pt>
                <c:pt idx="1640">
                  <c:v>-0.12376776549793411</c:v>
                </c:pt>
                <c:pt idx="1641">
                  <c:v>-0.12162562144752587</c:v>
                </c:pt>
                <c:pt idx="1642">
                  <c:v>-0.12812228782991097</c:v>
                </c:pt>
                <c:pt idx="1643">
                  <c:v>-0.11600688295465211</c:v>
                </c:pt>
                <c:pt idx="1644">
                  <c:v>-0.11660889065031699</c:v>
                </c:pt>
                <c:pt idx="1645">
                  <c:v>-0.12234803068232369</c:v>
                </c:pt>
                <c:pt idx="1646">
                  <c:v>-0.12234803068232369</c:v>
                </c:pt>
                <c:pt idx="1647">
                  <c:v>-0.12234803068232369</c:v>
                </c:pt>
                <c:pt idx="1648">
                  <c:v>-0.1198496987453137</c:v>
                </c:pt>
                <c:pt idx="1649">
                  <c:v>-0.11589149814631605</c:v>
                </c:pt>
                <c:pt idx="1650">
                  <c:v>-0.11369918678793589</c:v>
                </c:pt>
                <c:pt idx="1651">
                  <c:v>-0.10835135175811172</c:v>
                </c:pt>
                <c:pt idx="1652">
                  <c:v>-0.115791163530372</c:v>
                </c:pt>
                <c:pt idx="1653">
                  <c:v>-0.115791163530372</c:v>
                </c:pt>
                <c:pt idx="1654">
                  <c:v>-0.115791163530372</c:v>
                </c:pt>
                <c:pt idx="1655">
                  <c:v>-0.1157710966071831</c:v>
                </c:pt>
                <c:pt idx="1656">
                  <c:v>-0.11081456657954092</c:v>
                </c:pt>
                <c:pt idx="1657">
                  <c:v>-0.12118414913737141</c:v>
                </c:pt>
                <c:pt idx="1658">
                  <c:v>-0.12997346149408096</c:v>
                </c:pt>
                <c:pt idx="1659">
                  <c:v>-0.1445169640751891</c:v>
                </c:pt>
                <c:pt idx="1660">
                  <c:v>-0.1445169640751891</c:v>
                </c:pt>
                <c:pt idx="1661">
                  <c:v>-0.1445169640751891</c:v>
                </c:pt>
                <c:pt idx="1662">
                  <c:v>-0.14200358194578744</c:v>
                </c:pt>
                <c:pt idx="1663">
                  <c:v>-0.13690658345582329</c:v>
                </c:pt>
                <c:pt idx="1664">
                  <c:v>-0.14828954563468977</c:v>
                </c:pt>
                <c:pt idx="1665">
                  <c:v>-0.13146844727164908</c:v>
                </c:pt>
                <c:pt idx="1666">
                  <c:v>-0.1372928717272085</c:v>
                </c:pt>
                <c:pt idx="1667">
                  <c:v>-0.1372928717272085</c:v>
                </c:pt>
                <c:pt idx="1668">
                  <c:v>-0.1372928717272085</c:v>
                </c:pt>
                <c:pt idx="1669">
                  <c:v>-0.12981794283936765</c:v>
                </c:pt>
                <c:pt idx="1670">
                  <c:v>-0.13757882538264965</c:v>
                </c:pt>
                <c:pt idx="1671">
                  <c:v>-0.13400691305503698</c:v>
                </c:pt>
                <c:pt idx="1672">
                  <c:v>-0.14357883541611105</c:v>
                </c:pt>
                <c:pt idx="1673">
                  <c:v>-0.13336477151299431</c:v>
                </c:pt>
                <c:pt idx="1674">
                  <c:v>-0.13336477151299431</c:v>
                </c:pt>
                <c:pt idx="1675">
                  <c:v>-0.13336477151299431</c:v>
                </c:pt>
                <c:pt idx="1676">
                  <c:v>-0.12938148726001064</c:v>
                </c:pt>
                <c:pt idx="1677">
                  <c:v>-0.13012396341799748</c:v>
                </c:pt>
                <c:pt idx="1678">
                  <c:v>-0.11910220585652986</c:v>
                </c:pt>
                <c:pt idx="1679">
                  <c:v>-0.12133465106128782</c:v>
                </c:pt>
                <c:pt idx="1680">
                  <c:v>-0.12224769606637986</c:v>
                </c:pt>
                <c:pt idx="1681">
                  <c:v>-0.12224769606637986</c:v>
                </c:pt>
                <c:pt idx="1682">
                  <c:v>-0.12224769606637986</c:v>
                </c:pt>
                <c:pt idx="1683">
                  <c:v>-0.11661892411191166</c:v>
                </c:pt>
                <c:pt idx="1684">
                  <c:v>-0.12605539474146121</c:v>
                </c:pt>
                <c:pt idx="1685">
                  <c:v>-0.12194167548774992</c:v>
                </c:pt>
                <c:pt idx="1686">
                  <c:v>-0.13065573688250143</c:v>
                </c:pt>
                <c:pt idx="1687">
                  <c:v>-0.13453868651954104</c:v>
                </c:pt>
                <c:pt idx="1688">
                  <c:v>-0.13453868651954104</c:v>
                </c:pt>
                <c:pt idx="1689">
                  <c:v>-0.13453868651954104</c:v>
                </c:pt>
                <c:pt idx="1690">
                  <c:v>-0.12571425704725103</c:v>
                </c:pt>
                <c:pt idx="1691">
                  <c:v>-0.11951357778190119</c:v>
                </c:pt>
                <c:pt idx="1692">
                  <c:v>-0.11052861292410021</c:v>
                </c:pt>
                <c:pt idx="1693">
                  <c:v>-0.10637977655480868</c:v>
                </c:pt>
                <c:pt idx="1694">
                  <c:v>-0.10772927713925806</c:v>
                </c:pt>
                <c:pt idx="1695">
                  <c:v>-0.10772927713925806</c:v>
                </c:pt>
                <c:pt idx="1696">
                  <c:v>-0.10772927713925806</c:v>
                </c:pt>
                <c:pt idx="1697">
                  <c:v>-0.10428278308157557</c:v>
                </c:pt>
                <c:pt idx="1698">
                  <c:v>-0.10411221423447037</c:v>
                </c:pt>
                <c:pt idx="1699">
                  <c:v>-0.1071172359819984</c:v>
                </c:pt>
                <c:pt idx="1700">
                  <c:v>-0.10129782825723632</c:v>
                </c:pt>
                <c:pt idx="1701">
                  <c:v>-0.10032959921337514</c:v>
                </c:pt>
                <c:pt idx="1702">
                  <c:v>-0.10032959921337514</c:v>
                </c:pt>
                <c:pt idx="1703">
                  <c:v>-0.10032959921337514</c:v>
                </c:pt>
                <c:pt idx="1704">
                  <c:v>-0.10032959921337503</c:v>
                </c:pt>
                <c:pt idx="1705">
                  <c:v>-0.10578780232073803</c:v>
                </c:pt>
                <c:pt idx="1706">
                  <c:v>-9.741487862019671E-2</c:v>
                </c:pt>
                <c:pt idx="1707">
                  <c:v>-9.5889792457845124E-2</c:v>
                </c:pt>
                <c:pt idx="1708">
                  <c:v>-0.10209047172319519</c:v>
                </c:pt>
                <c:pt idx="1709">
                  <c:v>-0.10209047172319519</c:v>
                </c:pt>
                <c:pt idx="1710">
                  <c:v>-0.10209047172319519</c:v>
                </c:pt>
                <c:pt idx="1711">
                  <c:v>-0.10093160690903991</c:v>
                </c:pt>
                <c:pt idx="1712">
                  <c:v>-0.10105702517897008</c:v>
                </c:pt>
                <c:pt idx="1713">
                  <c:v>-0.10285803153516793</c:v>
                </c:pt>
                <c:pt idx="1714">
                  <c:v>-9.8132271124197423E-2</c:v>
                </c:pt>
                <c:pt idx="1715">
                  <c:v>-0.10024431478982221</c:v>
                </c:pt>
                <c:pt idx="1716">
                  <c:v>-0.10024431478982221</c:v>
                </c:pt>
                <c:pt idx="1717">
                  <c:v>-0.10024431478982221</c:v>
                </c:pt>
                <c:pt idx="1718">
                  <c:v>-9.7956685546295108E-2</c:v>
                </c:pt>
                <c:pt idx="1719">
                  <c:v>-9.561888899479587E-2</c:v>
                </c:pt>
                <c:pt idx="1720">
                  <c:v>-9.3587113021926238E-2</c:v>
                </c:pt>
                <c:pt idx="1721">
                  <c:v>-9.029112088816027E-2</c:v>
                </c:pt>
                <c:pt idx="1722">
                  <c:v>-8.5776063170672545E-2</c:v>
                </c:pt>
                <c:pt idx="1723">
                  <c:v>-8.5776063170672545E-2</c:v>
                </c:pt>
                <c:pt idx="1724">
                  <c:v>-8.5776063170672545E-2</c:v>
                </c:pt>
                <c:pt idx="1725">
                  <c:v>-8.6423221443512444E-2</c:v>
                </c:pt>
                <c:pt idx="1726">
                  <c:v>-8.8279411838479649E-2</c:v>
                </c:pt>
                <c:pt idx="1727">
                  <c:v>-8.8058675683402421E-2</c:v>
                </c:pt>
                <c:pt idx="1728">
                  <c:v>-9.7745982852812441E-2</c:v>
                </c:pt>
                <c:pt idx="1729">
                  <c:v>-0.10462893750658264</c:v>
                </c:pt>
                <c:pt idx="1730">
                  <c:v>-0.10462893750658264</c:v>
                </c:pt>
                <c:pt idx="1731">
                  <c:v>-0.10462893750658264</c:v>
                </c:pt>
                <c:pt idx="1732">
                  <c:v>-0.10529114597181422</c:v>
                </c:pt>
                <c:pt idx="1733">
                  <c:v>-9.6953339386853243E-2</c:v>
                </c:pt>
                <c:pt idx="1734">
                  <c:v>-9.8127254393400198E-2</c:v>
                </c:pt>
                <c:pt idx="1735">
                  <c:v>-0.10451856942904403</c:v>
                </c:pt>
                <c:pt idx="1736">
                  <c:v>-0.10208043826160063</c:v>
                </c:pt>
                <c:pt idx="1737">
                  <c:v>-0.10208043826160063</c:v>
                </c:pt>
                <c:pt idx="1738">
                  <c:v>-0.10208043826160063</c:v>
                </c:pt>
                <c:pt idx="1739">
                  <c:v>-0.10208043826160051</c:v>
                </c:pt>
                <c:pt idx="1740">
                  <c:v>-9.4138953409619086E-2</c:v>
                </c:pt>
                <c:pt idx="1741">
                  <c:v>-0.10147843056593542</c:v>
                </c:pt>
                <c:pt idx="1742">
                  <c:v>-9.9220901707191556E-2</c:v>
                </c:pt>
                <c:pt idx="1743">
                  <c:v>-8.8700817225444872E-2</c:v>
                </c:pt>
                <c:pt idx="1744">
                  <c:v>-8.8700817225444872E-2</c:v>
                </c:pt>
                <c:pt idx="1745">
                  <c:v>-8.8700817225444872E-2</c:v>
                </c:pt>
                <c:pt idx="1746">
                  <c:v>-8.2986760847424068E-2</c:v>
                </c:pt>
                <c:pt idx="1747">
                  <c:v>-8.0859666989407719E-2</c:v>
                </c:pt>
                <c:pt idx="1748">
                  <c:v>-7.9941605253518344E-2</c:v>
                </c:pt>
                <c:pt idx="1749">
                  <c:v>-7.7523541009263841E-2</c:v>
                </c:pt>
                <c:pt idx="1750">
                  <c:v>-7.6454977349458386E-2</c:v>
                </c:pt>
                <c:pt idx="1751">
                  <c:v>-7.6454977349458386E-2</c:v>
                </c:pt>
                <c:pt idx="1752">
                  <c:v>-7.6454977349458386E-2</c:v>
                </c:pt>
                <c:pt idx="1753">
                  <c:v>-8.1562009301016758E-2</c:v>
                </c:pt>
                <c:pt idx="1754">
                  <c:v>-7.5381396958855817E-2</c:v>
                </c:pt>
                <c:pt idx="1755">
                  <c:v>-7.0891422895353884E-2</c:v>
                </c:pt>
                <c:pt idx="1756">
                  <c:v>-7.702186792954302E-2</c:v>
                </c:pt>
                <c:pt idx="1757">
                  <c:v>-7.2000120401537138E-2</c:v>
                </c:pt>
                <c:pt idx="1758">
                  <c:v>-7.2000120401537138E-2</c:v>
                </c:pt>
                <c:pt idx="1759">
                  <c:v>-7.2000120401537138E-2</c:v>
                </c:pt>
                <c:pt idx="1760">
                  <c:v>-7.5491765036394542E-2</c:v>
                </c:pt>
                <c:pt idx="1761">
                  <c:v>-7.3891427912085028E-2</c:v>
                </c:pt>
                <c:pt idx="1762">
                  <c:v>-6.9536905580107833E-2</c:v>
                </c:pt>
                <c:pt idx="1763">
                  <c:v>-6.4058635549555931E-2</c:v>
                </c:pt>
                <c:pt idx="1764">
                  <c:v>-7.1217510397172834E-2</c:v>
                </c:pt>
                <c:pt idx="1765">
                  <c:v>-7.1217510397172834E-2</c:v>
                </c:pt>
                <c:pt idx="1766">
                  <c:v>-7.1217510397172834E-2</c:v>
                </c:pt>
                <c:pt idx="1767">
                  <c:v>-7.0334565776863811E-2</c:v>
                </c:pt>
                <c:pt idx="1768">
                  <c:v>-6.3737564778534539E-2</c:v>
                </c:pt>
                <c:pt idx="1769">
                  <c:v>-6.2844586696631288E-2</c:v>
                </c:pt>
                <c:pt idx="1770">
                  <c:v>-6.9747608273590611E-2</c:v>
                </c:pt>
                <c:pt idx="1771">
                  <c:v>-7.6826215428451916E-2</c:v>
                </c:pt>
                <c:pt idx="1772">
                  <c:v>-7.6826215428451916E-2</c:v>
                </c:pt>
                <c:pt idx="1773">
                  <c:v>-7.6826215428451916E-2</c:v>
                </c:pt>
                <c:pt idx="1774">
                  <c:v>-7.9244279672706752E-2</c:v>
                </c:pt>
                <c:pt idx="1775">
                  <c:v>-7.3028550214965127E-2</c:v>
                </c:pt>
                <c:pt idx="1776">
                  <c:v>-7.4332900222239373E-2</c:v>
                </c:pt>
                <c:pt idx="1777">
                  <c:v>-6.7675698454343403E-2</c:v>
                </c:pt>
                <c:pt idx="1778">
                  <c:v>-7.3254303100839468E-2</c:v>
                </c:pt>
                <c:pt idx="1779">
                  <c:v>-7.3254303100839468E-2</c:v>
                </c:pt>
                <c:pt idx="1780">
                  <c:v>-7.3254303100839468E-2</c:v>
                </c:pt>
                <c:pt idx="1781">
                  <c:v>-7.0510151354766459E-2</c:v>
                </c:pt>
                <c:pt idx="1782">
                  <c:v>-8.1441607761884027E-2</c:v>
                </c:pt>
                <c:pt idx="1783">
                  <c:v>-8.0523546025994985E-2</c:v>
                </c:pt>
                <c:pt idx="1784">
                  <c:v>-8.1391440453912112E-2</c:v>
                </c:pt>
                <c:pt idx="1785">
                  <c:v>-8.0789432758247126E-2</c:v>
                </c:pt>
                <c:pt idx="1786">
                  <c:v>-8.0789432758247126E-2</c:v>
                </c:pt>
                <c:pt idx="1787">
                  <c:v>-8.0789432758247126E-2</c:v>
                </c:pt>
                <c:pt idx="1788">
                  <c:v>-7.9269363326692988E-2</c:v>
                </c:pt>
                <c:pt idx="1789">
                  <c:v>-8.2384753151759527E-2</c:v>
                </c:pt>
                <c:pt idx="1790">
                  <c:v>-8.8349646069640464E-2</c:v>
                </c:pt>
                <c:pt idx="1791">
                  <c:v>-8.6222552211624004E-2</c:v>
                </c:pt>
                <c:pt idx="1792">
                  <c:v>-9.1710855703770355E-2</c:v>
                </c:pt>
                <c:pt idx="1793">
                  <c:v>-9.1710855703770355E-2</c:v>
                </c:pt>
                <c:pt idx="1794">
                  <c:v>-9.1710855703770355E-2</c:v>
                </c:pt>
                <c:pt idx="1795">
                  <c:v>-8.6172384903651977E-2</c:v>
                </c:pt>
                <c:pt idx="1796">
                  <c:v>-8.8976737419291685E-2</c:v>
                </c:pt>
                <c:pt idx="1797">
                  <c:v>-7.9690768713658433E-2</c:v>
                </c:pt>
                <c:pt idx="1798">
                  <c:v>-7.8742606592985931E-2</c:v>
                </c:pt>
                <c:pt idx="1799">
                  <c:v>-8.1406490646303675E-2</c:v>
                </c:pt>
                <c:pt idx="1800">
                  <c:v>-8.1406490646303675E-2</c:v>
                </c:pt>
                <c:pt idx="1801">
                  <c:v>-8.1406490646303675E-2</c:v>
                </c:pt>
                <c:pt idx="1802">
                  <c:v>-8.1406490646303675E-2</c:v>
                </c:pt>
                <c:pt idx="1803">
                  <c:v>-6.9782725389171074E-2</c:v>
                </c:pt>
                <c:pt idx="1804">
                  <c:v>-6.7389744798902584E-2</c:v>
                </c:pt>
                <c:pt idx="1805">
                  <c:v>-7.0901456356948667E-2</c:v>
                </c:pt>
                <c:pt idx="1806">
                  <c:v>-6.3506795161862972E-2</c:v>
                </c:pt>
                <c:pt idx="1807">
                  <c:v>-6.3506795161862972E-2</c:v>
                </c:pt>
                <c:pt idx="1808">
                  <c:v>-6.3506795161862972E-2</c:v>
                </c:pt>
                <c:pt idx="1809">
                  <c:v>-6.4153953434702871E-2</c:v>
                </c:pt>
                <c:pt idx="1810">
                  <c:v>-7.0966673857312368E-2</c:v>
                </c:pt>
                <c:pt idx="1811">
                  <c:v>-7.3991762528029081E-2</c:v>
                </c:pt>
                <c:pt idx="1812">
                  <c:v>-7.3530223294685837E-2</c:v>
                </c:pt>
                <c:pt idx="1813">
                  <c:v>-6.5829541520970425E-2</c:v>
                </c:pt>
                <c:pt idx="1814">
                  <c:v>-6.5829541520970425E-2</c:v>
                </c:pt>
                <c:pt idx="1815">
                  <c:v>-6.5829541520970425E-2</c:v>
                </c:pt>
                <c:pt idx="1816">
                  <c:v>-7.1031891357675847E-2</c:v>
                </c:pt>
                <c:pt idx="1817">
                  <c:v>-7.8326217936817266E-2</c:v>
                </c:pt>
                <c:pt idx="1818">
                  <c:v>-8.670917509895304E-2</c:v>
                </c:pt>
                <c:pt idx="1819">
                  <c:v>-8.3172379886920833E-2</c:v>
                </c:pt>
                <c:pt idx="1820">
                  <c:v>-8.2670706807199901E-2</c:v>
                </c:pt>
                <c:pt idx="1821">
                  <c:v>-8.2670706807199901E-2</c:v>
                </c:pt>
                <c:pt idx="1822">
                  <c:v>-8.2670706807199901E-2</c:v>
                </c:pt>
                <c:pt idx="1823">
                  <c:v>-8.241485353654221E-2</c:v>
                </c:pt>
                <c:pt idx="1824">
                  <c:v>-8.2374719690164522E-2</c:v>
                </c:pt>
                <c:pt idx="1825">
                  <c:v>-8.127605564557594E-2</c:v>
                </c:pt>
                <c:pt idx="1826">
                  <c:v>-7.3098784446125831E-2</c:v>
                </c:pt>
                <c:pt idx="1827">
                  <c:v>-7.2240923479803154E-2</c:v>
                </c:pt>
                <c:pt idx="1828">
                  <c:v>-7.2240923479803154E-2</c:v>
                </c:pt>
                <c:pt idx="1829">
                  <c:v>-7.2240923479803154E-2</c:v>
                </c:pt>
                <c:pt idx="1830">
                  <c:v>-7.3826210411721105E-2</c:v>
                </c:pt>
                <c:pt idx="1831">
                  <c:v>-8.2961677193438166E-2</c:v>
                </c:pt>
                <c:pt idx="1832">
                  <c:v>-9.6286114190824446E-2</c:v>
                </c:pt>
                <c:pt idx="1833">
                  <c:v>-9.9978428057570068E-2</c:v>
                </c:pt>
                <c:pt idx="1834">
                  <c:v>-9.663226861583174E-2</c:v>
                </c:pt>
                <c:pt idx="1835">
                  <c:v>-9.663226861583174E-2</c:v>
                </c:pt>
                <c:pt idx="1836">
                  <c:v>-9.663226861583174E-2</c:v>
                </c:pt>
                <c:pt idx="1837">
                  <c:v>-0.10310886807502839</c:v>
                </c:pt>
                <c:pt idx="1838">
                  <c:v>-0.10490485770042901</c:v>
                </c:pt>
                <c:pt idx="1839">
                  <c:v>-0.11023262580706472</c:v>
                </c:pt>
                <c:pt idx="1840">
                  <c:v>-0.11085470042591861</c:v>
                </c:pt>
                <c:pt idx="1841">
                  <c:v>-0.10350518980800805</c:v>
                </c:pt>
                <c:pt idx="1842">
                  <c:v>-0.10350518980800805</c:v>
                </c:pt>
                <c:pt idx="1843">
                  <c:v>-0.10350518980800805</c:v>
                </c:pt>
                <c:pt idx="1844">
                  <c:v>-0.10083628902389286</c:v>
                </c:pt>
                <c:pt idx="1845">
                  <c:v>-0.10987142118966586</c:v>
                </c:pt>
                <c:pt idx="1846">
                  <c:v>-9.6481766691915882E-2</c:v>
                </c:pt>
                <c:pt idx="1847">
                  <c:v>-0.11002192311358205</c:v>
                </c:pt>
                <c:pt idx="1848">
                  <c:v>-0.10866238906753856</c:v>
                </c:pt>
                <c:pt idx="1849">
                  <c:v>-0.10866238906753856</c:v>
                </c:pt>
                <c:pt idx="1850">
                  <c:v>-0.10866238906753856</c:v>
                </c:pt>
                <c:pt idx="1851">
                  <c:v>-9.36824309070734E-2</c:v>
                </c:pt>
                <c:pt idx="1852">
                  <c:v>-9.5834608419075873E-2</c:v>
                </c:pt>
                <c:pt idx="1853">
                  <c:v>-9.9717558056115374E-2</c:v>
                </c:pt>
                <c:pt idx="1854">
                  <c:v>-0.10902359368493775</c:v>
                </c:pt>
                <c:pt idx="1855">
                  <c:v>-9.4199154179185896E-2</c:v>
                </c:pt>
                <c:pt idx="1856">
                  <c:v>-9.4199154179185896E-2</c:v>
                </c:pt>
                <c:pt idx="1857">
                  <c:v>-9.4199154179185896E-2</c:v>
                </c:pt>
                <c:pt idx="1858">
                  <c:v>-8.770750452759779E-2</c:v>
                </c:pt>
                <c:pt idx="1859">
                  <c:v>-9.0913195507014266E-2</c:v>
                </c:pt>
                <c:pt idx="1860">
                  <c:v>-8.1722544686527732E-2</c:v>
                </c:pt>
                <c:pt idx="1861">
                  <c:v>-7.7493440624480936E-2</c:v>
                </c:pt>
                <c:pt idx="1862">
                  <c:v>-7.7342938700564523E-2</c:v>
                </c:pt>
                <c:pt idx="1863">
                  <c:v>-7.7342938700564523E-2</c:v>
                </c:pt>
                <c:pt idx="1864">
                  <c:v>-7.7342938700564523E-2</c:v>
                </c:pt>
                <c:pt idx="1865">
                  <c:v>-7.5281062342911764E-2</c:v>
                </c:pt>
                <c:pt idx="1866">
                  <c:v>-7.8025214088984773E-2</c:v>
                </c:pt>
                <c:pt idx="1867">
                  <c:v>-7.6419860233877923E-2</c:v>
                </c:pt>
                <c:pt idx="1868">
                  <c:v>-6.8443258266316143E-2</c:v>
                </c:pt>
                <c:pt idx="1869">
                  <c:v>-6.5603788635096083E-2</c:v>
                </c:pt>
                <c:pt idx="1870">
                  <c:v>-6.5603788635096083E-2</c:v>
                </c:pt>
                <c:pt idx="1871">
                  <c:v>-6.5603788635096083E-2</c:v>
                </c:pt>
                <c:pt idx="1872">
                  <c:v>-6.6260980369530431E-2</c:v>
                </c:pt>
                <c:pt idx="1873">
                  <c:v>-6.9757641735184839E-2</c:v>
                </c:pt>
                <c:pt idx="1874">
                  <c:v>-6.7906468071014858E-2</c:v>
                </c:pt>
                <c:pt idx="1875">
                  <c:v>-5.9117155714305092E-2</c:v>
                </c:pt>
                <c:pt idx="1876">
                  <c:v>-5.4852934536677833E-2</c:v>
                </c:pt>
                <c:pt idx="1877">
                  <c:v>-5.4852934536677833E-2</c:v>
                </c:pt>
                <c:pt idx="1878">
                  <c:v>-5.4852934536677833E-2</c:v>
                </c:pt>
                <c:pt idx="1879">
                  <c:v>-4.9866304124252414E-2</c:v>
                </c:pt>
                <c:pt idx="1880">
                  <c:v>-4.4985025058568273E-2</c:v>
                </c:pt>
                <c:pt idx="1881">
                  <c:v>-4.1608765232046818E-2</c:v>
                </c:pt>
                <c:pt idx="1882">
                  <c:v>-4.1608765232046818E-2</c:v>
                </c:pt>
                <c:pt idx="1883">
                  <c:v>-3.9592039451568861E-2</c:v>
                </c:pt>
                <c:pt idx="1884">
                  <c:v>-3.9592039451568861E-2</c:v>
                </c:pt>
                <c:pt idx="1885">
                  <c:v>-3.9592039451568861E-2</c:v>
                </c:pt>
                <c:pt idx="1886">
                  <c:v>-4.7638875650291679E-2</c:v>
                </c:pt>
                <c:pt idx="1887">
                  <c:v>-4.7453256610795025E-2</c:v>
                </c:pt>
                <c:pt idx="1888">
                  <c:v>-5.3202430104396181E-2</c:v>
                </c:pt>
                <c:pt idx="1889">
                  <c:v>-4.1689032924802305E-2</c:v>
                </c:pt>
                <c:pt idx="1890">
                  <c:v>-4.1372978884578138E-2</c:v>
                </c:pt>
                <c:pt idx="1891">
                  <c:v>-4.1372978884578138E-2</c:v>
                </c:pt>
                <c:pt idx="1892">
                  <c:v>-4.1372978884578138E-2</c:v>
                </c:pt>
                <c:pt idx="1893">
                  <c:v>-4.3600407358538762E-2</c:v>
                </c:pt>
                <c:pt idx="1894">
                  <c:v>-4.2361274851628217E-2</c:v>
                </c:pt>
                <c:pt idx="1895">
                  <c:v>-4.6976667185060328E-2</c:v>
                </c:pt>
                <c:pt idx="1896">
                  <c:v>-4.8040214114068447E-2</c:v>
                </c:pt>
                <c:pt idx="1897">
                  <c:v>-4.5356263137561692E-2</c:v>
                </c:pt>
                <c:pt idx="1898">
                  <c:v>-4.5356263137561692E-2</c:v>
                </c:pt>
                <c:pt idx="1899">
                  <c:v>-4.5356263137561692E-2</c:v>
                </c:pt>
                <c:pt idx="1900">
                  <c:v>-4.4518469094427804E-2</c:v>
                </c:pt>
                <c:pt idx="1901">
                  <c:v>-3.9145550410617402E-2</c:v>
                </c:pt>
                <c:pt idx="1902">
                  <c:v>-3.5061931541689573E-2</c:v>
                </c:pt>
                <c:pt idx="1903">
                  <c:v>-3.6361264818166594E-2</c:v>
                </c:pt>
                <c:pt idx="1904">
                  <c:v>-3.9095383102645265E-2</c:v>
                </c:pt>
                <c:pt idx="1905">
                  <c:v>-3.9095383102645265E-2</c:v>
                </c:pt>
                <c:pt idx="1906">
                  <c:v>-3.9095383102645265E-2</c:v>
                </c:pt>
                <c:pt idx="1907">
                  <c:v>-4.4709104864721905E-2</c:v>
                </c:pt>
                <c:pt idx="1908">
                  <c:v>-4.4909774096610233E-2</c:v>
                </c:pt>
                <c:pt idx="1909">
                  <c:v>-4.2481676390761169E-2</c:v>
                </c:pt>
                <c:pt idx="1910">
                  <c:v>-3.8212438482336575E-2</c:v>
                </c:pt>
                <c:pt idx="1911">
                  <c:v>-3.7665614825440841E-2</c:v>
                </c:pt>
                <c:pt idx="1912">
                  <c:v>-3.7665614825440841E-2</c:v>
                </c:pt>
                <c:pt idx="1913">
                  <c:v>-3.7665614825440841E-2</c:v>
                </c:pt>
                <c:pt idx="1914">
                  <c:v>-3.7665614825440952E-2</c:v>
                </c:pt>
                <c:pt idx="1915">
                  <c:v>-4.6856265645927375E-2</c:v>
                </c:pt>
                <c:pt idx="1916">
                  <c:v>-4.544656429191174E-2</c:v>
                </c:pt>
                <c:pt idx="1917">
                  <c:v>-4.8225833153565212E-2</c:v>
                </c:pt>
                <c:pt idx="1918">
                  <c:v>-5.287132587178045E-2</c:v>
                </c:pt>
                <c:pt idx="1919">
                  <c:v>-5.287132587178045E-2</c:v>
                </c:pt>
                <c:pt idx="1920">
                  <c:v>-5.287132587178045E-2</c:v>
                </c:pt>
                <c:pt idx="1921">
                  <c:v>-5.2871325871780561E-2</c:v>
                </c:pt>
                <c:pt idx="1922">
                  <c:v>-3.7309426938839096E-2</c:v>
                </c:pt>
                <c:pt idx="1923">
                  <c:v>-3.3581995956513011E-2</c:v>
                </c:pt>
                <c:pt idx="1924">
                  <c:v>-3.3556912302526998E-2</c:v>
                </c:pt>
                <c:pt idx="1925">
                  <c:v>-2.4235826481313283E-2</c:v>
                </c:pt>
                <c:pt idx="1926">
                  <c:v>-2.4235826481313283E-2</c:v>
                </c:pt>
                <c:pt idx="1927">
                  <c:v>-2.4235826481313283E-2</c:v>
                </c:pt>
                <c:pt idx="1928">
                  <c:v>-2.0668930884497949E-2</c:v>
                </c:pt>
                <c:pt idx="1929">
                  <c:v>-2.0969934732330331E-2</c:v>
                </c:pt>
                <c:pt idx="1930">
                  <c:v>-1.7443172981892685E-2</c:v>
                </c:pt>
                <c:pt idx="1931">
                  <c:v>-2.3603718400864948E-2</c:v>
                </c:pt>
                <c:pt idx="1932">
                  <c:v>-2.2419769932723543E-2</c:v>
                </c:pt>
                <c:pt idx="1933">
                  <c:v>-2.2419769932723543E-2</c:v>
                </c:pt>
                <c:pt idx="1934">
                  <c:v>-2.2419769932723543E-2</c:v>
                </c:pt>
                <c:pt idx="1935">
                  <c:v>-2.2419769932723543E-2</c:v>
                </c:pt>
                <c:pt idx="1936">
                  <c:v>-2.59665986063502E-2</c:v>
                </c:pt>
                <c:pt idx="1937">
                  <c:v>-2.9658912473095711E-2</c:v>
                </c:pt>
                <c:pt idx="1938">
                  <c:v>-2.425589340450196E-2</c:v>
                </c:pt>
                <c:pt idx="1939">
                  <c:v>-4.213050523495665E-2</c:v>
                </c:pt>
                <c:pt idx="1940">
                  <c:v>-4.213050523495665E-2</c:v>
                </c:pt>
                <c:pt idx="1941">
                  <c:v>-4.213050523495665E-2</c:v>
                </c:pt>
                <c:pt idx="1942">
                  <c:v>-4.034454907115026E-2</c:v>
                </c:pt>
                <c:pt idx="1943">
                  <c:v>-3.8021802712042696E-2</c:v>
                </c:pt>
                <c:pt idx="1944">
                  <c:v>-3.9657256951932784E-2</c:v>
                </c:pt>
                <c:pt idx="1945">
                  <c:v>-3.268901787460976E-2</c:v>
                </c:pt>
                <c:pt idx="1946">
                  <c:v>-2.5078637255244285E-2</c:v>
                </c:pt>
                <c:pt idx="1947">
                  <c:v>-2.5078637255244285E-2</c:v>
                </c:pt>
                <c:pt idx="1948">
                  <c:v>-2.5078637255244285E-2</c:v>
                </c:pt>
                <c:pt idx="1949">
                  <c:v>-2.391475571029178E-2</c:v>
                </c:pt>
                <c:pt idx="1950">
                  <c:v>-2.7792688616534167E-2</c:v>
                </c:pt>
                <c:pt idx="1951">
                  <c:v>-2.5876297452000374E-2</c:v>
                </c:pt>
                <c:pt idx="1952">
                  <c:v>-3.4444873653632802E-2</c:v>
                </c:pt>
                <c:pt idx="1953">
                  <c:v>-3.954688887439417E-2</c:v>
                </c:pt>
                <c:pt idx="1954">
                  <c:v>-3.954688887439417E-2</c:v>
                </c:pt>
                <c:pt idx="1955">
                  <c:v>-3.954688887439417E-2</c:v>
                </c:pt>
                <c:pt idx="1956">
                  <c:v>-3.8774312331624095E-2</c:v>
                </c:pt>
                <c:pt idx="1957">
                  <c:v>-4.6530178144108647E-2</c:v>
                </c:pt>
                <c:pt idx="1958">
                  <c:v>-3.7871300788126283E-2</c:v>
                </c:pt>
                <c:pt idx="1959">
                  <c:v>-3.9245885026561456E-2</c:v>
                </c:pt>
                <c:pt idx="1960">
                  <c:v>-3.6787686935929043E-2</c:v>
                </c:pt>
                <c:pt idx="1961">
                  <c:v>-3.6787686935929043E-2</c:v>
                </c:pt>
                <c:pt idx="1962">
                  <c:v>-3.6787686935929043E-2</c:v>
                </c:pt>
                <c:pt idx="1963">
                  <c:v>-3.9787691952659854E-2</c:v>
                </c:pt>
                <c:pt idx="1964">
                  <c:v>-3.0035167282886133E-2</c:v>
                </c:pt>
                <c:pt idx="1965">
                  <c:v>-2.6408070916504212E-2</c:v>
                </c:pt>
                <c:pt idx="1966">
                  <c:v>-1.9199028760915282E-2</c:v>
                </c:pt>
                <c:pt idx="1967">
                  <c:v>-2.0819432808413807E-2</c:v>
                </c:pt>
                <c:pt idx="1968">
                  <c:v>-2.0819432808413807E-2</c:v>
                </c:pt>
                <c:pt idx="1969">
                  <c:v>-2.0819432808413807E-2</c:v>
                </c:pt>
                <c:pt idx="1970">
                  <c:v>-2.0819432808413807E-2</c:v>
                </c:pt>
                <c:pt idx="1971">
                  <c:v>-2.4020107057032947E-2</c:v>
                </c:pt>
                <c:pt idx="1972">
                  <c:v>-1.6590328746366789E-2</c:v>
                </c:pt>
                <c:pt idx="1973">
                  <c:v>-2.0046856265643842E-2</c:v>
                </c:pt>
                <c:pt idx="1974">
                  <c:v>-1.8657221834816773E-2</c:v>
                </c:pt>
                <c:pt idx="1975">
                  <c:v>-1.8657221834816773E-2</c:v>
                </c:pt>
                <c:pt idx="1976">
                  <c:v>-1.8657221834816773E-2</c:v>
                </c:pt>
                <c:pt idx="1977">
                  <c:v>-1.4924774121693463E-2</c:v>
                </c:pt>
                <c:pt idx="1978">
                  <c:v>-2.5153888217201881E-2</c:v>
                </c:pt>
                <c:pt idx="1979">
                  <c:v>-1.6836148555430031E-2</c:v>
                </c:pt>
                <c:pt idx="1980">
                  <c:v>-1.8426452218145095E-2</c:v>
                </c:pt>
                <c:pt idx="1981">
                  <c:v>-1.9861237226146744E-2</c:v>
                </c:pt>
                <c:pt idx="1982">
                  <c:v>-1.9861237226146744E-2</c:v>
                </c:pt>
                <c:pt idx="1983">
                  <c:v>-1.9861237226146744E-2</c:v>
                </c:pt>
                <c:pt idx="1984">
                  <c:v>-2.6653890725567231E-2</c:v>
                </c:pt>
                <c:pt idx="1985">
                  <c:v>-2.8419779966184611E-2</c:v>
                </c:pt>
                <c:pt idx="1986">
                  <c:v>-2.6167267838237973E-2</c:v>
                </c:pt>
                <c:pt idx="1987">
                  <c:v>-3.0903061710802926E-2</c:v>
                </c:pt>
                <c:pt idx="1988">
                  <c:v>-2.3779303978766486E-2</c:v>
                </c:pt>
                <c:pt idx="1989">
                  <c:v>-2.3779303978766486E-2</c:v>
                </c:pt>
                <c:pt idx="1990">
                  <c:v>-2.3779303978766486E-2</c:v>
                </c:pt>
                <c:pt idx="1991">
                  <c:v>-2.1541842043211523E-2</c:v>
                </c:pt>
                <c:pt idx="1992">
                  <c:v>-1.1372928717269359E-2</c:v>
                </c:pt>
                <c:pt idx="1993">
                  <c:v>-7.0836238856559763E-3</c:v>
                </c:pt>
                <c:pt idx="1994">
                  <c:v>-5.3026844526469219E-3</c:v>
                </c:pt>
                <c:pt idx="1995">
                  <c:v>-3.8327823290645879E-3</c:v>
                </c:pt>
                <c:pt idx="1996">
                  <c:v>-3.8327823290645879E-3</c:v>
                </c:pt>
                <c:pt idx="1997">
                  <c:v>-3.8327823290645879E-3</c:v>
                </c:pt>
                <c:pt idx="1998">
                  <c:v>-3.8327823290645879E-3</c:v>
                </c:pt>
                <c:pt idx="1999">
                  <c:v>-3.8327823290645879E-3</c:v>
                </c:pt>
                <c:pt idx="2000">
                  <c:v>-3.8327823290645879E-3</c:v>
                </c:pt>
              </c:numCache>
            </c:numRef>
          </c:val>
          <c:smooth val="0"/>
          <c:extLst>
            <c:ext xmlns:c16="http://schemas.microsoft.com/office/drawing/2014/chart" uri="{C3380CC4-5D6E-409C-BE32-E72D297353CC}">
              <c16:uniqueId val="{00000000-E20D-4E96-A113-CDF20BDFB848}"/>
            </c:ext>
          </c:extLst>
        </c:ser>
        <c:ser>
          <c:idx val="1"/>
          <c:order val="1"/>
          <c:tx>
            <c:strRef>
              <c:f>Sheet1!$C$1</c:f>
              <c:strCache>
                <c:ptCount val="1"/>
                <c:pt idx="0">
                  <c:v>Global Financial Crisis</c:v>
                </c:pt>
              </c:strCache>
            </c:strRef>
          </c:tx>
          <c:spPr>
            <a:ln w="15875" cap="rnd">
              <a:solidFill>
                <a:schemeClr val="accent5"/>
              </a:solidFill>
              <a:round/>
            </a:ln>
            <a:effectLst/>
          </c:spPr>
          <c:marker>
            <c:symbol val="none"/>
          </c:marker>
          <c:cat>
            <c:numRef>
              <c:f>Sheet1!$A$2:$A$2002</c:f>
              <c:numCache>
                <c:formatCode>#,##0.00</c:formatCode>
                <c:ptCount val="20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numCache>
            </c:numRef>
          </c:cat>
          <c:val>
            <c:numRef>
              <c:f>Sheet1!$C$2:$C$2002</c:f>
              <c:numCache>
                <c:formatCode>0%</c:formatCode>
                <c:ptCount val="2001"/>
                <c:pt idx="0">
                  <c:v>0</c:v>
                </c:pt>
                <c:pt idx="1">
                  <c:v>-2.6183432563014142E-2</c:v>
                </c:pt>
                <c:pt idx="2">
                  <c:v>-2.5358237713880349E-2</c:v>
                </c:pt>
                <c:pt idx="3">
                  <c:v>-2.5358237713880349E-2</c:v>
                </c:pt>
                <c:pt idx="4">
                  <c:v>-2.5358237713880349E-2</c:v>
                </c:pt>
                <c:pt idx="5">
                  <c:v>-3.0111360044890678E-2</c:v>
                </c:pt>
                <c:pt idx="6">
                  <c:v>-1.8410097084174182E-2</c:v>
                </c:pt>
                <c:pt idx="7">
                  <c:v>-4.6730784306444617E-2</c:v>
                </c:pt>
                <c:pt idx="8">
                  <c:v>-4.7238279138662076E-2</c:v>
                </c:pt>
                <c:pt idx="9">
                  <c:v>-6.082098635540345E-2</c:v>
                </c:pt>
                <c:pt idx="10">
                  <c:v>-6.082098635540345E-2</c:v>
                </c:pt>
                <c:pt idx="11">
                  <c:v>-6.082098635540345E-2</c:v>
                </c:pt>
                <c:pt idx="12">
                  <c:v>-7.0199325815808677E-2</c:v>
                </c:pt>
                <c:pt idx="13">
                  <c:v>-4.2831738644287798E-2</c:v>
                </c:pt>
                <c:pt idx="14">
                  <c:v>-4.935077795244458E-2</c:v>
                </c:pt>
                <c:pt idx="15">
                  <c:v>-6.1864857839557752E-2</c:v>
                </c:pt>
                <c:pt idx="16">
                  <c:v>-5.6938444590229342E-2</c:v>
                </c:pt>
                <c:pt idx="17">
                  <c:v>-5.6938444590229342E-2</c:v>
                </c:pt>
                <c:pt idx="18">
                  <c:v>-5.6938444590229342E-2</c:v>
                </c:pt>
                <c:pt idx="19">
                  <c:v>-7.3384577933464978E-2</c:v>
                </c:pt>
                <c:pt idx="20">
                  <c:v>-6.9171958228637198E-2</c:v>
                </c:pt>
                <c:pt idx="21">
                  <c:v>-8.3947072002376832E-2</c:v>
                </c:pt>
                <c:pt idx="22">
                  <c:v>-8.3947072002376832E-2</c:v>
                </c:pt>
                <c:pt idx="23">
                  <c:v>-6.8375645199223234E-2</c:v>
                </c:pt>
                <c:pt idx="24">
                  <c:v>-6.8375645199223234E-2</c:v>
                </c:pt>
                <c:pt idx="25">
                  <c:v>-6.8375645199223234E-2</c:v>
                </c:pt>
                <c:pt idx="26">
                  <c:v>-9.0020506092001407E-2</c:v>
                </c:pt>
                <c:pt idx="27">
                  <c:v>-7.6392413158557382E-2</c:v>
                </c:pt>
                <c:pt idx="28">
                  <c:v>-4.9717989660308715E-2</c:v>
                </c:pt>
                <c:pt idx="29">
                  <c:v>-4.9198116905354694E-2</c:v>
                </c:pt>
                <c:pt idx="30">
                  <c:v>-4.1808497031361691E-2</c:v>
                </c:pt>
                <c:pt idx="31">
                  <c:v>-4.1808497031361691E-2</c:v>
                </c:pt>
                <c:pt idx="32">
                  <c:v>-4.1808497031361691E-2</c:v>
                </c:pt>
                <c:pt idx="33">
                  <c:v>-4.7419822005471346E-2</c:v>
                </c:pt>
                <c:pt idx="34">
                  <c:v>-5.3641791167939989E-2</c:v>
                </c:pt>
                <c:pt idx="35">
                  <c:v>-3.8767654012303976E-2</c:v>
                </c:pt>
                <c:pt idx="36">
                  <c:v>-2.4219468822075929E-2</c:v>
                </c:pt>
                <c:pt idx="37">
                  <c:v>-2.5944126056765549E-2</c:v>
                </c:pt>
                <c:pt idx="38">
                  <c:v>-2.5944126056765549E-2</c:v>
                </c:pt>
                <c:pt idx="39">
                  <c:v>-2.5944126056765549E-2</c:v>
                </c:pt>
                <c:pt idx="40">
                  <c:v>-1.8595765925229379E-2</c:v>
                </c:pt>
                <c:pt idx="41">
                  <c:v>-4.3384619193207352E-2</c:v>
                </c:pt>
                <c:pt idx="42">
                  <c:v>-3.7472098099163964E-2</c:v>
                </c:pt>
                <c:pt idx="43">
                  <c:v>-3.6259061670937398E-2</c:v>
                </c:pt>
                <c:pt idx="44">
                  <c:v>-4.9462179257077299E-2</c:v>
                </c:pt>
                <c:pt idx="45">
                  <c:v>-4.9462179257077299E-2</c:v>
                </c:pt>
                <c:pt idx="46">
                  <c:v>-4.9462179257077299E-2</c:v>
                </c:pt>
                <c:pt idx="47">
                  <c:v>-6.3717420275863135E-2</c:v>
                </c:pt>
                <c:pt idx="48">
                  <c:v>-5.7833781001539464E-2</c:v>
                </c:pt>
                <c:pt idx="49">
                  <c:v>-5.9083951197976936E-2</c:v>
                </c:pt>
                <c:pt idx="50">
                  <c:v>-5.4231805485070561E-2</c:v>
                </c:pt>
                <c:pt idx="51">
                  <c:v>-3.8313796845280468E-2</c:v>
                </c:pt>
                <c:pt idx="52">
                  <c:v>-3.8313796845280468E-2</c:v>
                </c:pt>
                <c:pt idx="53">
                  <c:v>-3.8313796845280468E-2</c:v>
                </c:pt>
                <c:pt idx="54">
                  <c:v>-3.0536335392194802E-2</c:v>
                </c:pt>
                <c:pt idx="55">
                  <c:v>-3.0536335392194913E-2</c:v>
                </c:pt>
                <c:pt idx="56">
                  <c:v>-2.9735896388535354E-2</c:v>
                </c:pt>
                <c:pt idx="57">
                  <c:v>-4.3302099708294461E-2</c:v>
                </c:pt>
                <c:pt idx="58">
                  <c:v>-4.1903394439012476E-2</c:v>
                </c:pt>
                <c:pt idx="59">
                  <c:v>-4.1903394439012476E-2</c:v>
                </c:pt>
                <c:pt idx="60">
                  <c:v>-4.1903394439012476E-2</c:v>
                </c:pt>
                <c:pt idx="61">
                  <c:v>-4.8455441541134459E-2</c:v>
                </c:pt>
                <c:pt idx="62">
                  <c:v>-4.8455441541134459E-2</c:v>
                </c:pt>
                <c:pt idx="63">
                  <c:v>-6.1996889015419443E-2</c:v>
                </c:pt>
                <c:pt idx="64">
                  <c:v>-6.1996889015419443E-2</c:v>
                </c:pt>
                <c:pt idx="65">
                  <c:v>-8.5028077254742263E-2</c:v>
                </c:pt>
                <c:pt idx="66">
                  <c:v>-8.5028077254742263E-2</c:v>
                </c:pt>
                <c:pt idx="67">
                  <c:v>-8.5028077254742263E-2</c:v>
                </c:pt>
                <c:pt idx="68">
                  <c:v>-8.2069753720597771E-2</c:v>
                </c:pt>
                <c:pt idx="69">
                  <c:v>-9.8610784471483748E-2</c:v>
                </c:pt>
                <c:pt idx="70">
                  <c:v>-8.6261743554197357E-2</c:v>
                </c:pt>
                <c:pt idx="71">
                  <c:v>-7.8979399010592033E-2</c:v>
                </c:pt>
                <c:pt idx="72">
                  <c:v>-9.1448093181002887E-2</c:v>
                </c:pt>
                <c:pt idx="73">
                  <c:v>-9.1448093181002887E-2</c:v>
                </c:pt>
                <c:pt idx="74">
                  <c:v>-9.1448093181002887E-2</c:v>
                </c:pt>
                <c:pt idx="75">
                  <c:v>-8.156638486262624E-2</c:v>
                </c:pt>
                <c:pt idx="76">
                  <c:v>-0.1044531640033507</c:v>
                </c:pt>
                <c:pt idx="77">
                  <c:v>-0.10937957725267933</c:v>
                </c:pt>
                <c:pt idx="78">
                  <c:v>-0.1352535617472681</c:v>
                </c:pt>
                <c:pt idx="79">
                  <c:v>-0.14046054124530238</c:v>
                </c:pt>
                <c:pt idx="80">
                  <c:v>-0.14046054124530238</c:v>
                </c:pt>
                <c:pt idx="81">
                  <c:v>-0.14046054124530238</c:v>
                </c:pt>
                <c:pt idx="82">
                  <c:v>-0.14046054124530238</c:v>
                </c:pt>
                <c:pt idx="83">
                  <c:v>-0.14998741577855135</c:v>
                </c:pt>
                <c:pt idx="84">
                  <c:v>-0.13174235766420417</c:v>
                </c:pt>
                <c:pt idx="85">
                  <c:v>-0.12297878836640375</c:v>
                </c:pt>
                <c:pt idx="86">
                  <c:v>-0.13689569949704439</c:v>
                </c:pt>
                <c:pt idx="87">
                  <c:v>-0.13689569949704439</c:v>
                </c:pt>
                <c:pt idx="88">
                  <c:v>-0.13689569949704439</c:v>
                </c:pt>
                <c:pt idx="89">
                  <c:v>-0.12172861816996605</c:v>
                </c:pt>
                <c:pt idx="90">
                  <c:v>-0.11627820619143769</c:v>
                </c:pt>
                <c:pt idx="91">
                  <c:v>-0.12042893628258033</c:v>
                </c:pt>
                <c:pt idx="92">
                  <c:v>-0.10553004328147042</c:v>
                </c:pt>
                <c:pt idx="93">
                  <c:v>-9.4583833607711387E-2</c:v>
                </c:pt>
                <c:pt idx="94">
                  <c:v>-9.4583833607711387E-2</c:v>
                </c:pt>
                <c:pt idx="95">
                  <c:v>-9.4583833607711387E-2</c:v>
                </c:pt>
                <c:pt idx="96">
                  <c:v>-0.10404056657878391</c:v>
                </c:pt>
                <c:pt idx="97">
                  <c:v>-0.13262531615277717</c:v>
                </c:pt>
                <c:pt idx="98">
                  <c:v>-0.13888854505770221</c:v>
                </c:pt>
                <c:pt idx="99">
                  <c:v>-0.13188676676280231</c:v>
                </c:pt>
                <c:pt idx="100">
                  <c:v>-0.13552175007323652</c:v>
                </c:pt>
                <c:pt idx="101">
                  <c:v>-0.13552175007323652</c:v>
                </c:pt>
                <c:pt idx="102">
                  <c:v>-0.13552175007323652</c:v>
                </c:pt>
                <c:pt idx="103">
                  <c:v>-0.1303890381116245</c:v>
                </c:pt>
                <c:pt idx="104">
                  <c:v>-0.12403091179904902</c:v>
                </c:pt>
                <c:pt idx="105">
                  <c:v>-0.11177676828941252</c:v>
                </c:pt>
                <c:pt idx="106">
                  <c:v>-0.12366782606543014</c:v>
                </c:pt>
                <c:pt idx="107">
                  <c:v>-0.12287976498450759</c:v>
                </c:pt>
                <c:pt idx="108">
                  <c:v>-0.12287976498450759</c:v>
                </c:pt>
                <c:pt idx="109">
                  <c:v>-0.12287976498450759</c:v>
                </c:pt>
                <c:pt idx="110">
                  <c:v>-0.12287976498450759</c:v>
                </c:pt>
                <c:pt idx="111">
                  <c:v>-0.12359355852900822</c:v>
                </c:pt>
                <c:pt idx="112">
                  <c:v>-0.11623694644898086</c:v>
                </c:pt>
                <c:pt idx="113">
                  <c:v>-0.12730280937586436</c:v>
                </c:pt>
                <c:pt idx="114">
                  <c:v>-0.12033403887492977</c:v>
                </c:pt>
                <c:pt idx="115">
                  <c:v>-0.12033403887492977</c:v>
                </c:pt>
                <c:pt idx="116">
                  <c:v>-0.12033403887492977</c:v>
                </c:pt>
                <c:pt idx="117">
                  <c:v>-0.10816654082445254</c:v>
                </c:pt>
                <c:pt idx="118">
                  <c:v>-0.10198995737868666</c:v>
                </c:pt>
                <c:pt idx="119">
                  <c:v>-0.10260060156704554</c:v>
                </c:pt>
                <c:pt idx="120">
                  <c:v>-0.11052247211872945</c:v>
                </c:pt>
                <c:pt idx="121">
                  <c:v>-0.13458515391946968</c:v>
                </c:pt>
                <c:pt idx="122">
                  <c:v>-0.13458515391946968</c:v>
                </c:pt>
                <c:pt idx="123">
                  <c:v>-0.13458515391946968</c:v>
                </c:pt>
                <c:pt idx="124">
                  <c:v>-0.13410654090697216</c:v>
                </c:pt>
                <c:pt idx="125">
                  <c:v>-0.13708549431234485</c:v>
                </c:pt>
                <c:pt idx="126">
                  <c:v>-0.1321343252175422</c:v>
                </c:pt>
                <c:pt idx="127">
                  <c:v>-0.15110555479912724</c:v>
                </c:pt>
                <c:pt idx="128">
                  <c:v>-0.15823111232139708</c:v>
                </c:pt>
                <c:pt idx="129">
                  <c:v>-0.15823111232139708</c:v>
                </c:pt>
                <c:pt idx="130">
                  <c:v>-0.15823111232139708</c:v>
                </c:pt>
                <c:pt idx="131">
                  <c:v>-0.17121142729827099</c:v>
                </c:pt>
                <c:pt idx="132">
                  <c:v>-0.14041102955435381</c:v>
                </c:pt>
                <c:pt idx="133">
                  <c:v>-0.14789967281024263</c:v>
                </c:pt>
                <c:pt idx="134">
                  <c:v>-0.14349725829011406</c:v>
                </c:pt>
                <c:pt idx="135">
                  <c:v>-0.16127608131470073</c:v>
                </c:pt>
                <c:pt idx="136">
                  <c:v>-0.16127608131470073</c:v>
                </c:pt>
                <c:pt idx="137">
                  <c:v>-0.16127608131470073</c:v>
                </c:pt>
                <c:pt idx="138">
                  <c:v>-0.16866570118869351</c:v>
                </c:pt>
                <c:pt idx="139">
                  <c:v>-0.13338862138822549</c:v>
                </c:pt>
                <c:pt idx="140">
                  <c:v>-0.15442283809264501</c:v>
                </c:pt>
                <c:pt idx="141">
                  <c:v>-0.13418080844339397</c:v>
                </c:pt>
                <c:pt idx="142">
                  <c:v>-0.13418080844339397</c:v>
                </c:pt>
                <c:pt idx="143">
                  <c:v>-0.13418080844339397</c:v>
                </c:pt>
                <c:pt idx="144">
                  <c:v>-0.13418080844339397</c:v>
                </c:pt>
                <c:pt idx="145">
                  <c:v>-0.12091167526932334</c:v>
                </c:pt>
                <c:pt idx="146">
                  <c:v>-0.11888169594045428</c:v>
                </c:pt>
                <c:pt idx="147">
                  <c:v>-0.1265601340116439</c:v>
                </c:pt>
                <c:pt idx="148">
                  <c:v>-0.13638820466482682</c:v>
                </c:pt>
                <c:pt idx="149">
                  <c:v>-0.14321669204140863</c:v>
                </c:pt>
                <c:pt idx="150">
                  <c:v>-0.14321669204140863</c:v>
                </c:pt>
                <c:pt idx="151">
                  <c:v>-0.14321669204140863</c:v>
                </c:pt>
                <c:pt idx="152">
                  <c:v>-0.13832328658604531</c:v>
                </c:pt>
                <c:pt idx="153">
                  <c:v>-0.10739498364051236</c:v>
                </c:pt>
                <c:pt idx="154">
                  <c:v>-0.1089422239826382</c:v>
                </c:pt>
                <c:pt idx="155">
                  <c:v>-0.10777457327111384</c:v>
                </c:pt>
                <c:pt idx="156">
                  <c:v>-0.10705252777812191</c:v>
                </c:pt>
                <c:pt idx="157">
                  <c:v>-0.10705252777812191</c:v>
                </c:pt>
                <c:pt idx="158">
                  <c:v>-0.10705252777812191</c:v>
                </c:pt>
                <c:pt idx="159">
                  <c:v>-0.10564969653459433</c:v>
                </c:pt>
                <c:pt idx="160">
                  <c:v>-0.10991182793037013</c:v>
                </c:pt>
                <c:pt idx="161">
                  <c:v>-0.11704563740113172</c:v>
                </c:pt>
                <c:pt idx="162">
                  <c:v>-0.11305169433132423</c:v>
                </c:pt>
                <c:pt idx="163">
                  <c:v>-0.13106569788791389</c:v>
                </c:pt>
                <c:pt idx="164">
                  <c:v>-0.13106569788791389</c:v>
                </c:pt>
                <c:pt idx="165">
                  <c:v>-0.13106569788791389</c:v>
                </c:pt>
                <c:pt idx="166">
                  <c:v>-0.13399101362809318</c:v>
                </c:pt>
                <c:pt idx="167">
                  <c:v>-0.1300011965325315</c:v>
                </c:pt>
                <c:pt idx="168">
                  <c:v>-0.11016351235935595</c:v>
                </c:pt>
                <c:pt idx="169">
                  <c:v>-0.10958174999071679</c:v>
                </c:pt>
                <c:pt idx="170">
                  <c:v>-9.3424434844678106E-2</c:v>
                </c:pt>
                <c:pt idx="171">
                  <c:v>-9.3424434844678106E-2</c:v>
                </c:pt>
                <c:pt idx="172">
                  <c:v>-9.3424434844678106E-2</c:v>
                </c:pt>
                <c:pt idx="173">
                  <c:v>-9.4814888165468347E-2</c:v>
                </c:pt>
                <c:pt idx="174">
                  <c:v>-0.10276976651111758</c:v>
                </c:pt>
                <c:pt idx="175">
                  <c:v>-0.10016215078785495</c:v>
                </c:pt>
                <c:pt idx="176">
                  <c:v>-9.4365156972690434E-2</c:v>
                </c:pt>
                <c:pt idx="177">
                  <c:v>-8.8469139775629757E-2</c:v>
                </c:pt>
                <c:pt idx="178">
                  <c:v>-8.8469139775629757E-2</c:v>
                </c:pt>
                <c:pt idx="179">
                  <c:v>-8.8469139775629757E-2</c:v>
                </c:pt>
                <c:pt idx="180">
                  <c:v>-8.938923203241389E-2</c:v>
                </c:pt>
                <c:pt idx="181">
                  <c:v>-9.290456208972353E-2</c:v>
                </c:pt>
                <c:pt idx="182">
                  <c:v>-9.6358002533348475E-2</c:v>
                </c:pt>
                <c:pt idx="183">
                  <c:v>-8.0695804296789575E-2</c:v>
                </c:pt>
                <c:pt idx="184">
                  <c:v>-7.7720976865662594E-2</c:v>
                </c:pt>
                <c:pt idx="185">
                  <c:v>-7.7720976865662594E-2</c:v>
                </c:pt>
                <c:pt idx="186">
                  <c:v>-7.7720976865662594E-2</c:v>
                </c:pt>
                <c:pt idx="187">
                  <c:v>-8.1818069291611617E-2</c:v>
                </c:pt>
                <c:pt idx="188">
                  <c:v>-7.4762653331518103E-2</c:v>
                </c:pt>
                <c:pt idx="189">
                  <c:v>-9.1142771086823116E-2</c:v>
                </c:pt>
                <c:pt idx="190">
                  <c:v>-8.7767724153866022E-2</c:v>
                </c:pt>
                <c:pt idx="191">
                  <c:v>-9.3713253041874611E-2</c:v>
                </c:pt>
                <c:pt idx="192">
                  <c:v>-9.3713253041874611E-2</c:v>
                </c:pt>
                <c:pt idx="193">
                  <c:v>-9.3713253041874611E-2</c:v>
                </c:pt>
                <c:pt idx="194">
                  <c:v>-8.3699513547636606E-2</c:v>
                </c:pt>
                <c:pt idx="195">
                  <c:v>-8.3843922646234748E-2</c:v>
                </c:pt>
                <c:pt idx="196">
                  <c:v>-8.0015018546254257E-2</c:v>
                </c:pt>
                <c:pt idx="197">
                  <c:v>-7.0104428408157782E-2</c:v>
                </c:pt>
                <c:pt idx="198">
                  <c:v>-6.8916147825405449E-2</c:v>
                </c:pt>
                <c:pt idx="199">
                  <c:v>-6.8916147825405449E-2</c:v>
                </c:pt>
                <c:pt idx="200">
                  <c:v>-6.8916147825405449E-2</c:v>
                </c:pt>
                <c:pt idx="201">
                  <c:v>-6.8049693233815045E-2</c:v>
                </c:pt>
                <c:pt idx="202">
                  <c:v>-7.6693609278490782E-2</c:v>
                </c:pt>
                <c:pt idx="203">
                  <c:v>-9.1452219155248149E-2</c:v>
                </c:pt>
                <c:pt idx="204">
                  <c:v>-8.8902367071424737E-2</c:v>
                </c:pt>
                <c:pt idx="205">
                  <c:v>-0.10092958199754909</c:v>
                </c:pt>
                <c:pt idx="206">
                  <c:v>-0.10092958199754909</c:v>
                </c:pt>
                <c:pt idx="207">
                  <c:v>-0.10092958199754909</c:v>
                </c:pt>
                <c:pt idx="208">
                  <c:v>-0.10092958199754909</c:v>
                </c:pt>
                <c:pt idx="209">
                  <c:v>-9.4769502448765697E-2</c:v>
                </c:pt>
                <c:pt idx="210">
                  <c:v>-9.100661393671583E-2</c:v>
                </c:pt>
                <c:pt idx="211">
                  <c:v>-8.6047192893421998E-2</c:v>
                </c:pt>
                <c:pt idx="212">
                  <c:v>-8.465261359838594E-2</c:v>
                </c:pt>
                <c:pt idx="213">
                  <c:v>-8.465261359838594E-2</c:v>
                </c:pt>
                <c:pt idx="214">
                  <c:v>-8.465261359838594E-2</c:v>
                </c:pt>
                <c:pt idx="215">
                  <c:v>-9.4237251771074448E-2</c:v>
                </c:pt>
                <c:pt idx="216">
                  <c:v>-9.9444231269108396E-2</c:v>
                </c:pt>
                <c:pt idx="217">
                  <c:v>-9.9295696196264216E-2</c:v>
                </c:pt>
                <c:pt idx="218">
                  <c:v>-8.1665408244521842E-2</c:v>
                </c:pt>
                <c:pt idx="219">
                  <c:v>-0.10992833182735295</c:v>
                </c:pt>
                <c:pt idx="220">
                  <c:v>-0.10992833182735295</c:v>
                </c:pt>
                <c:pt idx="221">
                  <c:v>-0.10992833182735295</c:v>
                </c:pt>
                <c:pt idx="222">
                  <c:v>-0.10918978243737798</c:v>
                </c:pt>
                <c:pt idx="223">
                  <c:v>-0.11136004489060003</c:v>
                </c:pt>
                <c:pt idx="224">
                  <c:v>-0.12618467035528791</c:v>
                </c:pt>
                <c:pt idx="225">
                  <c:v>-0.12325522864086291</c:v>
                </c:pt>
                <c:pt idx="226">
                  <c:v>-0.11004385910623149</c:v>
                </c:pt>
                <c:pt idx="227">
                  <c:v>-0.11004385910623149</c:v>
                </c:pt>
                <c:pt idx="228">
                  <c:v>-0.11004385910623149</c:v>
                </c:pt>
                <c:pt idx="229">
                  <c:v>-0.10996959156980979</c:v>
                </c:pt>
                <c:pt idx="230">
                  <c:v>-0.11598938799424019</c:v>
                </c:pt>
                <c:pt idx="231">
                  <c:v>-0.12455903650249422</c:v>
                </c:pt>
                <c:pt idx="232">
                  <c:v>-0.12104370644518447</c:v>
                </c:pt>
                <c:pt idx="233">
                  <c:v>-0.13733305276708463</c:v>
                </c:pt>
                <c:pt idx="234">
                  <c:v>-0.13733305276708463</c:v>
                </c:pt>
                <c:pt idx="235">
                  <c:v>-0.13733305276708463</c:v>
                </c:pt>
                <c:pt idx="236">
                  <c:v>-0.13728354107613683</c:v>
                </c:pt>
                <c:pt idx="237">
                  <c:v>-0.13970136198409877</c:v>
                </c:pt>
                <c:pt idx="238">
                  <c:v>-0.13463466561041737</c:v>
                </c:pt>
                <c:pt idx="239">
                  <c:v>-0.15978660461201399</c:v>
                </c:pt>
                <c:pt idx="240">
                  <c:v>-0.16288521127051114</c:v>
                </c:pt>
                <c:pt idx="241">
                  <c:v>-0.16288521127051114</c:v>
                </c:pt>
                <c:pt idx="242">
                  <c:v>-0.16288521127051114</c:v>
                </c:pt>
                <c:pt idx="243">
                  <c:v>-0.16182070991512876</c:v>
                </c:pt>
                <c:pt idx="244">
                  <c:v>-0.15844153700792607</c:v>
                </c:pt>
                <c:pt idx="245">
                  <c:v>-0.17371589366539186</c:v>
                </c:pt>
                <c:pt idx="246">
                  <c:v>-0.17279580140860773</c:v>
                </c:pt>
                <c:pt idx="247">
                  <c:v>-0.17279580140860773</c:v>
                </c:pt>
                <c:pt idx="248">
                  <c:v>-0.17279580140860773</c:v>
                </c:pt>
                <c:pt idx="249">
                  <c:v>-0.17279580140860773</c:v>
                </c:pt>
                <c:pt idx="250">
                  <c:v>-0.17971918619283989</c:v>
                </c:pt>
                <c:pt idx="251">
                  <c:v>-0.16538555166338664</c:v>
                </c:pt>
                <c:pt idx="252">
                  <c:v>-0.18430726955402355</c:v>
                </c:pt>
                <c:pt idx="253">
                  <c:v>-0.17860929912075507</c:v>
                </c:pt>
                <c:pt idx="254">
                  <c:v>-0.18765343466726103</c:v>
                </c:pt>
                <c:pt idx="255">
                  <c:v>-0.18765343466726103</c:v>
                </c:pt>
                <c:pt idx="256">
                  <c:v>-0.18765343466726103</c:v>
                </c:pt>
                <c:pt idx="257">
                  <c:v>-0.19498941687606008</c:v>
                </c:pt>
                <c:pt idx="258">
                  <c:v>-0.2037488601996148</c:v>
                </c:pt>
                <c:pt idx="259">
                  <c:v>-0.18368837341717326</c:v>
                </c:pt>
                <c:pt idx="260">
                  <c:v>-0.17385617678974452</c:v>
                </c:pt>
                <c:pt idx="261">
                  <c:v>-0.17361687028349571</c:v>
                </c:pt>
                <c:pt idx="262">
                  <c:v>-0.17361687028349571</c:v>
                </c:pt>
                <c:pt idx="263">
                  <c:v>-0.17361687028349571</c:v>
                </c:pt>
                <c:pt idx="264">
                  <c:v>-0.1740377196565539</c:v>
                </c:pt>
                <c:pt idx="265">
                  <c:v>-0.16287695932201984</c:v>
                </c:pt>
                <c:pt idx="266">
                  <c:v>-0.15947715654358874</c:v>
                </c:pt>
                <c:pt idx="267">
                  <c:v>-0.17889399134370598</c:v>
                </c:pt>
                <c:pt idx="268">
                  <c:v>-0.17546118077130957</c:v>
                </c:pt>
                <c:pt idx="269">
                  <c:v>-0.17546118077130957</c:v>
                </c:pt>
                <c:pt idx="270">
                  <c:v>-0.17546118077130957</c:v>
                </c:pt>
                <c:pt idx="271">
                  <c:v>-0.19080155301670609</c:v>
                </c:pt>
                <c:pt idx="272">
                  <c:v>-0.17183032343512106</c:v>
                </c:pt>
                <c:pt idx="273">
                  <c:v>-0.15796704996967414</c:v>
                </c:pt>
                <c:pt idx="274">
                  <c:v>-0.16886787392673086</c:v>
                </c:pt>
                <c:pt idx="275">
                  <c:v>-0.17350134300461684</c:v>
                </c:pt>
                <c:pt idx="276">
                  <c:v>-0.17350134300461684</c:v>
                </c:pt>
                <c:pt idx="277">
                  <c:v>-0.17350134300461684</c:v>
                </c:pt>
                <c:pt idx="278">
                  <c:v>-0.18089921482710103</c:v>
                </c:pt>
                <c:pt idx="279">
                  <c:v>-0.15729451616763002</c:v>
                </c:pt>
                <c:pt idx="280">
                  <c:v>-0.154080382230254</c:v>
                </c:pt>
                <c:pt idx="281">
                  <c:v>-0.16916907004666459</c:v>
                </c:pt>
                <c:pt idx="282">
                  <c:v>-0.14931900795075215</c:v>
                </c:pt>
                <c:pt idx="283">
                  <c:v>-0.14931900795075215</c:v>
                </c:pt>
                <c:pt idx="284">
                  <c:v>-0.14931900795075215</c:v>
                </c:pt>
                <c:pt idx="285">
                  <c:v>-0.14320431411867107</c:v>
                </c:pt>
                <c:pt idx="286">
                  <c:v>-0.15349036791312332</c:v>
                </c:pt>
                <c:pt idx="287">
                  <c:v>-0.15568126023757323</c:v>
                </c:pt>
                <c:pt idx="288">
                  <c:v>-0.15099002752024804</c:v>
                </c:pt>
                <c:pt idx="289">
                  <c:v>-0.14742518577199026</c:v>
                </c:pt>
                <c:pt idx="290">
                  <c:v>-0.14742518577199026</c:v>
                </c:pt>
                <c:pt idx="291">
                  <c:v>-0.14742518577199026</c:v>
                </c:pt>
                <c:pt idx="292">
                  <c:v>-0.1602404617790375</c:v>
                </c:pt>
                <c:pt idx="293">
                  <c:v>-0.16798904141240345</c:v>
                </c:pt>
                <c:pt idx="294">
                  <c:v>-0.1627779359401238</c:v>
                </c:pt>
                <c:pt idx="295">
                  <c:v>-0.16063242933237598</c:v>
                </c:pt>
                <c:pt idx="296">
                  <c:v>-0.15102303531421346</c:v>
                </c:pt>
                <c:pt idx="297">
                  <c:v>-0.15102303531421346</c:v>
                </c:pt>
                <c:pt idx="298">
                  <c:v>-0.15102303531421346</c:v>
                </c:pt>
                <c:pt idx="299">
                  <c:v>-0.16767959334397831</c:v>
                </c:pt>
                <c:pt idx="300">
                  <c:v>-0.16460574253095495</c:v>
                </c:pt>
                <c:pt idx="301">
                  <c:v>-0.15778963307711036</c:v>
                </c:pt>
                <c:pt idx="302">
                  <c:v>-0.1451558999368725</c:v>
                </c:pt>
                <c:pt idx="303">
                  <c:v>-0.1568447849748521</c:v>
                </c:pt>
                <c:pt idx="304">
                  <c:v>-0.1568447849748521</c:v>
                </c:pt>
                <c:pt idx="305">
                  <c:v>-0.1568447849748521</c:v>
                </c:pt>
                <c:pt idx="306">
                  <c:v>-0.1568447849748521</c:v>
                </c:pt>
                <c:pt idx="307">
                  <c:v>-0.16026521762451151</c:v>
                </c:pt>
                <c:pt idx="308">
                  <c:v>-0.1615483956149143</c:v>
                </c:pt>
                <c:pt idx="309">
                  <c:v>-0.18661781513159781</c:v>
                </c:pt>
                <c:pt idx="310">
                  <c:v>-0.18298283182116348</c:v>
                </c:pt>
                <c:pt idx="311">
                  <c:v>-0.18298283182116348</c:v>
                </c:pt>
                <c:pt idx="312">
                  <c:v>-0.18298283182116348</c:v>
                </c:pt>
                <c:pt idx="313">
                  <c:v>-0.16608696728514982</c:v>
                </c:pt>
                <c:pt idx="314">
                  <c:v>-0.19455206360601862</c:v>
                </c:pt>
                <c:pt idx="315">
                  <c:v>-0.18955550879451388</c:v>
                </c:pt>
                <c:pt idx="316">
                  <c:v>-0.17810593026278299</c:v>
                </c:pt>
                <c:pt idx="317">
                  <c:v>-0.17634826523412805</c:v>
                </c:pt>
                <c:pt idx="318">
                  <c:v>-0.17634826523412805</c:v>
                </c:pt>
                <c:pt idx="319">
                  <c:v>-0.17634826523412805</c:v>
                </c:pt>
                <c:pt idx="320">
                  <c:v>-0.21516955691162543</c:v>
                </c:pt>
                <c:pt idx="321">
                  <c:v>-0.20142181072505694</c:v>
                </c:pt>
                <c:pt idx="322">
                  <c:v>-0.23904244389706497</c:v>
                </c:pt>
                <c:pt idx="323">
                  <c:v>-0.20581184732244873</c:v>
                </c:pt>
                <c:pt idx="324">
                  <c:v>-0.17384792484125267</c:v>
                </c:pt>
                <c:pt idx="325">
                  <c:v>-0.17384792484125267</c:v>
                </c:pt>
                <c:pt idx="326">
                  <c:v>-0.17384792484125267</c:v>
                </c:pt>
                <c:pt idx="327">
                  <c:v>-0.20539512392363612</c:v>
                </c:pt>
                <c:pt idx="328">
                  <c:v>-0.21780605445460766</c:v>
                </c:pt>
                <c:pt idx="329">
                  <c:v>-0.21934504284824219</c:v>
                </c:pt>
                <c:pt idx="330">
                  <c:v>-0.20400054462860007</c:v>
                </c:pt>
                <c:pt idx="331">
                  <c:v>-0.2012980314976871</c:v>
                </c:pt>
                <c:pt idx="332">
                  <c:v>-0.2012980314976871</c:v>
                </c:pt>
                <c:pt idx="333">
                  <c:v>-0.2012980314976871</c:v>
                </c:pt>
                <c:pt idx="334">
                  <c:v>-0.27146847549377562</c:v>
                </c:pt>
                <c:pt idx="335">
                  <c:v>-0.23197465001423423</c:v>
                </c:pt>
                <c:pt idx="336">
                  <c:v>-0.23534969694719132</c:v>
                </c:pt>
                <c:pt idx="337">
                  <c:v>-0.26603044143798427</c:v>
                </c:pt>
                <c:pt idx="338">
                  <c:v>-0.27592865365334329</c:v>
                </c:pt>
                <c:pt idx="339">
                  <c:v>-0.27592865365334329</c:v>
                </c:pt>
                <c:pt idx="340">
                  <c:v>-0.27592865365334329</c:v>
                </c:pt>
                <c:pt idx="341">
                  <c:v>-0.30380786163132745</c:v>
                </c:pt>
                <c:pt idx="342">
                  <c:v>-0.34375967025213783</c:v>
                </c:pt>
                <c:pt idx="343">
                  <c:v>-0.35084396803195128</c:v>
                </c:pt>
                <c:pt idx="344">
                  <c:v>-0.40028139144355412</c:v>
                </c:pt>
                <c:pt idx="345">
                  <c:v>-0.40727904376420854</c:v>
                </c:pt>
                <c:pt idx="346">
                  <c:v>-0.40727904376420854</c:v>
                </c:pt>
                <c:pt idx="347">
                  <c:v>-0.40727904376420854</c:v>
                </c:pt>
                <c:pt idx="348">
                  <c:v>-0.33863521023901721</c:v>
                </c:pt>
                <c:pt idx="349">
                  <c:v>-0.34215054029632708</c:v>
                </c:pt>
                <c:pt idx="350">
                  <c:v>-0.40152743566574611</c:v>
                </c:pt>
                <c:pt idx="351">
                  <c:v>-0.37606604859572412</c:v>
                </c:pt>
                <c:pt idx="352">
                  <c:v>-0.37993208646391596</c:v>
                </c:pt>
                <c:pt idx="353">
                  <c:v>-0.37993208646391596</c:v>
                </c:pt>
                <c:pt idx="354">
                  <c:v>-0.37993208646391596</c:v>
                </c:pt>
                <c:pt idx="355">
                  <c:v>-0.35036535501945365</c:v>
                </c:pt>
                <c:pt idx="356">
                  <c:v>-0.37036807816245576</c:v>
                </c:pt>
                <c:pt idx="357">
                  <c:v>-0.40865711916226188</c:v>
                </c:pt>
                <c:pt idx="358">
                  <c:v>-0.40116847590637306</c:v>
                </c:pt>
                <c:pt idx="359">
                  <c:v>-0.42183135492868229</c:v>
                </c:pt>
                <c:pt idx="360">
                  <c:v>-0.42183135492868229</c:v>
                </c:pt>
                <c:pt idx="361">
                  <c:v>-0.42183135492868229</c:v>
                </c:pt>
                <c:pt idx="362">
                  <c:v>-0.44019606629615382</c:v>
                </c:pt>
                <c:pt idx="363">
                  <c:v>-0.37980005528805438</c:v>
                </c:pt>
                <c:pt idx="364">
                  <c:v>-0.38657903097368829</c:v>
                </c:pt>
                <c:pt idx="365">
                  <c:v>-0.37063626648842418</c:v>
                </c:pt>
                <c:pt idx="366">
                  <c:v>-0.36096498285657663</c:v>
                </c:pt>
                <c:pt idx="367">
                  <c:v>-0.36096498285657663</c:v>
                </c:pt>
                <c:pt idx="368">
                  <c:v>-0.36096498285657663</c:v>
                </c:pt>
                <c:pt idx="369">
                  <c:v>-0.36257411281238738</c:v>
                </c:pt>
                <c:pt idx="370">
                  <c:v>-0.33654334129646324</c:v>
                </c:pt>
                <c:pt idx="371">
                  <c:v>-0.3711148795009217</c:v>
                </c:pt>
                <c:pt idx="372">
                  <c:v>-0.4025548032529177</c:v>
                </c:pt>
                <c:pt idx="373">
                  <c:v>-0.38510193219373889</c:v>
                </c:pt>
                <c:pt idx="374">
                  <c:v>-0.38510193219373889</c:v>
                </c:pt>
                <c:pt idx="375">
                  <c:v>-0.38510193219373889</c:v>
                </c:pt>
                <c:pt idx="376">
                  <c:v>-0.39280512611040241</c:v>
                </c:pt>
                <c:pt idx="377">
                  <c:v>-0.40618153461486062</c:v>
                </c:pt>
                <c:pt idx="378">
                  <c:v>-0.4367426258525291</c:v>
                </c:pt>
                <c:pt idx="379">
                  <c:v>-0.39768202766878291</c:v>
                </c:pt>
                <c:pt idx="380">
                  <c:v>-0.42269368354602677</c:v>
                </c:pt>
                <c:pt idx="381">
                  <c:v>-0.42269368354602677</c:v>
                </c:pt>
                <c:pt idx="382">
                  <c:v>-0.42269368354602677</c:v>
                </c:pt>
                <c:pt idx="383">
                  <c:v>-0.43757194667590837</c:v>
                </c:pt>
                <c:pt idx="384">
                  <c:v>-0.43192761390783352</c:v>
                </c:pt>
                <c:pt idx="385">
                  <c:v>-0.46661055341692514</c:v>
                </c:pt>
                <c:pt idx="386">
                  <c:v>-0.50239100207536458</c:v>
                </c:pt>
                <c:pt idx="387">
                  <c:v>-0.47080666922477032</c:v>
                </c:pt>
                <c:pt idx="388">
                  <c:v>-0.47080666922477032</c:v>
                </c:pt>
                <c:pt idx="389">
                  <c:v>-0.47080666922477032</c:v>
                </c:pt>
                <c:pt idx="390">
                  <c:v>-0.43654457908873689</c:v>
                </c:pt>
                <c:pt idx="391">
                  <c:v>-0.43276518667970443</c:v>
                </c:pt>
                <c:pt idx="392">
                  <c:v>-0.41250252715922497</c:v>
                </c:pt>
                <c:pt idx="393">
                  <c:v>-0.41250252715922497</c:v>
                </c:pt>
                <c:pt idx="394">
                  <c:v>-0.40681693464869351</c:v>
                </c:pt>
                <c:pt idx="395">
                  <c:v>-0.40681693464869351</c:v>
                </c:pt>
                <c:pt idx="396">
                  <c:v>-0.40681693464869351</c:v>
                </c:pt>
                <c:pt idx="397">
                  <c:v>-0.45974905824637813</c:v>
                </c:pt>
                <c:pt idx="398">
                  <c:v>-0.43812895319907375</c:v>
                </c:pt>
                <c:pt idx="399">
                  <c:v>-0.42330432773438587</c:v>
                </c:pt>
                <c:pt idx="400">
                  <c:v>-0.44018368837341681</c:v>
                </c:pt>
                <c:pt idx="401">
                  <c:v>-0.41973948598612809</c:v>
                </c:pt>
                <c:pt idx="402">
                  <c:v>-0.41973948598612809</c:v>
                </c:pt>
                <c:pt idx="403">
                  <c:v>-0.41973948598612809</c:v>
                </c:pt>
                <c:pt idx="404">
                  <c:v>-0.39736020167762065</c:v>
                </c:pt>
                <c:pt idx="405">
                  <c:v>-0.4112729868340157</c:v>
                </c:pt>
                <c:pt idx="406">
                  <c:v>-0.40420931892543077</c:v>
                </c:pt>
                <c:pt idx="407">
                  <c:v>-0.42104329384775929</c:v>
                </c:pt>
                <c:pt idx="408">
                  <c:v>-0.41697095726728428</c:v>
                </c:pt>
                <c:pt idx="409">
                  <c:v>-0.41697095726728428</c:v>
                </c:pt>
                <c:pt idx="410">
                  <c:v>-0.41697095726728428</c:v>
                </c:pt>
                <c:pt idx="411">
                  <c:v>-0.42433994727004865</c:v>
                </c:pt>
                <c:pt idx="412">
                  <c:v>-0.39477321582558633</c:v>
                </c:pt>
                <c:pt idx="413">
                  <c:v>-0.40054545379527673</c:v>
                </c:pt>
                <c:pt idx="414">
                  <c:v>-0.41320806875523419</c:v>
                </c:pt>
                <c:pt idx="415">
                  <c:v>-0.41147515957205327</c:v>
                </c:pt>
                <c:pt idx="416">
                  <c:v>-0.41147515957205327</c:v>
                </c:pt>
                <c:pt idx="417">
                  <c:v>-0.41147515957205327</c:v>
                </c:pt>
                <c:pt idx="418">
                  <c:v>-0.42219031468805512</c:v>
                </c:pt>
                <c:pt idx="419">
                  <c:v>-0.4276943643317771</c:v>
                </c:pt>
                <c:pt idx="420">
                  <c:v>-0.42411301868653672</c:v>
                </c:pt>
                <c:pt idx="421">
                  <c:v>-0.42411301868653672</c:v>
                </c:pt>
                <c:pt idx="422">
                  <c:v>-0.42103504189926766</c:v>
                </c:pt>
                <c:pt idx="423">
                  <c:v>-0.42103504189926766</c:v>
                </c:pt>
                <c:pt idx="424">
                  <c:v>-0.42103504189926766</c:v>
                </c:pt>
                <c:pt idx="425">
                  <c:v>-0.42308565109936525</c:v>
                </c:pt>
                <c:pt idx="426">
                  <c:v>-0.40889229969426444</c:v>
                </c:pt>
                <c:pt idx="427">
                  <c:v>-0.40050419405282001</c:v>
                </c:pt>
                <c:pt idx="428">
                  <c:v>-0.40050419405282001</c:v>
                </c:pt>
                <c:pt idx="429">
                  <c:v>-0.38144631901207604</c:v>
                </c:pt>
                <c:pt idx="430">
                  <c:v>-0.38144631901207604</c:v>
                </c:pt>
                <c:pt idx="431">
                  <c:v>-0.38144631901207604</c:v>
                </c:pt>
                <c:pt idx="432">
                  <c:v>-0.38431799708706149</c:v>
                </c:pt>
                <c:pt idx="433">
                  <c:v>-0.37950711111661184</c:v>
                </c:pt>
                <c:pt idx="434">
                  <c:v>-0.39778105105067874</c:v>
                </c:pt>
                <c:pt idx="435">
                  <c:v>-0.39570981197935295</c:v>
                </c:pt>
                <c:pt idx="436">
                  <c:v>-0.4085787256515937</c:v>
                </c:pt>
                <c:pt idx="437">
                  <c:v>-0.4085787256515937</c:v>
                </c:pt>
                <c:pt idx="438">
                  <c:v>-0.4085787256515937</c:v>
                </c:pt>
                <c:pt idx="439">
                  <c:v>-0.42192212636208648</c:v>
                </c:pt>
                <c:pt idx="440">
                  <c:v>-0.42086587695519528</c:v>
                </c:pt>
                <c:pt idx="441">
                  <c:v>-0.44019194032190789</c:v>
                </c:pt>
                <c:pt idx="442">
                  <c:v>-0.43942863508645913</c:v>
                </c:pt>
                <c:pt idx="443">
                  <c:v>-0.43518713356191174</c:v>
                </c:pt>
                <c:pt idx="444">
                  <c:v>-0.43518713356191174</c:v>
                </c:pt>
                <c:pt idx="445">
                  <c:v>-0.43518713356191174</c:v>
                </c:pt>
                <c:pt idx="446">
                  <c:v>-0.43518713356191174</c:v>
                </c:pt>
                <c:pt idx="447">
                  <c:v>-0.46501380138385107</c:v>
                </c:pt>
                <c:pt idx="448">
                  <c:v>-0.44161952741090926</c:v>
                </c:pt>
                <c:pt idx="449">
                  <c:v>-0.45007364864028465</c:v>
                </c:pt>
                <c:pt idx="450">
                  <c:v>-0.44711119913189434</c:v>
                </c:pt>
                <c:pt idx="451">
                  <c:v>-0.44711119913189434</c:v>
                </c:pt>
                <c:pt idx="452">
                  <c:v>-0.44711119913189434</c:v>
                </c:pt>
                <c:pt idx="453">
                  <c:v>-0.44403734831887109</c:v>
                </c:pt>
                <c:pt idx="454">
                  <c:v>-0.43796804020349234</c:v>
                </c:pt>
                <c:pt idx="455">
                  <c:v>-0.41903394439011843</c:v>
                </c:pt>
                <c:pt idx="456">
                  <c:v>-0.43823210255521516</c:v>
                </c:pt>
                <c:pt idx="457">
                  <c:v>-0.45103500063952529</c:v>
                </c:pt>
                <c:pt idx="458">
                  <c:v>-0.45103500063952529</c:v>
                </c:pt>
                <c:pt idx="459">
                  <c:v>-0.45103500063952529</c:v>
                </c:pt>
                <c:pt idx="460">
                  <c:v>-0.45132381883672223</c:v>
                </c:pt>
                <c:pt idx="461">
                  <c:v>-0.44262626512685233</c:v>
                </c:pt>
                <c:pt idx="462">
                  <c:v>-0.4463891536389023</c:v>
                </c:pt>
                <c:pt idx="463">
                  <c:v>-0.43729138042720272</c:v>
                </c:pt>
                <c:pt idx="464">
                  <c:v>-0.4219262523363323</c:v>
                </c:pt>
                <c:pt idx="465">
                  <c:v>-0.4219262523363323</c:v>
                </c:pt>
                <c:pt idx="466">
                  <c:v>-0.4219262523363323</c:v>
                </c:pt>
                <c:pt idx="467">
                  <c:v>-0.42104741982200478</c:v>
                </c:pt>
                <c:pt idx="468">
                  <c:v>-0.44947125640041685</c:v>
                </c:pt>
                <c:pt idx="469">
                  <c:v>-0.44485016524526799</c:v>
                </c:pt>
                <c:pt idx="470">
                  <c:v>-0.44375678207016567</c:v>
                </c:pt>
                <c:pt idx="471">
                  <c:v>-0.44925257976539668</c:v>
                </c:pt>
                <c:pt idx="472">
                  <c:v>-0.44925257976539668</c:v>
                </c:pt>
                <c:pt idx="473">
                  <c:v>-0.44925257976539668</c:v>
                </c:pt>
                <c:pt idx="474">
                  <c:v>-0.44925257976539668</c:v>
                </c:pt>
                <c:pt idx="475">
                  <c:v>-0.47424360577141222</c:v>
                </c:pt>
                <c:pt idx="476">
                  <c:v>-0.47464382527324223</c:v>
                </c:pt>
                <c:pt idx="477">
                  <c:v>-0.48061411000672494</c:v>
                </c:pt>
                <c:pt idx="478">
                  <c:v>-0.48643173369311776</c:v>
                </c:pt>
                <c:pt idx="479">
                  <c:v>-0.48643173369311776</c:v>
                </c:pt>
                <c:pt idx="480">
                  <c:v>-0.48643173369311776</c:v>
                </c:pt>
                <c:pt idx="481">
                  <c:v>-0.50423943853742426</c:v>
                </c:pt>
                <c:pt idx="482">
                  <c:v>-0.48435224267330079</c:v>
                </c:pt>
                <c:pt idx="483">
                  <c:v>-0.48972426114116152</c:v>
                </c:pt>
                <c:pt idx="484">
                  <c:v>-0.49766676156407386</c:v>
                </c:pt>
                <c:pt idx="485">
                  <c:v>-0.50948767777791493</c:v>
                </c:pt>
                <c:pt idx="486">
                  <c:v>-0.50948767777791493</c:v>
                </c:pt>
                <c:pt idx="487">
                  <c:v>-0.50948767777791493</c:v>
                </c:pt>
                <c:pt idx="488">
                  <c:v>-0.53234970107316537</c:v>
                </c:pt>
                <c:pt idx="489">
                  <c:v>-0.53534103240127529</c:v>
                </c:pt>
                <c:pt idx="490">
                  <c:v>-0.52413076037579343</c:v>
                </c:pt>
                <c:pt idx="491">
                  <c:v>-0.54433565625683322</c:v>
                </c:pt>
                <c:pt idx="492">
                  <c:v>-0.5436672484290348</c:v>
                </c:pt>
                <c:pt idx="493">
                  <c:v>-0.5436672484290348</c:v>
                </c:pt>
                <c:pt idx="494">
                  <c:v>-0.5436672484290348</c:v>
                </c:pt>
                <c:pt idx="495">
                  <c:v>-0.54818931620228784</c:v>
                </c:pt>
                <c:pt idx="496">
                  <c:v>-0.5193941419417657</c:v>
                </c:pt>
                <c:pt idx="497">
                  <c:v>-0.51805732628616896</c:v>
                </c:pt>
                <c:pt idx="498">
                  <c:v>-0.49833516939187228</c:v>
                </c:pt>
                <c:pt idx="499">
                  <c:v>-0.49443612372971535</c:v>
                </c:pt>
                <c:pt idx="500">
                  <c:v>-0.49443612372971535</c:v>
                </c:pt>
                <c:pt idx="501">
                  <c:v>-0.49443612372971535</c:v>
                </c:pt>
                <c:pt idx="502">
                  <c:v>-0.49620616668110729</c:v>
                </c:pt>
                <c:pt idx="503">
                  <c:v>-0.48000759179261165</c:v>
                </c:pt>
                <c:pt idx="504">
                  <c:v>-0.46914390160376573</c:v>
                </c:pt>
                <c:pt idx="505">
                  <c:v>-0.47603015261978698</c:v>
                </c:pt>
                <c:pt idx="506">
                  <c:v>-0.48637397005367855</c:v>
                </c:pt>
                <c:pt idx="507">
                  <c:v>-0.48637397005367855</c:v>
                </c:pt>
                <c:pt idx="508">
                  <c:v>-0.48637397005367855</c:v>
                </c:pt>
                <c:pt idx="509">
                  <c:v>-0.44992098759319499</c:v>
                </c:pt>
                <c:pt idx="510">
                  <c:v>-0.46113538559292266</c:v>
                </c:pt>
                <c:pt idx="511">
                  <c:v>-0.45594490999187132</c:v>
                </c:pt>
                <c:pt idx="512">
                  <c:v>-0.44325341321219425</c:v>
                </c:pt>
                <c:pt idx="513">
                  <c:v>-0.45446781121192192</c:v>
                </c:pt>
                <c:pt idx="514">
                  <c:v>-0.45446781121192192</c:v>
                </c:pt>
                <c:pt idx="515">
                  <c:v>-0.45446781121192192</c:v>
                </c:pt>
                <c:pt idx="516">
                  <c:v>-0.47343491481926114</c:v>
                </c:pt>
                <c:pt idx="517">
                  <c:v>-0.46651978198352029</c:v>
                </c:pt>
                <c:pt idx="518">
                  <c:v>-0.45758704774164738</c:v>
                </c:pt>
                <c:pt idx="519">
                  <c:v>-0.44197436119603684</c:v>
                </c:pt>
                <c:pt idx="520">
                  <c:v>-0.43653220116599989</c:v>
                </c:pt>
                <c:pt idx="521">
                  <c:v>-0.43653220116599989</c:v>
                </c:pt>
                <c:pt idx="522">
                  <c:v>-0.43653220116599989</c:v>
                </c:pt>
                <c:pt idx="523">
                  <c:v>-0.44119455206360558</c:v>
                </c:pt>
                <c:pt idx="524">
                  <c:v>-0.45417074106623379</c:v>
                </c:pt>
                <c:pt idx="525">
                  <c:v>-0.44772596929449915</c:v>
                </c:pt>
                <c:pt idx="526">
                  <c:v>-0.42670000453857104</c:v>
                </c:pt>
                <c:pt idx="527">
                  <c:v>-0.42670000453857104</c:v>
                </c:pt>
                <c:pt idx="528">
                  <c:v>-0.42670000453857104</c:v>
                </c:pt>
                <c:pt idx="529">
                  <c:v>-0.42670000453857104</c:v>
                </c:pt>
                <c:pt idx="530">
                  <c:v>-0.42519814991314764</c:v>
                </c:pt>
                <c:pt idx="531">
                  <c:v>-0.43672199598130046</c:v>
                </c:pt>
                <c:pt idx="532">
                  <c:v>-0.42964182417573293</c:v>
                </c:pt>
                <c:pt idx="533">
                  <c:v>-0.42075860162480805</c:v>
                </c:pt>
                <c:pt idx="534">
                  <c:v>-0.4178869235498226</c:v>
                </c:pt>
                <c:pt idx="535">
                  <c:v>-0.4178869235498226</c:v>
                </c:pt>
                <c:pt idx="536">
                  <c:v>-0.4178869235498226</c:v>
                </c:pt>
                <c:pt idx="537">
                  <c:v>-0.44277892617394232</c:v>
                </c:pt>
                <c:pt idx="538">
                  <c:v>-0.43093738008887295</c:v>
                </c:pt>
                <c:pt idx="539">
                  <c:v>-0.43518713356191174</c:v>
                </c:pt>
                <c:pt idx="540">
                  <c:v>-0.42957580858780231</c:v>
                </c:pt>
                <c:pt idx="541">
                  <c:v>-0.41999529638935951</c:v>
                </c:pt>
                <c:pt idx="542">
                  <c:v>-0.41999529638935951</c:v>
                </c:pt>
                <c:pt idx="543">
                  <c:v>-0.41999529638935951</c:v>
                </c:pt>
                <c:pt idx="544">
                  <c:v>-0.42583767592122623</c:v>
                </c:pt>
                <c:pt idx="545">
                  <c:v>-0.42738904223759777</c:v>
                </c:pt>
                <c:pt idx="546">
                  <c:v>-0.414940977938415</c:v>
                </c:pt>
                <c:pt idx="547">
                  <c:v>-0.41546085069336924</c:v>
                </c:pt>
                <c:pt idx="548">
                  <c:v>-0.41229210247269554</c:v>
                </c:pt>
                <c:pt idx="549">
                  <c:v>-0.41229210247269554</c:v>
                </c:pt>
                <c:pt idx="550">
                  <c:v>-0.41229210247269554</c:v>
                </c:pt>
                <c:pt idx="551">
                  <c:v>-0.3923925286858353</c:v>
                </c:pt>
                <c:pt idx="552">
                  <c:v>-0.39461642880425085</c:v>
                </c:pt>
                <c:pt idx="553">
                  <c:v>-0.38386413992003787</c:v>
                </c:pt>
                <c:pt idx="554">
                  <c:v>-0.39197167931277699</c:v>
                </c:pt>
                <c:pt idx="555">
                  <c:v>-0.37733272268914431</c:v>
                </c:pt>
                <c:pt idx="556">
                  <c:v>-0.37733272268914431</c:v>
                </c:pt>
                <c:pt idx="557">
                  <c:v>-0.37733272268914431</c:v>
                </c:pt>
                <c:pt idx="558">
                  <c:v>-0.39051108442981042</c:v>
                </c:pt>
                <c:pt idx="559">
                  <c:v>-0.39107634290146698</c:v>
                </c:pt>
                <c:pt idx="560">
                  <c:v>-0.40720477622778628</c:v>
                </c:pt>
                <c:pt idx="561">
                  <c:v>-0.40099518498805475</c:v>
                </c:pt>
                <c:pt idx="562">
                  <c:v>-0.40772464898274041</c:v>
                </c:pt>
                <c:pt idx="563">
                  <c:v>-0.40772464898274041</c:v>
                </c:pt>
                <c:pt idx="564">
                  <c:v>-0.40772464898274041</c:v>
                </c:pt>
                <c:pt idx="565">
                  <c:v>-0.38966938568369391</c:v>
                </c:pt>
                <c:pt idx="566">
                  <c:v>-0.39061835976019765</c:v>
                </c:pt>
                <c:pt idx="567">
                  <c:v>-0.39370046252171242</c:v>
                </c:pt>
                <c:pt idx="568">
                  <c:v>-0.40368119422198512</c:v>
                </c:pt>
                <c:pt idx="569">
                  <c:v>-0.40456415271055823</c:v>
                </c:pt>
                <c:pt idx="570">
                  <c:v>-0.40456415271055823</c:v>
                </c:pt>
                <c:pt idx="571">
                  <c:v>-0.40456415271055823</c:v>
                </c:pt>
                <c:pt idx="572">
                  <c:v>-0.40456415271055823</c:v>
                </c:pt>
                <c:pt idx="573">
                  <c:v>-0.38890195447399967</c:v>
                </c:pt>
                <c:pt idx="574">
                  <c:v>-0.40038041482545017</c:v>
                </c:pt>
                <c:pt idx="575">
                  <c:v>-0.39103095718476488</c:v>
                </c:pt>
                <c:pt idx="576">
                  <c:v>-0.38276663077069017</c:v>
                </c:pt>
                <c:pt idx="577">
                  <c:v>-0.38276663077069017</c:v>
                </c:pt>
                <c:pt idx="578">
                  <c:v>-0.38276663077069017</c:v>
                </c:pt>
                <c:pt idx="579">
                  <c:v>-0.36680736238844358</c:v>
                </c:pt>
                <c:pt idx="580">
                  <c:v>-0.36555306621776029</c:v>
                </c:pt>
                <c:pt idx="581">
                  <c:v>-0.37413921862299693</c:v>
                </c:pt>
                <c:pt idx="582">
                  <c:v>-0.36683211823391748</c:v>
                </c:pt>
                <c:pt idx="583">
                  <c:v>-0.36838761052453473</c:v>
                </c:pt>
                <c:pt idx="584">
                  <c:v>-0.36838761052453473</c:v>
                </c:pt>
                <c:pt idx="585">
                  <c:v>-0.36838761052453473</c:v>
                </c:pt>
                <c:pt idx="586">
                  <c:v>-0.36889510535675185</c:v>
                </c:pt>
                <c:pt idx="587">
                  <c:v>-0.36665057536710799</c:v>
                </c:pt>
                <c:pt idx="588">
                  <c:v>-0.36882496379457541</c:v>
                </c:pt>
                <c:pt idx="589">
                  <c:v>-0.36480626487929413</c:v>
                </c:pt>
                <c:pt idx="590">
                  <c:v>-0.36389855054524711</c:v>
                </c:pt>
                <c:pt idx="591">
                  <c:v>-0.36389855054524711</c:v>
                </c:pt>
                <c:pt idx="592">
                  <c:v>-0.36389855054524711</c:v>
                </c:pt>
                <c:pt idx="593">
                  <c:v>-0.37901612018137742</c:v>
                </c:pt>
                <c:pt idx="594">
                  <c:v>-0.38691323488758722</c:v>
                </c:pt>
                <c:pt idx="595">
                  <c:v>-0.38774668168521242</c:v>
                </c:pt>
                <c:pt idx="596">
                  <c:v>-0.38251082036745876</c:v>
                </c:pt>
                <c:pt idx="597">
                  <c:v>-0.38058811636897716</c:v>
                </c:pt>
                <c:pt idx="598">
                  <c:v>-0.38058811636897716</c:v>
                </c:pt>
                <c:pt idx="599">
                  <c:v>-0.38058811636897716</c:v>
                </c:pt>
                <c:pt idx="600">
                  <c:v>-0.39944794464592925</c:v>
                </c:pt>
                <c:pt idx="601">
                  <c:v>-0.39805336535089308</c:v>
                </c:pt>
                <c:pt idx="602">
                  <c:v>-0.39410893397203384</c:v>
                </c:pt>
                <c:pt idx="603">
                  <c:v>-0.38111211509817722</c:v>
                </c:pt>
                <c:pt idx="604">
                  <c:v>-0.3818960502048544</c:v>
                </c:pt>
                <c:pt idx="605">
                  <c:v>-0.3818960502048544</c:v>
                </c:pt>
                <c:pt idx="606">
                  <c:v>-0.3818960502048544</c:v>
                </c:pt>
                <c:pt idx="607">
                  <c:v>-0.37627647328225344</c:v>
                </c:pt>
                <c:pt idx="608">
                  <c:v>-0.38154121641972683</c:v>
                </c:pt>
                <c:pt idx="609">
                  <c:v>-0.37877681367512872</c:v>
                </c:pt>
                <c:pt idx="610">
                  <c:v>-0.39686508476814064</c:v>
                </c:pt>
                <c:pt idx="611">
                  <c:v>-0.39686508476814064</c:v>
                </c:pt>
                <c:pt idx="612">
                  <c:v>-0.39686508476814064</c:v>
                </c:pt>
                <c:pt idx="613">
                  <c:v>-0.39686508476814064</c:v>
                </c:pt>
                <c:pt idx="614">
                  <c:v>-0.39530546650327791</c:v>
                </c:pt>
                <c:pt idx="615">
                  <c:v>-0.40720477622778639</c:v>
                </c:pt>
                <c:pt idx="616">
                  <c:v>-0.4078401762616195</c:v>
                </c:pt>
                <c:pt idx="617">
                  <c:v>-0.40573592939632852</c:v>
                </c:pt>
                <c:pt idx="618">
                  <c:v>-0.40812899445881623</c:v>
                </c:pt>
                <c:pt idx="619">
                  <c:v>-0.40812899445881623</c:v>
                </c:pt>
                <c:pt idx="620">
                  <c:v>-0.40812899445881623</c:v>
                </c:pt>
                <c:pt idx="621">
                  <c:v>-0.39330436899412846</c:v>
                </c:pt>
                <c:pt idx="622">
                  <c:v>-0.39008198310826114</c:v>
                </c:pt>
                <c:pt idx="623">
                  <c:v>-0.37198958604100385</c:v>
                </c:pt>
                <c:pt idx="624">
                  <c:v>-0.36653917406247527</c:v>
                </c:pt>
                <c:pt idx="625">
                  <c:v>-0.36678260654296968</c:v>
                </c:pt>
                <c:pt idx="626">
                  <c:v>-0.36678260654296968</c:v>
                </c:pt>
                <c:pt idx="627">
                  <c:v>-0.36678260654296968</c:v>
                </c:pt>
                <c:pt idx="628">
                  <c:v>-0.35954152174182097</c:v>
                </c:pt>
                <c:pt idx="629">
                  <c:v>-0.35721034629301807</c:v>
                </c:pt>
                <c:pt idx="630">
                  <c:v>-0.35743314890228439</c:v>
                </c:pt>
                <c:pt idx="631">
                  <c:v>-0.34246411433899804</c:v>
                </c:pt>
                <c:pt idx="632">
                  <c:v>-0.34046301682984881</c:v>
                </c:pt>
                <c:pt idx="633">
                  <c:v>-0.34046301682984881</c:v>
                </c:pt>
                <c:pt idx="634">
                  <c:v>-0.34046301682984881</c:v>
                </c:pt>
                <c:pt idx="635">
                  <c:v>-0.33849905308891037</c:v>
                </c:pt>
                <c:pt idx="636">
                  <c:v>-0.34021958434935429</c:v>
                </c:pt>
                <c:pt idx="637">
                  <c:v>-0.34314490008953347</c:v>
                </c:pt>
                <c:pt idx="638">
                  <c:v>-0.33524778538332334</c:v>
                </c:pt>
                <c:pt idx="639">
                  <c:v>-0.33476504639658022</c:v>
                </c:pt>
                <c:pt idx="640">
                  <c:v>-0.33476504639658022</c:v>
                </c:pt>
                <c:pt idx="641">
                  <c:v>-0.33476504639658022</c:v>
                </c:pt>
                <c:pt idx="642">
                  <c:v>-0.32455326013855013</c:v>
                </c:pt>
                <c:pt idx="643">
                  <c:v>-0.32250265093845276</c:v>
                </c:pt>
                <c:pt idx="644">
                  <c:v>-0.32424381207012498</c:v>
                </c:pt>
                <c:pt idx="645">
                  <c:v>-0.32795306291698123</c:v>
                </c:pt>
                <c:pt idx="646">
                  <c:v>-0.31891305334472086</c:v>
                </c:pt>
                <c:pt idx="647">
                  <c:v>-0.31891305334472086</c:v>
                </c:pt>
                <c:pt idx="648">
                  <c:v>-0.31891305334472086</c:v>
                </c:pt>
                <c:pt idx="649">
                  <c:v>-0.32116996125710173</c:v>
                </c:pt>
                <c:pt idx="650">
                  <c:v>-0.32956631884703758</c:v>
                </c:pt>
                <c:pt idx="651">
                  <c:v>-0.32159493660440552</c:v>
                </c:pt>
                <c:pt idx="652">
                  <c:v>-0.3168789480416061</c:v>
                </c:pt>
                <c:pt idx="653">
                  <c:v>-0.32270482367649056</c:v>
                </c:pt>
                <c:pt idx="654">
                  <c:v>-0.32270482367649056</c:v>
                </c:pt>
                <c:pt idx="655">
                  <c:v>-0.32270482367649056</c:v>
                </c:pt>
                <c:pt idx="656">
                  <c:v>-0.33899416999839083</c:v>
                </c:pt>
                <c:pt idx="657">
                  <c:v>-0.33216980859605472</c:v>
                </c:pt>
                <c:pt idx="658">
                  <c:v>-0.32749920574995761</c:v>
                </c:pt>
                <c:pt idx="659">
                  <c:v>-0.32010133392747364</c:v>
                </c:pt>
                <c:pt idx="660">
                  <c:v>-0.30731493974014623</c:v>
                </c:pt>
                <c:pt idx="661">
                  <c:v>-0.30731493974014623</c:v>
                </c:pt>
                <c:pt idx="662">
                  <c:v>-0.30731493974014623</c:v>
                </c:pt>
                <c:pt idx="663">
                  <c:v>-0.3076862774222564</c:v>
                </c:pt>
                <c:pt idx="664">
                  <c:v>-0.30604413967248034</c:v>
                </c:pt>
                <c:pt idx="665">
                  <c:v>-0.30589147862539068</c:v>
                </c:pt>
                <c:pt idx="666">
                  <c:v>-0.30388212916774993</c:v>
                </c:pt>
                <c:pt idx="667">
                  <c:v>-0.30516530715815293</c:v>
                </c:pt>
                <c:pt idx="668">
                  <c:v>-0.30516530715815293</c:v>
                </c:pt>
                <c:pt idx="669">
                  <c:v>-0.30516530715815293</c:v>
                </c:pt>
                <c:pt idx="670">
                  <c:v>-0.31074775031254265</c:v>
                </c:pt>
                <c:pt idx="671">
                  <c:v>-0.32596846930481482</c:v>
                </c:pt>
                <c:pt idx="672">
                  <c:v>-0.32801907850491208</c:v>
                </c:pt>
                <c:pt idx="673">
                  <c:v>-0.32223446261248456</c:v>
                </c:pt>
                <c:pt idx="674">
                  <c:v>-0.31329760239636595</c:v>
                </c:pt>
                <c:pt idx="675">
                  <c:v>-0.31329760239636595</c:v>
                </c:pt>
                <c:pt idx="676">
                  <c:v>-0.31329760239636595</c:v>
                </c:pt>
                <c:pt idx="677">
                  <c:v>-0.31329760239636595</c:v>
                </c:pt>
                <c:pt idx="678">
                  <c:v>-0.30711689297635403</c:v>
                </c:pt>
                <c:pt idx="679">
                  <c:v>-0.30168711086905398</c:v>
                </c:pt>
                <c:pt idx="680">
                  <c:v>-0.29440064035120284</c:v>
                </c:pt>
                <c:pt idx="681">
                  <c:v>-0.29520933130335403</c:v>
                </c:pt>
                <c:pt idx="682">
                  <c:v>-0.29520933130335403</c:v>
                </c:pt>
                <c:pt idx="683">
                  <c:v>-0.29520933130335403</c:v>
                </c:pt>
                <c:pt idx="684">
                  <c:v>-0.29072852327255794</c:v>
                </c:pt>
                <c:pt idx="685">
                  <c:v>-0.28849637120565119</c:v>
                </c:pt>
                <c:pt idx="686">
                  <c:v>-0.27757904335161165</c:v>
                </c:pt>
                <c:pt idx="687">
                  <c:v>-0.27968741619114823</c:v>
                </c:pt>
                <c:pt idx="688">
                  <c:v>-0.27777709011540364</c:v>
                </c:pt>
                <c:pt idx="689">
                  <c:v>-0.27777709011540364</c:v>
                </c:pt>
                <c:pt idx="690">
                  <c:v>-0.27777709011540364</c:v>
                </c:pt>
                <c:pt idx="691">
                  <c:v>-0.2802361707658223</c:v>
                </c:pt>
                <c:pt idx="692">
                  <c:v>-0.27548304843481186</c:v>
                </c:pt>
                <c:pt idx="693">
                  <c:v>-0.2827736449269086</c:v>
                </c:pt>
                <c:pt idx="694">
                  <c:v>-0.28949898294734855</c:v>
                </c:pt>
                <c:pt idx="695">
                  <c:v>-0.29382712993105509</c:v>
                </c:pt>
                <c:pt idx="696">
                  <c:v>-0.29382712993105509</c:v>
                </c:pt>
                <c:pt idx="697">
                  <c:v>-0.29382712993105509</c:v>
                </c:pt>
                <c:pt idx="698">
                  <c:v>-0.2811232552286409</c:v>
                </c:pt>
                <c:pt idx="699">
                  <c:v>-0.28270762933897764</c:v>
                </c:pt>
                <c:pt idx="700">
                  <c:v>-0.28502642686504354</c:v>
                </c:pt>
                <c:pt idx="701">
                  <c:v>-0.30343652394921761</c:v>
                </c:pt>
                <c:pt idx="702">
                  <c:v>-0.30654750853045176</c:v>
                </c:pt>
                <c:pt idx="703">
                  <c:v>-0.30654750853045176</c:v>
                </c:pt>
                <c:pt idx="704">
                  <c:v>-0.30654750853045176</c:v>
                </c:pt>
                <c:pt idx="705">
                  <c:v>-0.29622019499354291</c:v>
                </c:pt>
                <c:pt idx="706">
                  <c:v>-0.28656128928443236</c:v>
                </c:pt>
                <c:pt idx="707">
                  <c:v>-0.28425074370685799</c:v>
                </c:pt>
                <c:pt idx="708">
                  <c:v>-0.27890348108447138</c:v>
                </c:pt>
                <c:pt idx="709">
                  <c:v>-0.27481876658125926</c:v>
                </c:pt>
                <c:pt idx="710">
                  <c:v>-0.27481876658125926</c:v>
                </c:pt>
                <c:pt idx="711">
                  <c:v>-0.27481876658125926</c:v>
                </c:pt>
                <c:pt idx="712">
                  <c:v>-0.27163764043784855</c:v>
                </c:pt>
                <c:pt idx="713">
                  <c:v>-0.27361810807576969</c:v>
                </c:pt>
                <c:pt idx="714">
                  <c:v>-0.26084409181117929</c:v>
                </c:pt>
                <c:pt idx="715">
                  <c:v>-0.25777436697240175</c:v>
                </c:pt>
                <c:pt idx="716">
                  <c:v>-0.26378178547409559</c:v>
                </c:pt>
                <c:pt idx="717">
                  <c:v>-0.26378178547409559</c:v>
                </c:pt>
                <c:pt idx="718">
                  <c:v>-0.26378178547409559</c:v>
                </c:pt>
                <c:pt idx="719">
                  <c:v>-0.25686252666410914</c:v>
                </c:pt>
                <c:pt idx="720">
                  <c:v>-0.2614794918450124</c:v>
                </c:pt>
                <c:pt idx="721">
                  <c:v>-0.26791601166825563</c:v>
                </c:pt>
                <c:pt idx="722">
                  <c:v>-0.26007253462723945</c:v>
                </c:pt>
                <c:pt idx="723">
                  <c:v>-0.26908366237977999</c:v>
                </c:pt>
                <c:pt idx="724">
                  <c:v>-0.26908366237977999</c:v>
                </c:pt>
                <c:pt idx="725">
                  <c:v>-0.26908366237977999</c:v>
                </c:pt>
                <c:pt idx="726">
                  <c:v>-0.27764505893954261</c:v>
                </c:pt>
                <c:pt idx="727">
                  <c:v>-0.28003812400203043</c:v>
                </c:pt>
                <c:pt idx="728">
                  <c:v>-0.2940086727978648</c:v>
                </c:pt>
                <c:pt idx="729">
                  <c:v>-0.2780535303898638</c:v>
                </c:pt>
                <c:pt idx="730">
                  <c:v>-0.29830793796185162</c:v>
                </c:pt>
                <c:pt idx="731">
                  <c:v>-0.29830793796185162</c:v>
                </c:pt>
                <c:pt idx="732">
                  <c:v>-0.29830793796185162</c:v>
                </c:pt>
                <c:pt idx="733">
                  <c:v>-0.2937776182401074</c:v>
                </c:pt>
                <c:pt idx="734">
                  <c:v>-0.29206121295390919</c:v>
                </c:pt>
                <c:pt idx="735">
                  <c:v>-0.29107097913494873</c:v>
                </c:pt>
                <c:pt idx="736">
                  <c:v>-0.27735624074234577</c:v>
                </c:pt>
                <c:pt idx="737">
                  <c:v>-0.27545004064084688</c:v>
                </c:pt>
                <c:pt idx="738">
                  <c:v>-0.27545004064084688</c:v>
                </c:pt>
                <c:pt idx="739">
                  <c:v>-0.27545004064084688</c:v>
                </c:pt>
                <c:pt idx="740">
                  <c:v>-0.25915656834470091</c:v>
                </c:pt>
                <c:pt idx="741">
                  <c:v>-0.25901628522034803</c:v>
                </c:pt>
                <c:pt idx="742">
                  <c:v>-0.25529053047650929</c:v>
                </c:pt>
                <c:pt idx="743">
                  <c:v>-0.26282868542334603</c:v>
                </c:pt>
                <c:pt idx="744">
                  <c:v>-0.25859130987304424</c:v>
                </c:pt>
                <c:pt idx="745">
                  <c:v>-0.25859130987304424</c:v>
                </c:pt>
                <c:pt idx="746">
                  <c:v>-0.25859130987304424</c:v>
                </c:pt>
                <c:pt idx="747">
                  <c:v>-0.24771524176146131</c:v>
                </c:pt>
                <c:pt idx="748">
                  <c:v>-0.24693543262902995</c:v>
                </c:pt>
                <c:pt idx="749">
                  <c:v>-0.24717061316103317</c:v>
                </c:pt>
                <c:pt idx="750">
                  <c:v>-0.25727512408867592</c:v>
                </c:pt>
                <c:pt idx="751">
                  <c:v>-0.25953203200105679</c:v>
                </c:pt>
                <c:pt idx="752">
                  <c:v>-0.25953203200105679</c:v>
                </c:pt>
                <c:pt idx="753">
                  <c:v>-0.25953203200105679</c:v>
                </c:pt>
                <c:pt idx="754">
                  <c:v>-0.24941514315067692</c:v>
                </c:pt>
                <c:pt idx="755">
                  <c:v>-0.24976997693580449</c:v>
                </c:pt>
                <c:pt idx="756">
                  <c:v>-0.24629178064670565</c:v>
                </c:pt>
                <c:pt idx="757">
                  <c:v>-0.24629178064670565</c:v>
                </c:pt>
                <c:pt idx="758">
                  <c:v>-0.25909880470526137</c:v>
                </c:pt>
                <c:pt idx="759">
                  <c:v>-0.25909880470526137</c:v>
                </c:pt>
                <c:pt idx="760">
                  <c:v>-0.25909880470526137</c:v>
                </c:pt>
                <c:pt idx="761">
                  <c:v>-0.25621887468178461</c:v>
                </c:pt>
                <c:pt idx="762">
                  <c:v>-0.24719949498075267</c:v>
                </c:pt>
                <c:pt idx="763">
                  <c:v>-0.24684466119562509</c:v>
                </c:pt>
                <c:pt idx="764">
                  <c:v>-0.25314502386876137</c:v>
                </c:pt>
                <c:pt idx="765">
                  <c:v>-0.2490273015715837</c:v>
                </c:pt>
                <c:pt idx="766">
                  <c:v>-0.2490273015715837</c:v>
                </c:pt>
                <c:pt idx="767">
                  <c:v>-0.2490273015715837</c:v>
                </c:pt>
                <c:pt idx="768">
                  <c:v>-0.25084685621392377</c:v>
                </c:pt>
                <c:pt idx="769">
                  <c:v>-0.25843452285170865</c:v>
                </c:pt>
                <c:pt idx="770">
                  <c:v>-0.25563298633889953</c:v>
                </c:pt>
                <c:pt idx="771">
                  <c:v>-0.25121406792178824</c:v>
                </c:pt>
                <c:pt idx="772">
                  <c:v>-0.24833001192406567</c:v>
                </c:pt>
                <c:pt idx="773">
                  <c:v>-0.24833001192406567</c:v>
                </c:pt>
                <c:pt idx="774">
                  <c:v>-0.24833001192406567</c:v>
                </c:pt>
                <c:pt idx="775">
                  <c:v>-0.243069394760838</c:v>
                </c:pt>
                <c:pt idx="776">
                  <c:v>-0.24726963654292888</c:v>
                </c:pt>
                <c:pt idx="777">
                  <c:v>-0.24641143389982956</c:v>
                </c:pt>
                <c:pt idx="778">
                  <c:v>-0.25527815255377184</c:v>
                </c:pt>
                <c:pt idx="779">
                  <c:v>-0.250929375698837</c:v>
                </c:pt>
                <c:pt idx="780">
                  <c:v>-0.250929375698837</c:v>
                </c:pt>
                <c:pt idx="781">
                  <c:v>-0.250929375698837</c:v>
                </c:pt>
                <c:pt idx="782">
                  <c:v>-0.2430528908638554</c:v>
                </c:pt>
                <c:pt idx="783">
                  <c:v>-0.24033799981020532</c:v>
                </c:pt>
                <c:pt idx="784">
                  <c:v>-0.23842767373446061</c:v>
                </c:pt>
                <c:pt idx="785">
                  <c:v>-0.23442547871616182</c:v>
                </c:pt>
                <c:pt idx="786">
                  <c:v>-0.23442547871616182</c:v>
                </c:pt>
                <c:pt idx="787">
                  <c:v>-0.23442547871616182</c:v>
                </c:pt>
                <c:pt idx="788">
                  <c:v>-0.23442547871616182</c:v>
                </c:pt>
                <c:pt idx="789">
                  <c:v>-0.23343937087144706</c:v>
                </c:pt>
                <c:pt idx="790">
                  <c:v>-0.23438009299945939</c:v>
                </c:pt>
                <c:pt idx="791">
                  <c:v>-0.23416141636443899</c:v>
                </c:pt>
                <c:pt idx="792">
                  <c:v>-0.24185223235836562</c:v>
                </c:pt>
                <c:pt idx="793">
                  <c:v>-0.24185223235836562</c:v>
                </c:pt>
                <c:pt idx="794">
                  <c:v>-0.24185223235836562</c:v>
                </c:pt>
                <c:pt idx="795">
                  <c:v>-0.24185223235836562</c:v>
                </c:pt>
                <c:pt idx="796">
                  <c:v>-0.22965585248816889</c:v>
                </c:pt>
                <c:pt idx="797">
                  <c:v>-0.22724628352869825</c:v>
                </c:pt>
                <c:pt idx="798">
                  <c:v>-0.22649123024174078</c:v>
                </c:pt>
                <c:pt idx="799">
                  <c:v>-0.2233513638407868</c:v>
                </c:pt>
                <c:pt idx="800">
                  <c:v>-0.22111095982538864</c:v>
                </c:pt>
                <c:pt idx="801">
                  <c:v>-0.22111095982538864</c:v>
                </c:pt>
                <c:pt idx="802">
                  <c:v>-0.22111095982538864</c:v>
                </c:pt>
                <c:pt idx="803">
                  <c:v>-0.21975351429856371</c:v>
                </c:pt>
                <c:pt idx="804">
                  <c:v>-0.22707299261037994</c:v>
                </c:pt>
                <c:pt idx="805">
                  <c:v>-0.22056220525071468</c:v>
                </c:pt>
                <c:pt idx="806">
                  <c:v>-0.21865600514921568</c:v>
                </c:pt>
                <c:pt idx="807">
                  <c:v>-0.22708124455887124</c:v>
                </c:pt>
                <c:pt idx="808">
                  <c:v>-0.22708124455887124</c:v>
                </c:pt>
                <c:pt idx="809">
                  <c:v>-0.22708124455887124</c:v>
                </c:pt>
                <c:pt idx="810">
                  <c:v>-0.22708124455887124</c:v>
                </c:pt>
                <c:pt idx="811">
                  <c:v>-0.21741821287551499</c:v>
                </c:pt>
                <c:pt idx="812">
                  <c:v>-0.22559589383043044</c:v>
                </c:pt>
                <c:pt idx="813">
                  <c:v>-0.24024722837680001</c:v>
                </c:pt>
                <c:pt idx="814">
                  <c:v>-0.25707295135063735</c:v>
                </c:pt>
                <c:pt idx="815">
                  <c:v>-0.25707295135063735</c:v>
                </c:pt>
                <c:pt idx="816">
                  <c:v>-0.25707295135063735</c:v>
                </c:pt>
                <c:pt idx="817">
                  <c:v>-0.25364014077824093</c:v>
                </c:pt>
                <c:pt idx="818">
                  <c:v>-0.2567717552307035</c:v>
                </c:pt>
                <c:pt idx="819">
                  <c:v>-0.25311201607479517</c:v>
                </c:pt>
                <c:pt idx="820">
                  <c:v>-0.2618755853725957</c:v>
                </c:pt>
                <c:pt idx="821">
                  <c:v>-0.26912492212223549</c:v>
                </c:pt>
                <c:pt idx="822">
                  <c:v>-0.26912492212223549</c:v>
                </c:pt>
                <c:pt idx="823">
                  <c:v>-0.26912492212223549</c:v>
                </c:pt>
                <c:pt idx="824">
                  <c:v>-0.2586985852034307</c:v>
                </c:pt>
                <c:pt idx="825">
                  <c:v>-0.24907681326253117</c:v>
                </c:pt>
                <c:pt idx="826">
                  <c:v>-0.25293459918223138</c:v>
                </c:pt>
                <c:pt idx="827">
                  <c:v>-0.27618033808232922</c:v>
                </c:pt>
                <c:pt idx="828">
                  <c:v>-0.27408434316552943</c:v>
                </c:pt>
                <c:pt idx="829">
                  <c:v>-0.27408434316552943</c:v>
                </c:pt>
                <c:pt idx="830">
                  <c:v>-0.27408434316552943</c:v>
                </c:pt>
                <c:pt idx="831">
                  <c:v>-0.28027743050827858</c:v>
                </c:pt>
                <c:pt idx="832">
                  <c:v>-0.27086608325390804</c:v>
                </c:pt>
                <c:pt idx="833">
                  <c:v>-0.27230604826564642</c:v>
                </c:pt>
                <c:pt idx="834">
                  <c:v>-0.26515986087214793</c:v>
                </c:pt>
                <c:pt idx="835">
                  <c:v>-0.26702067525694451</c:v>
                </c:pt>
                <c:pt idx="836">
                  <c:v>-0.26702067525694451</c:v>
                </c:pt>
                <c:pt idx="837">
                  <c:v>-0.26702067525694451</c:v>
                </c:pt>
                <c:pt idx="838">
                  <c:v>-0.26702067525694451</c:v>
                </c:pt>
                <c:pt idx="839">
                  <c:v>-0.25372678623739975</c:v>
                </c:pt>
                <c:pt idx="840">
                  <c:v>-0.25043425878935621</c:v>
                </c:pt>
                <c:pt idx="841">
                  <c:v>-0.24543770397785125</c:v>
                </c:pt>
                <c:pt idx="842">
                  <c:v>-0.24367178700070513</c:v>
                </c:pt>
                <c:pt idx="843">
                  <c:v>-0.24367178700070513</c:v>
                </c:pt>
                <c:pt idx="844">
                  <c:v>-0.24367178700070513</c:v>
                </c:pt>
                <c:pt idx="845">
                  <c:v>-0.2444474701588909</c:v>
                </c:pt>
                <c:pt idx="846">
                  <c:v>-0.25359062908729291</c:v>
                </c:pt>
                <c:pt idx="847">
                  <c:v>-0.24618863129056334</c:v>
                </c:pt>
                <c:pt idx="848">
                  <c:v>-0.24757083266286228</c:v>
                </c:pt>
                <c:pt idx="849">
                  <c:v>-0.24648570143625159</c:v>
                </c:pt>
                <c:pt idx="850">
                  <c:v>-0.24648570143625159</c:v>
                </c:pt>
                <c:pt idx="851">
                  <c:v>-0.24648570143625159</c:v>
                </c:pt>
                <c:pt idx="852">
                  <c:v>-0.23881138933930768</c:v>
                </c:pt>
                <c:pt idx="853">
                  <c:v>-0.23703722041367004</c:v>
                </c:pt>
                <c:pt idx="854">
                  <c:v>-0.23659574116938342</c:v>
                </c:pt>
                <c:pt idx="855">
                  <c:v>-0.23372406309439797</c:v>
                </c:pt>
                <c:pt idx="856">
                  <c:v>-0.22296352226169391</c:v>
                </c:pt>
                <c:pt idx="857">
                  <c:v>-0.22296352226169391</c:v>
                </c:pt>
                <c:pt idx="858">
                  <c:v>-0.22296352226169391</c:v>
                </c:pt>
                <c:pt idx="859">
                  <c:v>-0.22295939628744821</c:v>
                </c:pt>
                <c:pt idx="860">
                  <c:v>-0.22159369881213198</c:v>
                </c:pt>
                <c:pt idx="861">
                  <c:v>-0.21797109342443466</c:v>
                </c:pt>
                <c:pt idx="862">
                  <c:v>-0.21454653480052954</c:v>
                </c:pt>
                <c:pt idx="863">
                  <c:v>-0.21470744779611062</c:v>
                </c:pt>
                <c:pt idx="864">
                  <c:v>-0.21470744779611062</c:v>
                </c:pt>
                <c:pt idx="865">
                  <c:v>-0.21470744779611062</c:v>
                </c:pt>
                <c:pt idx="866">
                  <c:v>-0.21433611011400056</c:v>
                </c:pt>
                <c:pt idx="867">
                  <c:v>-0.20821729030767389</c:v>
                </c:pt>
                <c:pt idx="868">
                  <c:v>-0.20359619915252491</c:v>
                </c:pt>
                <c:pt idx="869">
                  <c:v>-0.20383963163301921</c:v>
                </c:pt>
                <c:pt idx="870">
                  <c:v>-0.20789546431651174</c:v>
                </c:pt>
                <c:pt idx="871">
                  <c:v>-0.20789546431651174</c:v>
                </c:pt>
                <c:pt idx="872">
                  <c:v>-0.20789546431651174</c:v>
                </c:pt>
                <c:pt idx="873">
                  <c:v>-0.20383550565877362</c:v>
                </c:pt>
                <c:pt idx="874">
                  <c:v>-0.19803438586936351</c:v>
                </c:pt>
                <c:pt idx="875">
                  <c:v>-0.20243267441524648</c:v>
                </c:pt>
                <c:pt idx="876">
                  <c:v>-0.20379011994207141</c:v>
                </c:pt>
                <c:pt idx="877">
                  <c:v>-0.20320010562494084</c:v>
                </c:pt>
                <c:pt idx="878">
                  <c:v>-0.20320010562494084</c:v>
                </c:pt>
                <c:pt idx="879">
                  <c:v>-0.20320010562494084</c:v>
                </c:pt>
                <c:pt idx="880">
                  <c:v>-0.19852537680459803</c:v>
                </c:pt>
                <c:pt idx="881">
                  <c:v>-0.19840159757722808</c:v>
                </c:pt>
                <c:pt idx="882">
                  <c:v>-0.2010133392747363</c:v>
                </c:pt>
                <c:pt idx="883">
                  <c:v>-0.19505955843823619</c:v>
                </c:pt>
                <c:pt idx="884">
                  <c:v>-0.19505955843823619</c:v>
                </c:pt>
                <c:pt idx="885">
                  <c:v>-0.19505955843823619</c:v>
                </c:pt>
                <c:pt idx="886">
                  <c:v>-0.19505955843823619</c:v>
                </c:pt>
                <c:pt idx="887">
                  <c:v>-0.18865192043471279</c:v>
                </c:pt>
                <c:pt idx="888">
                  <c:v>-0.18728209698515097</c:v>
                </c:pt>
                <c:pt idx="889">
                  <c:v>-0.19170514137650774</c:v>
                </c:pt>
                <c:pt idx="890">
                  <c:v>-0.18894899058040104</c:v>
                </c:pt>
                <c:pt idx="891">
                  <c:v>-0.1835274604215924</c:v>
                </c:pt>
                <c:pt idx="892">
                  <c:v>-0.1835274604215924</c:v>
                </c:pt>
                <c:pt idx="893">
                  <c:v>-0.1835274604215924</c:v>
                </c:pt>
                <c:pt idx="894">
                  <c:v>-0.18206686553862539</c:v>
                </c:pt>
                <c:pt idx="895">
                  <c:v>-0.18144384342752939</c:v>
                </c:pt>
                <c:pt idx="896">
                  <c:v>-0.17230481047337309</c:v>
                </c:pt>
                <c:pt idx="897">
                  <c:v>-0.17161164680010077</c:v>
                </c:pt>
                <c:pt idx="898">
                  <c:v>-0.18497155140757626</c:v>
                </c:pt>
                <c:pt idx="899">
                  <c:v>-0.18497155140757626</c:v>
                </c:pt>
                <c:pt idx="900">
                  <c:v>-0.18497155140757626</c:v>
                </c:pt>
                <c:pt idx="901">
                  <c:v>-0.18127467848345702</c:v>
                </c:pt>
                <c:pt idx="902">
                  <c:v>-0.17466899371614131</c:v>
                </c:pt>
                <c:pt idx="903">
                  <c:v>-0.1755024405137664</c:v>
                </c:pt>
                <c:pt idx="904">
                  <c:v>-0.1735962404122674</c:v>
                </c:pt>
                <c:pt idx="905">
                  <c:v>-0.16771260113794384</c:v>
                </c:pt>
                <c:pt idx="906">
                  <c:v>-0.16771260113794384</c:v>
                </c:pt>
                <c:pt idx="907">
                  <c:v>-0.16771260113794384</c:v>
                </c:pt>
                <c:pt idx="908">
                  <c:v>-0.17127744288620184</c:v>
                </c:pt>
                <c:pt idx="909">
                  <c:v>-0.19064889196961654</c:v>
                </c:pt>
                <c:pt idx="910">
                  <c:v>-0.18527274752751022</c:v>
                </c:pt>
                <c:pt idx="911">
                  <c:v>-0.17466486774189582</c:v>
                </c:pt>
                <c:pt idx="912">
                  <c:v>-0.18840023600572708</c:v>
                </c:pt>
                <c:pt idx="913">
                  <c:v>-0.18840023600572708</c:v>
                </c:pt>
                <c:pt idx="914">
                  <c:v>-0.18840023600572708</c:v>
                </c:pt>
                <c:pt idx="915">
                  <c:v>-0.17774697050341037</c:v>
                </c:pt>
                <c:pt idx="916">
                  <c:v>-0.197345348170337</c:v>
                </c:pt>
                <c:pt idx="917">
                  <c:v>-0.20234602895608744</c:v>
                </c:pt>
                <c:pt idx="918">
                  <c:v>-0.22805084850660362</c:v>
                </c:pt>
                <c:pt idx="919">
                  <c:v>-0.23986351277195328</c:v>
                </c:pt>
                <c:pt idx="920">
                  <c:v>-0.23986351277195328</c:v>
                </c:pt>
                <c:pt idx="921">
                  <c:v>-0.23986351277195328</c:v>
                </c:pt>
                <c:pt idx="922">
                  <c:v>-0.20641423956231653</c:v>
                </c:pt>
                <c:pt idx="923">
                  <c:v>-0.20894758774915723</c:v>
                </c:pt>
                <c:pt idx="924">
                  <c:v>-0.19780745728585136</c:v>
                </c:pt>
                <c:pt idx="925">
                  <c:v>-0.20749937078892733</c:v>
                </c:pt>
                <c:pt idx="926">
                  <c:v>-0.22239001184154572</c:v>
                </c:pt>
                <c:pt idx="927">
                  <c:v>-0.22239001184154572</c:v>
                </c:pt>
                <c:pt idx="928">
                  <c:v>-0.22239001184154572</c:v>
                </c:pt>
                <c:pt idx="929">
                  <c:v>-0.22138327412560266</c:v>
                </c:pt>
                <c:pt idx="930">
                  <c:v>-0.23230060197964209</c:v>
                </c:pt>
                <c:pt idx="931">
                  <c:v>-0.23616663984783381</c:v>
                </c:pt>
                <c:pt idx="932">
                  <c:v>-0.26586540246815749</c:v>
                </c:pt>
                <c:pt idx="933">
                  <c:v>-0.2548284213609936</c:v>
                </c:pt>
                <c:pt idx="934">
                  <c:v>-0.2548284213609936</c:v>
                </c:pt>
                <c:pt idx="935">
                  <c:v>-0.2548284213609936</c:v>
                </c:pt>
                <c:pt idx="936">
                  <c:v>-0.2644336894049103</c:v>
                </c:pt>
                <c:pt idx="937">
                  <c:v>-0.26417375302743318</c:v>
                </c:pt>
                <c:pt idx="938">
                  <c:v>-0.26819657791696017</c:v>
                </c:pt>
                <c:pt idx="939">
                  <c:v>-0.24386983376449733</c:v>
                </c:pt>
                <c:pt idx="940">
                  <c:v>-0.25320691348244573</c:v>
                </c:pt>
                <c:pt idx="941">
                  <c:v>-0.25320691348244573</c:v>
                </c:pt>
                <c:pt idx="942">
                  <c:v>-0.25320691348244573</c:v>
                </c:pt>
                <c:pt idx="943">
                  <c:v>-0.25320691348244573</c:v>
                </c:pt>
                <c:pt idx="944">
                  <c:v>-0.26599330766977325</c:v>
                </c:pt>
                <c:pt idx="945">
                  <c:v>-0.24690655080930957</c:v>
                </c:pt>
                <c:pt idx="946">
                  <c:v>-0.2438244480477948</c:v>
                </c:pt>
                <c:pt idx="947">
                  <c:v>-0.26981808579550814</c:v>
                </c:pt>
                <c:pt idx="948">
                  <c:v>-0.26981808579550814</c:v>
                </c:pt>
                <c:pt idx="949">
                  <c:v>-0.26981808579550814</c:v>
                </c:pt>
                <c:pt idx="950">
                  <c:v>-0.27965853437142807</c:v>
                </c:pt>
                <c:pt idx="951">
                  <c:v>-0.27164589238633918</c:v>
                </c:pt>
                <c:pt idx="952">
                  <c:v>-0.27592865365334329</c:v>
                </c:pt>
                <c:pt idx="953">
                  <c:v>-0.25456435900927066</c:v>
                </c:pt>
                <c:pt idx="954">
                  <c:v>-0.25102839908073249</c:v>
                </c:pt>
                <c:pt idx="955">
                  <c:v>-0.25102839908073249</c:v>
                </c:pt>
                <c:pt idx="956">
                  <c:v>-0.25102839908073249</c:v>
                </c:pt>
                <c:pt idx="957">
                  <c:v>-0.25236521473632911</c:v>
                </c:pt>
                <c:pt idx="958">
                  <c:v>-0.23479269042402595</c:v>
                </c:pt>
                <c:pt idx="959">
                  <c:v>-0.23520116187434725</c:v>
                </c:pt>
                <c:pt idx="960">
                  <c:v>-0.23411603064773634</c:v>
                </c:pt>
                <c:pt idx="961">
                  <c:v>-0.23310516695754735</c:v>
                </c:pt>
                <c:pt idx="962">
                  <c:v>-0.23310516695754735</c:v>
                </c:pt>
                <c:pt idx="963">
                  <c:v>-0.23310516695754735</c:v>
                </c:pt>
                <c:pt idx="964">
                  <c:v>-0.23605523854320065</c:v>
                </c:pt>
                <c:pt idx="965">
                  <c:v>-0.24822686256792337</c:v>
                </c:pt>
                <c:pt idx="966">
                  <c:v>-0.25045488866058463</c:v>
                </c:pt>
                <c:pt idx="967">
                  <c:v>-0.26304736205836565</c:v>
                </c:pt>
                <c:pt idx="968">
                  <c:v>-0.26093898921882908</c:v>
                </c:pt>
                <c:pt idx="969">
                  <c:v>-0.26093898921882908</c:v>
                </c:pt>
                <c:pt idx="970">
                  <c:v>-0.26093898921882908</c:v>
                </c:pt>
                <c:pt idx="971">
                  <c:v>-0.26230056071989971</c:v>
                </c:pt>
                <c:pt idx="972">
                  <c:v>-0.28515433206665886</c:v>
                </c:pt>
                <c:pt idx="973">
                  <c:v>-0.29230051946015723</c:v>
                </c:pt>
                <c:pt idx="974">
                  <c:v>-0.29455330139829228</c:v>
                </c:pt>
                <c:pt idx="975">
                  <c:v>-0.29781694702661632</c:v>
                </c:pt>
                <c:pt idx="976">
                  <c:v>-0.29781694702661632</c:v>
                </c:pt>
                <c:pt idx="977">
                  <c:v>-0.29781694702661632</c:v>
                </c:pt>
                <c:pt idx="978">
                  <c:v>-0.29781694702661632</c:v>
                </c:pt>
                <c:pt idx="979">
                  <c:v>-0.29405818448881205</c:v>
                </c:pt>
                <c:pt idx="980">
                  <c:v>-0.27159225472114579</c:v>
                </c:pt>
                <c:pt idx="981">
                  <c:v>-0.26471012967937035</c:v>
                </c:pt>
                <c:pt idx="982">
                  <c:v>-0.25941237874793166</c:v>
                </c:pt>
                <c:pt idx="983">
                  <c:v>-0.25941237874793166</c:v>
                </c:pt>
                <c:pt idx="984">
                  <c:v>-0.25941237874793166</c:v>
                </c:pt>
                <c:pt idx="985">
                  <c:v>-0.25885124625052069</c:v>
                </c:pt>
                <c:pt idx="986">
                  <c:v>-0.24739341577029861</c:v>
                </c:pt>
                <c:pt idx="987">
                  <c:v>-0.24749656512644036</c:v>
                </c:pt>
                <c:pt idx="988">
                  <c:v>-0.24659710274088464</c:v>
                </c:pt>
                <c:pt idx="989">
                  <c:v>-0.26828734935036513</c:v>
                </c:pt>
                <c:pt idx="990">
                  <c:v>-0.26828734935036513</c:v>
                </c:pt>
                <c:pt idx="991">
                  <c:v>-0.26828734935036513</c:v>
                </c:pt>
                <c:pt idx="992">
                  <c:v>-0.26390143872721938</c:v>
                </c:pt>
                <c:pt idx="993">
                  <c:v>-0.2554761993175636</c:v>
                </c:pt>
                <c:pt idx="994">
                  <c:v>-0.26491642839165386</c:v>
                </c:pt>
                <c:pt idx="995">
                  <c:v>-0.24834651582104794</c:v>
                </c:pt>
                <c:pt idx="996">
                  <c:v>-0.24216168042679043</c:v>
                </c:pt>
                <c:pt idx="997">
                  <c:v>-0.24216168042679043</c:v>
                </c:pt>
                <c:pt idx="998">
                  <c:v>-0.24216168042679043</c:v>
                </c:pt>
                <c:pt idx="999">
                  <c:v>-0.23366629945495843</c:v>
                </c:pt>
                <c:pt idx="1000">
                  <c:v>-0.2344708644328638</c:v>
                </c:pt>
                <c:pt idx="1001">
                  <c:v>-0.23972322964760018</c:v>
                </c:pt>
                <c:pt idx="1002">
                  <c:v>-0.24276407266665812</c:v>
                </c:pt>
                <c:pt idx="1003">
                  <c:v>-0.24271868694995558</c:v>
                </c:pt>
                <c:pt idx="1004">
                  <c:v>-0.24271868694995558</c:v>
                </c:pt>
                <c:pt idx="1005">
                  <c:v>-0.24271868694995558</c:v>
                </c:pt>
                <c:pt idx="1006">
                  <c:v>-0.22602912112622553</c:v>
                </c:pt>
                <c:pt idx="1007">
                  <c:v>-0.22973424599883596</c:v>
                </c:pt>
                <c:pt idx="1008">
                  <c:v>-0.22480783274950744</c:v>
                </c:pt>
                <c:pt idx="1009">
                  <c:v>-0.2257568068260114</c:v>
                </c:pt>
                <c:pt idx="1010">
                  <c:v>-0.22853771346759222</c:v>
                </c:pt>
                <c:pt idx="1011">
                  <c:v>-0.22853771346759222</c:v>
                </c:pt>
                <c:pt idx="1012">
                  <c:v>-0.22853771346759222</c:v>
                </c:pt>
                <c:pt idx="1013">
                  <c:v>-0.22429208596879902</c:v>
                </c:pt>
                <c:pt idx="1014">
                  <c:v>-0.22890492517545669</c:v>
                </c:pt>
                <c:pt idx="1015">
                  <c:v>-0.25025684189679243</c:v>
                </c:pt>
                <c:pt idx="1016">
                  <c:v>-0.2541847693786693</c:v>
                </c:pt>
                <c:pt idx="1017">
                  <c:v>-0.25716372278404198</c:v>
                </c:pt>
                <c:pt idx="1018">
                  <c:v>-0.25716372278404198</c:v>
                </c:pt>
                <c:pt idx="1019">
                  <c:v>-0.25716372278404198</c:v>
                </c:pt>
                <c:pt idx="1020">
                  <c:v>-0.25703581758242622</c:v>
                </c:pt>
                <c:pt idx="1021">
                  <c:v>-0.24776062747816285</c:v>
                </c:pt>
                <c:pt idx="1022">
                  <c:v>-0.24653933910144477</c:v>
                </c:pt>
                <c:pt idx="1023">
                  <c:v>-0.25928859952056127</c:v>
                </c:pt>
                <c:pt idx="1024">
                  <c:v>-0.26199936459996565</c:v>
                </c:pt>
                <c:pt idx="1025">
                  <c:v>-0.26199936459996565</c:v>
                </c:pt>
                <c:pt idx="1026">
                  <c:v>-0.26199936459996565</c:v>
                </c:pt>
                <c:pt idx="1027">
                  <c:v>-0.26497006605684703</c:v>
                </c:pt>
                <c:pt idx="1028">
                  <c:v>-0.27562333155916374</c:v>
                </c:pt>
                <c:pt idx="1029">
                  <c:v>-0.2731601249344997</c:v>
                </c:pt>
                <c:pt idx="1030">
                  <c:v>-0.27872193821766089</c:v>
                </c:pt>
                <c:pt idx="1031">
                  <c:v>-0.26656681808992089</c:v>
                </c:pt>
                <c:pt idx="1032">
                  <c:v>-0.26656681808992089</c:v>
                </c:pt>
                <c:pt idx="1033">
                  <c:v>-0.26656681808992089</c:v>
                </c:pt>
                <c:pt idx="1034">
                  <c:v>-0.277215957617992</c:v>
                </c:pt>
                <c:pt idx="1035">
                  <c:v>-0.27690238357532104</c:v>
                </c:pt>
                <c:pt idx="1036">
                  <c:v>-0.25548445126605446</c:v>
                </c:pt>
                <c:pt idx="1037">
                  <c:v>-0.24866834181220954</c:v>
                </c:pt>
                <c:pt idx="1038">
                  <c:v>-0.23871649193165656</c:v>
                </c:pt>
                <c:pt idx="1039">
                  <c:v>-0.23871649193165656</c:v>
                </c:pt>
                <c:pt idx="1040">
                  <c:v>-0.23871649193165656</c:v>
                </c:pt>
                <c:pt idx="1041">
                  <c:v>-0.23871649193165656</c:v>
                </c:pt>
                <c:pt idx="1042">
                  <c:v>-0.24740166771878935</c:v>
                </c:pt>
                <c:pt idx="1043">
                  <c:v>-0.24238448303605598</c:v>
                </c:pt>
                <c:pt idx="1044">
                  <c:v>-0.23872061790590215</c:v>
                </c:pt>
                <c:pt idx="1045">
                  <c:v>-0.23500311511055461</c:v>
                </c:pt>
                <c:pt idx="1046">
                  <c:v>-0.23500311511055461</c:v>
                </c:pt>
                <c:pt idx="1047">
                  <c:v>-0.23500311511055461</c:v>
                </c:pt>
                <c:pt idx="1048">
                  <c:v>-0.22621066399303447</c:v>
                </c:pt>
                <c:pt idx="1049">
                  <c:v>-0.22676354454195424</c:v>
                </c:pt>
                <c:pt idx="1050">
                  <c:v>-0.22401151972009314</c:v>
                </c:pt>
                <c:pt idx="1051">
                  <c:v>-0.22416418076718292</c:v>
                </c:pt>
                <c:pt idx="1052">
                  <c:v>-0.2235205287848584</c:v>
                </c:pt>
                <c:pt idx="1053">
                  <c:v>-0.2235205287848584</c:v>
                </c:pt>
                <c:pt idx="1054">
                  <c:v>-0.2235205287848584</c:v>
                </c:pt>
                <c:pt idx="1055">
                  <c:v>-0.21169136062252625</c:v>
                </c:pt>
                <c:pt idx="1056">
                  <c:v>-0.21369658410592118</c:v>
                </c:pt>
                <c:pt idx="1057">
                  <c:v>-0.21739758300428613</c:v>
                </c:pt>
                <c:pt idx="1058">
                  <c:v>-0.2239166223124428</c:v>
                </c:pt>
                <c:pt idx="1059">
                  <c:v>-0.20746636299496157</c:v>
                </c:pt>
                <c:pt idx="1060">
                  <c:v>-0.20746636299496157</c:v>
                </c:pt>
                <c:pt idx="1061">
                  <c:v>-0.20746636299496157</c:v>
                </c:pt>
                <c:pt idx="1062">
                  <c:v>-0.21194717102575755</c:v>
                </c:pt>
                <c:pt idx="1063">
                  <c:v>-0.20798210977567011</c:v>
                </c:pt>
                <c:pt idx="1064">
                  <c:v>-0.20994194754236273</c:v>
                </c:pt>
                <c:pt idx="1065">
                  <c:v>-0.21237214637306157</c:v>
                </c:pt>
                <c:pt idx="1066">
                  <c:v>-0.20887744618698001</c:v>
                </c:pt>
                <c:pt idx="1067">
                  <c:v>-0.20887744618698001</c:v>
                </c:pt>
                <c:pt idx="1068">
                  <c:v>-0.20887744618698001</c:v>
                </c:pt>
                <c:pt idx="1069">
                  <c:v>-0.21517780886011639</c:v>
                </c:pt>
                <c:pt idx="1070">
                  <c:v>-0.19881006902754839</c:v>
                </c:pt>
                <c:pt idx="1071">
                  <c:v>-0.19894210020340986</c:v>
                </c:pt>
                <c:pt idx="1072">
                  <c:v>-0.20025828598777817</c:v>
                </c:pt>
                <c:pt idx="1073">
                  <c:v>-0.19536075455816915</c:v>
                </c:pt>
                <c:pt idx="1074">
                  <c:v>-0.19536075455816915</c:v>
                </c:pt>
                <c:pt idx="1075">
                  <c:v>-0.19536075455816915</c:v>
                </c:pt>
                <c:pt idx="1076">
                  <c:v>-0.1952411013050448</c:v>
                </c:pt>
                <c:pt idx="1077">
                  <c:v>-0.19216725049202166</c:v>
                </c:pt>
                <c:pt idx="1078">
                  <c:v>-0.18632487096015482</c:v>
                </c:pt>
                <c:pt idx="1079">
                  <c:v>-0.18928732046854491</c:v>
                </c:pt>
                <c:pt idx="1080">
                  <c:v>-0.18764930869301444</c:v>
                </c:pt>
                <c:pt idx="1081">
                  <c:v>-0.18764930869301444</c:v>
                </c:pt>
                <c:pt idx="1082">
                  <c:v>-0.18764930869301444</c:v>
                </c:pt>
                <c:pt idx="1083">
                  <c:v>-0.18174916552170794</c:v>
                </c:pt>
                <c:pt idx="1084">
                  <c:v>-0.19474598439556456</c:v>
                </c:pt>
                <c:pt idx="1085">
                  <c:v>-0.18614745406759081</c:v>
                </c:pt>
                <c:pt idx="1086">
                  <c:v>-0.18465797736490452</c:v>
                </c:pt>
                <c:pt idx="1087">
                  <c:v>-0.18271464349519451</c:v>
                </c:pt>
                <c:pt idx="1088">
                  <c:v>-0.18271464349519451</c:v>
                </c:pt>
                <c:pt idx="1089">
                  <c:v>-0.18271464349519451</c:v>
                </c:pt>
                <c:pt idx="1090">
                  <c:v>-0.18094872651804828</c:v>
                </c:pt>
                <c:pt idx="1091">
                  <c:v>-0.18094047456955675</c:v>
                </c:pt>
                <c:pt idx="1092">
                  <c:v>-0.18303646948635655</c:v>
                </c:pt>
                <c:pt idx="1093">
                  <c:v>-0.18204623566739608</c:v>
                </c:pt>
                <c:pt idx="1094">
                  <c:v>-0.18240106945252366</c:v>
                </c:pt>
                <c:pt idx="1095">
                  <c:v>-0.18240106945252366</c:v>
                </c:pt>
                <c:pt idx="1096">
                  <c:v>-0.18240106945252366</c:v>
                </c:pt>
                <c:pt idx="1097">
                  <c:v>-0.18162538629433789</c:v>
                </c:pt>
                <c:pt idx="1098">
                  <c:v>-0.17527551193025381</c:v>
                </c:pt>
                <c:pt idx="1099">
                  <c:v>-0.1720902598125974</c:v>
                </c:pt>
                <c:pt idx="1100">
                  <c:v>-0.15598245635750652</c:v>
                </c:pt>
                <c:pt idx="1101">
                  <c:v>-0.15261978734728654</c:v>
                </c:pt>
                <c:pt idx="1102">
                  <c:v>-0.15261978734728654</c:v>
                </c:pt>
                <c:pt idx="1103">
                  <c:v>-0.15261978734728654</c:v>
                </c:pt>
                <c:pt idx="1104">
                  <c:v>-0.15430318483951944</c:v>
                </c:pt>
                <c:pt idx="1105">
                  <c:v>-0.16083872804465893</c:v>
                </c:pt>
                <c:pt idx="1106">
                  <c:v>-0.1569974460219411</c:v>
                </c:pt>
                <c:pt idx="1107">
                  <c:v>-0.16057879166718159</c:v>
                </c:pt>
                <c:pt idx="1108">
                  <c:v>-0.17044399608857563</c:v>
                </c:pt>
                <c:pt idx="1109">
                  <c:v>-0.17044399608857563</c:v>
                </c:pt>
                <c:pt idx="1110">
                  <c:v>-0.17044399608857563</c:v>
                </c:pt>
                <c:pt idx="1111">
                  <c:v>-0.17140122211357056</c:v>
                </c:pt>
                <c:pt idx="1112">
                  <c:v>-0.18460021372546498</c:v>
                </c:pt>
                <c:pt idx="1113">
                  <c:v>-0.18429489163128543</c:v>
                </c:pt>
                <c:pt idx="1114">
                  <c:v>-0.17176018187294362</c:v>
                </c:pt>
                <c:pt idx="1115">
                  <c:v>-0.16961054929095032</c:v>
                </c:pt>
                <c:pt idx="1116">
                  <c:v>-0.16961054929095032</c:v>
                </c:pt>
                <c:pt idx="1117">
                  <c:v>-0.16961054929095032</c:v>
                </c:pt>
                <c:pt idx="1118">
                  <c:v>-0.17087722338437072</c:v>
                </c:pt>
                <c:pt idx="1119">
                  <c:v>-0.18268988764972016</c:v>
                </c:pt>
                <c:pt idx="1120">
                  <c:v>-0.17044812206282101</c:v>
                </c:pt>
                <c:pt idx="1121">
                  <c:v>-0.17044812206282101</c:v>
                </c:pt>
                <c:pt idx="1122">
                  <c:v>-0.17644316264177762</c:v>
                </c:pt>
                <c:pt idx="1123">
                  <c:v>-0.17644316264177762</c:v>
                </c:pt>
                <c:pt idx="1124">
                  <c:v>-0.17644316264177762</c:v>
                </c:pt>
                <c:pt idx="1125">
                  <c:v>-0.17735087697582486</c:v>
                </c:pt>
                <c:pt idx="1126">
                  <c:v>-0.18229792009638168</c:v>
                </c:pt>
                <c:pt idx="1127">
                  <c:v>-0.16450259317481242</c:v>
                </c:pt>
                <c:pt idx="1128">
                  <c:v>-0.15377918611031927</c:v>
                </c:pt>
                <c:pt idx="1129">
                  <c:v>-0.1515346561206754</c:v>
                </c:pt>
                <c:pt idx="1130">
                  <c:v>-0.1515346561206754</c:v>
                </c:pt>
                <c:pt idx="1131">
                  <c:v>-0.1515346561206754</c:v>
                </c:pt>
                <c:pt idx="1132">
                  <c:v>-0.1526074094245492</c:v>
                </c:pt>
                <c:pt idx="1133">
                  <c:v>-0.15215767823177151</c:v>
                </c:pt>
                <c:pt idx="1134">
                  <c:v>-0.14879913519579702</c:v>
                </c:pt>
                <c:pt idx="1135">
                  <c:v>-0.14546122203105116</c:v>
                </c:pt>
                <c:pt idx="1136">
                  <c:v>-0.14032438409519343</c:v>
                </c:pt>
                <c:pt idx="1137">
                  <c:v>-0.14032438409519343</c:v>
                </c:pt>
                <c:pt idx="1138">
                  <c:v>-0.14032438409519343</c:v>
                </c:pt>
                <c:pt idx="1139">
                  <c:v>-0.14014696720262965</c:v>
                </c:pt>
                <c:pt idx="1140">
                  <c:v>-0.13935065417321568</c:v>
                </c:pt>
                <c:pt idx="1141">
                  <c:v>-0.14374069077060703</c:v>
                </c:pt>
                <c:pt idx="1142">
                  <c:v>-0.13841818399369432</c:v>
                </c:pt>
                <c:pt idx="1143">
                  <c:v>-0.1376920125264568</c:v>
                </c:pt>
                <c:pt idx="1144">
                  <c:v>-0.1376920125264568</c:v>
                </c:pt>
                <c:pt idx="1145">
                  <c:v>-0.1376920125264568</c:v>
                </c:pt>
                <c:pt idx="1146">
                  <c:v>-0.13547636435653254</c:v>
                </c:pt>
                <c:pt idx="1147">
                  <c:v>-0.13013735368263724</c:v>
                </c:pt>
                <c:pt idx="1148">
                  <c:v>-0.12707175481810529</c:v>
                </c:pt>
                <c:pt idx="1149">
                  <c:v>-0.12844157826766722</c:v>
                </c:pt>
                <c:pt idx="1150">
                  <c:v>-0.12844157826766722</c:v>
                </c:pt>
                <c:pt idx="1151">
                  <c:v>-0.12844157826766722</c:v>
                </c:pt>
                <c:pt idx="1152">
                  <c:v>-0.12844157826766722</c:v>
                </c:pt>
                <c:pt idx="1153">
                  <c:v>-0.12790520161573027</c:v>
                </c:pt>
                <c:pt idx="1154">
                  <c:v>-0.12722441586519473</c:v>
                </c:pt>
                <c:pt idx="1155">
                  <c:v>-0.12618879632953195</c:v>
                </c:pt>
                <c:pt idx="1156">
                  <c:v>-0.12748022626842648</c:v>
                </c:pt>
                <c:pt idx="1157">
                  <c:v>-0.12764939121249885</c:v>
                </c:pt>
                <c:pt idx="1158">
                  <c:v>-0.12764939121249885</c:v>
                </c:pt>
                <c:pt idx="1159">
                  <c:v>-0.12764939121249885</c:v>
                </c:pt>
                <c:pt idx="1160">
                  <c:v>-0.11774292704864808</c:v>
                </c:pt>
                <c:pt idx="1161">
                  <c:v>-0.11888582191469843</c:v>
                </c:pt>
                <c:pt idx="1162">
                  <c:v>-0.11435962816720002</c:v>
                </c:pt>
                <c:pt idx="1163">
                  <c:v>-0.11590274253507993</c:v>
                </c:pt>
                <c:pt idx="1164">
                  <c:v>-0.1175325023621191</c:v>
                </c:pt>
                <c:pt idx="1165">
                  <c:v>-0.1175325023621191</c:v>
                </c:pt>
                <c:pt idx="1166">
                  <c:v>-0.1175325023621191</c:v>
                </c:pt>
                <c:pt idx="1167">
                  <c:v>-0.11874966476459126</c:v>
                </c:pt>
                <c:pt idx="1168">
                  <c:v>-0.11546538926503913</c:v>
                </c:pt>
                <c:pt idx="1169">
                  <c:v>-0.10740323558900233</c:v>
                </c:pt>
                <c:pt idx="1170">
                  <c:v>-0.10892984605989997</c:v>
                </c:pt>
                <c:pt idx="1171">
                  <c:v>-0.10232003531833866</c:v>
                </c:pt>
                <c:pt idx="1172">
                  <c:v>-0.10232003531833866</c:v>
                </c:pt>
                <c:pt idx="1173">
                  <c:v>-0.10232003531833866</c:v>
                </c:pt>
                <c:pt idx="1174">
                  <c:v>-0.10232003531833866</c:v>
                </c:pt>
                <c:pt idx="1175">
                  <c:v>-0.10106573914765526</c:v>
                </c:pt>
                <c:pt idx="1176">
                  <c:v>-0.1100397331319849</c:v>
                </c:pt>
                <c:pt idx="1177">
                  <c:v>-0.11119087994652654</c:v>
                </c:pt>
                <c:pt idx="1178">
                  <c:v>-0.10902474346755053</c:v>
                </c:pt>
                <c:pt idx="1179">
                  <c:v>-0.10902474346755053</c:v>
                </c:pt>
                <c:pt idx="1180">
                  <c:v>-0.10902474346755053</c:v>
                </c:pt>
                <c:pt idx="1181">
                  <c:v>-0.10382601591800755</c:v>
                </c:pt>
                <c:pt idx="1182">
                  <c:v>-0.10356195356628495</c:v>
                </c:pt>
                <c:pt idx="1183">
                  <c:v>-9.974542738904113E-2</c:v>
                </c:pt>
                <c:pt idx="1184">
                  <c:v>-9.7678314291961166E-2</c:v>
                </c:pt>
                <c:pt idx="1185">
                  <c:v>-0.11376136190157793</c:v>
                </c:pt>
                <c:pt idx="1186">
                  <c:v>-0.11376136190157793</c:v>
                </c:pt>
                <c:pt idx="1187">
                  <c:v>-0.11376136190157793</c:v>
                </c:pt>
                <c:pt idx="1188">
                  <c:v>-0.10697413426745261</c:v>
                </c:pt>
                <c:pt idx="1189">
                  <c:v>-9.2062863343605916E-2</c:v>
                </c:pt>
                <c:pt idx="1190">
                  <c:v>-9.4373408921180291E-2</c:v>
                </c:pt>
                <c:pt idx="1191">
                  <c:v>-9.2112375034553828E-2</c:v>
                </c:pt>
                <c:pt idx="1192">
                  <c:v>-8.9480003465817193E-2</c:v>
                </c:pt>
                <c:pt idx="1193">
                  <c:v>-8.9480003465817193E-2</c:v>
                </c:pt>
                <c:pt idx="1194">
                  <c:v>-8.9480003465817193E-2</c:v>
                </c:pt>
                <c:pt idx="1195">
                  <c:v>-8.3786159006794203E-2</c:v>
                </c:pt>
                <c:pt idx="1196">
                  <c:v>-7.9664310735371169E-2</c:v>
                </c:pt>
                <c:pt idx="1197">
                  <c:v>-8.2119265411544129E-2</c:v>
                </c:pt>
                <c:pt idx="1198">
                  <c:v>-8.1347708227603954E-2</c:v>
                </c:pt>
                <c:pt idx="1199">
                  <c:v>-7.6161358600798312E-2</c:v>
                </c:pt>
                <c:pt idx="1200">
                  <c:v>-7.6161358600798312E-2</c:v>
                </c:pt>
                <c:pt idx="1201">
                  <c:v>-7.6161358600798312E-2</c:v>
                </c:pt>
                <c:pt idx="1202">
                  <c:v>-7.3764167564064786E-2</c:v>
                </c:pt>
                <c:pt idx="1203">
                  <c:v>-7.6648223561787354E-2</c:v>
                </c:pt>
                <c:pt idx="1204">
                  <c:v>-7.0706820648024249E-2</c:v>
                </c:pt>
                <c:pt idx="1205">
                  <c:v>-6.7769126985108064E-2</c:v>
                </c:pt>
                <c:pt idx="1206">
                  <c:v>-6.5966076239750926E-2</c:v>
                </c:pt>
                <c:pt idx="1207">
                  <c:v>-6.5966076239750926E-2</c:v>
                </c:pt>
                <c:pt idx="1208">
                  <c:v>-6.5966076239750926E-2</c:v>
                </c:pt>
                <c:pt idx="1209">
                  <c:v>-6.5966076239750926E-2</c:v>
                </c:pt>
                <c:pt idx="1210">
                  <c:v>-8.5127100636636754E-2</c:v>
                </c:pt>
                <c:pt idx="1211">
                  <c:v>-9.0680661971306864E-2</c:v>
                </c:pt>
                <c:pt idx="1212">
                  <c:v>-9.1365573696087887E-2</c:v>
                </c:pt>
                <c:pt idx="1213">
                  <c:v>-8.1537503042904969E-2</c:v>
                </c:pt>
                <c:pt idx="1214">
                  <c:v>-8.1537503042904969E-2</c:v>
                </c:pt>
                <c:pt idx="1215">
                  <c:v>-8.1537503042904969E-2</c:v>
                </c:pt>
                <c:pt idx="1216">
                  <c:v>-7.6380035235819044E-2</c:v>
                </c:pt>
                <c:pt idx="1217">
                  <c:v>-9.0915842503309863E-2</c:v>
                </c:pt>
                <c:pt idx="1218">
                  <c:v>-8.9298460599007923E-2</c:v>
                </c:pt>
                <c:pt idx="1219">
                  <c:v>-7.3582624697255627E-2</c:v>
                </c:pt>
                <c:pt idx="1220">
                  <c:v>-8.0411112073837221E-2</c:v>
                </c:pt>
                <c:pt idx="1221">
                  <c:v>-8.0411112073837221E-2</c:v>
                </c:pt>
                <c:pt idx="1222">
                  <c:v>-8.0411112073837221E-2</c:v>
                </c:pt>
                <c:pt idx="1223">
                  <c:v>-8.8052416376815712E-2</c:v>
                </c:pt>
                <c:pt idx="1224">
                  <c:v>-7.9742704246038798E-2</c:v>
                </c:pt>
                <c:pt idx="1225">
                  <c:v>-8.085671729236954E-2</c:v>
                </c:pt>
                <c:pt idx="1226">
                  <c:v>-9.8206438995406486E-2</c:v>
                </c:pt>
                <c:pt idx="1227">
                  <c:v>-9.1538864614405857E-2</c:v>
                </c:pt>
                <c:pt idx="1228">
                  <c:v>-9.1538864614405857E-2</c:v>
                </c:pt>
                <c:pt idx="1229">
                  <c:v>-9.1538864614405857E-2</c:v>
                </c:pt>
                <c:pt idx="1230">
                  <c:v>-9.7005780489916926E-2</c:v>
                </c:pt>
                <c:pt idx="1231">
                  <c:v>-0.10711441739180527</c:v>
                </c:pt>
                <c:pt idx="1232">
                  <c:v>-0.12449302091456227</c:v>
                </c:pt>
                <c:pt idx="1233">
                  <c:v>-0.11273812028865193</c:v>
                </c:pt>
                <c:pt idx="1234">
                  <c:v>-0.10891746813716252</c:v>
                </c:pt>
                <c:pt idx="1235">
                  <c:v>-0.10891746813716252</c:v>
                </c:pt>
                <c:pt idx="1236">
                  <c:v>-0.10891746813716252</c:v>
                </c:pt>
                <c:pt idx="1237">
                  <c:v>-9.5549311581195728E-2</c:v>
                </c:pt>
                <c:pt idx="1238">
                  <c:v>-9.8652044213938694E-2</c:v>
                </c:pt>
                <c:pt idx="1239">
                  <c:v>-9.6015546670956353E-2</c:v>
                </c:pt>
                <c:pt idx="1240">
                  <c:v>-8.757380336431797E-2</c:v>
                </c:pt>
                <c:pt idx="1241">
                  <c:v>-8.4685621392349808E-2</c:v>
                </c:pt>
                <c:pt idx="1242">
                  <c:v>-8.4685621392349808E-2</c:v>
                </c:pt>
                <c:pt idx="1243">
                  <c:v>-8.4685621392349808E-2</c:v>
                </c:pt>
                <c:pt idx="1244">
                  <c:v>-8.7202465682207797E-2</c:v>
                </c:pt>
                <c:pt idx="1245">
                  <c:v>-8.0563773120926774E-2</c:v>
                </c:pt>
                <c:pt idx="1246">
                  <c:v>-7.431704811298423E-2</c:v>
                </c:pt>
                <c:pt idx="1247">
                  <c:v>-7.601282352795391E-2</c:v>
                </c:pt>
                <c:pt idx="1248">
                  <c:v>-7.1416488218279062E-2</c:v>
                </c:pt>
                <c:pt idx="1249">
                  <c:v>-7.1416488218279062E-2</c:v>
                </c:pt>
                <c:pt idx="1250">
                  <c:v>-7.1416488218279062E-2</c:v>
                </c:pt>
                <c:pt idx="1251">
                  <c:v>-7.0979134948238154E-2</c:v>
                </c:pt>
                <c:pt idx="1252">
                  <c:v>-7.1135921969573523E-2</c:v>
                </c:pt>
                <c:pt idx="1253">
                  <c:v>-6.8722227035857175E-2</c:v>
                </c:pt>
                <c:pt idx="1254">
                  <c:v>-7.0104428408156227E-2</c:v>
                </c:pt>
                <c:pt idx="1255">
                  <c:v>-7.3826057177749815E-2</c:v>
                </c:pt>
                <c:pt idx="1256">
                  <c:v>-7.3826057177749815E-2</c:v>
                </c:pt>
                <c:pt idx="1257">
                  <c:v>-7.3826057177749815E-2</c:v>
                </c:pt>
                <c:pt idx="1258">
                  <c:v>-7.63965391328012E-2</c:v>
                </c:pt>
                <c:pt idx="1259">
                  <c:v>-8.3571608346019066E-2</c:v>
                </c:pt>
                <c:pt idx="1260">
                  <c:v>-8.3303420020050645E-2</c:v>
                </c:pt>
                <c:pt idx="1261">
                  <c:v>-8.3212648586645899E-2</c:v>
                </c:pt>
                <c:pt idx="1262">
                  <c:v>-7.9614799044422813E-2</c:v>
                </c:pt>
                <c:pt idx="1263">
                  <c:v>-7.9614799044422813E-2</c:v>
                </c:pt>
                <c:pt idx="1264">
                  <c:v>-7.9614799044422813E-2</c:v>
                </c:pt>
                <c:pt idx="1265">
                  <c:v>-8.9748191791785281E-2</c:v>
                </c:pt>
                <c:pt idx="1266">
                  <c:v>-8.4504078525540316E-2</c:v>
                </c:pt>
                <c:pt idx="1267">
                  <c:v>-7.2109651891551163E-2</c:v>
                </c:pt>
                <c:pt idx="1268">
                  <c:v>-6.7183238642222864E-2</c:v>
                </c:pt>
                <c:pt idx="1269">
                  <c:v>-6.7183238642222864E-2</c:v>
                </c:pt>
                <c:pt idx="1270">
                  <c:v>-6.7183238642222864E-2</c:v>
                </c:pt>
                <c:pt idx="1271">
                  <c:v>-6.7183238642222864E-2</c:v>
                </c:pt>
                <c:pt idx="1272">
                  <c:v>-6.8668589370663669E-2</c:v>
                </c:pt>
                <c:pt idx="1273">
                  <c:v>-6.0305239574692915E-2</c:v>
                </c:pt>
                <c:pt idx="1274">
                  <c:v>-5.4273065227525397E-2</c:v>
                </c:pt>
                <c:pt idx="1275">
                  <c:v>-5.0836128680883275E-2</c:v>
                </c:pt>
                <c:pt idx="1276">
                  <c:v>-4.8649362330678736E-2</c:v>
                </c:pt>
                <c:pt idx="1277">
                  <c:v>-4.8649362330678736E-2</c:v>
                </c:pt>
                <c:pt idx="1278">
                  <c:v>-4.8649362330678736E-2</c:v>
                </c:pt>
                <c:pt idx="1279">
                  <c:v>-5.0316255925929032E-2</c:v>
                </c:pt>
                <c:pt idx="1280">
                  <c:v>-5.3522137914813861E-2</c:v>
                </c:pt>
                <c:pt idx="1281">
                  <c:v>-5.9843130459178329E-2</c:v>
                </c:pt>
                <c:pt idx="1282">
                  <c:v>-6.8322007534027507E-2</c:v>
                </c:pt>
                <c:pt idx="1283">
                  <c:v>-6.4654016429627981E-2</c:v>
                </c:pt>
                <c:pt idx="1284">
                  <c:v>-6.4654016429627981E-2</c:v>
                </c:pt>
                <c:pt idx="1285">
                  <c:v>-6.4654016429627981E-2</c:v>
                </c:pt>
                <c:pt idx="1286">
                  <c:v>-6.0391885033851844E-2</c:v>
                </c:pt>
                <c:pt idx="1287">
                  <c:v>-5.2791840473330298E-2</c:v>
                </c:pt>
                <c:pt idx="1288">
                  <c:v>-6.2797328019077003E-2</c:v>
                </c:pt>
                <c:pt idx="1289">
                  <c:v>-5.8106095301751592E-2</c:v>
                </c:pt>
                <c:pt idx="1290">
                  <c:v>-6.5664880119816638E-2</c:v>
                </c:pt>
                <c:pt idx="1291">
                  <c:v>-6.5664880119816638E-2</c:v>
                </c:pt>
                <c:pt idx="1292">
                  <c:v>-6.5664880119816638E-2</c:v>
                </c:pt>
                <c:pt idx="1293">
                  <c:v>-7.1404110295542056E-2</c:v>
                </c:pt>
                <c:pt idx="1294">
                  <c:v>-7.1511385625929291E-2</c:v>
                </c:pt>
                <c:pt idx="1295">
                  <c:v>-6.3168665701187066E-2</c:v>
                </c:pt>
                <c:pt idx="1296">
                  <c:v>-6.1047914938913372E-2</c:v>
                </c:pt>
                <c:pt idx="1297">
                  <c:v>-6.8268369868833667E-2</c:v>
                </c:pt>
                <c:pt idx="1298">
                  <c:v>-6.8268369868833667E-2</c:v>
                </c:pt>
                <c:pt idx="1299">
                  <c:v>-6.8268369868833667E-2</c:v>
                </c:pt>
                <c:pt idx="1300">
                  <c:v>-7.9367240589682697E-2</c:v>
                </c:pt>
                <c:pt idx="1301">
                  <c:v>-8.0118167902394566E-2</c:v>
                </c:pt>
                <c:pt idx="1302">
                  <c:v>-7.7122710600039057E-2</c:v>
                </c:pt>
                <c:pt idx="1303">
                  <c:v>-7.3252546757601511E-2</c:v>
                </c:pt>
                <c:pt idx="1304">
                  <c:v>-6.9287485507513957E-2</c:v>
                </c:pt>
                <c:pt idx="1305">
                  <c:v>-6.9287485507513957E-2</c:v>
                </c:pt>
                <c:pt idx="1306">
                  <c:v>-6.9287485507513957E-2</c:v>
                </c:pt>
                <c:pt idx="1307">
                  <c:v>-6.9287485507513957E-2</c:v>
                </c:pt>
                <c:pt idx="1308">
                  <c:v>-5.9418155111874094E-2</c:v>
                </c:pt>
                <c:pt idx="1309">
                  <c:v>-8.0749441961981749E-2</c:v>
                </c:pt>
                <c:pt idx="1310">
                  <c:v>-8.1822195265855546E-2</c:v>
                </c:pt>
                <c:pt idx="1311">
                  <c:v>-9.0713669765271843E-2</c:v>
                </c:pt>
                <c:pt idx="1312">
                  <c:v>-9.0713669765271843E-2</c:v>
                </c:pt>
                <c:pt idx="1313">
                  <c:v>-9.0713669765271843E-2</c:v>
                </c:pt>
                <c:pt idx="1314">
                  <c:v>-0.10047985080476995</c:v>
                </c:pt>
                <c:pt idx="1315">
                  <c:v>-0.10130091967965782</c:v>
                </c:pt>
                <c:pt idx="1316">
                  <c:v>-0.10486988740216141</c:v>
                </c:pt>
                <c:pt idx="1317">
                  <c:v>-9.8260076660600104E-2</c:v>
                </c:pt>
                <c:pt idx="1318">
                  <c:v>-0.11085255005838135</c:v>
                </c:pt>
                <c:pt idx="1319">
                  <c:v>-0.11085255005838135</c:v>
                </c:pt>
                <c:pt idx="1320">
                  <c:v>-0.11085255005838135</c:v>
                </c:pt>
                <c:pt idx="1321">
                  <c:v>-0.10996546559556242</c:v>
                </c:pt>
                <c:pt idx="1322">
                  <c:v>-9.8689177982149712E-2</c:v>
                </c:pt>
                <c:pt idx="1323">
                  <c:v>-0.11438025803842822</c:v>
                </c:pt>
                <c:pt idx="1324">
                  <c:v>-0.1126762306749669</c:v>
                </c:pt>
                <c:pt idx="1325">
                  <c:v>-0.10996959156980823</c:v>
                </c:pt>
                <c:pt idx="1326">
                  <c:v>-0.10996959156980823</c:v>
                </c:pt>
                <c:pt idx="1327">
                  <c:v>-0.10996959156980823</c:v>
                </c:pt>
                <c:pt idx="1328">
                  <c:v>-0.10515870559935825</c:v>
                </c:pt>
                <c:pt idx="1329">
                  <c:v>-9.304897118832034E-2</c:v>
                </c:pt>
                <c:pt idx="1330">
                  <c:v>-9.8874846823204687E-2</c:v>
                </c:pt>
                <c:pt idx="1331">
                  <c:v>-0.1014246989070281</c:v>
                </c:pt>
                <c:pt idx="1332">
                  <c:v>-0.11196243713046627</c:v>
                </c:pt>
                <c:pt idx="1333">
                  <c:v>-0.11196243713046627</c:v>
                </c:pt>
                <c:pt idx="1334">
                  <c:v>-0.11196243713046627</c:v>
                </c:pt>
                <c:pt idx="1335">
                  <c:v>-0.10380538604677891</c:v>
                </c:pt>
                <c:pt idx="1336">
                  <c:v>-9.2005099704166371E-2</c:v>
                </c:pt>
                <c:pt idx="1337">
                  <c:v>-8.4363795401187769E-2</c:v>
                </c:pt>
                <c:pt idx="1338">
                  <c:v>-7.5096857245415705E-2</c:v>
                </c:pt>
                <c:pt idx="1339">
                  <c:v>-6.1646181204535466E-2</c:v>
                </c:pt>
                <c:pt idx="1340">
                  <c:v>-6.1646181204535466E-2</c:v>
                </c:pt>
                <c:pt idx="1341">
                  <c:v>-6.1646181204535466E-2</c:v>
                </c:pt>
                <c:pt idx="1342">
                  <c:v>-6.1646181204535466E-2</c:v>
                </c:pt>
                <c:pt idx="1343">
                  <c:v>-6.2871595555499149E-2</c:v>
                </c:pt>
                <c:pt idx="1344">
                  <c:v>-6.1580165616604843E-2</c:v>
                </c:pt>
                <c:pt idx="1345">
                  <c:v>-5.1723213143702207E-2</c:v>
                </c:pt>
                <c:pt idx="1346">
                  <c:v>-5.8320645962526396E-2</c:v>
                </c:pt>
                <c:pt idx="1347">
                  <c:v>-5.8320645962526396E-2</c:v>
                </c:pt>
                <c:pt idx="1348">
                  <c:v>-5.8320645962526396E-2</c:v>
                </c:pt>
                <c:pt idx="1349">
                  <c:v>-7.5340289725910226E-2</c:v>
                </c:pt>
                <c:pt idx="1350">
                  <c:v>-7.9433256177613543E-2</c:v>
                </c:pt>
                <c:pt idx="1351">
                  <c:v>-7.6487310566206057E-2</c:v>
                </c:pt>
                <c:pt idx="1352">
                  <c:v>-8.2676271934709167E-2</c:v>
                </c:pt>
                <c:pt idx="1353">
                  <c:v>-7.7576567767062343E-2</c:v>
                </c:pt>
                <c:pt idx="1354">
                  <c:v>-7.7576567767062343E-2</c:v>
                </c:pt>
                <c:pt idx="1355">
                  <c:v>-7.7576567767062343E-2</c:v>
                </c:pt>
                <c:pt idx="1356">
                  <c:v>-8.5044581151722864E-2</c:v>
                </c:pt>
                <c:pt idx="1357">
                  <c:v>-7.0125058279384644E-2</c:v>
                </c:pt>
                <c:pt idx="1358">
                  <c:v>-7.061604921461917E-2</c:v>
                </c:pt>
                <c:pt idx="1359">
                  <c:v>-5.7945182306170295E-2</c:v>
                </c:pt>
                <c:pt idx="1360">
                  <c:v>-5.7074601740334185E-2</c:v>
                </c:pt>
                <c:pt idx="1361">
                  <c:v>-5.7074601740334185E-2</c:v>
                </c:pt>
                <c:pt idx="1362">
                  <c:v>-5.7074601740334185E-2</c:v>
                </c:pt>
                <c:pt idx="1363">
                  <c:v>-6.2384730594509996E-2</c:v>
                </c:pt>
                <c:pt idx="1364">
                  <c:v>-6.623013859147342E-2</c:v>
                </c:pt>
                <c:pt idx="1365">
                  <c:v>-8.5151856482110322E-2</c:v>
                </c:pt>
                <c:pt idx="1366">
                  <c:v>-8.8023534557095773E-2</c:v>
                </c:pt>
                <c:pt idx="1367">
                  <c:v>-9.3903047857173849E-2</c:v>
                </c:pt>
                <c:pt idx="1368">
                  <c:v>-9.3903047857173849E-2</c:v>
                </c:pt>
                <c:pt idx="1369">
                  <c:v>-9.3903047857173849E-2</c:v>
                </c:pt>
                <c:pt idx="1370">
                  <c:v>-9.7649432472241005E-2</c:v>
                </c:pt>
                <c:pt idx="1371">
                  <c:v>-0.12071362850552947</c:v>
                </c:pt>
                <c:pt idx="1372">
                  <c:v>-0.11598526201999293</c:v>
                </c:pt>
                <c:pt idx="1373">
                  <c:v>-0.1582187343986583</c:v>
                </c:pt>
                <c:pt idx="1374">
                  <c:v>-0.15869734741115593</c:v>
                </c:pt>
                <c:pt idx="1375">
                  <c:v>-0.15869734741115593</c:v>
                </c:pt>
                <c:pt idx="1376">
                  <c:v>-0.15869734741115593</c:v>
                </c:pt>
                <c:pt idx="1377">
                  <c:v>-0.21463318025968736</c:v>
                </c:pt>
                <c:pt idx="1378">
                  <c:v>-0.17737975879554391</c:v>
                </c:pt>
                <c:pt idx="1379">
                  <c:v>-0.21337063214051255</c:v>
                </c:pt>
                <c:pt idx="1380">
                  <c:v>-0.17681037434964164</c:v>
                </c:pt>
                <c:pt idx="1381">
                  <c:v>-0.17246572346895239</c:v>
                </c:pt>
                <c:pt idx="1382">
                  <c:v>-0.17246572346895239</c:v>
                </c:pt>
                <c:pt idx="1383">
                  <c:v>-0.17246572346895239</c:v>
                </c:pt>
                <c:pt idx="1384">
                  <c:v>-0.15437745237594069</c:v>
                </c:pt>
                <c:pt idx="1385">
                  <c:v>-0.16246023592320569</c:v>
                </c:pt>
                <c:pt idx="1386">
                  <c:v>-0.16143286833603432</c:v>
                </c:pt>
                <c:pt idx="1387">
                  <c:v>-0.19876880928509089</c:v>
                </c:pt>
                <c:pt idx="1388">
                  <c:v>-0.21079602421121546</c:v>
                </c:pt>
                <c:pt idx="1389">
                  <c:v>-0.21079602421121546</c:v>
                </c:pt>
                <c:pt idx="1390">
                  <c:v>-0.21079602421121546</c:v>
                </c:pt>
                <c:pt idx="1391">
                  <c:v>-0.21058972549893207</c:v>
                </c:pt>
                <c:pt idx="1392">
                  <c:v>-0.18351508249885351</c:v>
                </c:pt>
                <c:pt idx="1393">
                  <c:v>-0.17268852607821872</c:v>
                </c:pt>
                <c:pt idx="1394">
                  <c:v>-0.18554918780196838</c:v>
                </c:pt>
                <c:pt idx="1395">
                  <c:v>-0.17310937545127703</c:v>
                </c:pt>
                <c:pt idx="1396">
                  <c:v>-0.17310937545127703</c:v>
                </c:pt>
                <c:pt idx="1397">
                  <c:v>-0.17310937545127703</c:v>
                </c:pt>
                <c:pt idx="1398">
                  <c:v>-0.14961607809643895</c:v>
                </c:pt>
                <c:pt idx="1399">
                  <c:v>-0.14742105979774334</c:v>
                </c:pt>
                <c:pt idx="1400">
                  <c:v>-0.14312592060800211</c:v>
                </c:pt>
                <c:pt idx="1401">
                  <c:v>-0.15322630556139927</c:v>
                </c:pt>
                <c:pt idx="1402">
                  <c:v>-0.17459885215396331</c:v>
                </c:pt>
                <c:pt idx="1403">
                  <c:v>-0.17459885215396331</c:v>
                </c:pt>
                <c:pt idx="1404">
                  <c:v>-0.17459885215396331</c:v>
                </c:pt>
                <c:pt idx="1405">
                  <c:v>-0.17459885215396331</c:v>
                </c:pt>
                <c:pt idx="1406">
                  <c:v>-0.1807176719602902</c:v>
                </c:pt>
                <c:pt idx="1407">
                  <c:v>-0.15704283173864275</c:v>
                </c:pt>
                <c:pt idx="1408">
                  <c:v>-0.16596731403202425</c:v>
                </c:pt>
                <c:pt idx="1409">
                  <c:v>-0.18822694508740723</c:v>
                </c:pt>
                <c:pt idx="1410">
                  <c:v>-0.18822694508740723</c:v>
                </c:pt>
                <c:pt idx="1411">
                  <c:v>-0.18822694508740723</c:v>
                </c:pt>
                <c:pt idx="1412">
                  <c:v>-0.18252072270564734</c:v>
                </c:pt>
                <c:pt idx="1413">
                  <c:v>-0.17477214307228139</c:v>
                </c:pt>
                <c:pt idx="1414">
                  <c:v>-0.16364851650595835</c:v>
                </c:pt>
                <c:pt idx="1415">
                  <c:v>-0.14912096118695872</c:v>
                </c:pt>
                <c:pt idx="1416">
                  <c:v>-0.14424818560282404</c:v>
                </c:pt>
                <c:pt idx="1417">
                  <c:v>-0.14424818560282404</c:v>
                </c:pt>
                <c:pt idx="1418">
                  <c:v>-0.14424818560282404</c:v>
                </c:pt>
                <c:pt idx="1419">
                  <c:v>-0.15263216527002299</c:v>
                </c:pt>
                <c:pt idx="1420">
                  <c:v>-0.15401436664232204</c:v>
                </c:pt>
                <c:pt idx="1421">
                  <c:v>-0.17884860562700222</c:v>
                </c:pt>
                <c:pt idx="1422">
                  <c:v>-0.20502378624152473</c:v>
                </c:pt>
                <c:pt idx="1423">
                  <c:v>-0.2000849950694592</c:v>
                </c:pt>
                <c:pt idx="1424">
                  <c:v>-0.2000849950694592</c:v>
                </c:pt>
                <c:pt idx="1425">
                  <c:v>-0.2000849950694592</c:v>
                </c:pt>
                <c:pt idx="1426">
                  <c:v>-0.18141908758205372</c:v>
                </c:pt>
                <c:pt idx="1427">
                  <c:v>-0.17266377023274471</c:v>
                </c:pt>
                <c:pt idx="1428">
                  <c:v>-0.18957613866574097</c:v>
                </c:pt>
                <c:pt idx="1429">
                  <c:v>-0.18296220194993407</c:v>
                </c:pt>
                <c:pt idx="1430">
                  <c:v>-0.20336101862052036</c:v>
                </c:pt>
                <c:pt idx="1431">
                  <c:v>-0.20336101862052036</c:v>
                </c:pt>
                <c:pt idx="1432">
                  <c:v>-0.20336101862052036</c:v>
                </c:pt>
                <c:pt idx="1433">
                  <c:v>-0.22598786138376781</c:v>
                </c:pt>
                <c:pt idx="1434">
                  <c:v>-0.20847722668514956</c:v>
                </c:pt>
                <c:pt idx="1435">
                  <c:v>-0.19392078954643011</c:v>
                </c:pt>
                <c:pt idx="1436">
                  <c:v>-0.17909203810749663</c:v>
                </c:pt>
                <c:pt idx="1437">
                  <c:v>-0.18577199041123427</c:v>
                </c:pt>
                <c:pt idx="1438">
                  <c:v>-0.18577199041123427</c:v>
                </c:pt>
                <c:pt idx="1439">
                  <c:v>-0.18577199041123427</c:v>
                </c:pt>
                <c:pt idx="1440">
                  <c:v>-0.15798767984090101</c:v>
                </c:pt>
                <c:pt idx="1441">
                  <c:v>-0.15751731877689479</c:v>
                </c:pt>
                <c:pt idx="1442">
                  <c:v>-0.14913333910969584</c:v>
                </c:pt>
                <c:pt idx="1443">
                  <c:v>-0.15159241976011428</c:v>
                </c:pt>
                <c:pt idx="1444">
                  <c:v>-0.13685031378034007</c:v>
                </c:pt>
                <c:pt idx="1445">
                  <c:v>-0.13685031378034007</c:v>
                </c:pt>
                <c:pt idx="1446">
                  <c:v>-0.13685031378034007</c:v>
                </c:pt>
                <c:pt idx="1447">
                  <c:v>-0.15353987960407012</c:v>
                </c:pt>
                <c:pt idx="1448">
                  <c:v>-0.13625617348896379</c:v>
                </c:pt>
                <c:pt idx="1449">
                  <c:v>-0.14704559614138735</c:v>
                </c:pt>
                <c:pt idx="1450">
                  <c:v>-0.14313829853073923</c:v>
                </c:pt>
                <c:pt idx="1451">
                  <c:v>-0.12700161325592862</c:v>
                </c:pt>
                <c:pt idx="1452">
                  <c:v>-0.12700161325592862</c:v>
                </c:pt>
                <c:pt idx="1453">
                  <c:v>-0.12700161325592862</c:v>
                </c:pt>
                <c:pt idx="1454">
                  <c:v>-0.11575008148798993</c:v>
                </c:pt>
                <c:pt idx="1455">
                  <c:v>-0.13347526684738287</c:v>
                </c:pt>
                <c:pt idx="1456">
                  <c:v>-0.12433623389322646</c:v>
                </c:pt>
                <c:pt idx="1457">
                  <c:v>-9.4257881642301311E-2</c:v>
                </c:pt>
                <c:pt idx="1458">
                  <c:v>-9.3882417985945432E-2</c:v>
                </c:pt>
                <c:pt idx="1459">
                  <c:v>-9.3882417985945432E-2</c:v>
                </c:pt>
                <c:pt idx="1460">
                  <c:v>-9.3882417985945432E-2</c:v>
                </c:pt>
                <c:pt idx="1461">
                  <c:v>-0.11629471008841819</c:v>
                </c:pt>
                <c:pt idx="1462">
                  <c:v>-0.14098453997450033</c:v>
                </c:pt>
                <c:pt idx="1463">
                  <c:v>-0.12706762884385947</c:v>
                </c:pt>
                <c:pt idx="1464">
                  <c:v>-0.11049359029900807</c:v>
                </c:pt>
                <c:pt idx="1465">
                  <c:v>-0.11607603345339768</c:v>
                </c:pt>
                <c:pt idx="1466">
                  <c:v>-0.11607603345339768</c:v>
                </c:pt>
                <c:pt idx="1467">
                  <c:v>-0.11607603345339768</c:v>
                </c:pt>
                <c:pt idx="1468">
                  <c:v>-0.11043995263381423</c:v>
                </c:pt>
                <c:pt idx="1469">
                  <c:v>-9.9460735166089664E-2</c:v>
                </c:pt>
                <c:pt idx="1470">
                  <c:v>-0.13242314341473738</c:v>
                </c:pt>
                <c:pt idx="1471">
                  <c:v>-0.12482309885421539</c:v>
                </c:pt>
                <c:pt idx="1472">
                  <c:v>-0.10776632132262087</c:v>
                </c:pt>
                <c:pt idx="1473">
                  <c:v>-0.10776632132262087</c:v>
                </c:pt>
                <c:pt idx="1474">
                  <c:v>-0.10776632132262087</c:v>
                </c:pt>
                <c:pt idx="1475">
                  <c:v>-0.11617918280953954</c:v>
                </c:pt>
                <c:pt idx="1476">
                  <c:v>-0.11176026439242814</c:v>
                </c:pt>
                <c:pt idx="1477">
                  <c:v>-0.12626718984019969</c:v>
                </c:pt>
                <c:pt idx="1478">
                  <c:v>-0.14093090230930638</c:v>
                </c:pt>
                <c:pt idx="1479">
                  <c:v>-0.14121146855801192</c:v>
                </c:pt>
                <c:pt idx="1480">
                  <c:v>-0.14121146855801192</c:v>
                </c:pt>
                <c:pt idx="1481">
                  <c:v>-0.14121146855801192</c:v>
                </c:pt>
                <c:pt idx="1482">
                  <c:v>-0.15718311486299563</c:v>
                </c:pt>
                <c:pt idx="1483">
                  <c:v>-0.16060767348690075</c:v>
                </c:pt>
                <c:pt idx="1484">
                  <c:v>-0.17912091992721635</c:v>
                </c:pt>
                <c:pt idx="1485">
                  <c:v>-0.17912091992721624</c:v>
                </c:pt>
                <c:pt idx="1486">
                  <c:v>-0.18120041094703343</c:v>
                </c:pt>
                <c:pt idx="1487">
                  <c:v>-0.18120041094703343</c:v>
                </c:pt>
                <c:pt idx="1488">
                  <c:v>-0.18120041094703343</c:v>
                </c:pt>
                <c:pt idx="1489">
                  <c:v>-0.1571459810947845</c:v>
                </c:pt>
                <c:pt idx="1490">
                  <c:v>-0.15497571864156279</c:v>
                </c:pt>
                <c:pt idx="1491">
                  <c:v>-0.11824629590661973</c:v>
                </c:pt>
                <c:pt idx="1492">
                  <c:v>-0.11990081157913257</c:v>
                </c:pt>
                <c:pt idx="1493">
                  <c:v>-0.12007822847169658</c:v>
                </c:pt>
                <c:pt idx="1494">
                  <c:v>-0.12007822847169658</c:v>
                </c:pt>
                <c:pt idx="1495">
                  <c:v>-0.12007822847169658</c:v>
                </c:pt>
                <c:pt idx="1496">
                  <c:v>-0.11098458123424271</c:v>
                </c:pt>
                <c:pt idx="1497">
                  <c:v>-0.10998609546679095</c:v>
                </c:pt>
                <c:pt idx="1498">
                  <c:v>-0.10793548626669325</c:v>
                </c:pt>
                <c:pt idx="1499">
                  <c:v>-0.12677468467241704</c:v>
                </c:pt>
                <c:pt idx="1500">
                  <c:v>-0.11202845271839679</c:v>
                </c:pt>
                <c:pt idx="1501">
                  <c:v>-0.11202845271839679</c:v>
                </c:pt>
                <c:pt idx="1502">
                  <c:v>-0.11202845271839679</c:v>
                </c:pt>
                <c:pt idx="1503">
                  <c:v>-0.12523157030453669</c:v>
                </c:pt>
                <c:pt idx="1504">
                  <c:v>-0.13265832394674071</c:v>
                </c:pt>
                <c:pt idx="1505">
                  <c:v>-0.14241212706350159</c:v>
                </c:pt>
                <c:pt idx="1506">
                  <c:v>-0.13955282691125326</c:v>
                </c:pt>
                <c:pt idx="1507">
                  <c:v>-0.13677192026967266</c:v>
                </c:pt>
                <c:pt idx="1508">
                  <c:v>-0.13677192026967266</c:v>
                </c:pt>
                <c:pt idx="1509">
                  <c:v>-0.13677192026967266</c:v>
                </c:pt>
                <c:pt idx="1510">
                  <c:v>-0.1468846831458066</c:v>
                </c:pt>
                <c:pt idx="1511">
                  <c:v>-0.12130364282266026</c:v>
                </c:pt>
                <c:pt idx="1512">
                  <c:v>-0.11957485961372516</c:v>
                </c:pt>
                <c:pt idx="1513">
                  <c:v>-0.11207383843509933</c:v>
                </c:pt>
                <c:pt idx="1514">
                  <c:v>-0.10404469255302784</c:v>
                </c:pt>
                <c:pt idx="1515">
                  <c:v>-0.10404469255302784</c:v>
                </c:pt>
                <c:pt idx="1516">
                  <c:v>-0.10404469255302784</c:v>
                </c:pt>
                <c:pt idx="1517">
                  <c:v>-0.10404469255302784</c:v>
                </c:pt>
                <c:pt idx="1518">
                  <c:v>-0.1039580470938688</c:v>
                </c:pt>
                <c:pt idx="1519">
                  <c:v>-0.11494139053583907</c:v>
                </c:pt>
                <c:pt idx="1520">
                  <c:v>-0.1054392718480639</c:v>
                </c:pt>
                <c:pt idx="1521">
                  <c:v>-0.10922691620558778</c:v>
                </c:pt>
                <c:pt idx="1522">
                  <c:v>-0.10922691620558778</c:v>
                </c:pt>
                <c:pt idx="1523">
                  <c:v>-0.10922691620558778</c:v>
                </c:pt>
                <c:pt idx="1524">
                  <c:v>-0.10922691620558778</c:v>
                </c:pt>
                <c:pt idx="1525">
                  <c:v>-9.5421406379580187E-2</c:v>
                </c:pt>
                <c:pt idx="1526">
                  <c:v>-9.5058320645961314E-2</c:v>
                </c:pt>
                <c:pt idx="1527">
                  <c:v>-9.2397067257504961E-2</c:v>
                </c:pt>
                <c:pt idx="1528">
                  <c:v>-9.435690502419769E-2</c:v>
                </c:pt>
                <c:pt idx="1529">
                  <c:v>-9.435690502419769E-2</c:v>
                </c:pt>
                <c:pt idx="1530">
                  <c:v>-9.435690502419769E-2</c:v>
                </c:pt>
                <c:pt idx="1531">
                  <c:v>-9.228566595287202E-2</c:v>
                </c:pt>
                <c:pt idx="1532">
                  <c:v>-8.420700837985251E-2</c:v>
                </c:pt>
                <c:pt idx="1533">
                  <c:v>-8.3835670697742115E-2</c:v>
                </c:pt>
                <c:pt idx="1534">
                  <c:v>-8.1665408244520399E-2</c:v>
                </c:pt>
                <c:pt idx="1535">
                  <c:v>-8.6208105889001851E-2</c:v>
                </c:pt>
                <c:pt idx="1536">
                  <c:v>-8.6208105889001851E-2</c:v>
                </c:pt>
                <c:pt idx="1537">
                  <c:v>-8.6208105889001851E-2</c:v>
                </c:pt>
                <c:pt idx="1538">
                  <c:v>-8.6208105889001851E-2</c:v>
                </c:pt>
                <c:pt idx="1539">
                  <c:v>-8.2965090131906005E-2</c:v>
                </c:pt>
                <c:pt idx="1540">
                  <c:v>-7.262952464650585E-2</c:v>
                </c:pt>
                <c:pt idx="1541">
                  <c:v>-6.8024937388339368E-2</c:v>
                </c:pt>
                <c:pt idx="1542">
                  <c:v>-6.7377159431769473E-2</c:v>
                </c:pt>
                <c:pt idx="1543">
                  <c:v>-6.7377159431769473E-2</c:v>
                </c:pt>
                <c:pt idx="1544">
                  <c:v>-6.7377159431769473E-2</c:v>
                </c:pt>
                <c:pt idx="1545">
                  <c:v>-6.6923302264745965E-2</c:v>
                </c:pt>
                <c:pt idx="1546">
                  <c:v>-6.7851646470021287E-2</c:v>
                </c:pt>
                <c:pt idx="1547">
                  <c:v>-5.9760610974264883E-2</c:v>
                </c:pt>
                <c:pt idx="1548">
                  <c:v>-6.5120251519388606E-2</c:v>
                </c:pt>
                <c:pt idx="1549">
                  <c:v>-6.6560216531126981E-2</c:v>
                </c:pt>
                <c:pt idx="1550">
                  <c:v>-6.6560216531126981E-2</c:v>
                </c:pt>
                <c:pt idx="1551">
                  <c:v>-6.6560216531126981E-2</c:v>
                </c:pt>
                <c:pt idx="1552">
                  <c:v>-6.8883140031438472E-2</c:v>
                </c:pt>
                <c:pt idx="1553">
                  <c:v>-6.9308115378742374E-2</c:v>
                </c:pt>
                <c:pt idx="1554">
                  <c:v>-6.0829238303893307E-2</c:v>
                </c:pt>
                <c:pt idx="1555">
                  <c:v>-5.9723477206054087E-2</c:v>
                </c:pt>
                <c:pt idx="1556">
                  <c:v>-4.5872581663343959E-2</c:v>
                </c:pt>
                <c:pt idx="1557">
                  <c:v>-4.5872581663343959E-2</c:v>
                </c:pt>
                <c:pt idx="1558">
                  <c:v>-4.5872581663343959E-2</c:v>
                </c:pt>
                <c:pt idx="1559">
                  <c:v>-4.6260423242436621E-2</c:v>
                </c:pt>
                <c:pt idx="1560">
                  <c:v>-4.4312963398481009E-2</c:v>
                </c:pt>
                <c:pt idx="1561">
                  <c:v>-4.1903394439010477E-2</c:v>
                </c:pt>
                <c:pt idx="1562">
                  <c:v>-4.0479933324254702E-2</c:v>
                </c:pt>
                <c:pt idx="1563">
                  <c:v>-4.7064988220342108E-2</c:v>
                </c:pt>
                <c:pt idx="1564">
                  <c:v>-4.7064988220342108E-2</c:v>
                </c:pt>
                <c:pt idx="1565">
                  <c:v>-4.7064988220342108E-2</c:v>
                </c:pt>
                <c:pt idx="1566">
                  <c:v>-4.0376783968113061E-2</c:v>
                </c:pt>
                <c:pt idx="1567">
                  <c:v>-4.1123585306579225E-2</c:v>
                </c:pt>
                <c:pt idx="1568">
                  <c:v>-4.5959227122502888E-2</c:v>
                </c:pt>
                <c:pt idx="1569">
                  <c:v>-3.5297709671694877E-2</c:v>
                </c:pt>
                <c:pt idx="1570">
                  <c:v>-3.3007793965348475E-2</c:v>
                </c:pt>
                <c:pt idx="1571">
                  <c:v>-3.3007793965348475E-2</c:v>
                </c:pt>
                <c:pt idx="1572">
                  <c:v>-3.3007793965348475E-2</c:v>
                </c:pt>
                <c:pt idx="1573">
                  <c:v>-3.3007793965348253E-2</c:v>
                </c:pt>
                <c:pt idx="1574">
                  <c:v>-3.2289874446601918E-2</c:v>
                </c:pt>
                <c:pt idx="1575">
                  <c:v>-3.548337851274963E-2</c:v>
                </c:pt>
                <c:pt idx="1576">
                  <c:v>-3.1175861400271399E-2</c:v>
                </c:pt>
                <c:pt idx="1577">
                  <c:v>-2.9430574294353584E-2</c:v>
                </c:pt>
                <c:pt idx="1578">
                  <c:v>-2.9430574294353584E-2</c:v>
                </c:pt>
                <c:pt idx="1579">
                  <c:v>-2.9430574294353584E-2</c:v>
                </c:pt>
                <c:pt idx="1580">
                  <c:v>-2.8027743050826115E-2</c:v>
                </c:pt>
                <c:pt idx="1581">
                  <c:v>-2.4607310401166482E-2</c:v>
                </c:pt>
                <c:pt idx="1582">
                  <c:v>-2.9063362586488783E-2</c:v>
                </c:pt>
                <c:pt idx="1583">
                  <c:v>-2.3022936290829743E-2</c:v>
                </c:pt>
                <c:pt idx="1584">
                  <c:v>-2.6154550743292093E-2</c:v>
                </c:pt>
                <c:pt idx="1585">
                  <c:v>-2.6154550743292093E-2</c:v>
                </c:pt>
                <c:pt idx="1586">
                  <c:v>-2.6154550743292093E-2</c:v>
                </c:pt>
                <c:pt idx="1587">
                  <c:v>-2.9867927564394048E-2</c:v>
                </c:pt>
                <c:pt idx="1588">
                  <c:v>-4.4750316668521695E-2</c:v>
                </c:pt>
                <c:pt idx="1589">
                  <c:v>-3.7868191626746261E-2</c:v>
                </c:pt>
                <c:pt idx="1590">
                  <c:v>-2.8328939170759848E-2</c:v>
                </c:pt>
                <c:pt idx="1591">
                  <c:v>-2.4801231190713313E-2</c:v>
                </c:pt>
                <c:pt idx="1592">
                  <c:v>-2.4801231190713313E-2</c:v>
                </c:pt>
                <c:pt idx="1593">
                  <c:v>-2.4801231190713313E-2</c:v>
                </c:pt>
                <c:pt idx="1594">
                  <c:v>-2.4578428581447098E-2</c:v>
                </c:pt>
                <c:pt idx="1595">
                  <c:v>-6.5520471021200954E-3</c:v>
                </c:pt>
                <c:pt idx="1596">
                  <c:v>-7.7114458651530438E-3</c:v>
                </c:pt>
                <c:pt idx="1597">
                  <c:v>-1.7741689256357551E-3</c:v>
                </c:pt>
              </c:numCache>
            </c:numRef>
          </c:val>
          <c:smooth val="0"/>
          <c:extLst>
            <c:ext xmlns:c16="http://schemas.microsoft.com/office/drawing/2014/chart" uri="{C3380CC4-5D6E-409C-BE32-E72D297353CC}">
              <c16:uniqueId val="{00000001-E20D-4E96-A113-CDF20BDFB848}"/>
            </c:ext>
          </c:extLst>
        </c:ser>
        <c:ser>
          <c:idx val="2"/>
          <c:order val="2"/>
          <c:tx>
            <c:strRef>
              <c:f>Sheet1!$D$1</c:f>
              <c:strCache>
                <c:ptCount val="1"/>
                <c:pt idx="0">
                  <c:v>Trade Conflicts 2018/2019</c:v>
                </c:pt>
              </c:strCache>
            </c:strRef>
          </c:tx>
          <c:spPr>
            <a:ln w="15875" cap="rnd">
              <a:solidFill>
                <a:schemeClr val="accent2"/>
              </a:solidFill>
              <a:round/>
            </a:ln>
            <a:effectLst/>
          </c:spPr>
          <c:marker>
            <c:symbol val="none"/>
          </c:marker>
          <c:cat>
            <c:numRef>
              <c:f>Sheet1!$A$2:$A$2002</c:f>
              <c:numCache>
                <c:formatCode>#,##0.00</c:formatCode>
                <c:ptCount val="20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numCache>
            </c:numRef>
          </c:cat>
          <c:val>
            <c:numRef>
              <c:f>Sheet1!$D$2:$D$2002</c:f>
              <c:numCache>
                <c:formatCode>0%</c:formatCode>
                <c:ptCount val="2001"/>
                <c:pt idx="0">
                  <c:v>0</c:v>
                </c:pt>
                <c:pt idx="1">
                  <c:v>0</c:v>
                </c:pt>
                <c:pt idx="2">
                  <c:v>0</c:v>
                </c:pt>
                <c:pt idx="3">
                  <c:v>3.6488751470480363E-3</c:v>
                </c:pt>
                <c:pt idx="4">
                  <c:v>3.2879783184287525E-3</c:v>
                </c:pt>
                <c:pt idx="5">
                  <c:v>4.0010965711327895E-3</c:v>
                </c:pt>
                <c:pt idx="6">
                  <c:v>-3.9663949529968878E-3</c:v>
                </c:pt>
                <c:pt idx="7">
                  <c:v>-9.4596611039974299E-3</c:v>
                </c:pt>
                <c:pt idx="8">
                  <c:v>-9.4596611039974299E-3</c:v>
                </c:pt>
                <c:pt idx="9">
                  <c:v>-9.4596611039974299E-3</c:v>
                </c:pt>
                <c:pt idx="10">
                  <c:v>-9.8483192271258124E-3</c:v>
                </c:pt>
                <c:pt idx="11">
                  <c:v>-1.0963976250212837E-2</c:v>
                </c:pt>
                <c:pt idx="12">
                  <c:v>-4.3460306554094941E-2</c:v>
                </c:pt>
                <c:pt idx="13">
                  <c:v>-6.3136124037464048E-2</c:v>
                </c:pt>
                <c:pt idx="14">
                  <c:v>-4.9725683708631507E-2</c:v>
                </c:pt>
                <c:pt idx="15">
                  <c:v>-4.9725683708631507E-2</c:v>
                </c:pt>
                <c:pt idx="16">
                  <c:v>-4.9725683708631507E-2</c:v>
                </c:pt>
                <c:pt idx="17">
                  <c:v>-5.5316114390414284E-2</c:v>
                </c:pt>
                <c:pt idx="18">
                  <c:v>-3.4982701243359116E-2</c:v>
                </c:pt>
                <c:pt idx="19">
                  <c:v>-3.5187440790364288E-2</c:v>
                </c:pt>
                <c:pt idx="20">
                  <c:v>-4.8979598918697742E-2</c:v>
                </c:pt>
                <c:pt idx="21">
                  <c:v>-4.9297118724646261E-2</c:v>
                </c:pt>
                <c:pt idx="22">
                  <c:v>-4.9297118724646261E-2</c:v>
                </c:pt>
                <c:pt idx="23">
                  <c:v>-4.9297118724646261E-2</c:v>
                </c:pt>
                <c:pt idx="24">
                  <c:v>-5.336067820842505E-2</c:v>
                </c:pt>
                <c:pt idx="25">
                  <c:v>-5.8531219310756666E-2</c:v>
                </c:pt>
                <c:pt idx="26">
                  <c:v>-8.7588619257316203E-2</c:v>
                </c:pt>
                <c:pt idx="27">
                  <c:v>-7.05969719368017E-2</c:v>
                </c:pt>
                <c:pt idx="28">
                  <c:v>-8.6698522752116092E-2</c:v>
                </c:pt>
                <c:pt idx="29">
                  <c:v>-8.6698522752116092E-2</c:v>
                </c:pt>
                <c:pt idx="30">
                  <c:v>-8.6698522752116092E-2</c:v>
                </c:pt>
                <c:pt idx="31">
                  <c:v>-9.267761155702714E-2</c:v>
                </c:pt>
                <c:pt idx="32">
                  <c:v>-7.8382279965715007E-2</c:v>
                </c:pt>
                <c:pt idx="33">
                  <c:v>-6.8350042162466318E-2</c:v>
                </c:pt>
                <c:pt idx="34">
                  <c:v>-5.8487842288086123E-2</c:v>
                </c:pt>
                <c:pt idx="35">
                  <c:v>-6.4352415753146874E-2</c:v>
                </c:pt>
                <c:pt idx="36">
                  <c:v>-6.4352415753146874E-2</c:v>
                </c:pt>
                <c:pt idx="37">
                  <c:v>-6.4352415753146874E-2</c:v>
                </c:pt>
                <c:pt idx="38">
                  <c:v>-5.9086445200939974E-2</c:v>
                </c:pt>
                <c:pt idx="39">
                  <c:v>-5.3122972124190371E-2</c:v>
                </c:pt>
                <c:pt idx="40">
                  <c:v>-3.3029000142276832E-2</c:v>
                </c:pt>
                <c:pt idx="41">
                  <c:v>-3.4947999625222881E-2</c:v>
                </c:pt>
                <c:pt idx="42">
                  <c:v>-4.3659840858379484E-2</c:v>
                </c:pt>
                <c:pt idx="43">
                  <c:v>-4.3659840858379484E-2</c:v>
                </c:pt>
                <c:pt idx="44">
                  <c:v>-4.3659840858379484E-2</c:v>
                </c:pt>
                <c:pt idx="45">
                  <c:v>-6.2502819506473961E-2</c:v>
                </c:pt>
                <c:pt idx="46">
                  <c:v>-6.3859652775609232E-2</c:v>
                </c:pt>
                <c:pt idx="47">
                  <c:v>-7.0701076791211181E-2</c:v>
                </c:pt>
                <c:pt idx="48">
                  <c:v>-6.0552588567205134E-2</c:v>
                </c:pt>
                <c:pt idx="49">
                  <c:v>-5.839588300002474E-2</c:v>
                </c:pt>
                <c:pt idx="50">
                  <c:v>-5.839588300002474E-2</c:v>
                </c:pt>
                <c:pt idx="51">
                  <c:v>-5.839588300002474E-2</c:v>
                </c:pt>
                <c:pt idx="52">
                  <c:v>-7.4039372455938168E-2</c:v>
                </c:pt>
                <c:pt idx="53">
                  <c:v>-9.0777697964056658E-2</c:v>
                </c:pt>
                <c:pt idx="54">
                  <c:v>-8.7935635438681103E-2</c:v>
                </c:pt>
                <c:pt idx="55">
                  <c:v>-8.7935635438681103E-2</c:v>
                </c:pt>
                <c:pt idx="56">
                  <c:v>-9.3866141978200868E-2</c:v>
                </c:pt>
                <c:pt idx="57">
                  <c:v>-9.3866141978200868E-2</c:v>
                </c:pt>
                <c:pt idx="58">
                  <c:v>-9.3866141978200868E-2</c:v>
                </c:pt>
                <c:pt idx="59">
                  <c:v>-7.9683590645832303E-2</c:v>
                </c:pt>
                <c:pt idx="60">
                  <c:v>-7.667322527249476E-2</c:v>
                </c:pt>
                <c:pt idx="61">
                  <c:v>-5.5401133354848864E-2</c:v>
                </c:pt>
                <c:pt idx="62">
                  <c:v>-5.7245524358801259E-2</c:v>
                </c:pt>
                <c:pt idx="63">
                  <c:v>-4.9364786880012668E-2</c:v>
                </c:pt>
                <c:pt idx="64">
                  <c:v>-4.9364786880012668E-2</c:v>
                </c:pt>
                <c:pt idx="65">
                  <c:v>-4.9364786880012668E-2</c:v>
                </c:pt>
                <c:pt idx="66">
                  <c:v>-3.8962976843610719E-2</c:v>
                </c:pt>
                <c:pt idx="67">
                  <c:v>-7.0012249671202675E-2</c:v>
                </c:pt>
                <c:pt idx="68">
                  <c:v>-7.0012249671202675E-2</c:v>
                </c:pt>
                <c:pt idx="69">
                  <c:v>-7.1136582098823786E-2</c:v>
                </c:pt>
                <c:pt idx="70">
                  <c:v>-9.2649850262518263E-2</c:v>
                </c:pt>
                <c:pt idx="71">
                  <c:v>-9.2649850262518263E-2</c:v>
                </c:pt>
                <c:pt idx="72">
                  <c:v>-9.2649850262518263E-2</c:v>
                </c:pt>
                <c:pt idx="73">
                  <c:v>-9.1043165342800436E-2</c:v>
                </c:pt>
                <c:pt idx="74">
                  <c:v>-9.1320778287891979E-2</c:v>
                </c:pt>
                <c:pt idx="75">
                  <c:v>-8.6387943269795264E-2</c:v>
                </c:pt>
                <c:pt idx="76">
                  <c:v>-8.640008883614303E-2</c:v>
                </c:pt>
                <c:pt idx="77">
                  <c:v>-0.10372660677167433</c:v>
                </c:pt>
                <c:pt idx="78">
                  <c:v>-0.10372660677167433</c:v>
                </c:pt>
                <c:pt idx="79">
                  <c:v>-0.10372660677167433</c:v>
                </c:pt>
                <c:pt idx="80">
                  <c:v>-0.12229544263649073</c:v>
                </c:pt>
                <c:pt idx="81">
                  <c:v>-0.12216357648757215</c:v>
                </c:pt>
                <c:pt idx="82">
                  <c:v>-0.13559657286819338</c:v>
                </c:pt>
                <c:pt idx="83">
                  <c:v>-0.14921001766312414</c:v>
                </c:pt>
                <c:pt idx="84">
                  <c:v>-0.16672565941749906</c:v>
                </c:pt>
                <c:pt idx="85">
                  <c:v>-0.16672565941749906</c:v>
                </c:pt>
                <c:pt idx="86">
                  <c:v>-0.16672565941749906</c:v>
                </c:pt>
                <c:pt idx="87">
                  <c:v>-0.18925568499259182</c:v>
                </c:pt>
                <c:pt idx="88">
                  <c:v>-0.18925568499259182</c:v>
                </c:pt>
                <c:pt idx="89">
                  <c:v>-0.14903130432972156</c:v>
                </c:pt>
                <c:pt idx="90">
                  <c:v>-0.1416658858802593</c:v>
                </c:pt>
                <c:pt idx="91">
                  <c:v>-0.14259068400359576</c:v>
                </c:pt>
                <c:pt idx="92">
                  <c:v>-0.14259068400359576</c:v>
                </c:pt>
                <c:pt idx="93">
                  <c:v>-0.14259068400359576</c:v>
                </c:pt>
                <c:pt idx="94">
                  <c:v>-0.13519750425962418</c:v>
                </c:pt>
                <c:pt idx="95">
                  <c:v>-0.13519750425962418</c:v>
                </c:pt>
                <c:pt idx="96">
                  <c:v>-0.13409746296469849</c:v>
                </c:pt>
                <c:pt idx="97">
                  <c:v>-0.15531056213151262</c:v>
                </c:pt>
                <c:pt idx="98">
                  <c:v>-0.1263086847739715</c:v>
                </c:pt>
                <c:pt idx="99">
                  <c:v>-0.1263086847739715</c:v>
                </c:pt>
                <c:pt idx="100">
                  <c:v>-0.1263086847739715</c:v>
                </c:pt>
                <c:pt idx="101">
                  <c:v>-0.12018211409198054</c:v>
                </c:pt>
                <c:pt idx="102">
                  <c:v>-0.11163163538315846</c:v>
                </c:pt>
                <c:pt idx="103">
                  <c:v>-0.10770688237192561</c:v>
                </c:pt>
                <c:pt idx="104">
                  <c:v>-0.10367628942537643</c:v>
                </c:pt>
                <c:pt idx="105">
                  <c:v>-0.10380468541248133</c:v>
                </c:pt>
                <c:pt idx="106">
                  <c:v>-0.10380468541248133</c:v>
                </c:pt>
                <c:pt idx="107">
                  <c:v>-0.10380468541248133</c:v>
                </c:pt>
                <c:pt idx="108">
                  <c:v>-0.10841479538190912</c:v>
                </c:pt>
                <c:pt idx="109">
                  <c:v>-9.883714877624783E-2</c:v>
                </c:pt>
                <c:pt idx="110">
                  <c:v>-9.6812309357985793E-2</c:v>
                </c:pt>
                <c:pt idx="111">
                  <c:v>-8.9866780487974696E-2</c:v>
                </c:pt>
                <c:pt idx="112">
                  <c:v>-7.7842669803693365E-2</c:v>
                </c:pt>
                <c:pt idx="113">
                  <c:v>-7.7842669803693365E-2</c:v>
                </c:pt>
                <c:pt idx="114">
                  <c:v>-7.7842669803693365E-2</c:v>
                </c:pt>
                <c:pt idx="115">
                  <c:v>-7.7842669803693365E-2</c:v>
                </c:pt>
                <c:pt idx="116">
                  <c:v>-9.0860981847583955E-2</c:v>
                </c:pt>
                <c:pt idx="117">
                  <c:v>-8.8858698481110499E-2</c:v>
                </c:pt>
                <c:pt idx="118">
                  <c:v>-8.757473861006182E-2</c:v>
                </c:pt>
                <c:pt idx="119">
                  <c:v>-7.9798105985682488E-2</c:v>
                </c:pt>
                <c:pt idx="120">
                  <c:v>-7.9798105985682488E-2</c:v>
                </c:pt>
                <c:pt idx="121">
                  <c:v>-7.9798105985682488E-2</c:v>
                </c:pt>
                <c:pt idx="122">
                  <c:v>-8.7021247800785351E-2</c:v>
                </c:pt>
                <c:pt idx="123">
                  <c:v>-8.8334704047249968E-2</c:v>
                </c:pt>
                <c:pt idx="124">
                  <c:v>-7.405672326500623E-2</c:v>
                </c:pt>
                <c:pt idx="125">
                  <c:v>-6.5896637760219257E-2</c:v>
                </c:pt>
                <c:pt idx="126">
                  <c:v>-6.4931932776026047E-2</c:v>
                </c:pt>
                <c:pt idx="127">
                  <c:v>-6.4931932776026047E-2</c:v>
                </c:pt>
                <c:pt idx="128">
                  <c:v>-6.4931932776026047E-2</c:v>
                </c:pt>
                <c:pt idx="129">
                  <c:v>-5.8579801576148061E-2</c:v>
                </c:pt>
                <c:pt idx="130">
                  <c:v>-5.4137994454682148E-2</c:v>
                </c:pt>
                <c:pt idx="131">
                  <c:v>-5.615068830659653E-2</c:v>
                </c:pt>
                <c:pt idx="132">
                  <c:v>-6.4845178730685071E-2</c:v>
                </c:pt>
                <c:pt idx="133">
                  <c:v>-6.3903029798280331E-2</c:v>
                </c:pt>
                <c:pt idx="134">
                  <c:v>-6.3903029798280331E-2</c:v>
                </c:pt>
                <c:pt idx="135">
                  <c:v>-6.3903029798280331E-2</c:v>
                </c:pt>
                <c:pt idx="136">
                  <c:v>-6.3229818406433047E-2</c:v>
                </c:pt>
                <c:pt idx="137">
                  <c:v>-5.1087722220487963E-2</c:v>
                </c:pt>
                <c:pt idx="138">
                  <c:v>-4.8139819759796088E-2</c:v>
                </c:pt>
                <c:pt idx="139">
                  <c:v>-5.0332962026020112E-2</c:v>
                </c:pt>
                <c:pt idx="140">
                  <c:v>-3.9932887070524892E-2</c:v>
                </c:pt>
                <c:pt idx="141">
                  <c:v>-3.9932887070524892E-2</c:v>
                </c:pt>
                <c:pt idx="142">
                  <c:v>-3.9932887070524892E-2</c:v>
                </c:pt>
                <c:pt idx="143">
                  <c:v>-3.9932887070524892E-2</c:v>
                </c:pt>
                <c:pt idx="144">
                  <c:v>-3.842163160068246E-2</c:v>
                </c:pt>
                <c:pt idx="145">
                  <c:v>-3.6526923250432053E-2</c:v>
                </c:pt>
                <c:pt idx="146">
                  <c:v>-3.9840927782463287E-2</c:v>
                </c:pt>
                <c:pt idx="147">
                  <c:v>-3.3655364349640449E-2</c:v>
                </c:pt>
                <c:pt idx="148">
                  <c:v>-3.3655364349640449E-2</c:v>
                </c:pt>
                <c:pt idx="149">
                  <c:v>-3.3655364349640449E-2</c:v>
                </c:pt>
                <c:pt idx="150">
                  <c:v>-3.2329762536827844E-2</c:v>
                </c:pt>
                <c:pt idx="151">
                  <c:v>-3.3084522731295807E-2</c:v>
                </c:pt>
                <c:pt idx="152">
                  <c:v>-3.3461035288076313E-2</c:v>
                </c:pt>
                <c:pt idx="153">
                  <c:v>-3.5904029204882559E-2</c:v>
                </c:pt>
                <c:pt idx="154">
                  <c:v>-2.9203146742733388E-2</c:v>
                </c:pt>
                <c:pt idx="155">
                  <c:v>-2.9203146742733388E-2</c:v>
                </c:pt>
                <c:pt idx="156">
                  <c:v>-2.9203146742733388E-2</c:v>
                </c:pt>
                <c:pt idx="157">
                  <c:v>-3.2947451339656597E-2</c:v>
                </c:pt>
                <c:pt idx="158">
                  <c:v>-3.4011055935538881E-2</c:v>
                </c:pt>
                <c:pt idx="159">
                  <c:v>-4.0267757685541472E-2</c:v>
                </c:pt>
                <c:pt idx="160">
                  <c:v>-4.7863941895611162E-2</c:v>
                </c:pt>
                <c:pt idx="161">
                  <c:v>-4.9802027268532112E-2</c:v>
                </c:pt>
                <c:pt idx="162">
                  <c:v>-4.9802027268532112E-2</c:v>
                </c:pt>
                <c:pt idx="163">
                  <c:v>-4.9802027268532112E-2</c:v>
                </c:pt>
                <c:pt idx="164">
                  <c:v>-3.5855446939491387E-2</c:v>
                </c:pt>
                <c:pt idx="165">
                  <c:v>-3.2963067067818153E-2</c:v>
                </c:pt>
                <c:pt idx="166">
                  <c:v>-2.6175430560327673E-2</c:v>
                </c:pt>
                <c:pt idx="167">
                  <c:v>-2.6690749589654006E-2</c:v>
                </c:pt>
                <c:pt idx="168">
                  <c:v>-2.1801291594227723E-2</c:v>
                </c:pt>
                <c:pt idx="169">
                  <c:v>-2.1801291594227723E-2</c:v>
                </c:pt>
                <c:pt idx="170">
                  <c:v>-2.1801291594227723E-2</c:v>
                </c:pt>
                <c:pt idx="171">
                  <c:v>-1.8164562013527452E-2</c:v>
                </c:pt>
                <c:pt idx="172">
                  <c:v>-1.8265196706123255E-2</c:v>
                </c:pt>
                <c:pt idx="173">
                  <c:v>-2.1112464474219217E-2</c:v>
                </c:pt>
                <c:pt idx="174">
                  <c:v>-1.0434776573632343E-2</c:v>
                </c:pt>
                <c:pt idx="175">
                  <c:v>-2.9135478587367203E-2</c:v>
                </c:pt>
                <c:pt idx="176">
                  <c:v>-2.9135478587367203E-2</c:v>
                </c:pt>
                <c:pt idx="177">
                  <c:v>-2.9135478587367203E-2</c:v>
                </c:pt>
                <c:pt idx="178">
                  <c:v>-2.9876358134580561E-2</c:v>
                </c:pt>
                <c:pt idx="179">
                  <c:v>-2.290827321278055E-2</c:v>
                </c:pt>
                <c:pt idx="180">
                  <c:v>-2.7431629136867253E-2</c:v>
                </c:pt>
                <c:pt idx="181">
                  <c:v>-2.3787959232539624E-2</c:v>
                </c:pt>
                <c:pt idx="182">
                  <c:v>-1.7170360653917749E-2</c:v>
                </c:pt>
                <c:pt idx="183">
                  <c:v>-1.7170360653917749E-2</c:v>
                </c:pt>
                <c:pt idx="184">
                  <c:v>-1.7170360653917749E-2</c:v>
                </c:pt>
                <c:pt idx="185">
                  <c:v>-5.7917000669746033E-3</c:v>
                </c:pt>
                <c:pt idx="186">
                  <c:v>-5.7379125588630231E-3</c:v>
                </c:pt>
                <c:pt idx="187">
                  <c:v>-3.6002928816574187E-3</c:v>
                </c:pt>
              </c:numCache>
            </c:numRef>
          </c:val>
          <c:smooth val="0"/>
          <c:extLst>
            <c:ext xmlns:c16="http://schemas.microsoft.com/office/drawing/2014/chart" uri="{C3380CC4-5D6E-409C-BE32-E72D297353CC}">
              <c16:uniqueId val="{00000002-E20D-4E96-A113-CDF20BDFB848}"/>
            </c:ext>
          </c:extLst>
        </c:ser>
        <c:ser>
          <c:idx val="3"/>
          <c:order val="3"/>
          <c:tx>
            <c:strRef>
              <c:f>Sheet1!$E$1</c:f>
              <c:strCache>
                <c:ptCount val="1"/>
                <c:pt idx="0">
                  <c:v>Corona Crisis</c:v>
                </c:pt>
              </c:strCache>
            </c:strRef>
          </c:tx>
          <c:spPr>
            <a:ln w="15875" cap="rnd">
              <a:solidFill>
                <a:schemeClr val="accent6">
                  <a:lumMod val="75000"/>
                </a:schemeClr>
              </a:solidFill>
              <a:round/>
            </a:ln>
            <a:effectLst/>
          </c:spPr>
          <c:marker>
            <c:symbol val="none"/>
          </c:marker>
          <c:cat>
            <c:numRef>
              <c:f>Sheet1!$A$2:$A$2002</c:f>
              <c:numCache>
                <c:formatCode>#,##0.00</c:formatCode>
                <c:ptCount val="200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pt idx="31">
                  <c:v>31</c:v>
                </c:pt>
                <c:pt idx="32">
                  <c:v>32</c:v>
                </c:pt>
                <c:pt idx="33">
                  <c:v>33</c:v>
                </c:pt>
                <c:pt idx="34">
                  <c:v>34</c:v>
                </c:pt>
                <c:pt idx="35">
                  <c:v>35</c:v>
                </c:pt>
                <c:pt idx="36">
                  <c:v>36</c:v>
                </c:pt>
                <c:pt idx="37">
                  <c:v>37</c:v>
                </c:pt>
                <c:pt idx="38">
                  <c:v>38</c:v>
                </c:pt>
                <c:pt idx="39">
                  <c:v>39</c:v>
                </c:pt>
                <c:pt idx="40">
                  <c:v>40</c:v>
                </c:pt>
                <c:pt idx="41">
                  <c:v>41</c:v>
                </c:pt>
                <c:pt idx="42">
                  <c:v>42</c:v>
                </c:pt>
                <c:pt idx="43">
                  <c:v>43</c:v>
                </c:pt>
                <c:pt idx="44">
                  <c:v>44</c:v>
                </c:pt>
                <c:pt idx="45">
                  <c:v>45</c:v>
                </c:pt>
                <c:pt idx="46">
                  <c:v>46</c:v>
                </c:pt>
                <c:pt idx="47">
                  <c:v>47</c:v>
                </c:pt>
                <c:pt idx="48">
                  <c:v>48</c:v>
                </c:pt>
                <c:pt idx="49">
                  <c:v>49</c:v>
                </c:pt>
                <c:pt idx="50">
                  <c:v>50</c:v>
                </c:pt>
                <c:pt idx="51">
                  <c:v>51</c:v>
                </c:pt>
                <c:pt idx="52">
                  <c:v>52</c:v>
                </c:pt>
                <c:pt idx="53">
                  <c:v>53</c:v>
                </c:pt>
                <c:pt idx="54">
                  <c:v>54</c:v>
                </c:pt>
                <c:pt idx="55">
                  <c:v>55</c:v>
                </c:pt>
                <c:pt idx="56">
                  <c:v>56</c:v>
                </c:pt>
                <c:pt idx="57">
                  <c:v>57</c:v>
                </c:pt>
                <c:pt idx="58">
                  <c:v>58</c:v>
                </c:pt>
                <c:pt idx="59">
                  <c:v>59</c:v>
                </c:pt>
                <c:pt idx="60">
                  <c:v>60</c:v>
                </c:pt>
                <c:pt idx="61">
                  <c:v>61</c:v>
                </c:pt>
                <c:pt idx="62">
                  <c:v>62</c:v>
                </c:pt>
                <c:pt idx="63">
                  <c:v>63</c:v>
                </c:pt>
                <c:pt idx="64">
                  <c:v>64</c:v>
                </c:pt>
                <c:pt idx="65">
                  <c:v>65</c:v>
                </c:pt>
                <c:pt idx="66">
                  <c:v>66</c:v>
                </c:pt>
                <c:pt idx="67">
                  <c:v>67</c:v>
                </c:pt>
                <c:pt idx="68">
                  <c:v>68</c:v>
                </c:pt>
                <c:pt idx="69">
                  <c:v>69</c:v>
                </c:pt>
                <c:pt idx="70">
                  <c:v>70</c:v>
                </c:pt>
                <c:pt idx="71">
                  <c:v>71</c:v>
                </c:pt>
                <c:pt idx="72">
                  <c:v>72</c:v>
                </c:pt>
                <c:pt idx="73">
                  <c:v>73</c:v>
                </c:pt>
                <c:pt idx="74">
                  <c:v>74</c:v>
                </c:pt>
                <c:pt idx="75">
                  <c:v>75</c:v>
                </c:pt>
                <c:pt idx="76">
                  <c:v>76</c:v>
                </c:pt>
                <c:pt idx="77">
                  <c:v>77</c:v>
                </c:pt>
                <c:pt idx="78">
                  <c:v>78</c:v>
                </c:pt>
                <c:pt idx="79">
                  <c:v>79</c:v>
                </c:pt>
                <c:pt idx="80">
                  <c:v>80</c:v>
                </c:pt>
                <c:pt idx="81">
                  <c:v>81</c:v>
                </c:pt>
                <c:pt idx="82">
                  <c:v>82</c:v>
                </c:pt>
                <c:pt idx="83">
                  <c:v>83</c:v>
                </c:pt>
                <c:pt idx="84">
                  <c:v>84</c:v>
                </c:pt>
                <c:pt idx="85">
                  <c:v>85</c:v>
                </c:pt>
                <c:pt idx="86">
                  <c:v>86</c:v>
                </c:pt>
                <c:pt idx="87">
                  <c:v>87</c:v>
                </c:pt>
                <c:pt idx="88">
                  <c:v>88</c:v>
                </c:pt>
                <c:pt idx="89">
                  <c:v>89</c:v>
                </c:pt>
                <c:pt idx="90">
                  <c:v>90</c:v>
                </c:pt>
                <c:pt idx="91">
                  <c:v>91</c:v>
                </c:pt>
                <c:pt idx="92">
                  <c:v>92</c:v>
                </c:pt>
                <c:pt idx="93">
                  <c:v>93</c:v>
                </c:pt>
                <c:pt idx="94">
                  <c:v>94</c:v>
                </c:pt>
                <c:pt idx="95">
                  <c:v>95</c:v>
                </c:pt>
                <c:pt idx="96">
                  <c:v>96</c:v>
                </c:pt>
                <c:pt idx="97">
                  <c:v>97</c:v>
                </c:pt>
                <c:pt idx="98">
                  <c:v>98</c:v>
                </c:pt>
                <c:pt idx="99">
                  <c:v>99</c:v>
                </c:pt>
                <c:pt idx="100">
                  <c:v>100</c:v>
                </c:pt>
                <c:pt idx="101">
                  <c:v>101</c:v>
                </c:pt>
                <c:pt idx="102">
                  <c:v>102</c:v>
                </c:pt>
                <c:pt idx="103">
                  <c:v>103</c:v>
                </c:pt>
                <c:pt idx="104">
                  <c:v>104</c:v>
                </c:pt>
                <c:pt idx="105">
                  <c:v>105</c:v>
                </c:pt>
                <c:pt idx="106">
                  <c:v>106</c:v>
                </c:pt>
                <c:pt idx="107">
                  <c:v>107</c:v>
                </c:pt>
                <c:pt idx="108">
                  <c:v>108</c:v>
                </c:pt>
                <c:pt idx="109">
                  <c:v>109</c:v>
                </c:pt>
                <c:pt idx="110">
                  <c:v>110</c:v>
                </c:pt>
                <c:pt idx="111">
                  <c:v>111</c:v>
                </c:pt>
                <c:pt idx="112">
                  <c:v>112</c:v>
                </c:pt>
                <c:pt idx="113">
                  <c:v>113</c:v>
                </c:pt>
                <c:pt idx="114">
                  <c:v>114</c:v>
                </c:pt>
                <c:pt idx="115">
                  <c:v>115</c:v>
                </c:pt>
                <c:pt idx="116">
                  <c:v>116</c:v>
                </c:pt>
                <c:pt idx="117">
                  <c:v>117</c:v>
                </c:pt>
                <c:pt idx="118">
                  <c:v>118</c:v>
                </c:pt>
                <c:pt idx="119">
                  <c:v>119</c:v>
                </c:pt>
                <c:pt idx="120">
                  <c:v>120</c:v>
                </c:pt>
                <c:pt idx="121">
                  <c:v>121</c:v>
                </c:pt>
                <c:pt idx="122">
                  <c:v>122</c:v>
                </c:pt>
                <c:pt idx="123">
                  <c:v>123</c:v>
                </c:pt>
                <c:pt idx="124">
                  <c:v>124</c:v>
                </c:pt>
                <c:pt idx="125">
                  <c:v>125</c:v>
                </c:pt>
                <c:pt idx="126">
                  <c:v>126</c:v>
                </c:pt>
                <c:pt idx="127">
                  <c:v>127</c:v>
                </c:pt>
                <c:pt idx="128">
                  <c:v>128</c:v>
                </c:pt>
                <c:pt idx="129">
                  <c:v>129</c:v>
                </c:pt>
                <c:pt idx="130">
                  <c:v>130</c:v>
                </c:pt>
                <c:pt idx="131">
                  <c:v>131</c:v>
                </c:pt>
                <c:pt idx="132">
                  <c:v>132</c:v>
                </c:pt>
                <c:pt idx="133">
                  <c:v>133</c:v>
                </c:pt>
                <c:pt idx="134">
                  <c:v>134</c:v>
                </c:pt>
                <c:pt idx="135">
                  <c:v>135</c:v>
                </c:pt>
                <c:pt idx="136">
                  <c:v>136</c:v>
                </c:pt>
                <c:pt idx="137">
                  <c:v>137</c:v>
                </c:pt>
                <c:pt idx="138">
                  <c:v>138</c:v>
                </c:pt>
                <c:pt idx="139">
                  <c:v>139</c:v>
                </c:pt>
                <c:pt idx="140">
                  <c:v>140</c:v>
                </c:pt>
                <c:pt idx="141">
                  <c:v>141</c:v>
                </c:pt>
                <c:pt idx="142">
                  <c:v>142</c:v>
                </c:pt>
                <c:pt idx="143">
                  <c:v>143</c:v>
                </c:pt>
                <c:pt idx="144">
                  <c:v>144</c:v>
                </c:pt>
                <c:pt idx="145">
                  <c:v>145</c:v>
                </c:pt>
                <c:pt idx="146">
                  <c:v>146</c:v>
                </c:pt>
                <c:pt idx="147">
                  <c:v>147</c:v>
                </c:pt>
                <c:pt idx="148">
                  <c:v>148</c:v>
                </c:pt>
                <c:pt idx="149">
                  <c:v>149</c:v>
                </c:pt>
                <c:pt idx="150">
                  <c:v>150</c:v>
                </c:pt>
                <c:pt idx="151">
                  <c:v>151</c:v>
                </c:pt>
                <c:pt idx="152">
                  <c:v>152</c:v>
                </c:pt>
                <c:pt idx="153">
                  <c:v>153</c:v>
                </c:pt>
                <c:pt idx="154">
                  <c:v>154</c:v>
                </c:pt>
                <c:pt idx="155">
                  <c:v>155</c:v>
                </c:pt>
                <c:pt idx="156">
                  <c:v>156</c:v>
                </c:pt>
                <c:pt idx="157">
                  <c:v>157</c:v>
                </c:pt>
                <c:pt idx="158">
                  <c:v>158</c:v>
                </c:pt>
                <c:pt idx="159">
                  <c:v>159</c:v>
                </c:pt>
                <c:pt idx="160">
                  <c:v>160</c:v>
                </c:pt>
                <c:pt idx="161">
                  <c:v>161</c:v>
                </c:pt>
                <c:pt idx="162">
                  <c:v>162</c:v>
                </c:pt>
                <c:pt idx="163">
                  <c:v>163</c:v>
                </c:pt>
                <c:pt idx="164">
                  <c:v>164</c:v>
                </c:pt>
                <c:pt idx="165">
                  <c:v>165</c:v>
                </c:pt>
                <c:pt idx="166">
                  <c:v>166</c:v>
                </c:pt>
                <c:pt idx="167">
                  <c:v>167</c:v>
                </c:pt>
                <c:pt idx="168">
                  <c:v>168</c:v>
                </c:pt>
                <c:pt idx="169">
                  <c:v>169</c:v>
                </c:pt>
                <c:pt idx="170">
                  <c:v>170</c:v>
                </c:pt>
                <c:pt idx="171">
                  <c:v>171</c:v>
                </c:pt>
                <c:pt idx="172">
                  <c:v>172</c:v>
                </c:pt>
                <c:pt idx="173">
                  <c:v>173</c:v>
                </c:pt>
                <c:pt idx="174">
                  <c:v>174</c:v>
                </c:pt>
                <c:pt idx="175">
                  <c:v>175</c:v>
                </c:pt>
                <c:pt idx="176">
                  <c:v>176</c:v>
                </c:pt>
                <c:pt idx="177">
                  <c:v>177</c:v>
                </c:pt>
                <c:pt idx="178">
                  <c:v>178</c:v>
                </c:pt>
                <c:pt idx="179">
                  <c:v>179</c:v>
                </c:pt>
                <c:pt idx="180">
                  <c:v>180</c:v>
                </c:pt>
                <c:pt idx="181">
                  <c:v>181</c:v>
                </c:pt>
                <c:pt idx="182">
                  <c:v>182</c:v>
                </c:pt>
                <c:pt idx="183">
                  <c:v>183</c:v>
                </c:pt>
                <c:pt idx="184">
                  <c:v>184</c:v>
                </c:pt>
                <c:pt idx="185">
                  <c:v>185</c:v>
                </c:pt>
                <c:pt idx="186">
                  <c:v>186</c:v>
                </c:pt>
                <c:pt idx="187">
                  <c:v>187</c:v>
                </c:pt>
                <c:pt idx="188">
                  <c:v>188</c:v>
                </c:pt>
                <c:pt idx="189">
                  <c:v>189</c:v>
                </c:pt>
                <c:pt idx="190">
                  <c:v>190</c:v>
                </c:pt>
                <c:pt idx="191">
                  <c:v>191</c:v>
                </c:pt>
                <c:pt idx="192">
                  <c:v>192</c:v>
                </c:pt>
                <c:pt idx="193">
                  <c:v>193</c:v>
                </c:pt>
                <c:pt idx="194">
                  <c:v>194</c:v>
                </c:pt>
                <c:pt idx="195">
                  <c:v>195</c:v>
                </c:pt>
                <c:pt idx="196">
                  <c:v>196</c:v>
                </c:pt>
                <c:pt idx="197">
                  <c:v>197</c:v>
                </c:pt>
                <c:pt idx="198">
                  <c:v>198</c:v>
                </c:pt>
                <c:pt idx="199">
                  <c:v>199</c:v>
                </c:pt>
                <c:pt idx="200">
                  <c:v>200</c:v>
                </c:pt>
                <c:pt idx="201">
                  <c:v>201</c:v>
                </c:pt>
                <c:pt idx="202">
                  <c:v>202</c:v>
                </c:pt>
                <c:pt idx="203">
                  <c:v>203</c:v>
                </c:pt>
                <c:pt idx="204">
                  <c:v>204</c:v>
                </c:pt>
                <c:pt idx="205">
                  <c:v>205</c:v>
                </c:pt>
                <c:pt idx="206">
                  <c:v>206</c:v>
                </c:pt>
                <c:pt idx="207">
                  <c:v>207</c:v>
                </c:pt>
                <c:pt idx="208">
                  <c:v>208</c:v>
                </c:pt>
                <c:pt idx="209">
                  <c:v>209</c:v>
                </c:pt>
                <c:pt idx="210">
                  <c:v>210</c:v>
                </c:pt>
                <c:pt idx="211">
                  <c:v>211</c:v>
                </c:pt>
                <c:pt idx="212">
                  <c:v>212</c:v>
                </c:pt>
                <c:pt idx="213">
                  <c:v>213</c:v>
                </c:pt>
                <c:pt idx="214">
                  <c:v>214</c:v>
                </c:pt>
                <c:pt idx="215">
                  <c:v>215</c:v>
                </c:pt>
                <c:pt idx="216">
                  <c:v>216</c:v>
                </c:pt>
                <c:pt idx="217">
                  <c:v>217</c:v>
                </c:pt>
                <c:pt idx="218">
                  <c:v>218</c:v>
                </c:pt>
                <c:pt idx="219">
                  <c:v>219</c:v>
                </c:pt>
                <c:pt idx="220">
                  <c:v>220</c:v>
                </c:pt>
                <c:pt idx="221">
                  <c:v>221</c:v>
                </c:pt>
                <c:pt idx="222">
                  <c:v>222</c:v>
                </c:pt>
                <c:pt idx="223">
                  <c:v>223</c:v>
                </c:pt>
                <c:pt idx="224">
                  <c:v>224</c:v>
                </c:pt>
                <c:pt idx="225">
                  <c:v>225</c:v>
                </c:pt>
                <c:pt idx="226">
                  <c:v>226</c:v>
                </c:pt>
                <c:pt idx="227">
                  <c:v>227</c:v>
                </c:pt>
                <c:pt idx="228">
                  <c:v>228</c:v>
                </c:pt>
                <c:pt idx="229">
                  <c:v>229</c:v>
                </c:pt>
                <c:pt idx="230">
                  <c:v>230</c:v>
                </c:pt>
                <c:pt idx="231">
                  <c:v>231</c:v>
                </c:pt>
                <c:pt idx="232">
                  <c:v>232</c:v>
                </c:pt>
                <c:pt idx="233">
                  <c:v>233</c:v>
                </c:pt>
                <c:pt idx="234">
                  <c:v>234</c:v>
                </c:pt>
                <c:pt idx="235">
                  <c:v>235</c:v>
                </c:pt>
                <c:pt idx="236">
                  <c:v>236</c:v>
                </c:pt>
                <c:pt idx="237">
                  <c:v>237</c:v>
                </c:pt>
                <c:pt idx="238">
                  <c:v>238</c:v>
                </c:pt>
                <c:pt idx="239">
                  <c:v>239</c:v>
                </c:pt>
                <c:pt idx="240">
                  <c:v>240</c:v>
                </c:pt>
                <c:pt idx="241">
                  <c:v>241</c:v>
                </c:pt>
                <c:pt idx="242">
                  <c:v>242</c:v>
                </c:pt>
                <c:pt idx="243">
                  <c:v>243</c:v>
                </c:pt>
                <c:pt idx="244">
                  <c:v>244</c:v>
                </c:pt>
                <c:pt idx="245">
                  <c:v>245</c:v>
                </c:pt>
                <c:pt idx="246">
                  <c:v>246</c:v>
                </c:pt>
                <c:pt idx="247">
                  <c:v>247</c:v>
                </c:pt>
                <c:pt idx="248">
                  <c:v>248</c:v>
                </c:pt>
                <c:pt idx="249">
                  <c:v>249</c:v>
                </c:pt>
                <c:pt idx="250">
                  <c:v>250</c:v>
                </c:pt>
                <c:pt idx="251">
                  <c:v>251</c:v>
                </c:pt>
                <c:pt idx="252">
                  <c:v>252</c:v>
                </c:pt>
                <c:pt idx="253">
                  <c:v>253</c:v>
                </c:pt>
                <c:pt idx="254">
                  <c:v>254</c:v>
                </c:pt>
                <c:pt idx="255">
                  <c:v>255</c:v>
                </c:pt>
                <c:pt idx="256">
                  <c:v>256</c:v>
                </c:pt>
                <c:pt idx="257">
                  <c:v>257</c:v>
                </c:pt>
                <c:pt idx="258">
                  <c:v>258</c:v>
                </c:pt>
                <c:pt idx="259">
                  <c:v>259</c:v>
                </c:pt>
                <c:pt idx="260">
                  <c:v>260</c:v>
                </c:pt>
                <c:pt idx="261">
                  <c:v>261</c:v>
                </c:pt>
                <c:pt idx="262">
                  <c:v>262</c:v>
                </c:pt>
                <c:pt idx="263">
                  <c:v>263</c:v>
                </c:pt>
                <c:pt idx="264">
                  <c:v>264</c:v>
                </c:pt>
                <c:pt idx="265">
                  <c:v>265</c:v>
                </c:pt>
                <c:pt idx="266">
                  <c:v>266</c:v>
                </c:pt>
                <c:pt idx="267">
                  <c:v>267</c:v>
                </c:pt>
                <c:pt idx="268">
                  <c:v>268</c:v>
                </c:pt>
                <c:pt idx="269">
                  <c:v>269</c:v>
                </c:pt>
                <c:pt idx="270">
                  <c:v>270</c:v>
                </c:pt>
                <c:pt idx="271">
                  <c:v>271</c:v>
                </c:pt>
                <c:pt idx="272">
                  <c:v>272</c:v>
                </c:pt>
                <c:pt idx="273">
                  <c:v>273</c:v>
                </c:pt>
                <c:pt idx="274">
                  <c:v>274</c:v>
                </c:pt>
                <c:pt idx="275">
                  <c:v>275</c:v>
                </c:pt>
                <c:pt idx="276">
                  <c:v>276</c:v>
                </c:pt>
                <c:pt idx="277">
                  <c:v>277</c:v>
                </c:pt>
                <c:pt idx="278">
                  <c:v>278</c:v>
                </c:pt>
                <c:pt idx="279">
                  <c:v>279</c:v>
                </c:pt>
                <c:pt idx="280">
                  <c:v>280</c:v>
                </c:pt>
                <c:pt idx="281">
                  <c:v>281</c:v>
                </c:pt>
                <c:pt idx="282">
                  <c:v>282</c:v>
                </c:pt>
                <c:pt idx="283">
                  <c:v>283</c:v>
                </c:pt>
                <c:pt idx="284">
                  <c:v>284</c:v>
                </c:pt>
                <c:pt idx="285">
                  <c:v>285</c:v>
                </c:pt>
                <c:pt idx="286">
                  <c:v>286</c:v>
                </c:pt>
                <c:pt idx="287">
                  <c:v>287</c:v>
                </c:pt>
                <c:pt idx="288">
                  <c:v>288</c:v>
                </c:pt>
                <c:pt idx="289">
                  <c:v>289</c:v>
                </c:pt>
                <c:pt idx="290">
                  <c:v>290</c:v>
                </c:pt>
                <c:pt idx="291">
                  <c:v>291</c:v>
                </c:pt>
                <c:pt idx="292">
                  <c:v>292</c:v>
                </c:pt>
                <c:pt idx="293">
                  <c:v>293</c:v>
                </c:pt>
                <c:pt idx="294">
                  <c:v>294</c:v>
                </c:pt>
                <c:pt idx="295">
                  <c:v>295</c:v>
                </c:pt>
                <c:pt idx="296">
                  <c:v>296</c:v>
                </c:pt>
                <c:pt idx="297">
                  <c:v>297</c:v>
                </c:pt>
                <c:pt idx="298">
                  <c:v>298</c:v>
                </c:pt>
                <c:pt idx="299">
                  <c:v>299</c:v>
                </c:pt>
                <c:pt idx="300">
                  <c:v>300</c:v>
                </c:pt>
                <c:pt idx="301">
                  <c:v>301</c:v>
                </c:pt>
                <c:pt idx="302">
                  <c:v>302</c:v>
                </c:pt>
                <c:pt idx="303">
                  <c:v>303</c:v>
                </c:pt>
                <c:pt idx="304">
                  <c:v>304</c:v>
                </c:pt>
                <c:pt idx="305">
                  <c:v>305</c:v>
                </c:pt>
                <c:pt idx="306">
                  <c:v>306</c:v>
                </c:pt>
                <c:pt idx="307">
                  <c:v>307</c:v>
                </c:pt>
                <c:pt idx="308">
                  <c:v>308</c:v>
                </c:pt>
                <c:pt idx="309">
                  <c:v>309</c:v>
                </c:pt>
                <c:pt idx="310">
                  <c:v>310</c:v>
                </c:pt>
                <c:pt idx="311">
                  <c:v>311</c:v>
                </c:pt>
                <c:pt idx="312">
                  <c:v>312</c:v>
                </c:pt>
                <c:pt idx="313">
                  <c:v>313</c:v>
                </c:pt>
                <c:pt idx="314">
                  <c:v>314</c:v>
                </c:pt>
                <c:pt idx="315">
                  <c:v>315</c:v>
                </c:pt>
                <c:pt idx="316">
                  <c:v>316</c:v>
                </c:pt>
                <c:pt idx="317">
                  <c:v>317</c:v>
                </c:pt>
                <c:pt idx="318">
                  <c:v>318</c:v>
                </c:pt>
                <c:pt idx="319">
                  <c:v>319</c:v>
                </c:pt>
                <c:pt idx="320">
                  <c:v>320</c:v>
                </c:pt>
                <c:pt idx="321">
                  <c:v>321</c:v>
                </c:pt>
                <c:pt idx="322">
                  <c:v>322</c:v>
                </c:pt>
                <c:pt idx="323">
                  <c:v>323</c:v>
                </c:pt>
                <c:pt idx="324">
                  <c:v>324</c:v>
                </c:pt>
                <c:pt idx="325">
                  <c:v>325</c:v>
                </c:pt>
                <c:pt idx="326">
                  <c:v>326</c:v>
                </c:pt>
                <c:pt idx="327">
                  <c:v>327</c:v>
                </c:pt>
                <c:pt idx="328">
                  <c:v>328</c:v>
                </c:pt>
                <c:pt idx="329">
                  <c:v>329</c:v>
                </c:pt>
                <c:pt idx="330">
                  <c:v>330</c:v>
                </c:pt>
                <c:pt idx="331">
                  <c:v>331</c:v>
                </c:pt>
                <c:pt idx="332">
                  <c:v>332</c:v>
                </c:pt>
                <c:pt idx="333">
                  <c:v>333</c:v>
                </c:pt>
                <c:pt idx="334">
                  <c:v>334</c:v>
                </c:pt>
                <c:pt idx="335">
                  <c:v>335</c:v>
                </c:pt>
                <c:pt idx="336">
                  <c:v>336</c:v>
                </c:pt>
                <c:pt idx="337">
                  <c:v>337</c:v>
                </c:pt>
                <c:pt idx="338">
                  <c:v>338</c:v>
                </c:pt>
                <c:pt idx="339">
                  <c:v>339</c:v>
                </c:pt>
                <c:pt idx="340">
                  <c:v>340</c:v>
                </c:pt>
                <c:pt idx="341">
                  <c:v>341</c:v>
                </c:pt>
                <c:pt idx="342">
                  <c:v>342</c:v>
                </c:pt>
                <c:pt idx="343">
                  <c:v>343</c:v>
                </c:pt>
                <c:pt idx="344">
                  <c:v>344</c:v>
                </c:pt>
                <c:pt idx="345">
                  <c:v>345</c:v>
                </c:pt>
                <c:pt idx="346">
                  <c:v>346</c:v>
                </c:pt>
                <c:pt idx="347">
                  <c:v>347</c:v>
                </c:pt>
                <c:pt idx="348">
                  <c:v>348</c:v>
                </c:pt>
                <c:pt idx="349">
                  <c:v>349</c:v>
                </c:pt>
                <c:pt idx="350">
                  <c:v>350</c:v>
                </c:pt>
                <c:pt idx="351">
                  <c:v>351</c:v>
                </c:pt>
                <c:pt idx="352">
                  <c:v>352</c:v>
                </c:pt>
                <c:pt idx="353">
                  <c:v>353</c:v>
                </c:pt>
                <c:pt idx="354">
                  <c:v>354</c:v>
                </c:pt>
                <c:pt idx="355">
                  <c:v>355</c:v>
                </c:pt>
                <c:pt idx="356">
                  <c:v>356</c:v>
                </c:pt>
                <c:pt idx="357">
                  <c:v>357</c:v>
                </c:pt>
                <c:pt idx="358">
                  <c:v>358</c:v>
                </c:pt>
                <c:pt idx="359">
                  <c:v>359</c:v>
                </c:pt>
                <c:pt idx="360">
                  <c:v>360</c:v>
                </c:pt>
                <c:pt idx="361">
                  <c:v>361</c:v>
                </c:pt>
                <c:pt idx="362">
                  <c:v>362</c:v>
                </c:pt>
                <c:pt idx="363">
                  <c:v>363</c:v>
                </c:pt>
                <c:pt idx="364">
                  <c:v>364</c:v>
                </c:pt>
                <c:pt idx="365">
                  <c:v>365</c:v>
                </c:pt>
                <c:pt idx="366">
                  <c:v>366</c:v>
                </c:pt>
                <c:pt idx="367">
                  <c:v>367</c:v>
                </c:pt>
                <c:pt idx="368">
                  <c:v>368</c:v>
                </c:pt>
                <c:pt idx="369">
                  <c:v>369</c:v>
                </c:pt>
                <c:pt idx="370">
                  <c:v>370</c:v>
                </c:pt>
                <c:pt idx="371">
                  <c:v>371</c:v>
                </c:pt>
                <c:pt idx="372">
                  <c:v>372</c:v>
                </c:pt>
                <c:pt idx="373">
                  <c:v>373</c:v>
                </c:pt>
                <c:pt idx="374">
                  <c:v>374</c:v>
                </c:pt>
                <c:pt idx="375">
                  <c:v>375</c:v>
                </c:pt>
                <c:pt idx="376">
                  <c:v>376</c:v>
                </c:pt>
                <c:pt idx="377">
                  <c:v>377</c:v>
                </c:pt>
                <c:pt idx="378">
                  <c:v>378</c:v>
                </c:pt>
                <c:pt idx="379">
                  <c:v>379</c:v>
                </c:pt>
                <c:pt idx="380">
                  <c:v>380</c:v>
                </c:pt>
                <c:pt idx="381">
                  <c:v>381</c:v>
                </c:pt>
                <c:pt idx="382">
                  <c:v>382</c:v>
                </c:pt>
                <c:pt idx="383">
                  <c:v>383</c:v>
                </c:pt>
                <c:pt idx="384">
                  <c:v>384</c:v>
                </c:pt>
                <c:pt idx="385">
                  <c:v>385</c:v>
                </c:pt>
                <c:pt idx="386">
                  <c:v>386</c:v>
                </c:pt>
                <c:pt idx="387">
                  <c:v>387</c:v>
                </c:pt>
                <c:pt idx="388">
                  <c:v>388</c:v>
                </c:pt>
                <c:pt idx="389">
                  <c:v>389</c:v>
                </c:pt>
                <c:pt idx="390">
                  <c:v>390</c:v>
                </c:pt>
                <c:pt idx="391">
                  <c:v>391</c:v>
                </c:pt>
                <c:pt idx="392">
                  <c:v>392</c:v>
                </c:pt>
                <c:pt idx="393">
                  <c:v>393</c:v>
                </c:pt>
                <c:pt idx="394">
                  <c:v>394</c:v>
                </c:pt>
                <c:pt idx="395">
                  <c:v>395</c:v>
                </c:pt>
                <c:pt idx="396">
                  <c:v>396</c:v>
                </c:pt>
                <c:pt idx="397">
                  <c:v>397</c:v>
                </c:pt>
                <c:pt idx="398">
                  <c:v>398</c:v>
                </c:pt>
                <c:pt idx="399">
                  <c:v>399</c:v>
                </c:pt>
                <c:pt idx="400">
                  <c:v>400</c:v>
                </c:pt>
                <c:pt idx="401">
                  <c:v>401</c:v>
                </c:pt>
                <c:pt idx="402">
                  <c:v>402</c:v>
                </c:pt>
                <c:pt idx="403">
                  <c:v>403</c:v>
                </c:pt>
                <c:pt idx="404">
                  <c:v>404</c:v>
                </c:pt>
                <c:pt idx="405">
                  <c:v>405</c:v>
                </c:pt>
                <c:pt idx="406">
                  <c:v>406</c:v>
                </c:pt>
                <c:pt idx="407">
                  <c:v>407</c:v>
                </c:pt>
                <c:pt idx="408">
                  <c:v>408</c:v>
                </c:pt>
                <c:pt idx="409">
                  <c:v>409</c:v>
                </c:pt>
                <c:pt idx="410">
                  <c:v>410</c:v>
                </c:pt>
                <c:pt idx="411">
                  <c:v>411</c:v>
                </c:pt>
                <c:pt idx="412">
                  <c:v>412</c:v>
                </c:pt>
                <c:pt idx="413">
                  <c:v>413</c:v>
                </c:pt>
                <c:pt idx="414">
                  <c:v>414</c:v>
                </c:pt>
                <c:pt idx="415">
                  <c:v>415</c:v>
                </c:pt>
                <c:pt idx="416">
                  <c:v>416</c:v>
                </c:pt>
                <c:pt idx="417">
                  <c:v>417</c:v>
                </c:pt>
                <c:pt idx="418">
                  <c:v>418</c:v>
                </c:pt>
                <c:pt idx="419">
                  <c:v>419</c:v>
                </c:pt>
                <c:pt idx="420">
                  <c:v>420</c:v>
                </c:pt>
                <c:pt idx="421">
                  <c:v>421</c:v>
                </c:pt>
                <c:pt idx="422">
                  <c:v>422</c:v>
                </c:pt>
                <c:pt idx="423">
                  <c:v>423</c:v>
                </c:pt>
                <c:pt idx="424">
                  <c:v>424</c:v>
                </c:pt>
                <c:pt idx="425">
                  <c:v>425</c:v>
                </c:pt>
                <c:pt idx="426">
                  <c:v>426</c:v>
                </c:pt>
                <c:pt idx="427">
                  <c:v>427</c:v>
                </c:pt>
                <c:pt idx="428">
                  <c:v>428</c:v>
                </c:pt>
                <c:pt idx="429">
                  <c:v>429</c:v>
                </c:pt>
                <c:pt idx="430">
                  <c:v>430</c:v>
                </c:pt>
                <c:pt idx="431">
                  <c:v>431</c:v>
                </c:pt>
                <c:pt idx="432">
                  <c:v>432</c:v>
                </c:pt>
                <c:pt idx="433">
                  <c:v>433</c:v>
                </c:pt>
                <c:pt idx="434">
                  <c:v>434</c:v>
                </c:pt>
                <c:pt idx="435">
                  <c:v>435</c:v>
                </c:pt>
                <c:pt idx="436">
                  <c:v>436</c:v>
                </c:pt>
                <c:pt idx="437">
                  <c:v>437</c:v>
                </c:pt>
                <c:pt idx="438">
                  <c:v>438</c:v>
                </c:pt>
                <c:pt idx="439">
                  <c:v>439</c:v>
                </c:pt>
                <c:pt idx="440">
                  <c:v>440</c:v>
                </c:pt>
                <c:pt idx="441">
                  <c:v>441</c:v>
                </c:pt>
                <c:pt idx="442">
                  <c:v>442</c:v>
                </c:pt>
                <c:pt idx="443">
                  <c:v>443</c:v>
                </c:pt>
                <c:pt idx="444">
                  <c:v>444</c:v>
                </c:pt>
                <c:pt idx="445">
                  <c:v>445</c:v>
                </c:pt>
                <c:pt idx="446">
                  <c:v>446</c:v>
                </c:pt>
                <c:pt idx="447">
                  <c:v>447</c:v>
                </c:pt>
                <c:pt idx="448">
                  <c:v>448</c:v>
                </c:pt>
                <c:pt idx="449">
                  <c:v>449</c:v>
                </c:pt>
                <c:pt idx="450">
                  <c:v>450</c:v>
                </c:pt>
                <c:pt idx="451">
                  <c:v>451</c:v>
                </c:pt>
                <c:pt idx="452">
                  <c:v>452</c:v>
                </c:pt>
                <c:pt idx="453">
                  <c:v>453</c:v>
                </c:pt>
                <c:pt idx="454">
                  <c:v>454</c:v>
                </c:pt>
                <c:pt idx="455">
                  <c:v>455</c:v>
                </c:pt>
                <c:pt idx="456">
                  <c:v>456</c:v>
                </c:pt>
                <c:pt idx="457">
                  <c:v>457</c:v>
                </c:pt>
                <c:pt idx="458">
                  <c:v>458</c:v>
                </c:pt>
                <c:pt idx="459">
                  <c:v>459</c:v>
                </c:pt>
                <c:pt idx="460">
                  <c:v>460</c:v>
                </c:pt>
                <c:pt idx="461">
                  <c:v>461</c:v>
                </c:pt>
                <c:pt idx="462">
                  <c:v>462</c:v>
                </c:pt>
                <c:pt idx="463">
                  <c:v>463</c:v>
                </c:pt>
                <c:pt idx="464">
                  <c:v>464</c:v>
                </c:pt>
                <c:pt idx="465">
                  <c:v>465</c:v>
                </c:pt>
                <c:pt idx="466">
                  <c:v>466</c:v>
                </c:pt>
                <c:pt idx="467">
                  <c:v>467</c:v>
                </c:pt>
                <c:pt idx="468">
                  <c:v>468</c:v>
                </c:pt>
                <c:pt idx="469">
                  <c:v>469</c:v>
                </c:pt>
                <c:pt idx="470">
                  <c:v>470</c:v>
                </c:pt>
                <c:pt idx="471">
                  <c:v>471</c:v>
                </c:pt>
                <c:pt idx="472">
                  <c:v>472</c:v>
                </c:pt>
                <c:pt idx="473">
                  <c:v>473</c:v>
                </c:pt>
                <c:pt idx="474">
                  <c:v>474</c:v>
                </c:pt>
                <c:pt idx="475">
                  <c:v>475</c:v>
                </c:pt>
                <c:pt idx="476">
                  <c:v>476</c:v>
                </c:pt>
                <c:pt idx="477">
                  <c:v>477</c:v>
                </c:pt>
                <c:pt idx="478">
                  <c:v>478</c:v>
                </c:pt>
                <c:pt idx="479">
                  <c:v>479</c:v>
                </c:pt>
                <c:pt idx="480">
                  <c:v>480</c:v>
                </c:pt>
                <c:pt idx="481">
                  <c:v>481</c:v>
                </c:pt>
                <c:pt idx="482">
                  <c:v>482</c:v>
                </c:pt>
                <c:pt idx="483">
                  <c:v>483</c:v>
                </c:pt>
                <c:pt idx="484">
                  <c:v>484</c:v>
                </c:pt>
                <c:pt idx="485">
                  <c:v>485</c:v>
                </c:pt>
                <c:pt idx="486">
                  <c:v>486</c:v>
                </c:pt>
                <c:pt idx="487">
                  <c:v>487</c:v>
                </c:pt>
                <c:pt idx="488">
                  <c:v>488</c:v>
                </c:pt>
                <c:pt idx="489">
                  <c:v>489</c:v>
                </c:pt>
                <c:pt idx="490">
                  <c:v>490</c:v>
                </c:pt>
                <c:pt idx="491">
                  <c:v>491</c:v>
                </c:pt>
                <c:pt idx="492">
                  <c:v>492</c:v>
                </c:pt>
                <c:pt idx="493">
                  <c:v>493</c:v>
                </c:pt>
                <c:pt idx="494">
                  <c:v>494</c:v>
                </c:pt>
                <c:pt idx="495">
                  <c:v>495</c:v>
                </c:pt>
                <c:pt idx="496">
                  <c:v>496</c:v>
                </c:pt>
                <c:pt idx="497">
                  <c:v>497</c:v>
                </c:pt>
                <c:pt idx="498">
                  <c:v>498</c:v>
                </c:pt>
                <c:pt idx="499">
                  <c:v>499</c:v>
                </c:pt>
                <c:pt idx="500">
                  <c:v>500</c:v>
                </c:pt>
                <c:pt idx="501">
                  <c:v>501</c:v>
                </c:pt>
                <c:pt idx="502">
                  <c:v>502</c:v>
                </c:pt>
                <c:pt idx="503">
                  <c:v>503</c:v>
                </c:pt>
                <c:pt idx="504">
                  <c:v>504</c:v>
                </c:pt>
                <c:pt idx="505">
                  <c:v>505</c:v>
                </c:pt>
                <c:pt idx="506">
                  <c:v>506</c:v>
                </c:pt>
                <c:pt idx="507">
                  <c:v>507</c:v>
                </c:pt>
                <c:pt idx="508">
                  <c:v>508</c:v>
                </c:pt>
                <c:pt idx="509">
                  <c:v>509</c:v>
                </c:pt>
                <c:pt idx="510">
                  <c:v>510</c:v>
                </c:pt>
                <c:pt idx="511">
                  <c:v>511</c:v>
                </c:pt>
                <c:pt idx="512">
                  <c:v>512</c:v>
                </c:pt>
                <c:pt idx="513">
                  <c:v>513</c:v>
                </c:pt>
                <c:pt idx="514">
                  <c:v>514</c:v>
                </c:pt>
                <c:pt idx="515">
                  <c:v>515</c:v>
                </c:pt>
                <c:pt idx="516">
                  <c:v>516</c:v>
                </c:pt>
                <c:pt idx="517">
                  <c:v>517</c:v>
                </c:pt>
                <c:pt idx="518">
                  <c:v>518</c:v>
                </c:pt>
                <c:pt idx="519">
                  <c:v>519</c:v>
                </c:pt>
                <c:pt idx="520">
                  <c:v>520</c:v>
                </c:pt>
                <c:pt idx="521">
                  <c:v>521</c:v>
                </c:pt>
                <c:pt idx="522">
                  <c:v>522</c:v>
                </c:pt>
                <c:pt idx="523">
                  <c:v>523</c:v>
                </c:pt>
                <c:pt idx="524">
                  <c:v>524</c:v>
                </c:pt>
                <c:pt idx="525">
                  <c:v>525</c:v>
                </c:pt>
                <c:pt idx="526">
                  <c:v>526</c:v>
                </c:pt>
                <c:pt idx="527">
                  <c:v>527</c:v>
                </c:pt>
                <c:pt idx="528">
                  <c:v>528</c:v>
                </c:pt>
                <c:pt idx="529">
                  <c:v>529</c:v>
                </c:pt>
                <c:pt idx="530">
                  <c:v>530</c:v>
                </c:pt>
                <c:pt idx="531">
                  <c:v>531</c:v>
                </c:pt>
                <c:pt idx="532">
                  <c:v>532</c:v>
                </c:pt>
                <c:pt idx="533">
                  <c:v>533</c:v>
                </c:pt>
                <c:pt idx="534">
                  <c:v>534</c:v>
                </c:pt>
                <c:pt idx="535">
                  <c:v>535</c:v>
                </c:pt>
                <c:pt idx="536">
                  <c:v>536</c:v>
                </c:pt>
                <c:pt idx="537">
                  <c:v>537</c:v>
                </c:pt>
                <c:pt idx="538">
                  <c:v>538</c:v>
                </c:pt>
                <c:pt idx="539">
                  <c:v>539</c:v>
                </c:pt>
                <c:pt idx="540">
                  <c:v>540</c:v>
                </c:pt>
                <c:pt idx="541">
                  <c:v>541</c:v>
                </c:pt>
                <c:pt idx="542">
                  <c:v>542</c:v>
                </c:pt>
                <c:pt idx="543">
                  <c:v>543</c:v>
                </c:pt>
                <c:pt idx="544">
                  <c:v>544</c:v>
                </c:pt>
                <c:pt idx="545">
                  <c:v>545</c:v>
                </c:pt>
                <c:pt idx="546">
                  <c:v>546</c:v>
                </c:pt>
                <c:pt idx="547">
                  <c:v>547</c:v>
                </c:pt>
                <c:pt idx="548">
                  <c:v>548</c:v>
                </c:pt>
                <c:pt idx="549">
                  <c:v>549</c:v>
                </c:pt>
                <c:pt idx="550">
                  <c:v>550</c:v>
                </c:pt>
                <c:pt idx="551">
                  <c:v>551</c:v>
                </c:pt>
                <c:pt idx="552">
                  <c:v>552</c:v>
                </c:pt>
                <c:pt idx="553">
                  <c:v>553</c:v>
                </c:pt>
                <c:pt idx="554">
                  <c:v>554</c:v>
                </c:pt>
                <c:pt idx="555">
                  <c:v>555</c:v>
                </c:pt>
                <c:pt idx="556">
                  <c:v>556</c:v>
                </c:pt>
                <c:pt idx="557">
                  <c:v>557</c:v>
                </c:pt>
                <c:pt idx="558">
                  <c:v>558</c:v>
                </c:pt>
                <c:pt idx="559">
                  <c:v>559</c:v>
                </c:pt>
                <c:pt idx="560">
                  <c:v>560</c:v>
                </c:pt>
                <c:pt idx="561">
                  <c:v>561</c:v>
                </c:pt>
                <c:pt idx="562">
                  <c:v>562</c:v>
                </c:pt>
                <c:pt idx="563">
                  <c:v>563</c:v>
                </c:pt>
                <c:pt idx="564">
                  <c:v>564</c:v>
                </c:pt>
                <c:pt idx="565">
                  <c:v>565</c:v>
                </c:pt>
                <c:pt idx="566">
                  <c:v>566</c:v>
                </c:pt>
                <c:pt idx="567">
                  <c:v>567</c:v>
                </c:pt>
                <c:pt idx="568">
                  <c:v>568</c:v>
                </c:pt>
                <c:pt idx="569">
                  <c:v>569</c:v>
                </c:pt>
                <c:pt idx="570">
                  <c:v>570</c:v>
                </c:pt>
                <c:pt idx="571">
                  <c:v>571</c:v>
                </c:pt>
                <c:pt idx="572">
                  <c:v>572</c:v>
                </c:pt>
                <c:pt idx="573">
                  <c:v>573</c:v>
                </c:pt>
                <c:pt idx="574">
                  <c:v>574</c:v>
                </c:pt>
                <c:pt idx="575">
                  <c:v>575</c:v>
                </c:pt>
                <c:pt idx="576">
                  <c:v>576</c:v>
                </c:pt>
                <c:pt idx="577">
                  <c:v>577</c:v>
                </c:pt>
                <c:pt idx="578">
                  <c:v>578</c:v>
                </c:pt>
                <c:pt idx="579">
                  <c:v>579</c:v>
                </c:pt>
                <c:pt idx="580">
                  <c:v>580</c:v>
                </c:pt>
                <c:pt idx="581">
                  <c:v>581</c:v>
                </c:pt>
                <c:pt idx="582">
                  <c:v>582</c:v>
                </c:pt>
                <c:pt idx="583">
                  <c:v>583</c:v>
                </c:pt>
                <c:pt idx="584">
                  <c:v>584</c:v>
                </c:pt>
                <c:pt idx="585">
                  <c:v>585</c:v>
                </c:pt>
                <c:pt idx="586">
                  <c:v>586</c:v>
                </c:pt>
                <c:pt idx="587">
                  <c:v>587</c:v>
                </c:pt>
                <c:pt idx="588">
                  <c:v>588</c:v>
                </c:pt>
                <c:pt idx="589">
                  <c:v>589</c:v>
                </c:pt>
                <c:pt idx="590">
                  <c:v>590</c:v>
                </c:pt>
                <c:pt idx="591">
                  <c:v>591</c:v>
                </c:pt>
                <c:pt idx="592">
                  <c:v>592</c:v>
                </c:pt>
                <c:pt idx="593">
                  <c:v>593</c:v>
                </c:pt>
                <c:pt idx="594">
                  <c:v>594</c:v>
                </c:pt>
                <c:pt idx="595">
                  <c:v>595</c:v>
                </c:pt>
                <c:pt idx="596">
                  <c:v>596</c:v>
                </c:pt>
                <c:pt idx="597">
                  <c:v>597</c:v>
                </c:pt>
                <c:pt idx="598">
                  <c:v>598</c:v>
                </c:pt>
                <c:pt idx="599">
                  <c:v>599</c:v>
                </c:pt>
                <c:pt idx="600">
                  <c:v>600</c:v>
                </c:pt>
                <c:pt idx="601">
                  <c:v>601</c:v>
                </c:pt>
                <c:pt idx="602">
                  <c:v>602</c:v>
                </c:pt>
                <c:pt idx="603">
                  <c:v>603</c:v>
                </c:pt>
                <c:pt idx="604">
                  <c:v>604</c:v>
                </c:pt>
                <c:pt idx="605">
                  <c:v>605</c:v>
                </c:pt>
                <c:pt idx="606">
                  <c:v>606</c:v>
                </c:pt>
                <c:pt idx="607">
                  <c:v>607</c:v>
                </c:pt>
                <c:pt idx="608">
                  <c:v>608</c:v>
                </c:pt>
                <c:pt idx="609">
                  <c:v>609</c:v>
                </c:pt>
                <c:pt idx="610">
                  <c:v>610</c:v>
                </c:pt>
                <c:pt idx="611">
                  <c:v>611</c:v>
                </c:pt>
                <c:pt idx="612">
                  <c:v>612</c:v>
                </c:pt>
                <c:pt idx="613">
                  <c:v>613</c:v>
                </c:pt>
                <c:pt idx="614">
                  <c:v>614</c:v>
                </c:pt>
                <c:pt idx="615">
                  <c:v>615</c:v>
                </c:pt>
                <c:pt idx="616">
                  <c:v>616</c:v>
                </c:pt>
                <c:pt idx="617">
                  <c:v>617</c:v>
                </c:pt>
                <c:pt idx="618">
                  <c:v>618</c:v>
                </c:pt>
                <c:pt idx="619">
                  <c:v>619</c:v>
                </c:pt>
                <c:pt idx="620">
                  <c:v>620</c:v>
                </c:pt>
                <c:pt idx="621">
                  <c:v>621</c:v>
                </c:pt>
                <c:pt idx="622">
                  <c:v>622</c:v>
                </c:pt>
                <c:pt idx="623">
                  <c:v>623</c:v>
                </c:pt>
                <c:pt idx="624">
                  <c:v>624</c:v>
                </c:pt>
                <c:pt idx="625">
                  <c:v>625</c:v>
                </c:pt>
                <c:pt idx="626">
                  <c:v>626</c:v>
                </c:pt>
                <c:pt idx="627">
                  <c:v>627</c:v>
                </c:pt>
                <c:pt idx="628">
                  <c:v>628</c:v>
                </c:pt>
                <c:pt idx="629">
                  <c:v>629</c:v>
                </c:pt>
                <c:pt idx="630">
                  <c:v>630</c:v>
                </c:pt>
                <c:pt idx="631">
                  <c:v>631</c:v>
                </c:pt>
                <c:pt idx="632">
                  <c:v>632</c:v>
                </c:pt>
                <c:pt idx="633">
                  <c:v>633</c:v>
                </c:pt>
                <c:pt idx="634">
                  <c:v>634</c:v>
                </c:pt>
                <c:pt idx="635">
                  <c:v>635</c:v>
                </c:pt>
                <c:pt idx="636">
                  <c:v>636</c:v>
                </c:pt>
                <c:pt idx="637">
                  <c:v>637</c:v>
                </c:pt>
                <c:pt idx="638">
                  <c:v>638</c:v>
                </c:pt>
                <c:pt idx="639">
                  <c:v>639</c:v>
                </c:pt>
                <c:pt idx="640">
                  <c:v>640</c:v>
                </c:pt>
                <c:pt idx="641">
                  <c:v>641</c:v>
                </c:pt>
                <c:pt idx="642">
                  <c:v>642</c:v>
                </c:pt>
                <c:pt idx="643">
                  <c:v>643</c:v>
                </c:pt>
                <c:pt idx="644">
                  <c:v>644</c:v>
                </c:pt>
                <c:pt idx="645">
                  <c:v>645</c:v>
                </c:pt>
                <c:pt idx="646">
                  <c:v>646</c:v>
                </c:pt>
                <c:pt idx="647">
                  <c:v>647</c:v>
                </c:pt>
                <c:pt idx="648">
                  <c:v>648</c:v>
                </c:pt>
                <c:pt idx="649">
                  <c:v>649</c:v>
                </c:pt>
                <c:pt idx="650">
                  <c:v>650</c:v>
                </c:pt>
                <c:pt idx="651">
                  <c:v>651</c:v>
                </c:pt>
                <c:pt idx="652">
                  <c:v>652</c:v>
                </c:pt>
                <c:pt idx="653">
                  <c:v>653</c:v>
                </c:pt>
                <c:pt idx="654">
                  <c:v>654</c:v>
                </c:pt>
                <c:pt idx="655">
                  <c:v>655</c:v>
                </c:pt>
                <c:pt idx="656">
                  <c:v>656</c:v>
                </c:pt>
                <c:pt idx="657">
                  <c:v>657</c:v>
                </c:pt>
                <c:pt idx="658">
                  <c:v>658</c:v>
                </c:pt>
                <c:pt idx="659">
                  <c:v>659</c:v>
                </c:pt>
                <c:pt idx="660">
                  <c:v>660</c:v>
                </c:pt>
                <c:pt idx="661">
                  <c:v>661</c:v>
                </c:pt>
                <c:pt idx="662">
                  <c:v>662</c:v>
                </c:pt>
                <c:pt idx="663">
                  <c:v>663</c:v>
                </c:pt>
                <c:pt idx="664">
                  <c:v>664</c:v>
                </c:pt>
                <c:pt idx="665">
                  <c:v>665</c:v>
                </c:pt>
                <c:pt idx="666">
                  <c:v>666</c:v>
                </c:pt>
                <c:pt idx="667">
                  <c:v>667</c:v>
                </c:pt>
                <c:pt idx="668">
                  <c:v>668</c:v>
                </c:pt>
                <c:pt idx="669">
                  <c:v>669</c:v>
                </c:pt>
                <c:pt idx="670">
                  <c:v>670</c:v>
                </c:pt>
                <c:pt idx="671">
                  <c:v>671</c:v>
                </c:pt>
                <c:pt idx="672">
                  <c:v>672</c:v>
                </c:pt>
                <c:pt idx="673">
                  <c:v>673</c:v>
                </c:pt>
                <c:pt idx="674">
                  <c:v>674</c:v>
                </c:pt>
                <c:pt idx="675">
                  <c:v>675</c:v>
                </c:pt>
                <c:pt idx="676">
                  <c:v>676</c:v>
                </c:pt>
                <c:pt idx="677">
                  <c:v>677</c:v>
                </c:pt>
                <c:pt idx="678">
                  <c:v>678</c:v>
                </c:pt>
                <c:pt idx="679">
                  <c:v>679</c:v>
                </c:pt>
                <c:pt idx="680">
                  <c:v>680</c:v>
                </c:pt>
                <c:pt idx="681">
                  <c:v>681</c:v>
                </c:pt>
                <c:pt idx="682">
                  <c:v>682</c:v>
                </c:pt>
                <c:pt idx="683">
                  <c:v>683</c:v>
                </c:pt>
                <c:pt idx="684">
                  <c:v>684</c:v>
                </c:pt>
                <c:pt idx="685">
                  <c:v>685</c:v>
                </c:pt>
                <c:pt idx="686">
                  <c:v>686</c:v>
                </c:pt>
                <c:pt idx="687">
                  <c:v>687</c:v>
                </c:pt>
                <c:pt idx="688">
                  <c:v>688</c:v>
                </c:pt>
                <c:pt idx="689">
                  <c:v>689</c:v>
                </c:pt>
                <c:pt idx="690">
                  <c:v>690</c:v>
                </c:pt>
                <c:pt idx="691">
                  <c:v>691</c:v>
                </c:pt>
                <c:pt idx="692">
                  <c:v>692</c:v>
                </c:pt>
                <c:pt idx="693">
                  <c:v>693</c:v>
                </c:pt>
                <c:pt idx="694">
                  <c:v>694</c:v>
                </c:pt>
                <c:pt idx="695">
                  <c:v>695</c:v>
                </c:pt>
                <c:pt idx="696">
                  <c:v>696</c:v>
                </c:pt>
                <c:pt idx="697">
                  <c:v>697</c:v>
                </c:pt>
                <c:pt idx="698">
                  <c:v>698</c:v>
                </c:pt>
                <c:pt idx="699">
                  <c:v>699</c:v>
                </c:pt>
                <c:pt idx="700">
                  <c:v>700</c:v>
                </c:pt>
                <c:pt idx="701">
                  <c:v>701</c:v>
                </c:pt>
                <c:pt idx="702">
                  <c:v>702</c:v>
                </c:pt>
                <c:pt idx="703">
                  <c:v>703</c:v>
                </c:pt>
                <c:pt idx="704">
                  <c:v>704</c:v>
                </c:pt>
                <c:pt idx="705">
                  <c:v>705</c:v>
                </c:pt>
                <c:pt idx="706">
                  <c:v>706</c:v>
                </c:pt>
                <c:pt idx="707">
                  <c:v>707</c:v>
                </c:pt>
                <c:pt idx="708">
                  <c:v>708</c:v>
                </c:pt>
                <c:pt idx="709">
                  <c:v>709</c:v>
                </c:pt>
                <c:pt idx="710">
                  <c:v>710</c:v>
                </c:pt>
                <c:pt idx="711">
                  <c:v>711</c:v>
                </c:pt>
                <c:pt idx="712">
                  <c:v>712</c:v>
                </c:pt>
                <c:pt idx="713">
                  <c:v>713</c:v>
                </c:pt>
                <c:pt idx="714">
                  <c:v>714</c:v>
                </c:pt>
                <c:pt idx="715">
                  <c:v>715</c:v>
                </c:pt>
                <c:pt idx="716">
                  <c:v>716</c:v>
                </c:pt>
                <c:pt idx="717">
                  <c:v>717</c:v>
                </c:pt>
                <c:pt idx="718">
                  <c:v>718</c:v>
                </c:pt>
                <c:pt idx="719">
                  <c:v>719</c:v>
                </c:pt>
                <c:pt idx="720">
                  <c:v>720</c:v>
                </c:pt>
                <c:pt idx="721">
                  <c:v>721</c:v>
                </c:pt>
                <c:pt idx="722">
                  <c:v>722</c:v>
                </c:pt>
                <c:pt idx="723">
                  <c:v>723</c:v>
                </c:pt>
                <c:pt idx="724">
                  <c:v>724</c:v>
                </c:pt>
                <c:pt idx="725">
                  <c:v>725</c:v>
                </c:pt>
                <c:pt idx="726">
                  <c:v>726</c:v>
                </c:pt>
                <c:pt idx="727">
                  <c:v>727</c:v>
                </c:pt>
                <c:pt idx="728">
                  <c:v>728</c:v>
                </c:pt>
                <c:pt idx="729">
                  <c:v>729</c:v>
                </c:pt>
                <c:pt idx="730">
                  <c:v>730</c:v>
                </c:pt>
                <c:pt idx="731">
                  <c:v>731</c:v>
                </c:pt>
                <c:pt idx="732">
                  <c:v>732</c:v>
                </c:pt>
                <c:pt idx="733">
                  <c:v>733</c:v>
                </c:pt>
                <c:pt idx="734">
                  <c:v>734</c:v>
                </c:pt>
                <c:pt idx="735">
                  <c:v>735</c:v>
                </c:pt>
                <c:pt idx="736">
                  <c:v>736</c:v>
                </c:pt>
                <c:pt idx="737">
                  <c:v>737</c:v>
                </c:pt>
                <c:pt idx="738">
                  <c:v>738</c:v>
                </c:pt>
                <c:pt idx="739">
                  <c:v>739</c:v>
                </c:pt>
                <c:pt idx="740">
                  <c:v>740</c:v>
                </c:pt>
                <c:pt idx="741">
                  <c:v>741</c:v>
                </c:pt>
                <c:pt idx="742">
                  <c:v>742</c:v>
                </c:pt>
                <c:pt idx="743">
                  <c:v>743</c:v>
                </c:pt>
                <c:pt idx="744">
                  <c:v>744</c:v>
                </c:pt>
                <c:pt idx="745">
                  <c:v>745</c:v>
                </c:pt>
                <c:pt idx="746">
                  <c:v>746</c:v>
                </c:pt>
                <c:pt idx="747">
                  <c:v>747</c:v>
                </c:pt>
                <c:pt idx="748">
                  <c:v>748</c:v>
                </c:pt>
                <c:pt idx="749">
                  <c:v>749</c:v>
                </c:pt>
                <c:pt idx="750">
                  <c:v>750</c:v>
                </c:pt>
                <c:pt idx="751">
                  <c:v>751</c:v>
                </c:pt>
                <c:pt idx="752">
                  <c:v>752</c:v>
                </c:pt>
                <c:pt idx="753">
                  <c:v>753</c:v>
                </c:pt>
                <c:pt idx="754">
                  <c:v>754</c:v>
                </c:pt>
                <c:pt idx="755">
                  <c:v>755</c:v>
                </c:pt>
                <c:pt idx="756">
                  <c:v>756</c:v>
                </c:pt>
                <c:pt idx="757">
                  <c:v>757</c:v>
                </c:pt>
                <c:pt idx="758">
                  <c:v>758</c:v>
                </c:pt>
                <c:pt idx="759">
                  <c:v>759</c:v>
                </c:pt>
                <c:pt idx="760">
                  <c:v>760</c:v>
                </c:pt>
                <c:pt idx="761">
                  <c:v>761</c:v>
                </c:pt>
                <c:pt idx="762">
                  <c:v>762</c:v>
                </c:pt>
                <c:pt idx="763">
                  <c:v>763</c:v>
                </c:pt>
                <c:pt idx="764">
                  <c:v>764</c:v>
                </c:pt>
                <c:pt idx="765">
                  <c:v>765</c:v>
                </c:pt>
                <c:pt idx="766">
                  <c:v>766</c:v>
                </c:pt>
                <c:pt idx="767">
                  <c:v>767</c:v>
                </c:pt>
                <c:pt idx="768">
                  <c:v>768</c:v>
                </c:pt>
                <c:pt idx="769">
                  <c:v>769</c:v>
                </c:pt>
                <c:pt idx="770">
                  <c:v>770</c:v>
                </c:pt>
                <c:pt idx="771">
                  <c:v>771</c:v>
                </c:pt>
                <c:pt idx="772">
                  <c:v>772</c:v>
                </c:pt>
                <c:pt idx="773">
                  <c:v>773</c:v>
                </c:pt>
                <c:pt idx="774">
                  <c:v>774</c:v>
                </c:pt>
                <c:pt idx="775">
                  <c:v>775</c:v>
                </c:pt>
                <c:pt idx="776">
                  <c:v>776</c:v>
                </c:pt>
                <c:pt idx="777">
                  <c:v>777</c:v>
                </c:pt>
                <c:pt idx="778">
                  <c:v>778</c:v>
                </c:pt>
                <c:pt idx="779">
                  <c:v>779</c:v>
                </c:pt>
                <c:pt idx="780">
                  <c:v>780</c:v>
                </c:pt>
                <c:pt idx="781">
                  <c:v>781</c:v>
                </c:pt>
                <c:pt idx="782">
                  <c:v>782</c:v>
                </c:pt>
                <c:pt idx="783">
                  <c:v>783</c:v>
                </c:pt>
                <c:pt idx="784">
                  <c:v>784</c:v>
                </c:pt>
                <c:pt idx="785">
                  <c:v>785</c:v>
                </c:pt>
                <c:pt idx="786">
                  <c:v>786</c:v>
                </c:pt>
                <c:pt idx="787">
                  <c:v>787</c:v>
                </c:pt>
                <c:pt idx="788">
                  <c:v>788</c:v>
                </c:pt>
                <c:pt idx="789">
                  <c:v>789</c:v>
                </c:pt>
                <c:pt idx="790">
                  <c:v>790</c:v>
                </c:pt>
                <c:pt idx="791">
                  <c:v>791</c:v>
                </c:pt>
                <c:pt idx="792">
                  <c:v>792</c:v>
                </c:pt>
                <c:pt idx="793">
                  <c:v>793</c:v>
                </c:pt>
                <c:pt idx="794">
                  <c:v>794</c:v>
                </c:pt>
                <c:pt idx="795">
                  <c:v>795</c:v>
                </c:pt>
                <c:pt idx="796">
                  <c:v>796</c:v>
                </c:pt>
                <c:pt idx="797">
                  <c:v>797</c:v>
                </c:pt>
                <c:pt idx="798">
                  <c:v>798</c:v>
                </c:pt>
                <c:pt idx="799">
                  <c:v>799</c:v>
                </c:pt>
                <c:pt idx="800">
                  <c:v>800</c:v>
                </c:pt>
                <c:pt idx="801">
                  <c:v>801</c:v>
                </c:pt>
                <c:pt idx="802">
                  <c:v>802</c:v>
                </c:pt>
                <c:pt idx="803">
                  <c:v>803</c:v>
                </c:pt>
                <c:pt idx="804">
                  <c:v>804</c:v>
                </c:pt>
                <c:pt idx="805">
                  <c:v>805</c:v>
                </c:pt>
                <c:pt idx="806">
                  <c:v>806</c:v>
                </c:pt>
                <c:pt idx="807">
                  <c:v>807</c:v>
                </c:pt>
                <c:pt idx="808">
                  <c:v>808</c:v>
                </c:pt>
                <c:pt idx="809">
                  <c:v>809</c:v>
                </c:pt>
                <c:pt idx="810">
                  <c:v>810</c:v>
                </c:pt>
                <c:pt idx="811">
                  <c:v>811</c:v>
                </c:pt>
                <c:pt idx="812">
                  <c:v>812</c:v>
                </c:pt>
                <c:pt idx="813">
                  <c:v>813</c:v>
                </c:pt>
                <c:pt idx="814">
                  <c:v>814</c:v>
                </c:pt>
                <c:pt idx="815">
                  <c:v>815</c:v>
                </c:pt>
                <c:pt idx="816">
                  <c:v>816</c:v>
                </c:pt>
                <c:pt idx="817">
                  <c:v>817</c:v>
                </c:pt>
                <c:pt idx="818">
                  <c:v>818</c:v>
                </c:pt>
                <c:pt idx="819">
                  <c:v>819</c:v>
                </c:pt>
                <c:pt idx="820">
                  <c:v>820</c:v>
                </c:pt>
                <c:pt idx="821">
                  <c:v>821</c:v>
                </c:pt>
                <c:pt idx="822">
                  <c:v>822</c:v>
                </c:pt>
                <c:pt idx="823">
                  <c:v>823</c:v>
                </c:pt>
                <c:pt idx="824">
                  <c:v>824</c:v>
                </c:pt>
                <c:pt idx="825">
                  <c:v>825</c:v>
                </c:pt>
                <c:pt idx="826">
                  <c:v>826</c:v>
                </c:pt>
                <c:pt idx="827">
                  <c:v>827</c:v>
                </c:pt>
                <c:pt idx="828">
                  <c:v>828</c:v>
                </c:pt>
                <c:pt idx="829">
                  <c:v>829</c:v>
                </c:pt>
                <c:pt idx="830">
                  <c:v>830</c:v>
                </c:pt>
                <c:pt idx="831">
                  <c:v>831</c:v>
                </c:pt>
                <c:pt idx="832">
                  <c:v>832</c:v>
                </c:pt>
                <c:pt idx="833">
                  <c:v>833</c:v>
                </c:pt>
                <c:pt idx="834">
                  <c:v>834</c:v>
                </c:pt>
                <c:pt idx="835">
                  <c:v>835</c:v>
                </c:pt>
                <c:pt idx="836">
                  <c:v>836</c:v>
                </c:pt>
                <c:pt idx="837">
                  <c:v>837</c:v>
                </c:pt>
                <c:pt idx="838">
                  <c:v>838</c:v>
                </c:pt>
                <c:pt idx="839">
                  <c:v>839</c:v>
                </c:pt>
                <c:pt idx="840">
                  <c:v>840</c:v>
                </c:pt>
                <c:pt idx="841">
                  <c:v>841</c:v>
                </c:pt>
                <c:pt idx="842">
                  <c:v>842</c:v>
                </c:pt>
                <c:pt idx="843">
                  <c:v>843</c:v>
                </c:pt>
                <c:pt idx="844">
                  <c:v>844</c:v>
                </c:pt>
                <c:pt idx="845">
                  <c:v>845</c:v>
                </c:pt>
                <c:pt idx="846">
                  <c:v>846</c:v>
                </c:pt>
                <c:pt idx="847">
                  <c:v>847</c:v>
                </c:pt>
                <c:pt idx="848">
                  <c:v>848</c:v>
                </c:pt>
                <c:pt idx="849">
                  <c:v>849</c:v>
                </c:pt>
                <c:pt idx="850">
                  <c:v>850</c:v>
                </c:pt>
                <c:pt idx="851">
                  <c:v>851</c:v>
                </c:pt>
                <c:pt idx="852">
                  <c:v>852</c:v>
                </c:pt>
                <c:pt idx="853">
                  <c:v>853</c:v>
                </c:pt>
                <c:pt idx="854">
                  <c:v>854</c:v>
                </c:pt>
                <c:pt idx="855">
                  <c:v>855</c:v>
                </c:pt>
                <c:pt idx="856">
                  <c:v>856</c:v>
                </c:pt>
                <c:pt idx="857">
                  <c:v>857</c:v>
                </c:pt>
                <c:pt idx="858">
                  <c:v>858</c:v>
                </c:pt>
                <c:pt idx="859">
                  <c:v>859</c:v>
                </c:pt>
                <c:pt idx="860">
                  <c:v>860</c:v>
                </c:pt>
                <c:pt idx="861">
                  <c:v>861</c:v>
                </c:pt>
                <c:pt idx="862">
                  <c:v>862</c:v>
                </c:pt>
                <c:pt idx="863">
                  <c:v>863</c:v>
                </c:pt>
                <c:pt idx="864">
                  <c:v>864</c:v>
                </c:pt>
                <c:pt idx="865">
                  <c:v>865</c:v>
                </c:pt>
                <c:pt idx="866">
                  <c:v>866</c:v>
                </c:pt>
                <c:pt idx="867">
                  <c:v>867</c:v>
                </c:pt>
                <c:pt idx="868">
                  <c:v>868</c:v>
                </c:pt>
                <c:pt idx="869">
                  <c:v>869</c:v>
                </c:pt>
                <c:pt idx="870">
                  <c:v>870</c:v>
                </c:pt>
                <c:pt idx="871">
                  <c:v>871</c:v>
                </c:pt>
                <c:pt idx="872">
                  <c:v>872</c:v>
                </c:pt>
                <c:pt idx="873">
                  <c:v>873</c:v>
                </c:pt>
                <c:pt idx="874">
                  <c:v>874</c:v>
                </c:pt>
                <c:pt idx="875">
                  <c:v>875</c:v>
                </c:pt>
                <c:pt idx="876">
                  <c:v>876</c:v>
                </c:pt>
                <c:pt idx="877">
                  <c:v>877</c:v>
                </c:pt>
                <c:pt idx="878">
                  <c:v>878</c:v>
                </c:pt>
                <c:pt idx="879">
                  <c:v>879</c:v>
                </c:pt>
                <c:pt idx="880">
                  <c:v>880</c:v>
                </c:pt>
                <c:pt idx="881">
                  <c:v>881</c:v>
                </c:pt>
                <c:pt idx="882">
                  <c:v>882</c:v>
                </c:pt>
                <c:pt idx="883">
                  <c:v>883</c:v>
                </c:pt>
                <c:pt idx="884">
                  <c:v>884</c:v>
                </c:pt>
                <c:pt idx="885">
                  <c:v>885</c:v>
                </c:pt>
                <c:pt idx="886">
                  <c:v>886</c:v>
                </c:pt>
                <c:pt idx="887">
                  <c:v>887</c:v>
                </c:pt>
                <c:pt idx="888">
                  <c:v>888</c:v>
                </c:pt>
                <c:pt idx="889">
                  <c:v>889</c:v>
                </c:pt>
                <c:pt idx="890">
                  <c:v>890</c:v>
                </c:pt>
                <c:pt idx="891">
                  <c:v>891</c:v>
                </c:pt>
                <c:pt idx="892">
                  <c:v>892</c:v>
                </c:pt>
                <c:pt idx="893">
                  <c:v>893</c:v>
                </c:pt>
                <c:pt idx="894">
                  <c:v>894</c:v>
                </c:pt>
                <c:pt idx="895">
                  <c:v>895</c:v>
                </c:pt>
                <c:pt idx="896">
                  <c:v>896</c:v>
                </c:pt>
                <c:pt idx="897">
                  <c:v>897</c:v>
                </c:pt>
                <c:pt idx="898">
                  <c:v>898</c:v>
                </c:pt>
                <c:pt idx="899">
                  <c:v>899</c:v>
                </c:pt>
                <c:pt idx="900">
                  <c:v>900</c:v>
                </c:pt>
                <c:pt idx="901">
                  <c:v>901</c:v>
                </c:pt>
                <c:pt idx="902">
                  <c:v>902</c:v>
                </c:pt>
                <c:pt idx="903">
                  <c:v>903</c:v>
                </c:pt>
                <c:pt idx="904">
                  <c:v>904</c:v>
                </c:pt>
                <c:pt idx="905">
                  <c:v>905</c:v>
                </c:pt>
                <c:pt idx="906">
                  <c:v>906</c:v>
                </c:pt>
                <c:pt idx="907">
                  <c:v>907</c:v>
                </c:pt>
                <c:pt idx="908">
                  <c:v>908</c:v>
                </c:pt>
                <c:pt idx="909">
                  <c:v>909</c:v>
                </c:pt>
                <c:pt idx="910">
                  <c:v>910</c:v>
                </c:pt>
                <c:pt idx="911">
                  <c:v>911</c:v>
                </c:pt>
                <c:pt idx="912">
                  <c:v>912</c:v>
                </c:pt>
                <c:pt idx="913">
                  <c:v>913</c:v>
                </c:pt>
                <c:pt idx="914">
                  <c:v>914</c:v>
                </c:pt>
                <c:pt idx="915">
                  <c:v>915</c:v>
                </c:pt>
                <c:pt idx="916">
                  <c:v>916</c:v>
                </c:pt>
                <c:pt idx="917">
                  <c:v>917</c:v>
                </c:pt>
                <c:pt idx="918">
                  <c:v>918</c:v>
                </c:pt>
                <c:pt idx="919">
                  <c:v>919</c:v>
                </c:pt>
                <c:pt idx="920">
                  <c:v>920</c:v>
                </c:pt>
                <c:pt idx="921">
                  <c:v>921</c:v>
                </c:pt>
                <c:pt idx="922">
                  <c:v>922</c:v>
                </c:pt>
                <c:pt idx="923">
                  <c:v>923</c:v>
                </c:pt>
                <c:pt idx="924">
                  <c:v>924</c:v>
                </c:pt>
                <c:pt idx="925">
                  <c:v>925</c:v>
                </c:pt>
                <c:pt idx="926">
                  <c:v>926</c:v>
                </c:pt>
                <c:pt idx="927">
                  <c:v>927</c:v>
                </c:pt>
                <c:pt idx="928">
                  <c:v>928</c:v>
                </c:pt>
                <c:pt idx="929">
                  <c:v>929</c:v>
                </c:pt>
                <c:pt idx="930">
                  <c:v>930</c:v>
                </c:pt>
                <c:pt idx="931">
                  <c:v>931</c:v>
                </c:pt>
                <c:pt idx="932">
                  <c:v>932</c:v>
                </c:pt>
                <c:pt idx="933">
                  <c:v>933</c:v>
                </c:pt>
                <c:pt idx="934">
                  <c:v>934</c:v>
                </c:pt>
                <c:pt idx="935">
                  <c:v>935</c:v>
                </c:pt>
                <c:pt idx="936">
                  <c:v>936</c:v>
                </c:pt>
                <c:pt idx="937">
                  <c:v>937</c:v>
                </c:pt>
                <c:pt idx="938">
                  <c:v>938</c:v>
                </c:pt>
                <c:pt idx="939">
                  <c:v>939</c:v>
                </c:pt>
                <c:pt idx="940">
                  <c:v>940</c:v>
                </c:pt>
                <c:pt idx="941">
                  <c:v>941</c:v>
                </c:pt>
                <c:pt idx="942">
                  <c:v>942</c:v>
                </c:pt>
                <c:pt idx="943">
                  <c:v>943</c:v>
                </c:pt>
                <c:pt idx="944">
                  <c:v>944</c:v>
                </c:pt>
                <c:pt idx="945">
                  <c:v>945</c:v>
                </c:pt>
                <c:pt idx="946">
                  <c:v>946</c:v>
                </c:pt>
                <c:pt idx="947">
                  <c:v>947</c:v>
                </c:pt>
                <c:pt idx="948">
                  <c:v>948</c:v>
                </c:pt>
                <c:pt idx="949">
                  <c:v>949</c:v>
                </c:pt>
                <c:pt idx="950">
                  <c:v>950</c:v>
                </c:pt>
                <c:pt idx="951">
                  <c:v>951</c:v>
                </c:pt>
                <c:pt idx="952">
                  <c:v>952</c:v>
                </c:pt>
                <c:pt idx="953">
                  <c:v>953</c:v>
                </c:pt>
                <c:pt idx="954">
                  <c:v>954</c:v>
                </c:pt>
                <c:pt idx="955">
                  <c:v>955</c:v>
                </c:pt>
                <c:pt idx="956">
                  <c:v>956</c:v>
                </c:pt>
                <c:pt idx="957">
                  <c:v>957</c:v>
                </c:pt>
                <c:pt idx="958">
                  <c:v>958</c:v>
                </c:pt>
                <c:pt idx="959">
                  <c:v>959</c:v>
                </c:pt>
                <c:pt idx="960">
                  <c:v>960</c:v>
                </c:pt>
                <c:pt idx="961">
                  <c:v>961</c:v>
                </c:pt>
                <c:pt idx="962">
                  <c:v>962</c:v>
                </c:pt>
                <c:pt idx="963">
                  <c:v>963</c:v>
                </c:pt>
                <c:pt idx="964">
                  <c:v>964</c:v>
                </c:pt>
                <c:pt idx="965">
                  <c:v>965</c:v>
                </c:pt>
                <c:pt idx="966">
                  <c:v>966</c:v>
                </c:pt>
                <c:pt idx="967">
                  <c:v>967</c:v>
                </c:pt>
                <c:pt idx="968">
                  <c:v>968</c:v>
                </c:pt>
                <c:pt idx="969">
                  <c:v>969</c:v>
                </c:pt>
                <c:pt idx="970">
                  <c:v>970</c:v>
                </c:pt>
                <c:pt idx="971">
                  <c:v>971</c:v>
                </c:pt>
                <c:pt idx="972">
                  <c:v>972</c:v>
                </c:pt>
                <c:pt idx="973">
                  <c:v>973</c:v>
                </c:pt>
                <c:pt idx="974">
                  <c:v>974</c:v>
                </c:pt>
                <c:pt idx="975">
                  <c:v>975</c:v>
                </c:pt>
                <c:pt idx="976">
                  <c:v>976</c:v>
                </c:pt>
                <c:pt idx="977">
                  <c:v>977</c:v>
                </c:pt>
                <c:pt idx="978">
                  <c:v>978</c:v>
                </c:pt>
                <c:pt idx="979">
                  <c:v>979</c:v>
                </c:pt>
                <c:pt idx="980">
                  <c:v>980</c:v>
                </c:pt>
                <c:pt idx="981">
                  <c:v>981</c:v>
                </c:pt>
                <c:pt idx="982">
                  <c:v>982</c:v>
                </c:pt>
                <c:pt idx="983">
                  <c:v>983</c:v>
                </c:pt>
                <c:pt idx="984">
                  <c:v>984</c:v>
                </c:pt>
                <c:pt idx="985">
                  <c:v>985</c:v>
                </c:pt>
                <c:pt idx="986">
                  <c:v>986</c:v>
                </c:pt>
                <c:pt idx="987">
                  <c:v>987</c:v>
                </c:pt>
                <c:pt idx="988">
                  <c:v>988</c:v>
                </c:pt>
                <c:pt idx="989">
                  <c:v>989</c:v>
                </c:pt>
                <c:pt idx="990">
                  <c:v>990</c:v>
                </c:pt>
                <c:pt idx="991">
                  <c:v>991</c:v>
                </c:pt>
                <c:pt idx="992">
                  <c:v>992</c:v>
                </c:pt>
                <c:pt idx="993">
                  <c:v>993</c:v>
                </c:pt>
                <c:pt idx="994">
                  <c:v>994</c:v>
                </c:pt>
                <c:pt idx="995">
                  <c:v>995</c:v>
                </c:pt>
                <c:pt idx="996">
                  <c:v>996</c:v>
                </c:pt>
                <c:pt idx="997">
                  <c:v>997</c:v>
                </c:pt>
                <c:pt idx="998">
                  <c:v>998</c:v>
                </c:pt>
                <c:pt idx="999">
                  <c:v>999</c:v>
                </c:pt>
                <c:pt idx="1000">
                  <c:v>1000</c:v>
                </c:pt>
                <c:pt idx="1001">
                  <c:v>1001</c:v>
                </c:pt>
                <c:pt idx="1002">
                  <c:v>1002</c:v>
                </c:pt>
                <c:pt idx="1003">
                  <c:v>1003</c:v>
                </c:pt>
                <c:pt idx="1004">
                  <c:v>1004</c:v>
                </c:pt>
                <c:pt idx="1005">
                  <c:v>1005</c:v>
                </c:pt>
                <c:pt idx="1006">
                  <c:v>1006</c:v>
                </c:pt>
                <c:pt idx="1007">
                  <c:v>1007</c:v>
                </c:pt>
                <c:pt idx="1008">
                  <c:v>1008</c:v>
                </c:pt>
                <c:pt idx="1009">
                  <c:v>1009</c:v>
                </c:pt>
                <c:pt idx="1010">
                  <c:v>1010</c:v>
                </c:pt>
                <c:pt idx="1011">
                  <c:v>1011</c:v>
                </c:pt>
                <c:pt idx="1012">
                  <c:v>1012</c:v>
                </c:pt>
                <c:pt idx="1013">
                  <c:v>1013</c:v>
                </c:pt>
                <c:pt idx="1014">
                  <c:v>1014</c:v>
                </c:pt>
                <c:pt idx="1015">
                  <c:v>1015</c:v>
                </c:pt>
                <c:pt idx="1016">
                  <c:v>1016</c:v>
                </c:pt>
                <c:pt idx="1017">
                  <c:v>1017</c:v>
                </c:pt>
                <c:pt idx="1018">
                  <c:v>1018</c:v>
                </c:pt>
                <c:pt idx="1019">
                  <c:v>1019</c:v>
                </c:pt>
                <c:pt idx="1020">
                  <c:v>1020</c:v>
                </c:pt>
                <c:pt idx="1021">
                  <c:v>1021</c:v>
                </c:pt>
                <c:pt idx="1022">
                  <c:v>1022</c:v>
                </c:pt>
                <c:pt idx="1023">
                  <c:v>1023</c:v>
                </c:pt>
                <c:pt idx="1024">
                  <c:v>1024</c:v>
                </c:pt>
                <c:pt idx="1025">
                  <c:v>1025</c:v>
                </c:pt>
                <c:pt idx="1026">
                  <c:v>1026</c:v>
                </c:pt>
                <c:pt idx="1027">
                  <c:v>1027</c:v>
                </c:pt>
                <c:pt idx="1028">
                  <c:v>1028</c:v>
                </c:pt>
                <c:pt idx="1029">
                  <c:v>1029</c:v>
                </c:pt>
                <c:pt idx="1030">
                  <c:v>1030</c:v>
                </c:pt>
                <c:pt idx="1031">
                  <c:v>1031</c:v>
                </c:pt>
                <c:pt idx="1032">
                  <c:v>1032</c:v>
                </c:pt>
                <c:pt idx="1033">
                  <c:v>1033</c:v>
                </c:pt>
                <c:pt idx="1034">
                  <c:v>1034</c:v>
                </c:pt>
                <c:pt idx="1035">
                  <c:v>1035</c:v>
                </c:pt>
                <c:pt idx="1036">
                  <c:v>1036</c:v>
                </c:pt>
                <c:pt idx="1037">
                  <c:v>1037</c:v>
                </c:pt>
                <c:pt idx="1038">
                  <c:v>1038</c:v>
                </c:pt>
                <c:pt idx="1039">
                  <c:v>1039</c:v>
                </c:pt>
                <c:pt idx="1040">
                  <c:v>1040</c:v>
                </c:pt>
                <c:pt idx="1041">
                  <c:v>1041</c:v>
                </c:pt>
                <c:pt idx="1042">
                  <c:v>1042</c:v>
                </c:pt>
                <c:pt idx="1043">
                  <c:v>1043</c:v>
                </c:pt>
                <c:pt idx="1044">
                  <c:v>1044</c:v>
                </c:pt>
                <c:pt idx="1045">
                  <c:v>1045</c:v>
                </c:pt>
                <c:pt idx="1046">
                  <c:v>1046</c:v>
                </c:pt>
                <c:pt idx="1047">
                  <c:v>1047</c:v>
                </c:pt>
                <c:pt idx="1048">
                  <c:v>1048</c:v>
                </c:pt>
                <c:pt idx="1049">
                  <c:v>1049</c:v>
                </c:pt>
                <c:pt idx="1050">
                  <c:v>1050</c:v>
                </c:pt>
                <c:pt idx="1051">
                  <c:v>1051</c:v>
                </c:pt>
                <c:pt idx="1052">
                  <c:v>1052</c:v>
                </c:pt>
                <c:pt idx="1053">
                  <c:v>1053</c:v>
                </c:pt>
                <c:pt idx="1054">
                  <c:v>1054</c:v>
                </c:pt>
                <c:pt idx="1055">
                  <c:v>1055</c:v>
                </c:pt>
                <c:pt idx="1056">
                  <c:v>1056</c:v>
                </c:pt>
                <c:pt idx="1057">
                  <c:v>1057</c:v>
                </c:pt>
                <c:pt idx="1058">
                  <c:v>1058</c:v>
                </c:pt>
                <c:pt idx="1059">
                  <c:v>1059</c:v>
                </c:pt>
                <c:pt idx="1060">
                  <c:v>1060</c:v>
                </c:pt>
                <c:pt idx="1061">
                  <c:v>1061</c:v>
                </c:pt>
                <c:pt idx="1062">
                  <c:v>1062</c:v>
                </c:pt>
                <c:pt idx="1063">
                  <c:v>1063</c:v>
                </c:pt>
                <c:pt idx="1064">
                  <c:v>1064</c:v>
                </c:pt>
                <c:pt idx="1065">
                  <c:v>1065</c:v>
                </c:pt>
                <c:pt idx="1066">
                  <c:v>1066</c:v>
                </c:pt>
                <c:pt idx="1067">
                  <c:v>1067</c:v>
                </c:pt>
                <c:pt idx="1068">
                  <c:v>1068</c:v>
                </c:pt>
                <c:pt idx="1069">
                  <c:v>1069</c:v>
                </c:pt>
                <c:pt idx="1070">
                  <c:v>1070</c:v>
                </c:pt>
                <c:pt idx="1071">
                  <c:v>1071</c:v>
                </c:pt>
                <c:pt idx="1072">
                  <c:v>1072</c:v>
                </c:pt>
                <c:pt idx="1073">
                  <c:v>1073</c:v>
                </c:pt>
                <c:pt idx="1074">
                  <c:v>1074</c:v>
                </c:pt>
                <c:pt idx="1075">
                  <c:v>1075</c:v>
                </c:pt>
                <c:pt idx="1076">
                  <c:v>1076</c:v>
                </c:pt>
                <c:pt idx="1077">
                  <c:v>1077</c:v>
                </c:pt>
                <c:pt idx="1078">
                  <c:v>1078</c:v>
                </c:pt>
                <c:pt idx="1079">
                  <c:v>1079</c:v>
                </c:pt>
                <c:pt idx="1080">
                  <c:v>1080</c:v>
                </c:pt>
                <c:pt idx="1081">
                  <c:v>1081</c:v>
                </c:pt>
                <c:pt idx="1082">
                  <c:v>1082</c:v>
                </c:pt>
                <c:pt idx="1083">
                  <c:v>1083</c:v>
                </c:pt>
                <c:pt idx="1084">
                  <c:v>1084</c:v>
                </c:pt>
                <c:pt idx="1085">
                  <c:v>1085</c:v>
                </c:pt>
                <c:pt idx="1086">
                  <c:v>1086</c:v>
                </c:pt>
                <c:pt idx="1087">
                  <c:v>1087</c:v>
                </c:pt>
                <c:pt idx="1088">
                  <c:v>1088</c:v>
                </c:pt>
                <c:pt idx="1089">
                  <c:v>1089</c:v>
                </c:pt>
                <c:pt idx="1090">
                  <c:v>1090</c:v>
                </c:pt>
                <c:pt idx="1091">
                  <c:v>1091</c:v>
                </c:pt>
                <c:pt idx="1092">
                  <c:v>1092</c:v>
                </c:pt>
                <c:pt idx="1093">
                  <c:v>1093</c:v>
                </c:pt>
                <c:pt idx="1094">
                  <c:v>1094</c:v>
                </c:pt>
                <c:pt idx="1095">
                  <c:v>1095</c:v>
                </c:pt>
                <c:pt idx="1096">
                  <c:v>1096</c:v>
                </c:pt>
                <c:pt idx="1097">
                  <c:v>1097</c:v>
                </c:pt>
                <c:pt idx="1098">
                  <c:v>1098</c:v>
                </c:pt>
                <c:pt idx="1099">
                  <c:v>1099</c:v>
                </c:pt>
                <c:pt idx="1100">
                  <c:v>1100</c:v>
                </c:pt>
                <c:pt idx="1101">
                  <c:v>1101</c:v>
                </c:pt>
                <c:pt idx="1102">
                  <c:v>1102</c:v>
                </c:pt>
                <c:pt idx="1103">
                  <c:v>1103</c:v>
                </c:pt>
                <c:pt idx="1104">
                  <c:v>1104</c:v>
                </c:pt>
                <c:pt idx="1105">
                  <c:v>1105</c:v>
                </c:pt>
                <c:pt idx="1106">
                  <c:v>1106</c:v>
                </c:pt>
                <c:pt idx="1107">
                  <c:v>1107</c:v>
                </c:pt>
                <c:pt idx="1108">
                  <c:v>1108</c:v>
                </c:pt>
                <c:pt idx="1109">
                  <c:v>1109</c:v>
                </c:pt>
                <c:pt idx="1110">
                  <c:v>1110</c:v>
                </c:pt>
                <c:pt idx="1111">
                  <c:v>1111</c:v>
                </c:pt>
                <c:pt idx="1112">
                  <c:v>1112</c:v>
                </c:pt>
                <c:pt idx="1113">
                  <c:v>1113</c:v>
                </c:pt>
                <c:pt idx="1114">
                  <c:v>1114</c:v>
                </c:pt>
                <c:pt idx="1115">
                  <c:v>1115</c:v>
                </c:pt>
                <c:pt idx="1116">
                  <c:v>1116</c:v>
                </c:pt>
                <c:pt idx="1117">
                  <c:v>1117</c:v>
                </c:pt>
                <c:pt idx="1118">
                  <c:v>1118</c:v>
                </c:pt>
                <c:pt idx="1119">
                  <c:v>1119</c:v>
                </c:pt>
                <c:pt idx="1120">
                  <c:v>1120</c:v>
                </c:pt>
                <c:pt idx="1121">
                  <c:v>1121</c:v>
                </c:pt>
                <c:pt idx="1122">
                  <c:v>1122</c:v>
                </c:pt>
                <c:pt idx="1123">
                  <c:v>1123</c:v>
                </c:pt>
                <c:pt idx="1124">
                  <c:v>1124</c:v>
                </c:pt>
                <c:pt idx="1125">
                  <c:v>1125</c:v>
                </c:pt>
                <c:pt idx="1126">
                  <c:v>1126</c:v>
                </c:pt>
                <c:pt idx="1127">
                  <c:v>1127</c:v>
                </c:pt>
                <c:pt idx="1128">
                  <c:v>1128</c:v>
                </c:pt>
                <c:pt idx="1129">
                  <c:v>1129</c:v>
                </c:pt>
                <c:pt idx="1130">
                  <c:v>1130</c:v>
                </c:pt>
                <c:pt idx="1131">
                  <c:v>1131</c:v>
                </c:pt>
                <c:pt idx="1132">
                  <c:v>1132</c:v>
                </c:pt>
                <c:pt idx="1133">
                  <c:v>1133</c:v>
                </c:pt>
                <c:pt idx="1134">
                  <c:v>1134</c:v>
                </c:pt>
                <c:pt idx="1135">
                  <c:v>1135</c:v>
                </c:pt>
                <c:pt idx="1136">
                  <c:v>1136</c:v>
                </c:pt>
                <c:pt idx="1137">
                  <c:v>1137</c:v>
                </c:pt>
                <c:pt idx="1138">
                  <c:v>1138</c:v>
                </c:pt>
                <c:pt idx="1139">
                  <c:v>1139</c:v>
                </c:pt>
                <c:pt idx="1140">
                  <c:v>1140</c:v>
                </c:pt>
                <c:pt idx="1141">
                  <c:v>1141</c:v>
                </c:pt>
                <c:pt idx="1142">
                  <c:v>1142</c:v>
                </c:pt>
                <c:pt idx="1143">
                  <c:v>1143</c:v>
                </c:pt>
                <c:pt idx="1144">
                  <c:v>1144</c:v>
                </c:pt>
                <c:pt idx="1145">
                  <c:v>1145</c:v>
                </c:pt>
                <c:pt idx="1146">
                  <c:v>1146</c:v>
                </c:pt>
                <c:pt idx="1147">
                  <c:v>1147</c:v>
                </c:pt>
                <c:pt idx="1148">
                  <c:v>1148</c:v>
                </c:pt>
                <c:pt idx="1149">
                  <c:v>1149</c:v>
                </c:pt>
                <c:pt idx="1150">
                  <c:v>1150</c:v>
                </c:pt>
                <c:pt idx="1151">
                  <c:v>1151</c:v>
                </c:pt>
                <c:pt idx="1152">
                  <c:v>1152</c:v>
                </c:pt>
                <c:pt idx="1153">
                  <c:v>1153</c:v>
                </c:pt>
                <c:pt idx="1154">
                  <c:v>1154</c:v>
                </c:pt>
                <c:pt idx="1155">
                  <c:v>1155</c:v>
                </c:pt>
                <c:pt idx="1156">
                  <c:v>1156</c:v>
                </c:pt>
                <c:pt idx="1157">
                  <c:v>1157</c:v>
                </c:pt>
                <c:pt idx="1158">
                  <c:v>1158</c:v>
                </c:pt>
                <c:pt idx="1159">
                  <c:v>1159</c:v>
                </c:pt>
                <c:pt idx="1160">
                  <c:v>1160</c:v>
                </c:pt>
                <c:pt idx="1161">
                  <c:v>1161</c:v>
                </c:pt>
                <c:pt idx="1162">
                  <c:v>1162</c:v>
                </c:pt>
                <c:pt idx="1163">
                  <c:v>1163</c:v>
                </c:pt>
                <c:pt idx="1164">
                  <c:v>1164</c:v>
                </c:pt>
                <c:pt idx="1165">
                  <c:v>1165</c:v>
                </c:pt>
                <c:pt idx="1166">
                  <c:v>1166</c:v>
                </c:pt>
                <c:pt idx="1167">
                  <c:v>1167</c:v>
                </c:pt>
                <c:pt idx="1168">
                  <c:v>1168</c:v>
                </c:pt>
                <c:pt idx="1169">
                  <c:v>1169</c:v>
                </c:pt>
                <c:pt idx="1170">
                  <c:v>1170</c:v>
                </c:pt>
                <c:pt idx="1171">
                  <c:v>1171</c:v>
                </c:pt>
                <c:pt idx="1172">
                  <c:v>1172</c:v>
                </c:pt>
                <c:pt idx="1173">
                  <c:v>1173</c:v>
                </c:pt>
                <c:pt idx="1174">
                  <c:v>1174</c:v>
                </c:pt>
                <c:pt idx="1175">
                  <c:v>1175</c:v>
                </c:pt>
                <c:pt idx="1176">
                  <c:v>1176</c:v>
                </c:pt>
                <c:pt idx="1177">
                  <c:v>1177</c:v>
                </c:pt>
                <c:pt idx="1178">
                  <c:v>1178</c:v>
                </c:pt>
                <c:pt idx="1179">
                  <c:v>1179</c:v>
                </c:pt>
                <c:pt idx="1180">
                  <c:v>1180</c:v>
                </c:pt>
                <c:pt idx="1181">
                  <c:v>1181</c:v>
                </c:pt>
                <c:pt idx="1182">
                  <c:v>1182</c:v>
                </c:pt>
                <c:pt idx="1183">
                  <c:v>1183</c:v>
                </c:pt>
                <c:pt idx="1184">
                  <c:v>1184</c:v>
                </c:pt>
                <c:pt idx="1185">
                  <c:v>1185</c:v>
                </c:pt>
                <c:pt idx="1186">
                  <c:v>1186</c:v>
                </c:pt>
                <c:pt idx="1187">
                  <c:v>1187</c:v>
                </c:pt>
                <c:pt idx="1188">
                  <c:v>1188</c:v>
                </c:pt>
                <c:pt idx="1189">
                  <c:v>1189</c:v>
                </c:pt>
                <c:pt idx="1190">
                  <c:v>1190</c:v>
                </c:pt>
                <c:pt idx="1191">
                  <c:v>1191</c:v>
                </c:pt>
                <c:pt idx="1192">
                  <c:v>1192</c:v>
                </c:pt>
                <c:pt idx="1193">
                  <c:v>1193</c:v>
                </c:pt>
                <c:pt idx="1194">
                  <c:v>1194</c:v>
                </c:pt>
                <c:pt idx="1195">
                  <c:v>1195</c:v>
                </c:pt>
                <c:pt idx="1196">
                  <c:v>1196</c:v>
                </c:pt>
                <c:pt idx="1197">
                  <c:v>1197</c:v>
                </c:pt>
                <c:pt idx="1198">
                  <c:v>1198</c:v>
                </c:pt>
                <c:pt idx="1199">
                  <c:v>1199</c:v>
                </c:pt>
                <c:pt idx="1200">
                  <c:v>1200</c:v>
                </c:pt>
                <c:pt idx="1201">
                  <c:v>1201</c:v>
                </c:pt>
                <c:pt idx="1202">
                  <c:v>1202</c:v>
                </c:pt>
                <c:pt idx="1203">
                  <c:v>1203</c:v>
                </c:pt>
                <c:pt idx="1204">
                  <c:v>1204</c:v>
                </c:pt>
                <c:pt idx="1205">
                  <c:v>1205</c:v>
                </c:pt>
                <c:pt idx="1206">
                  <c:v>1206</c:v>
                </c:pt>
                <c:pt idx="1207">
                  <c:v>1207</c:v>
                </c:pt>
                <c:pt idx="1208">
                  <c:v>1208</c:v>
                </c:pt>
                <c:pt idx="1209">
                  <c:v>1209</c:v>
                </c:pt>
                <c:pt idx="1210">
                  <c:v>1210</c:v>
                </c:pt>
                <c:pt idx="1211">
                  <c:v>1211</c:v>
                </c:pt>
                <c:pt idx="1212">
                  <c:v>1212</c:v>
                </c:pt>
                <c:pt idx="1213">
                  <c:v>1213</c:v>
                </c:pt>
                <c:pt idx="1214">
                  <c:v>1214</c:v>
                </c:pt>
                <c:pt idx="1215">
                  <c:v>1215</c:v>
                </c:pt>
                <c:pt idx="1216">
                  <c:v>1216</c:v>
                </c:pt>
                <c:pt idx="1217">
                  <c:v>1217</c:v>
                </c:pt>
                <c:pt idx="1218">
                  <c:v>1218</c:v>
                </c:pt>
                <c:pt idx="1219">
                  <c:v>1219</c:v>
                </c:pt>
                <c:pt idx="1220">
                  <c:v>1220</c:v>
                </c:pt>
                <c:pt idx="1221">
                  <c:v>1221</c:v>
                </c:pt>
                <c:pt idx="1222">
                  <c:v>1222</c:v>
                </c:pt>
                <c:pt idx="1223">
                  <c:v>1223</c:v>
                </c:pt>
                <c:pt idx="1224">
                  <c:v>1224</c:v>
                </c:pt>
                <c:pt idx="1225">
                  <c:v>1225</c:v>
                </c:pt>
                <c:pt idx="1226">
                  <c:v>1226</c:v>
                </c:pt>
                <c:pt idx="1227">
                  <c:v>1227</c:v>
                </c:pt>
                <c:pt idx="1228">
                  <c:v>1228</c:v>
                </c:pt>
                <c:pt idx="1229">
                  <c:v>1229</c:v>
                </c:pt>
                <c:pt idx="1230">
                  <c:v>1230</c:v>
                </c:pt>
                <c:pt idx="1231">
                  <c:v>1231</c:v>
                </c:pt>
                <c:pt idx="1232">
                  <c:v>1232</c:v>
                </c:pt>
                <c:pt idx="1233">
                  <c:v>1233</c:v>
                </c:pt>
                <c:pt idx="1234">
                  <c:v>1234</c:v>
                </c:pt>
                <c:pt idx="1235">
                  <c:v>1235</c:v>
                </c:pt>
                <c:pt idx="1236">
                  <c:v>1236</c:v>
                </c:pt>
                <c:pt idx="1237">
                  <c:v>1237</c:v>
                </c:pt>
                <c:pt idx="1238">
                  <c:v>1238</c:v>
                </c:pt>
                <c:pt idx="1239">
                  <c:v>1239</c:v>
                </c:pt>
                <c:pt idx="1240">
                  <c:v>1240</c:v>
                </c:pt>
                <c:pt idx="1241">
                  <c:v>1241</c:v>
                </c:pt>
                <c:pt idx="1242">
                  <c:v>1242</c:v>
                </c:pt>
                <c:pt idx="1243">
                  <c:v>1243</c:v>
                </c:pt>
                <c:pt idx="1244">
                  <c:v>1244</c:v>
                </c:pt>
                <c:pt idx="1245">
                  <c:v>1245</c:v>
                </c:pt>
                <c:pt idx="1246">
                  <c:v>1246</c:v>
                </c:pt>
                <c:pt idx="1247">
                  <c:v>1247</c:v>
                </c:pt>
                <c:pt idx="1248">
                  <c:v>1248</c:v>
                </c:pt>
                <c:pt idx="1249">
                  <c:v>1249</c:v>
                </c:pt>
                <c:pt idx="1250">
                  <c:v>1250</c:v>
                </c:pt>
                <c:pt idx="1251">
                  <c:v>1251</c:v>
                </c:pt>
                <c:pt idx="1252">
                  <c:v>1252</c:v>
                </c:pt>
                <c:pt idx="1253">
                  <c:v>1253</c:v>
                </c:pt>
                <c:pt idx="1254">
                  <c:v>1254</c:v>
                </c:pt>
                <c:pt idx="1255">
                  <c:v>1255</c:v>
                </c:pt>
                <c:pt idx="1256">
                  <c:v>1256</c:v>
                </c:pt>
                <c:pt idx="1257">
                  <c:v>1257</c:v>
                </c:pt>
                <c:pt idx="1258">
                  <c:v>1258</c:v>
                </c:pt>
                <c:pt idx="1259">
                  <c:v>1259</c:v>
                </c:pt>
                <c:pt idx="1260">
                  <c:v>1260</c:v>
                </c:pt>
                <c:pt idx="1261">
                  <c:v>1261</c:v>
                </c:pt>
                <c:pt idx="1262">
                  <c:v>1262</c:v>
                </c:pt>
                <c:pt idx="1263">
                  <c:v>1263</c:v>
                </c:pt>
                <c:pt idx="1264">
                  <c:v>1264</c:v>
                </c:pt>
                <c:pt idx="1265">
                  <c:v>1265</c:v>
                </c:pt>
                <c:pt idx="1266">
                  <c:v>1266</c:v>
                </c:pt>
                <c:pt idx="1267">
                  <c:v>1267</c:v>
                </c:pt>
                <c:pt idx="1268">
                  <c:v>1268</c:v>
                </c:pt>
                <c:pt idx="1269">
                  <c:v>1269</c:v>
                </c:pt>
                <c:pt idx="1270">
                  <c:v>1270</c:v>
                </c:pt>
                <c:pt idx="1271">
                  <c:v>1271</c:v>
                </c:pt>
                <c:pt idx="1272">
                  <c:v>1272</c:v>
                </c:pt>
                <c:pt idx="1273">
                  <c:v>1273</c:v>
                </c:pt>
                <c:pt idx="1274">
                  <c:v>1274</c:v>
                </c:pt>
                <c:pt idx="1275">
                  <c:v>1275</c:v>
                </c:pt>
                <c:pt idx="1276">
                  <c:v>1276</c:v>
                </c:pt>
                <c:pt idx="1277">
                  <c:v>1277</c:v>
                </c:pt>
                <c:pt idx="1278">
                  <c:v>1278</c:v>
                </c:pt>
                <c:pt idx="1279">
                  <c:v>1279</c:v>
                </c:pt>
                <c:pt idx="1280">
                  <c:v>1280</c:v>
                </c:pt>
                <c:pt idx="1281">
                  <c:v>1281</c:v>
                </c:pt>
                <c:pt idx="1282">
                  <c:v>1282</c:v>
                </c:pt>
                <c:pt idx="1283">
                  <c:v>1283</c:v>
                </c:pt>
                <c:pt idx="1284">
                  <c:v>1284</c:v>
                </c:pt>
                <c:pt idx="1285">
                  <c:v>1285</c:v>
                </c:pt>
                <c:pt idx="1286">
                  <c:v>1286</c:v>
                </c:pt>
                <c:pt idx="1287">
                  <c:v>1287</c:v>
                </c:pt>
                <c:pt idx="1288">
                  <c:v>1288</c:v>
                </c:pt>
                <c:pt idx="1289">
                  <c:v>1289</c:v>
                </c:pt>
                <c:pt idx="1290">
                  <c:v>1290</c:v>
                </c:pt>
                <c:pt idx="1291">
                  <c:v>1291</c:v>
                </c:pt>
                <c:pt idx="1292">
                  <c:v>1292</c:v>
                </c:pt>
                <c:pt idx="1293">
                  <c:v>1293</c:v>
                </c:pt>
                <c:pt idx="1294">
                  <c:v>1294</c:v>
                </c:pt>
                <c:pt idx="1295">
                  <c:v>1295</c:v>
                </c:pt>
                <c:pt idx="1296">
                  <c:v>1296</c:v>
                </c:pt>
                <c:pt idx="1297">
                  <c:v>1297</c:v>
                </c:pt>
                <c:pt idx="1298">
                  <c:v>1298</c:v>
                </c:pt>
                <c:pt idx="1299">
                  <c:v>1299</c:v>
                </c:pt>
                <c:pt idx="1300">
                  <c:v>1300</c:v>
                </c:pt>
                <c:pt idx="1301">
                  <c:v>1301</c:v>
                </c:pt>
                <c:pt idx="1302">
                  <c:v>1302</c:v>
                </c:pt>
                <c:pt idx="1303">
                  <c:v>1303</c:v>
                </c:pt>
                <c:pt idx="1304">
                  <c:v>1304</c:v>
                </c:pt>
                <c:pt idx="1305">
                  <c:v>1305</c:v>
                </c:pt>
                <c:pt idx="1306">
                  <c:v>1306</c:v>
                </c:pt>
                <c:pt idx="1307">
                  <c:v>1307</c:v>
                </c:pt>
                <c:pt idx="1308">
                  <c:v>1308</c:v>
                </c:pt>
                <c:pt idx="1309">
                  <c:v>1309</c:v>
                </c:pt>
                <c:pt idx="1310">
                  <c:v>1310</c:v>
                </c:pt>
                <c:pt idx="1311">
                  <c:v>1311</c:v>
                </c:pt>
                <c:pt idx="1312">
                  <c:v>1312</c:v>
                </c:pt>
                <c:pt idx="1313">
                  <c:v>1313</c:v>
                </c:pt>
                <c:pt idx="1314">
                  <c:v>1314</c:v>
                </c:pt>
                <c:pt idx="1315">
                  <c:v>1315</c:v>
                </c:pt>
                <c:pt idx="1316">
                  <c:v>1316</c:v>
                </c:pt>
                <c:pt idx="1317">
                  <c:v>1317</c:v>
                </c:pt>
                <c:pt idx="1318">
                  <c:v>1318</c:v>
                </c:pt>
                <c:pt idx="1319">
                  <c:v>1319</c:v>
                </c:pt>
                <c:pt idx="1320">
                  <c:v>1320</c:v>
                </c:pt>
                <c:pt idx="1321">
                  <c:v>1321</c:v>
                </c:pt>
                <c:pt idx="1322">
                  <c:v>1322</c:v>
                </c:pt>
                <c:pt idx="1323">
                  <c:v>1323</c:v>
                </c:pt>
                <c:pt idx="1324">
                  <c:v>1324</c:v>
                </c:pt>
                <c:pt idx="1325">
                  <c:v>1325</c:v>
                </c:pt>
                <c:pt idx="1326">
                  <c:v>1326</c:v>
                </c:pt>
                <c:pt idx="1327">
                  <c:v>1327</c:v>
                </c:pt>
                <c:pt idx="1328">
                  <c:v>1328</c:v>
                </c:pt>
                <c:pt idx="1329">
                  <c:v>1329</c:v>
                </c:pt>
                <c:pt idx="1330">
                  <c:v>1330</c:v>
                </c:pt>
                <c:pt idx="1331">
                  <c:v>1331</c:v>
                </c:pt>
                <c:pt idx="1332">
                  <c:v>1332</c:v>
                </c:pt>
                <c:pt idx="1333">
                  <c:v>1333</c:v>
                </c:pt>
                <c:pt idx="1334">
                  <c:v>1334</c:v>
                </c:pt>
                <c:pt idx="1335">
                  <c:v>1335</c:v>
                </c:pt>
                <c:pt idx="1336">
                  <c:v>1336</c:v>
                </c:pt>
                <c:pt idx="1337">
                  <c:v>1337</c:v>
                </c:pt>
                <c:pt idx="1338">
                  <c:v>1338</c:v>
                </c:pt>
                <c:pt idx="1339">
                  <c:v>1339</c:v>
                </c:pt>
                <c:pt idx="1340">
                  <c:v>1340</c:v>
                </c:pt>
                <c:pt idx="1341">
                  <c:v>1341</c:v>
                </c:pt>
                <c:pt idx="1342">
                  <c:v>1342</c:v>
                </c:pt>
                <c:pt idx="1343">
                  <c:v>1343</c:v>
                </c:pt>
                <c:pt idx="1344">
                  <c:v>1344</c:v>
                </c:pt>
                <c:pt idx="1345">
                  <c:v>1345</c:v>
                </c:pt>
                <c:pt idx="1346">
                  <c:v>1346</c:v>
                </c:pt>
                <c:pt idx="1347">
                  <c:v>1347</c:v>
                </c:pt>
                <c:pt idx="1348">
                  <c:v>1348</c:v>
                </c:pt>
                <c:pt idx="1349">
                  <c:v>1349</c:v>
                </c:pt>
                <c:pt idx="1350">
                  <c:v>1350</c:v>
                </c:pt>
                <c:pt idx="1351">
                  <c:v>1351</c:v>
                </c:pt>
                <c:pt idx="1352">
                  <c:v>1352</c:v>
                </c:pt>
                <c:pt idx="1353">
                  <c:v>1353</c:v>
                </c:pt>
                <c:pt idx="1354">
                  <c:v>1354</c:v>
                </c:pt>
                <c:pt idx="1355">
                  <c:v>1355</c:v>
                </c:pt>
                <c:pt idx="1356">
                  <c:v>1356</c:v>
                </c:pt>
                <c:pt idx="1357">
                  <c:v>1357</c:v>
                </c:pt>
                <c:pt idx="1358">
                  <c:v>1358</c:v>
                </c:pt>
                <c:pt idx="1359">
                  <c:v>1359</c:v>
                </c:pt>
                <c:pt idx="1360">
                  <c:v>1360</c:v>
                </c:pt>
                <c:pt idx="1361">
                  <c:v>1361</c:v>
                </c:pt>
                <c:pt idx="1362">
                  <c:v>1362</c:v>
                </c:pt>
                <c:pt idx="1363">
                  <c:v>1363</c:v>
                </c:pt>
                <c:pt idx="1364">
                  <c:v>1364</c:v>
                </c:pt>
                <c:pt idx="1365">
                  <c:v>1365</c:v>
                </c:pt>
                <c:pt idx="1366">
                  <c:v>1366</c:v>
                </c:pt>
                <c:pt idx="1367">
                  <c:v>1367</c:v>
                </c:pt>
                <c:pt idx="1368">
                  <c:v>1368</c:v>
                </c:pt>
                <c:pt idx="1369">
                  <c:v>1369</c:v>
                </c:pt>
                <c:pt idx="1370">
                  <c:v>1370</c:v>
                </c:pt>
                <c:pt idx="1371">
                  <c:v>1371</c:v>
                </c:pt>
                <c:pt idx="1372">
                  <c:v>1372</c:v>
                </c:pt>
                <c:pt idx="1373">
                  <c:v>1373</c:v>
                </c:pt>
                <c:pt idx="1374">
                  <c:v>1374</c:v>
                </c:pt>
                <c:pt idx="1375">
                  <c:v>1375</c:v>
                </c:pt>
                <c:pt idx="1376">
                  <c:v>1376</c:v>
                </c:pt>
                <c:pt idx="1377">
                  <c:v>1377</c:v>
                </c:pt>
                <c:pt idx="1378">
                  <c:v>1378</c:v>
                </c:pt>
                <c:pt idx="1379">
                  <c:v>1379</c:v>
                </c:pt>
                <c:pt idx="1380">
                  <c:v>1380</c:v>
                </c:pt>
                <c:pt idx="1381">
                  <c:v>1381</c:v>
                </c:pt>
                <c:pt idx="1382">
                  <c:v>1382</c:v>
                </c:pt>
                <c:pt idx="1383">
                  <c:v>1383</c:v>
                </c:pt>
                <c:pt idx="1384">
                  <c:v>1384</c:v>
                </c:pt>
                <c:pt idx="1385">
                  <c:v>1385</c:v>
                </c:pt>
                <c:pt idx="1386">
                  <c:v>1386</c:v>
                </c:pt>
                <c:pt idx="1387">
                  <c:v>1387</c:v>
                </c:pt>
                <c:pt idx="1388">
                  <c:v>1388</c:v>
                </c:pt>
                <c:pt idx="1389">
                  <c:v>1389</c:v>
                </c:pt>
                <c:pt idx="1390">
                  <c:v>1390</c:v>
                </c:pt>
                <c:pt idx="1391">
                  <c:v>1391</c:v>
                </c:pt>
                <c:pt idx="1392">
                  <c:v>1392</c:v>
                </c:pt>
                <c:pt idx="1393">
                  <c:v>1393</c:v>
                </c:pt>
                <c:pt idx="1394">
                  <c:v>1394</c:v>
                </c:pt>
                <c:pt idx="1395">
                  <c:v>1395</c:v>
                </c:pt>
                <c:pt idx="1396">
                  <c:v>1396</c:v>
                </c:pt>
                <c:pt idx="1397">
                  <c:v>1397</c:v>
                </c:pt>
                <c:pt idx="1398">
                  <c:v>1398</c:v>
                </c:pt>
                <c:pt idx="1399">
                  <c:v>1399</c:v>
                </c:pt>
                <c:pt idx="1400">
                  <c:v>1400</c:v>
                </c:pt>
                <c:pt idx="1401">
                  <c:v>1401</c:v>
                </c:pt>
                <c:pt idx="1402">
                  <c:v>1402</c:v>
                </c:pt>
                <c:pt idx="1403">
                  <c:v>1403</c:v>
                </c:pt>
                <c:pt idx="1404">
                  <c:v>1404</c:v>
                </c:pt>
                <c:pt idx="1405">
                  <c:v>1405</c:v>
                </c:pt>
                <c:pt idx="1406">
                  <c:v>1406</c:v>
                </c:pt>
                <c:pt idx="1407">
                  <c:v>1407</c:v>
                </c:pt>
                <c:pt idx="1408">
                  <c:v>1408</c:v>
                </c:pt>
                <c:pt idx="1409">
                  <c:v>1409</c:v>
                </c:pt>
                <c:pt idx="1410">
                  <c:v>1410</c:v>
                </c:pt>
                <c:pt idx="1411">
                  <c:v>1411</c:v>
                </c:pt>
                <c:pt idx="1412">
                  <c:v>1412</c:v>
                </c:pt>
                <c:pt idx="1413">
                  <c:v>1413</c:v>
                </c:pt>
                <c:pt idx="1414">
                  <c:v>1414</c:v>
                </c:pt>
                <c:pt idx="1415">
                  <c:v>1415</c:v>
                </c:pt>
                <c:pt idx="1416">
                  <c:v>1416</c:v>
                </c:pt>
                <c:pt idx="1417">
                  <c:v>1417</c:v>
                </c:pt>
                <c:pt idx="1418">
                  <c:v>1418</c:v>
                </c:pt>
                <c:pt idx="1419">
                  <c:v>1419</c:v>
                </c:pt>
                <c:pt idx="1420">
                  <c:v>1420</c:v>
                </c:pt>
                <c:pt idx="1421">
                  <c:v>1421</c:v>
                </c:pt>
                <c:pt idx="1422">
                  <c:v>1422</c:v>
                </c:pt>
                <c:pt idx="1423">
                  <c:v>1423</c:v>
                </c:pt>
                <c:pt idx="1424">
                  <c:v>1424</c:v>
                </c:pt>
                <c:pt idx="1425">
                  <c:v>1425</c:v>
                </c:pt>
                <c:pt idx="1426">
                  <c:v>1426</c:v>
                </c:pt>
                <c:pt idx="1427">
                  <c:v>1427</c:v>
                </c:pt>
                <c:pt idx="1428">
                  <c:v>1428</c:v>
                </c:pt>
                <c:pt idx="1429">
                  <c:v>1429</c:v>
                </c:pt>
                <c:pt idx="1430">
                  <c:v>1430</c:v>
                </c:pt>
                <c:pt idx="1431">
                  <c:v>1431</c:v>
                </c:pt>
                <c:pt idx="1432">
                  <c:v>1432</c:v>
                </c:pt>
                <c:pt idx="1433">
                  <c:v>1433</c:v>
                </c:pt>
                <c:pt idx="1434">
                  <c:v>1434</c:v>
                </c:pt>
                <c:pt idx="1435">
                  <c:v>1435</c:v>
                </c:pt>
                <c:pt idx="1436">
                  <c:v>1436</c:v>
                </c:pt>
                <c:pt idx="1437">
                  <c:v>1437</c:v>
                </c:pt>
                <c:pt idx="1438">
                  <c:v>1438</c:v>
                </c:pt>
                <c:pt idx="1439">
                  <c:v>1439</c:v>
                </c:pt>
                <c:pt idx="1440">
                  <c:v>1440</c:v>
                </c:pt>
                <c:pt idx="1441">
                  <c:v>1441</c:v>
                </c:pt>
                <c:pt idx="1442">
                  <c:v>1442</c:v>
                </c:pt>
                <c:pt idx="1443">
                  <c:v>1443</c:v>
                </c:pt>
                <c:pt idx="1444">
                  <c:v>1444</c:v>
                </c:pt>
                <c:pt idx="1445">
                  <c:v>1445</c:v>
                </c:pt>
                <c:pt idx="1446">
                  <c:v>1446</c:v>
                </c:pt>
                <c:pt idx="1447">
                  <c:v>1447</c:v>
                </c:pt>
                <c:pt idx="1448">
                  <c:v>1448</c:v>
                </c:pt>
                <c:pt idx="1449">
                  <c:v>1449</c:v>
                </c:pt>
                <c:pt idx="1450">
                  <c:v>1450</c:v>
                </c:pt>
                <c:pt idx="1451">
                  <c:v>1451</c:v>
                </c:pt>
                <c:pt idx="1452">
                  <c:v>1452</c:v>
                </c:pt>
                <c:pt idx="1453">
                  <c:v>1453</c:v>
                </c:pt>
                <c:pt idx="1454">
                  <c:v>1454</c:v>
                </c:pt>
                <c:pt idx="1455">
                  <c:v>1455</c:v>
                </c:pt>
                <c:pt idx="1456">
                  <c:v>1456</c:v>
                </c:pt>
                <c:pt idx="1457">
                  <c:v>1457</c:v>
                </c:pt>
                <c:pt idx="1458">
                  <c:v>1458</c:v>
                </c:pt>
                <c:pt idx="1459">
                  <c:v>1459</c:v>
                </c:pt>
                <c:pt idx="1460">
                  <c:v>1460</c:v>
                </c:pt>
                <c:pt idx="1461">
                  <c:v>1461</c:v>
                </c:pt>
                <c:pt idx="1462">
                  <c:v>1462</c:v>
                </c:pt>
                <c:pt idx="1463">
                  <c:v>1463</c:v>
                </c:pt>
                <c:pt idx="1464">
                  <c:v>1464</c:v>
                </c:pt>
                <c:pt idx="1465">
                  <c:v>1465</c:v>
                </c:pt>
                <c:pt idx="1466">
                  <c:v>1466</c:v>
                </c:pt>
                <c:pt idx="1467">
                  <c:v>1467</c:v>
                </c:pt>
                <c:pt idx="1468">
                  <c:v>1468</c:v>
                </c:pt>
                <c:pt idx="1469">
                  <c:v>1469</c:v>
                </c:pt>
                <c:pt idx="1470">
                  <c:v>1470</c:v>
                </c:pt>
                <c:pt idx="1471">
                  <c:v>1471</c:v>
                </c:pt>
                <c:pt idx="1472">
                  <c:v>1472</c:v>
                </c:pt>
                <c:pt idx="1473">
                  <c:v>1473</c:v>
                </c:pt>
                <c:pt idx="1474">
                  <c:v>1474</c:v>
                </c:pt>
                <c:pt idx="1475">
                  <c:v>1475</c:v>
                </c:pt>
                <c:pt idx="1476">
                  <c:v>1476</c:v>
                </c:pt>
                <c:pt idx="1477">
                  <c:v>1477</c:v>
                </c:pt>
                <c:pt idx="1478">
                  <c:v>1478</c:v>
                </c:pt>
                <c:pt idx="1479">
                  <c:v>1479</c:v>
                </c:pt>
                <c:pt idx="1480">
                  <c:v>1480</c:v>
                </c:pt>
                <c:pt idx="1481">
                  <c:v>1481</c:v>
                </c:pt>
                <c:pt idx="1482">
                  <c:v>1482</c:v>
                </c:pt>
                <c:pt idx="1483">
                  <c:v>1483</c:v>
                </c:pt>
                <c:pt idx="1484">
                  <c:v>1484</c:v>
                </c:pt>
                <c:pt idx="1485">
                  <c:v>1485</c:v>
                </c:pt>
                <c:pt idx="1486">
                  <c:v>1486</c:v>
                </c:pt>
                <c:pt idx="1487">
                  <c:v>1487</c:v>
                </c:pt>
                <c:pt idx="1488">
                  <c:v>1488</c:v>
                </c:pt>
                <c:pt idx="1489">
                  <c:v>1489</c:v>
                </c:pt>
                <c:pt idx="1490">
                  <c:v>1490</c:v>
                </c:pt>
                <c:pt idx="1491">
                  <c:v>1491</c:v>
                </c:pt>
                <c:pt idx="1492">
                  <c:v>1492</c:v>
                </c:pt>
                <c:pt idx="1493">
                  <c:v>1493</c:v>
                </c:pt>
                <c:pt idx="1494">
                  <c:v>1494</c:v>
                </c:pt>
                <c:pt idx="1495">
                  <c:v>1495</c:v>
                </c:pt>
                <c:pt idx="1496">
                  <c:v>1496</c:v>
                </c:pt>
                <c:pt idx="1497">
                  <c:v>1497</c:v>
                </c:pt>
                <c:pt idx="1498">
                  <c:v>1498</c:v>
                </c:pt>
                <c:pt idx="1499">
                  <c:v>1499</c:v>
                </c:pt>
                <c:pt idx="1500">
                  <c:v>1500</c:v>
                </c:pt>
                <c:pt idx="1501">
                  <c:v>1501</c:v>
                </c:pt>
                <c:pt idx="1502">
                  <c:v>1502</c:v>
                </c:pt>
                <c:pt idx="1503">
                  <c:v>1503</c:v>
                </c:pt>
                <c:pt idx="1504">
                  <c:v>1504</c:v>
                </c:pt>
                <c:pt idx="1505">
                  <c:v>1505</c:v>
                </c:pt>
                <c:pt idx="1506">
                  <c:v>1506</c:v>
                </c:pt>
                <c:pt idx="1507">
                  <c:v>1507</c:v>
                </c:pt>
                <c:pt idx="1508">
                  <c:v>1508</c:v>
                </c:pt>
                <c:pt idx="1509">
                  <c:v>1509</c:v>
                </c:pt>
                <c:pt idx="1510">
                  <c:v>1510</c:v>
                </c:pt>
                <c:pt idx="1511">
                  <c:v>1511</c:v>
                </c:pt>
                <c:pt idx="1512">
                  <c:v>1512</c:v>
                </c:pt>
                <c:pt idx="1513">
                  <c:v>1513</c:v>
                </c:pt>
                <c:pt idx="1514">
                  <c:v>1514</c:v>
                </c:pt>
                <c:pt idx="1515">
                  <c:v>1515</c:v>
                </c:pt>
                <c:pt idx="1516">
                  <c:v>1516</c:v>
                </c:pt>
                <c:pt idx="1517">
                  <c:v>1517</c:v>
                </c:pt>
                <c:pt idx="1518">
                  <c:v>1518</c:v>
                </c:pt>
                <c:pt idx="1519">
                  <c:v>1519</c:v>
                </c:pt>
                <c:pt idx="1520">
                  <c:v>1520</c:v>
                </c:pt>
                <c:pt idx="1521">
                  <c:v>1521</c:v>
                </c:pt>
                <c:pt idx="1522">
                  <c:v>1522</c:v>
                </c:pt>
                <c:pt idx="1523">
                  <c:v>1523</c:v>
                </c:pt>
                <c:pt idx="1524">
                  <c:v>1524</c:v>
                </c:pt>
                <c:pt idx="1525">
                  <c:v>1525</c:v>
                </c:pt>
                <c:pt idx="1526">
                  <c:v>1526</c:v>
                </c:pt>
                <c:pt idx="1527">
                  <c:v>1527</c:v>
                </c:pt>
                <c:pt idx="1528">
                  <c:v>1528</c:v>
                </c:pt>
                <c:pt idx="1529">
                  <c:v>1529</c:v>
                </c:pt>
                <c:pt idx="1530">
                  <c:v>1530</c:v>
                </c:pt>
                <c:pt idx="1531">
                  <c:v>1531</c:v>
                </c:pt>
                <c:pt idx="1532">
                  <c:v>1532</c:v>
                </c:pt>
                <c:pt idx="1533">
                  <c:v>1533</c:v>
                </c:pt>
                <c:pt idx="1534">
                  <c:v>1534</c:v>
                </c:pt>
                <c:pt idx="1535">
                  <c:v>1535</c:v>
                </c:pt>
                <c:pt idx="1536">
                  <c:v>1536</c:v>
                </c:pt>
                <c:pt idx="1537">
                  <c:v>1537</c:v>
                </c:pt>
                <c:pt idx="1538">
                  <c:v>1538</c:v>
                </c:pt>
                <c:pt idx="1539">
                  <c:v>1539</c:v>
                </c:pt>
                <c:pt idx="1540">
                  <c:v>1540</c:v>
                </c:pt>
                <c:pt idx="1541">
                  <c:v>1541</c:v>
                </c:pt>
                <c:pt idx="1542">
                  <c:v>1542</c:v>
                </c:pt>
                <c:pt idx="1543">
                  <c:v>1543</c:v>
                </c:pt>
                <c:pt idx="1544">
                  <c:v>1544</c:v>
                </c:pt>
                <c:pt idx="1545">
                  <c:v>1545</c:v>
                </c:pt>
                <c:pt idx="1546">
                  <c:v>1546</c:v>
                </c:pt>
                <c:pt idx="1547">
                  <c:v>1547</c:v>
                </c:pt>
                <c:pt idx="1548">
                  <c:v>1548</c:v>
                </c:pt>
                <c:pt idx="1549">
                  <c:v>1549</c:v>
                </c:pt>
                <c:pt idx="1550">
                  <c:v>1550</c:v>
                </c:pt>
                <c:pt idx="1551">
                  <c:v>1551</c:v>
                </c:pt>
                <c:pt idx="1552">
                  <c:v>1552</c:v>
                </c:pt>
                <c:pt idx="1553">
                  <c:v>1553</c:v>
                </c:pt>
                <c:pt idx="1554">
                  <c:v>1554</c:v>
                </c:pt>
                <c:pt idx="1555">
                  <c:v>1555</c:v>
                </c:pt>
                <c:pt idx="1556">
                  <c:v>1556</c:v>
                </c:pt>
                <c:pt idx="1557">
                  <c:v>1557</c:v>
                </c:pt>
                <c:pt idx="1558">
                  <c:v>1558</c:v>
                </c:pt>
                <c:pt idx="1559">
                  <c:v>1559</c:v>
                </c:pt>
                <c:pt idx="1560">
                  <c:v>1560</c:v>
                </c:pt>
                <c:pt idx="1561">
                  <c:v>1561</c:v>
                </c:pt>
                <c:pt idx="1562">
                  <c:v>1562</c:v>
                </c:pt>
                <c:pt idx="1563">
                  <c:v>1563</c:v>
                </c:pt>
                <c:pt idx="1564">
                  <c:v>1564</c:v>
                </c:pt>
                <c:pt idx="1565">
                  <c:v>1565</c:v>
                </c:pt>
                <c:pt idx="1566">
                  <c:v>1566</c:v>
                </c:pt>
                <c:pt idx="1567">
                  <c:v>1567</c:v>
                </c:pt>
                <c:pt idx="1568">
                  <c:v>1568</c:v>
                </c:pt>
                <c:pt idx="1569">
                  <c:v>1569</c:v>
                </c:pt>
                <c:pt idx="1570">
                  <c:v>1570</c:v>
                </c:pt>
                <c:pt idx="1571">
                  <c:v>1571</c:v>
                </c:pt>
                <c:pt idx="1572">
                  <c:v>1572</c:v>
                </c:pt>
                <c:pt idx="1573">
                  <c:v>1573</c:v>
                </c:pt>
                <c:pt idx="1574">
                  <c:v>1574</c:v>
                </c:pt>
                <c:pt idx="1575">
                  <c:v>1575</c:v>
                </c:pt>
                <c:pt idx="1576">
                  <c:v>1576</c:v>
                </c:pt>
                <c:pt idx="1577">
                  <c:v>1577</c:v>
                </c:pt>
                <c:pt idx="1578">
                  <c:v>1578</c:v>
                </c:pt>
                <c:pt idx="1579">
                  <c:v>1579</c:v>
                </c:pt>
                <c:pt idx="1580">
                  <c:v>1580</c:v>
                </c:pt>
                <c:pt idx="1581">
                  <c:v>1581</c:v>
                </c:pt>
                <c:pt idx="1582">
                  <c:v>1582</c:v>
                </c:pt>
                <c:pt idx="1583">
                  <c:v>1583</c:v>
                </c:pt>
                <c:pt idx="1584">
                  <c:v>1584</c:v>
                </c:pt>
                <c:pt idx="1585">
                  <c:v>1585</c:v>
                </c:pt>
                <c:pt idx="1586">
                  <c:v>1586</c:v>
                </c:pt>
                <c:pt idx="1587">
                  <c:v>1587</c:v>
                </c:pt>
                <c:pt idx="1588">
                  <c:v>1588</c:v>
                </c:pt>
                <c:pt idx="1589">
                  <c:v>1589</c:v>
                </c:pt>
                <c:pt idx="1590">
                  <c:v>1590</c:v>
                </c:pt>
                <c:pt idx="1591">
                  <c:v>1591</c:v>
                </c:pt>
                <c:pt idx="1592">
                  <c:v>1592</c:v>
                </c:pt>
                <c:pt idx="1593">
                  <c:v>1593</c:v>
                </c:pt>
                <c:pt idx="1594">
                  <c:v>1594</c:v>
                </c:pt>
                <c:pt idx="1595">
                  <c:v>1595</c:v>
                </c:pt>
                <c:pt idx="1596">
                  <c:v>1596</c:v>
                </c:pt>
                <c:pt idx="1597">
                  <c:v>1597</c:v>
                </c:pt>
                <c:pt idx="1598">
                  <c:v>1598</c:v>
                </c:pt>
                <c:pt idx="1599">
                  <c:v>1599</c:v>
                </c:pt>
                <c:pt idx="1600">
                  <c:v>1600</c:v>
                </c:pt>
                <c:pt idx="1601">
                  <c:v>1601</c:v>
                </c:pt>
                <c:pt idx="1602">
                  <c:v>1602</c:v>
                </c:pt>
                <c:pt idx="1603">
                  <c:v>1603</c:v>
                </c:pt>
                <c:pt idx="1604">
                  <c:v>1604</c:v>
                </c:pt>
                <c:pt idx="1605">
                  <c:v>1605</c:v>
                </c:pt>
                <c:pt idx="1606">
                  <c:v>1606</c:v>
                </c:pt>
                <c:pt idx="1607">
                  <c:v>1607</c:v>
                </c:pt>
                <c:pt idx="1608">
                  <c:v>1608</c:v>
                </c:pt>
                <c:pt idx="1609">
                  <c:v>1609</c:v>
                </c:pt>
                <c:pt idx="1610">
                  <c:v>1610</c:v>
                </c:pt>
                <c:pt idx="1611">
                  <c:v>1611</c:v>
                </c:pt>
                <c:pt idx="1612">
                  <c:v>1612</c:v>
                </c:pt>
                <c:pt idx="1613">
                  <c:v>1613</c:v>
                </c:pt>
                <c:pt idx="1614">
                  <c:v>1614</c:v>
                </c:pt>
                <c:pt idx="1615">
                  <c:v>1615</c:v>
                </c:pt>
                <c:pt idx="1616">
                  <c:v>1616</c:v>
                </c:pt>
                <c:pt idx="1617">
                  <c:v>1617</c:v>
                </c:pt>
                <c:pt idx="1618">
                  <c:v>1618</c:v>
                </c:pt>
                <c:pt idx="1619">
                  <c:v>1619</c:v>
                </c:pt>
                <c:pt idx="1620">
                  <c:v>1620</c:v>
                </c:pt>
                <c:pt idx="1621">
                  <c:v>1621</c:v>
                </c:pt>
                <c:pt idx="1622">
                  <c:v>1622</c:v>
                </c:pt>
                <c:pt idx="1623">
                  <c:v>1623</c:v>
                </c:pt>
                <c:pt idx="1624">
                  <c:v>1624</c:v>
                </c:pt>
                <c:pt idx="1625">
                  <c:v>1625</c:v>
                </c:pt>
                <c:pt idx="1626">
                  <c:v>1626</c:v>
                </c:pt>
                <c:pt idx="1627">
                  <c:v>1627</c:v>
                </c:pt>
                <c:pt idx="1628">
                  <c:v>1628</c:v>
                </c:pt>
                <c:pt idx="1629">
                  <c:v>1629</c:v>
                </c:pt>
                <c:pt idx="1630">
                  <c:v>1630</c:v>
                </c:pt>
                <c:pt idx="1631">
                  <c:v>1631</c:v>
                </c:pt>
                <c:pt idx="1632">
                  <c:v>1632</c:v>
                </c:pt>
                <c:pt idx="1633">
                  <c:v>1633</c:v>
                </c:pt>
                <c:pt idx="1634">
                  <c:v>1634</c:v>
                </c:pt>
                <c:pt idx="1635">
                  <c:v>1635</c:v>
                </c:pt>
                <c:pt idx="1636">
                  <c:v>1636</c:v>
                </c:pt>
                <c:pt idx="1637">
                  <c:v>1637</c:v>
                </c:pt>
                <c:pt idx="1638">
                  <c:v>1638</c:v>
                </c:pt>
                <c:pt idx="1639">
                  <c:v>1639</c:v>
                </c:pt>
                <c:pt idx="1640">
                  <c:v>1640</c:v>
                </c:pt>
                <c:pt idx="1641">
                  <c:v>1641</c:v>
                </c:pt>
                <c:pt idx="1642">
                  <c:v>1642</c:v>
                </c:pt>
                <c:pt idx="1643">
                  <c:v>1643</c:v>
                </c:pt>
                <c:pt idx="1644">
                  <c:v>1644</c:v>
                </c:pt>
                <c:pt idx="1645">
                  <c:v>1645</c:v>
                </c:pt>
                <c:pt idx="1646">
                  <c:v>1646</c:v>
                </c:pt>
                <c:pt idx="1647">
                  <c:v>1647</c:v>
                </c:pt>
                <c:pt idx="1648">
                  <c:v>1648</c:v>
                </c:pt>
                <c:pt idx="1649">
                  <c:v>1649</c:v>
                </c:pt>
                <c:pt idx="1650">
                  <c:v>1650</c:v>
                </c:pt>
                <c:pt idx="1651">
                  <c:v>1651</c:v>
                </c:pt>
                <c:pt idx="1652">
                  <c:v>1652</c:v>
                </c:pt>
                <c:pt idx="1653">
                  <c:v>1653</c:v>
                </c:pt>
                <c:pt idx="1654">
                  <c:v>1654</c:v>
                </c:pt>
                <c:pt idx="1655">
                  <c:v>1655</c:v>
                </c:pt>
                <c:pt idx="1656">
                  <c:v>1656</c:v>
                </c:pt>
                <c:pt idx="1657">
                  <c:v>1657</c:v>
                </c:pt>
                <c:pt idx="1658">
                  <c:v>1658</c:v>
                </c:pt>
                <c:pt idx="1659">
                  <c:v>1659</c:v>
                </c:pt>
                <c:pt idx="1660">
                  <c:v>1660</c:v>
                </c:pt>
                <c:pt idx="1661">
                  <c:v>1661</c:v>
                </c:pt>
                <c:pt idx="1662">
                  <c:v>1662</c:v>
                </c:pt>
                <c:pt idx="1663">
                  <c:v>1663</c:v>
                </c:pt>
                <c:pt idx="1664">
                  <c:v>1664</c:v>
                </c:pt>
                <c:pt idx="1665">
                  <c:v>1665</c:v>
                </c:pt>
                <c:pt idx="1666">
                  <c:v>1666</c:v>
                </c:pt>
                <c:pt idx="1667">
                  <c:v>1667</c:v>
                </c:pt>
                <c:pt idx="1668">
                  <c:v>1668</c:v>
                </c:pt>
                <c:pt idx="1669">
                  <c:v>1669</c:v>
                </c:pt>
                <c:pt idx="1670">
                  <c:v>1670</c:v>
                </c:pt>
                <c:pt idx="1671">
                  <c:v>1671</c:v>
                </c:pt>
                <c:pt idx="1672">
                  <c:v>1672</c:v>
                </c:pt>
                <c:pt idx="1673">
                  <c:v>1673</c:v>
                </c:pt>
                <c:pt idx="1674">
                  <c:v>1674</c:v>
                </c:pt>
                <c:pt idx="1675">
                  <c:v>1675</c:v>
                </c:pt>
                <c:pt idx="1676">
                  <c:v>1676</c:v>
                </c:pt>
                <c:pt idx="1677">
                  <c:v>1677</c:v>
                </c:pt>
                <c:pt idx="1678">
                  <c:v>1678</c:v>
                </c:pt>
                <c:pt idx="1679">
                  <c:v>1679</c:v>
                </c:pt>
                <c:pt idx="1680">
                  <c:v>1680</c:v>
                </c:pt>
                <c:pt idx="1681">
                  <c:v>1681</c:v>
                </c:pt>
                <c:pt idx="1682">
                  <c:v>1682</c:v>
                </c:pt>
                <c:pt idx="1683">
                  <c:v>1683</c:v>
                </c:pt>
                <c:pt idx="1684">
                  <c:v>1684</c:v>
                </c:pt>
                <c:pt idx="1685">
                  <c:v>1685</c:v>
                </c:pt>
                <c:pt idx="1686">
                  <c:v>1686</c:v>
                </c:pt>
                <c:pt idx="1687">
                  <c:v>1687</c:v>
                </c:pt>
                <c:pt idx="1688">
                  <c:v>1688</c:v>
                </c:pt>
                <c:pt idx="1689">
                  <c:v>1689</c:v>
                </c:pt>
                <c:pt idx="1690">
                  <c:v>1690</c:v>
                </c:pt>
                <c:pt idx="1691">
                  <c:v>1691</c:v>
                </c:pt>
                <c:pt idx="1692">
                  <c:v>1692</c:v>
                </c:pt>
                <c:pt idx="1693">
                  <c:v>1693</c:v>
                </c:pt>
                <c:pt idx="1694">
                  <c:v>1694</c:v>
                </c:pt>
                <c:pt idx="1695">
                  <c:v>1695</c:v>
                </c:pt>
                <c:pt idx="1696">
                  <c:v>1696</c:v>
                </c:pt>
                <c:pt idx="1697">
                  <c:v>1697</c:v>
                </c:pt>
                <c:pt idx="1698">
                  <c:v>1698</c:v>
                </c:pt>
                <c:pt idx="1699">
                  <c:v>1699</c:v>
                </c:pt>
                <c:pt idx="1700">
                  <c:v>1700</c:v>
                </c:pt>
                <c:pt idx="1701">
                  <c:v>1701</c:v>
                </c:pt>
                <c:pt idx="1702">
                  <c:v>1702</c:v>
                </c:pt>
                <c:pt idx="1703">
                  <c:v>1703</c:v>
                </c:pt>
                <c:pt idx="1704">
                  <c:v>1704</c:v>
                </c:pt>
                <c:pt idx="1705">
                  <c:v>1705</c:v>
                </c:pt>
                <c:pt idx="1706">
                  <c:v>1706</c:v>
                </c:pt>
                <c:pt idx="1707">
                  <c:v>1707</c:v>
                </c:pt>
                <c:pt idx="1708">
                  <c:v>1708</c:v>
                </c:pt>
                <c:pt idx="1709">
                  <c:v>1709</c:v>
                </c:pt>
                <c:pt idx="1710">
                  <c:v>1710</c:v>
                </c:pt>
                <c:pt idx="1711">
                  <c:v>1711</c:v>
                </c:pt>
                <c:pt idx="1712">
                  <c:v>1712</c:v>
                </c:pt>
                <c:pt idx="1713">
                  <c:v>1713</c:v>
                </c:pt>
                <c:pt idx="1714">
                  <c:v>1714</c:v>
                </c:pt>
                <c:pt idx="1715">
                  <c:v>1715</c:v>
                </c:pt>
                <c:pt idx="1716">
                  <c:v>1716</c:v>
                </c:pt>
                <c:pt idx="1717">
                  <c:v>1717</c:v>
                </c:pt>
                <c:pt idx="1718">
                  <c:v>1718</c:v>
                </c:pt>
                <c:pt idx="1719">
                  <c:v>1719</c:v>
                </c:pt>
                <c:pt idx="1720">
                  <c:v>1720</c:v>
                </c:pt>
                <c:pt idx="1721">
                  <c:v>1721</c:v>
                </c:pt>
                <c:pt idx="1722">
                  <c:v>1722</c:v>
                </c:pt>
                <c:pt idx="1723">
                  <c:v>1723</c:v>
                </c:pt>
                <c:pt idx="1724">
                  <c:v>1724</c:v>
                </c:pt>
                <c:pt idx="1725">
                  <c:v>1725</c:v>
                </c:pt>
                <c:pt idx="1726">
                  <c:v>1726</c:v>
                </c:pt>
                <c:pt idx="1727">
                  <c:v>1727</c:v>
                </c:pt>
                <c:pt idx="1728">
                  <c:v>1728</c:v>
                </c:pt>
                <c:pt idx="1729">
                  <c:v>1729</c:v>
                </c:pt>
                <c:pt idx="1730">
                  <c:v>1730</c:v>
                </c:pt>
                <c:pt idx="1731">
                  <c:v>1731</c:v>
                </c:pt>
                <c:pt idx="1732">
                  <c:v>1732</c:v>
                </c:pt>
                <c:pt idx="1733">
                  <c:v>1733</c:v>
                </c:pt>
                <c:pt idx="1734">
                  <c:v>1734</c:v>
                </c:pt>
                <c:pt idx="1735">
                  <c:v>1735</c:v>
                </c:pt>
                <c:pt idx="1736">
                  <c:v>1736</c:v>
                </c:pt>
                <c:pt idx="1737">
                  <c:v>1737</c:v>
                </c:pt>
                <c:pt idx="1738">
                  <c:v>1738</c:v>
                </c:pt>
                <c:pt idx="1739">
                  <c:v>1739</c:v>
                </c:pt>
                <c:pt idx="1740">
                  <c:v>1740</c:v>
                </c:pt>
                <c:pt idx="1741">
                  <c:v>1741</c:v>
                </c:pt>
                <c:pt idx="1742">
                  <c:v>1742</c:v>
                </c:pt>
                <c:pt idx="1743">
                  <c:v>1743</c:v>
                </c:pt>
                <c:pt idx="1744">
                  <c:v>1744</c:v>
                </c:pt>
                <c:pt idx="1745">
                  <c:v>1745</c:v>
                </c:pt>
                <c:pt idx="1746">
                  <c:v>1746</c:v>
                </c:pt>
                <c:pt idx="1747">
                  <c:v>1747</c:v>
                </c:pt>
                <c:pt idx="1748">
                  <c:v>1748</c:v>
                </c:pt>
                <c:pt idx="1749">
                  <c:v>1749</c:v>
                </c:pt>
                <c:pt idx="1750">
                  <c:v>1750</c:v>
                </c:pt>
                <c:pt idx="1751">
                  <c:v>1751</c:v>
                </c:pt>
                <c:pt idx="1752">
                  <c:v>1752</c:v>
                </c:pt>
                <c:pt idx="1753">
                  <c:v>1753</c:v>
                </c:pt>
                <c:pt idx="1754">
                  <c:v>1754</c:v>
                </c:pt>
                <c:pt idx="1755">
                  <c:v>1755</c:v>
                </c:pt>
                <c:pt idx="1756">
                  <c:v>1756</c:v>
                </c:pt>
                <c:pt idx="1757">
                  <c:v>1757</c:v>
                </c:pt>
                <c:pt idx="1758">
                  <c:v>1758</c:v>
                </c:pt>
                <c:pt idx="1759">
                  <c:v>1759</c:v>
                </c:pt>
                <c:pt idx="1760">
                  <c:v>1760</c:v>
                </c:pt>
                <c:pt idx="1761">
                  <c:v>1761</c:v>
                </c:pt>
                <c:pt idx="1762">
                  <c:v>1762</c:v>
                </c:pt>
                <c:pt idx="1763">
                  <c:v>1763</c:v>
                </c:pt>
                <c:pt idx="1764">
                  <c:v>1764</c:v>
                </c:pt>
                <c:pt idx="1765">
                  <c:v>1765</c:v>
                </c:pt>
                <c:pt idx="1766">
                  <c:v>1766</c:v>
                </c:pt>
                <c:pt idx="1767">
                  <c:v>1767</c:v>
                </c:pt>
                <c:pt idx="1768">
                  <c:v>1768</c:v>
                </c:pt>
                <c:pt idx="1769">
                  <c:v>1769</c:v>
                </c:pt>
                <c:pt idx="1770">
                  <c:v>1770</c:v>
                </c:pt>
                <c:pt idx="1771">
                  <c:v>1771</c:v>
                </c:pt>
                <c:pt idx="1772">
                  <c:v>1772</c:v>
                </c:pt>
                <c:pt idx="1773">
                  <c:v>1773</c:v>
                </c:pt>
                <c:pt idx="1774">
                  <c:v>1774</c:v>
                </c:pt>
                <c:pt idx="1775">
                  <c:v>1775</c:v>
                </c:pt>
                <c:pt idx="1776">
                  <c:v>1776</c:v>
                </c:pt>
                <c:pt idx="1777">
                  <c:v>1777</c:v>
                </c:pt>
                <c:pt idx="1778">
                  <c:v>1778</c:v>
                </c:pt>
                <c:pt idx="1779">
                  <c:v>1779</c:v>
                </c:pt>
                <c:pt idx="1780">
                  <c:v>1780</c:v>
                </c:pt>
                <c:pt idx="1781">
                  <c:v>1781</c:v>
                </c:pt>
                <c:pt idx="1782">
                  <c:v>1782</c:v>
                </c:pt>
                <c:pt idx="1783">
                  <c:v>1783</c:v>
                </c:pt>
                <c:pt idx="1784">
                  <c:v>1784</c:v>
                </c:pt>
                <c:pt idx="1785">
                  <c:v>1785</c:v>
                </c:pt>
                <c:pt idx="1786">
                  <c:v>1786</c:v>
                </c:pt>
                <c:pt idx="1787">
                  <c:v>1787</c:v>
                </c:pt>
                <c:pt idx="1788">
                  <c:v>1788</c:v>
                </c:pt>
                <c:pt idx="1789">
                  <c:v>1789</c:v>
                </c:pt>
                <c:pt idx="1790">
                  <c:v>1790</c:v>
                </c:pt>
                <c:pt idx="1791">
                  <c:v>1791</c:v>
                </c:pt>
                <c:pt idx="1792">
                  <c:v>1792</c:v>
                </c:pt>
                <c:pt idx="1793">
                  <c:v>1793</c:v>
                </c:pt>
                <c:pt idx="1794">
                  <c:v>1794</c:v>
                </c:pt>
                <c:pt idx="1795">
                  <c:v>1795</c:v>
                </c:pt>
                <c:pt idx="1796">
                  <c:v>1796</c:v>
                </c:pt>
                <c:pt idx="1797">
                  <c:v>1797</c:v>
                </c:pt>
                <c:pt idx="1798">
                  <c:v>1798</c:v>
                </c:pt>
                <c:pt idx="1799">
                  <c:v>1799</c:v>
                </c:pt>
                <c:pt idx="1800">
                  <c:v>1800</c:v>
                </c:pt>
                <c:pt idx="1801">
                  <c:v>1801</c:v>
                </c:pt>
                <c:pt idx="1802">
                  <c:v>1802</c:v>
                </c:pt>
                <c:pt idx="1803">
                  <c:v>1803</c:v>
                </c:pt>
                <c:pt idx="1804">
                  <c:v>1804</c:v>
                </c:pt>
                <c:pt idx="1805">
                  <c:v>1805</c:v>
                </c:pt>
                <c:pt idx="1806">
                  <c:v>1806</c:v>
                </c:pt>
                <c:pt idx="1807">
                  <c:v>1807</c:v>
                </c:pt>
                <c:pt idx="1808">
                  <c:v>1808</c:v>
                </c:pt>
                <c:pt idx="1809">
                  <c:v>1809</c:v>
                </c:pt>
                <c:pt idx="1810">
                  <c:v>1810</c:v>
                </c:pt>
                <c:pt idx="1811">
                  <c:v>1811</c:v>
                </c:pt>
                <c:pt idx="1812">
                  <c:v>1812</c:v>
                </c:pt>
                <c:pt idx="1813">
                  <c:v>1813</c:v>
                </c:pt>
                <c:pt idx="1814">
                  <c:v>1814</c:v>
                </c:pt>
                <c:pt idx="1815">
                  <c:v>1815</c:v>
                </c:pt>
                <c:pt idx="1816">
                  <c:v>1816</c:v>
                </c:pt>
                <c:pt idx="1817">
                  <c:v>1817</c:v>
                </c:pt>
                <c:pt idx="1818">
                  <c:v>1818</c:v>
                </c:pt>
                <c:pt idx="1819">
                  <c:v>1819</c:v>
                </c:pt>
                <c:pt idx="1820">
                  <c:v>1820</c:v>
                </c:pt>
                <c:pt idx="1821">
                  <c:v>1821</c:v>
                </c:pt>
                <c:pt idx="1822">
                  <c:v>1822</c:v>
                </c:pt>
                <c:pt idx="1823">
                  <c:v>1823</c:v>
                </c:pt>
                <c:pt idx="1824">
                  <c:v>1824</c:v>
                </c:pt>
                <c:pt idx="1825">
                  <c:v>1825</c:v>
                </c:pt>
                <c:pt idx="1826">
                  <c:v>1826</c:v>
                </c:pt>
                <c:pt idx="1827">
                  <c:v>1827</c:v>
                </c:pt>
                <c:pt idx="1828">
                  <c:v>1828</c:v>
                </c:pt>
                <c:pt idx="1829">
                  <c:v>1829</c:v>
                </c:pt>
                <c:pt idx="1830">
                  <c:v>1830</c:v>
                </c:pt>
                <c:pt idx="1831">
                  <c:v>1831</c:v>
                </c:pt>
                <c:pt idx="1832">
                  <c:v>1832</c:v>
                </c:pt>
                <c:pt idx="1833">
                  <c:v>1833</c:v>
                </c:pt>
                <c:pt idx="1834">
                  <c:v>1834</c:v>
                </c:pt>
                <c:pt idx="1835">
                  <c:v>1835</c:v>
                </c:pt>
                <c:pt idx="1836">
                  <c:v>1836</c:v>
                </c:pt>
                <c:pt idx="1837">
                  <c:v>1837</c:v>
                </c:pt>
                <c:pt idx="1838">
                  <c:v>1838</c:v>
                </c:pt>
                <c:pt idx="1839">
                  <c:v>1839</c:v>
                </c:pt>
                <c:pt idx="1840">
                  <c:v>1840</c:v>
                </c:pt>
                <c:pt idx="1841">
                  <c:v>1841</c:v>
                </c:pt>
                <c:pt idx="1842">
                  <c:v>1842</c:v>
                </c:pt>
                <c:pt idx="1843">
                  <c:v>1843</c:v>
                </c:pt>
                <c:pt idx="1844">
                  <c:v>1844</c:v>
                </c:pt>
                <c:pt idx="1845">
                  <c:v>1845</c:v>
                </c:pt>
                <c:pt idx="1846">
                  <c:v>1846</c:v>
                </c:pt>
                <c:pt idx="1847">
                  <c:v>1847</c:v>
                </c:pt>
                <c:pt idx="1848">
                  <c:v>1848</c:v>
                </c:pt>
                <c:pt idx="1849">
                  <c:v>1849</c:v>
                </c:pt>
                <c:pt idx="1850">
                  <c:v>1850</c:v>
                </c:pt>
                <c:pt idx="1851">
                  <c:v>1851</c:v>
                </c:pt>
                <c:pt idx="1852">
                  <c:v>1852</c:v>
                </c:pt>
                <c:pt idx="1853">
                  <c:v>1853</c:v>
                </c:pt>
                <c:pt idx="1854">
                  <c:v>1854</c:v>
                </c:pt>
                <c:pt idx="1855">
                  <c:v>1855</c:v>
                </c:pt>
                <c:pt idx="1856">
                  <c:v>1856</c:v>
                </c:pt>
                <c:pt idx="1857">
                  <c:v>1857</c:v>
                </c:pt>
                <c:pt idx="1858">
                  <c:v>1858</c:v>
                </c:pt>
                <c:pt idx="1859">
                  <c:v>1859</c:v>
                </c:pt>
                <c:pt idx="1860">
                  <c:v>1860</c:v>
                </c:pt>
                <c:pt idx="1861">
                  <c:v>1861</c:v>
                </c:pt>
                <c:pt idx="1862">
                  <c:v>1862</c:v>
                </c:pt>
                <c:pt idx="1863">
                  <c:v>1863</c:v>
                </c:pt>
                <c:pt idx="1864">
                  <c:v>1864</c:v>
                </c:pt>
                <c:pt idx="1865">
                  <c:v>1865</c:v>
                </c:pt>
                <c:pt idx="1866">
                  <c:v>1866</c:v>
                </c:pt>
                <c:pt idx="1867">
                  <c:v>1867</c:v>
                </c:pt>
                <c:pt idx="1868">
                  <c:v>1868</c:v>
                </c:pt>
                <c:pt idx="1869">
                  <c:v>1869</c:v>
                </c:pt>
                <c:pt idx="1870">
                  <c:v>1870</c:v>
                </c:pt>
                <c:pt idx="1871">
                  <c:v>1871</c:v>
                </c:pt>
                <c:pt idx="1872">
                  <c:v>1872</c:v>
                </c:pt>
                <c:pt idx="1873">
                  <c:v>1873</c:v>
                </c:pt>
                <c:pt idx="1874">
                  <c:v>1874</c:v>
                </c:pt>
                <c:pt idx="1875">
                  <c:v>1875</c:v>
                </c:pt>
                <c:pt idx="1876">
                  <c:v>1876</c:v>
                </c:pt>
                <c:pt idx="1877">
                  <c:v>1877</c:v>
                </c:pt>
                <c:pt idx="1878">
                  <c:v>1878</c:v>
                </c:pt>
                <c:pt idx="1879">
                  <c:v>1879</c:v>
                </c:pt>
                <c:pt idx="1880">
                  <c:v>1880</c:v>
                </c:pt>
                <c:pt idx="1881">
                  <c:v>1881</c:v>
                </c:pt>
                <c:pt idx="1882">
                  <c:v>1882</c:v>
                </c:pt>
                <c:pt idx="1883">
                  <c:v>1883</c:v>
                </c:pt>
                <c:pt idx="1884">
                  <c:v>1884</c:v>
                </c:pt>
                <c:pt idx="1885">
                  <c:v>1885</c:v>
                </c:pt>
                <c:pt idx="1886">
                  <c:v>1886</c:v>
                </c:pt>
                <c:pt idx="1887">
                  <c:v>1887</c:v>
                </c:pt>
                <c:pt idx="1888">
                  <c:v>1888</c:v>
                </c:pt>
                <c:pt idx="1889">
                  <c:v>1889</c:v>
                </c:pt>
                <c:pt idx="1890">
                  <c:v>1890</c:v>
                </c:pt>
                <c:pt idx="1891">
                  <c:v>1891</c:v>
                </c:pt>
                <c:pt idx="1892">
                  <c:v>1892</c:v>
                </c:pt>
                <c:pt idx="1893">
                  <c:v>1893</c:v>
                </c:pt>
                <c:pt idx="1894">
                  <c:v>1894</c:v>
                </c:pt>
                <c:pt idx="1895">
                  <c:v>1895</c:v>
                </c:pt>
                <c:pt idx="1896">
                  <c:v>1896</c:v>
                </c:pt>
                <c:pt idx="1897">
                  <c:v>1897</c:v>
                </c:pt>
                <c:pt idx="1898">
                  <c:v>1898</c:v>
                </c:pt>
                <c:pt idx="1899">
                  <c:v>1899</c:v>
                </c:pt>
                <c:pt idx="1900">
                  <c:v>1900</c:v>
                </c:pt>
                <c:pt idx="1901">
                  <c:v>1901</c:v>
                </c:pt>
                <c:pt idx="1902">
                  <c:v>1902</c:v>
                </c:pt>
                <c:pt idx="1903">
                  <c:v>1903</c:v>
                </c:pt>
                <c:pt idx="1904">
                  <c:v>1904</c:v>
                </c:pt>
                <c:pt idx="1905">
                  <c:v>1905</c:v>
                </c:pt>
                <c:pt idx="1906">
                  <c:v>1906</c:v>
                </c:pt>
                <c:pt idx="1907">
                  <c:v>1907</c:v>
                </c:pt>
                <c:pt idx="1908">
                  <c:v>1908</c:v>
                </c:pt>
                <c:pt idx="1909">
                  <c:v>1909</c:v>
                </c:pt>
                <c:pt idx="1910">
                  <c:v>1910</c:v>
                </c:pt>
                <c:pt idx="1911">
                  <c:v>1911</c:v>
                </c:pt>
                <c:pt idx="1912">
                  <c:v>1912</c:v>
                </c:pt>
                <c:pt idx="1913">
                  <c:v>1913</c:v>
                </c:pt>
                <c:pt idx="1914">
                  <c:v>1914</c:v>
                </c:pt>
                <c:pt idx="1915">
                  <c:v>1915</c:v>
                </c:pt>
                <c:pt idx="1916">
                  <c:v>1916</c:v>
                </c:pt>
                <c:pt idx="1917">
                  <c:v>1917</c:v>
                </c:pt>
                <c:pt idx="1918">
                  <c:v>1918</c:v>
                </c:pt>
                <c:pt idx="1919">
                  <c:v>1919</c:v>
                </c:pt>
                <c:pt idx="1920">
                  <c:v>1920</c:v>
                </c:pt>
                <c:pt idx="1921">
                  <c:v>1921</c:v>
                </c:pt>
                <c:pt idx="1922">
                  <c:v>1922</c:v>
                </c:pt>
                <c:pt idx="1923">
                  <c:v>1923</c:v>
                </c:pt>
                <c:pt idx="1924">
                  <c:v>1924</c:v>
                </c:pt>
                <c:pt idx="1925">
                  <c:v>1925</c:v>
                </c:pt>
                <c:pt idx="1926">
                  <c:v>1926</c:v>
                </c:pt>
                <c:pt idx="1927">
                  <c:v>1927</c:v>
                </c:pt>
                <c:pt idx="1928">
                  <c:v>1928</c:v>
                </c:pt>
                <c:pt idx="1929">
                  <c:v>1929</c:v>
                </c:pt>
                <c:pt idx="1930">
                  <c:v>1930</c:v>
                </c:pt>
                <c:pt idx="1931">
                  <c:v>1931</c:v>
                </c:pt>
                <c:pt idx="1932">
                  <c:v>1932</c:v>
                </c:pt>
                <c:pt idx="1933">
                  <c:v>1933</c:v>
                </c:pt>
                <c:pt idx="1934">
                  <c:v>1934</c:v>
                </c:pt>
                <c:pt idx="1935">
                  <c:v>1935</c:v>
                </c:pt>
                <c:pt idx="1936">
                  <c:v>1936</c:v>
                </c:pt>
                <c:pt idx="1937">
                  <c:v>1937</c:v>
                </c:pt>
                <c:pt idx="1938">
                  <c:v>1938</c:v>
                </c:pt>
                <c:pt idx="1939">
                  <c:v>1939</c:v>
                </c:pt>
                <c:pt idx="1940">
                  <c:v>1940</c:v>
                </c:pt>
                <c:pt idx="1941">
                  <c:v>1941</c:v>
                </c:pt>
                <c:pt idx="1942">
                  <c:v>1942</c:v>
                </c:pt>
                <c:pt idx="1943">
                  <c:v>1943</c:v>
                </c:pt>
                <c:pt idx="1944">
                  <c:v>1944</c:v>
                </c:pt>
                <c:pt idx="1945">
                  <c:v>1945</c:v>
                </c:pt>
                <c:pt idx="1946">
                  <c:v>1946</c:v>
                </c:pt>
                <c:pt idx="1947">
                  <c:v>1947</c:v>
                </c:pt>
                <c:pt idx="1948">
                  <c:v>1948</c:v>
                </c:pt>
                <c:pt idx="1949">
                  <c:v>1949</c:v>
                </c:pt>
                <c:pt idx="1950">
                  <c:v>1950</c:v>
                </c:pt>
                <c:pt idx="1951">
                  <c:v>1951</c:v>
                </c:pt>
                <c:pt idx="1952">
                  <c:v>1952</c:v>
                </c:pt>
                <c:pt idx="1953">
                  <c:v>1953</c:v>
                </c:pt>
                <c:pt idx="1954">
                  <c:v>1954</c:v>
                </c:pt>
                <c:pt idx="1955">
                  <c:v>1955</c:v>
                </c:pt>
                <c:pt idx="1956">
                  <c:v>1956</c:v>
                </c:pt>
                <c:pt idx="1957">
                  <c:v>1957</c:v>
                </c:pt>
                <c:pt idx="1958">
                  <c:v>1958</c:v>
                </c:pt>
                <c:pt idx="1959">
                  <c:v>1959</c:v>
                </c:pt>
                <c:pt idx="1960">
                  <c:v>1960</c:v>
                </c:pt>
                <c:pt idx="1961">
                  <c:v>1961</c:v>
                </c:pt>
                <c:pt idx="1962">
                  <c:v>1962</c:v>
                </c:pt>
                <c:pt idx="1963">
                  <c:v>1963</c:v>
                </c:pt>
                <c:pt idx="1964">
                  <c:v>1964</c:v>
                </c:pt>
                <c:pt idx="1965">
                  <c:v>1965</c:v>
                </c:pt>
                <c:pt idx="1966">
                  <c:v>1966</c:v>
                </c:pt>
                <c:pt idx="1967">
                  <c:v>1967</c:v>
                </c:pt>
                <c:pt idx="1968">
                  <c:v>1968</c:v>
                </c:pt>
                <c:pt idx="1969">
                  <c:v>1969</c:v>
                </c:pt>
                <c:pt idx="1970">
                  <c:v>1970</c:v>
                </c:pt>
                <c:pt idx="1971">
                  <c:v>1971</c:v>
                </c:pt>
                <c:pt idx="1972">
                  <c:v>1972</c:v>
                </c:pt>
                <c:pt idx="1973">
                  <c:v>1973</c:v>
                </c:pt>
                <c:pt idx="1974">
                  <c:v>1974</c:v>
                </c:pt>
                <c:pt idx="1975">
                  <c:v>1975</c:v>
                </c:pt>
                <c:pt idx="1976">
                  <c:v>1976</c:v>
                </c:pt>
                <c:pt idx="1977">
                  <c:v>1977</c:v>
                </c:pt>
                <c:pt idx="1978">
                  <c:v>1978</c:v>
                </c:pt>
                <c:pt idx="1979">
                  <c:v>1979</c:v>
                </c:pt>
                <c:pt idx="1980">
                  <c:v>1980</c:v>
                </c:pt>
                <c:pt idx="1981">
                  <c:v>1981</c:v>
                </c:pt>
                <c:pt idx="1982">
                  <c:v>1982</c:v>
                </c:pt>
                <c:pt idx="1983">
                  <c:v>1983</c:v>
                </c:pt>
                <c:pt idx="1984">
                  <c:v>1984</c:v>
                </c:pt>
                <c:pt idx="1985">
                  <c:v>1985</c:v>
                </c:pt>
                <c:pt idx="1986">
                  <c:v>1986</c:v>
                </c:pt>
                <c:pt idx="1987">
                  <c:v>1987</c:v>
                </c:pt>
                <c:pt idx="1988">
                  <c:v>1988</c:v>
                </c:pt>
                <c:pt idx="1989">
                  <c:v>1989</c:v>
                </c:pt>
                <c:pt idx="1990">
                  <c:v>1990</c:v>
                </c:pt>
                <c:pt idx="1991">
                  <c:v>1991</c:v>
                </c:pt>
                <c:pt idx="1992">
                  <c:v>1992</c:v>
                </c:pt>
                <c:pt idx="1993">
                  <c:v>1993</c:v>
                </c:pt>
                <c:pt idx="1994">
                  <c:v>1994</c:v>
                </c:pt>
                <c:pt idx="1995">
                  <c:v>1995</c:v>
                </c:pt>
                <c:pt idx="1996">
                  <c:v>1996</c:v>
                </c:pt>
                <c:pt idx="1997">
                  <c:v>1997</c:v>
                </c:pt>
                <c:pt idx="1998">
                  <c:v>1998</c:v>
                </c:pt>
                <c:pt idx="1999">
                  <c:v>1999</c:v>
                </c:pt>
                <c:pt idx="2000">
                  <c:v>2000</c:v>
                </c:pt>
              </c:numCache>
            </c:numRef>
          </c:cat>
          <c:val>
            <c:numRef>
              <c:f>Sheet1!$E$2:$E$2002</c:f>
              <c:numCache>
                <c:formatCode>0%</c:formatCode>
                <c:ptCount val="2001"/>
                <c:pt idx="0">
                  <c:v>0</c:v>
                </c:pt>
                <c:pt idx="1">
                  <c:v>-3.7682586288766418E-3</c:v>
                </c:pt>
                <c:pt idx="2">
                  <c:v>-1.4211925703589867E-2</c:v>
                </c:pt>
                <c:pt idx="3">
                  <c:v>-1.4211925703589867E-2</c:v>
                </c:pt>
                <c:pt idx="4">
                  <c:v>-1.4211925703589867E-2</c:v>
                </c:pt>
                <c:pt idx="5">
                  <c:v>-4.7125740764136226E-2</c:v>
                </c:pt>
                <c:pt idx="6">
                  <c:v>-7.5960542919667251E-2</c:v>
                </c:pt>
                <c:pt idx="7">
                  <c:v>-7.9444185482547836E-2</c:v>
                </c:pt>
                <c:pt idx="8">
                  <c:v>-0.11991629964263273</c:v>
                </c:pt>
                <c:pt idx="9">
                  <c:v>-0.12702298855582039</c:v>
                </c:pt>
                <c:pt idx="10">
                  <c:v>-0.12702298855582039</c:v>
                </c:pt>
                <c:pt idx="11">
                  <c:v>-0.12702298855582039</c:v>
                </c:pt>
                <c:pt idx="12">
                  <c:v>-8.6812256497160512E-2</c:v>
                </c:pt>
                <c:pt idx="13">
                  <c:v>-0.11245238852416417</c:v>
                </c:pt>
                <c:pt idx="14">
                  <c:v>-7.4946961215252572E-2</c:v>
                </c:pt>
                <c:pt idx="15">
                  <c:v>-0.10613420228360837</c:v>
                </c:pt>
                <c:pt idx="16">
                  <c:v>-0.12134954483211291</c:v>
                </c:pt>
                <c:pt idx="17">
                  <c:v>-0.12134954483211291</c:v>
                </c:pt>
                <c:pt idx="18">
                  <c:v>-0.12134954483211291</c:v>
                </c:pt>
                <c:pt idx="19">
                  <c:v>-0.18801069343219401</c:v>
                </c:pt>
                <c:pt idx="20">
                  <c:v>-0.14787837600396148</c:v>
                </c:pt>
                <c:pt idx="21">
                  <c:v>-0.18945991197231682</c:v>
                </c:pt>
                <c:pt idx="22">
                  <c:v>-0.26639192503561326</c:v>
                </c:pt>
                <c:pt idx="23">
                  <c:v>-0.19801436730284161</c:v>
                </c:pt>
                <c:pt idx="24">
                  <c:v>-0.19801436730284161</c:v>
                </c:pt>
                <c:pt idx="25">
                  <c:v>-0.19801436730284161</c:v>
                </c:pt>
                <c:pt idx="26">
                  <c:v>-0.29409116717273143</c:v>
                </c:pt>
                <c:pt idx="27">
                  <c:v>-0.25174581461910084</c:v>
                </c:pt>
                <c:pt idx="28">
                  <c:v>-0.29052765785663759</c:v>
                </c:pt>
                <c:pt idx="29">
                  <c:v>-0.28713404690647015</c:v>
                </c:pt>
                <c:pt idx="30">
                  <c:v>-0.31792485845433127</c:v>
                </c:pt>
                <c:pt idx="31">
                  <c:v>-0.31792485845433127</c:v>
                </c:pt>
                <c:pt idx="32">
                  <c:v>-0.31792485845433127</c:v>
                </c:pt>
                <c:pt idx="33">
                  <c:v>-0.33790461586269882</c:v>
                </c:pt>
                <c:pt idx="34">
                  <c:v>-0.2757101969514133</c:v>
                </c:pt>
                <c:pt idx="35">
                  <c:v>-0.26735323031974267</c:v>
                </c:pt>
                <c:pt idx="36">
                  <c:v>-0.22159103285137371</c:v>
                </c:pt>
                <c:pt idx="37">
                  <c:v>-0.24781201399265507</c:v>
                </c:pt>
                <c:pt idx="38">
                  <c:v>-0.24781201399265507</c:v>
                </c:pt>
                <c:pt idx="39">
                  <c:v>-0.24781201399265507</c:v>
                </c:pt>
                <c:pt idx="40">
                  <c:v>-0.22247682775064703</c:v>
                </c:pt>
                <c:pt idx="41">
                  <c:v>-0.23484746176197657</c:v>
                </c:pt>
                <c:pt idx="42">
                  <c:v>-0.26861802926608236</c:v>
                </c:pt>
                <c:pt idx="43">
                  <c:v>-0.25179809103938566</c:v>
                </c:pt>
                <c:pt idx="44">
                  <c:v>-0.26302445229558813</c:v>
                </c:pt>
                <c:pt idx="45">
                  <c:v>-0.26302445229558813</c:v>
                </c:pt>
                <c:pt idx="46">
                  <c:v>-0.26302445229558813</c:v>
                </c:pt>
                <c:pt idx="47">
                  <c:v>-0.21118221672351711</c:v>
                </c:pt>
                <c:pt idx="48">
                  <c:v>-0.2124383029331427</c:v>
                </c:pt>
                <c:pt idx="49">
                  <c:v>-0.18542446275087232</c:v>
                </c:pt>
                <c:pt idx="50">
                  <c:v>-0.17351850803096502</c:v>
                </c:pt>
                <c:pt idx="51">
                  <c:v>-0.17351850803096502</c:v>
                </c:pt>
                <c:pt idx="52">
                  <c:v>-0.17351850803096502</c:v>
                </c:pt>
                <c:pt idx="53">
                  <c:v>-0.17351850803096502</c:v>
                </c:pt>
                <c:pt idx="54">
                  <c:v>-0.18185224069806449</c:v>
                </c:pt>
                <c:pt idx="55">
                  <c:v>-0.156737777119482</c:v>
                </c:pt>
                <c:pt idx="56">
                  <c:v>-0.1752625074965839</c:v>
                </c:pt>
                <c:pt idx="57">
                  <c:v>-0.17046033744429279</c:v>
                </c:pt>
                <c:pt idx="58">
                  <c:v>-0.14819929513959984</c:v>
                </c:pt>
                <c:pt idx="59">
                  <c:v>-0.14819929513959984</c:v>
                </c:pt>
                <c:pt idx="60">
                  <c:v>-0.14819929513959984</c:v>
                </c:pt>
                <c:pt idx="61">
                  <c:v>-0.16343206316153269</c:v>
                </c:pt>
                <c:pt idx="62">
                  <c:v>-0.18907074306575078</c:v>
                </c:pt>
                <c:pt idx="63">
                  <c:v>-0.17045307683036459</c:v>
                </c:pt>
                <c:pt idx="64">
                  <c:v>-0.17083208087743074</c:v>
                </c:pt>
                <c:pt idx="65">
                  <c:v>-0.15927173138051876</c:v>
                </c:pt>
                <c:pt idx="66">
                  <c:v>-0.15927173138051876</c:v>
                </c:pt>
                <c:pt idx="67">
                  <c:v>-0.15927173138051876</c:v>
                </c:pt>
                <c:pt idx="68">
                  <c:v>-0.14688657614133227</c:v>
                </c:pt>
                <c:pt idx="69">
                  <c:v>-0.15135330583012774</c:v>
                </c:pt>
                <c:pt idx="70">
                  <c:v>-0.1287640837758679</c:v>
                </c:pt>
                <c:pt idx="71">
                  <c:v>-0.13675947183390047</c:v>
                </c:pt>
                <c:pt idx="72">
                  <c:v>-0.16088649191821081</c:v>
                </c:pt>
                <c:pt idx="73">
                  <c:v>-0.16088649191821081</c:v>
                </c:pt>
                <c:pt idx="74">
                  <c:v>-0.16088649191821081</c:v>
                </c:pt>
                <c:pt idx="75">
                  <c:v>-0.15731572198818866</c:v>
                </c:pt>
                <c:pt idx="76">
                  <c:v>-0.14969788585443666</c:v>
                </c:pt>
                <c:pt idx="77">
                  <c:v>-0.15556591403142705</c:v>
                </c:pt>
                <c:pt idx="78">
                  <c:v>-0.14555062317849365</c:v>
                </c:pt>
                <c:pt idx="79">
                  <c:v>-0.13096985828733754</c:v>
                </c:pt>
                <c:pt idx="80">
                  <c:v>-0.13096985828733754</c:v>
                </c:pt>
                <c:pt idx="81">
                  <c:v>-0.13096985828733754</c:v>
                </c:pt>
                <c:pt idx="82">
                  <c:v>-0.13080867265812546</c:v>
                </c:pt>
                <c:pt idx="83">
                  <c:v>-0.148521666398024</c:v>
                </c:pt>
                <c:pt idx="84">
                  <c:v>-0.16333041456653419</c:v>
                </c:pt>
                <c:pt idx="85">
                  <c:v>-0.15350970816688392</c:v>
                </c:pt>
                <c:pt idx="86">
                  <c:v>-0.15009576749771647</c:v>
                </c:pt>
                <c:pt idx="87">
                  <c:v>-0.15009576749771647</c:v>
                </c:pt>
                <c:pt idx="88">
                  <c:v>-0.15009576749771647</c:v>
                </c:pt>
                <c:pt idx="89">
                  <c:v>-0.12322278322565849</c:v>
                </c:pt>
                <c:pt idx="90">
                  <c:v>-0.13233485370589015</c:v>
                </c:pt>
                <c:pt idx="91">
                  <c:v>-0.11772504635902004</c:v>
                </c:pt>
                <c:pt idx="92">
                  <c:v>-0.12452533736442639</c:v>
                </c:pt>
                <c:pt idx="93">
                  <c:v>-0.12231375436181413</c:v>
                </c:pt>
                <c:pt idx="94">
                  <c:v>-0.12231375436181413</c:v>
                </c:pt>
                <c:pt idx="95">
                  <c:v>-0.12231375436181413</c:v>
                </c:pt>
                <c:pt idx="96">
                  <c:v>-0.12231375436181413</c:v>
                </c:pt>
                <c:pt idx="97">
                  <c:v>-0.11151286508182012</c:v>
                </c:pt>
                <c:pt idx="98">
                  <c:v>-9.8321781696573463E-2</c:v>
                </c:pt>
                <c:pt idx="99">
                  <c:v>-0.10011660545969137</c:v>
                </c:pt>
                <c:pt idx="100">
                  <c:v>-9.5645519402538737E-2</c:v>
                </c:pt>
                <c:pt idx="101">
                  <c:v>-9.5645519402538737E-2</c:v>
                </c:pt>
                <c:pt idx="102">
                  <c:v>-9.5645519402538737E-2</c:v>
                </c:pt>
                <c:pt idx="103">
                  <c:v>-9.2208344768800465E-2</c:v>
                </c:pt>
                <c:pt idx="104">
                  <c:v>-8.4727008176903484E-2</c:v>
                </c:pt>
                <c:pt idx="105">
                  <c:v>-7.2141459993291246E-2</c:v>
                </c:pt>
                <c:pt idx="106">
                  <c:v>-7.5064583160893816E-2</c:v>
                </c:pt>
                <c:pt idx="107">
                  <c:v>-5.0808324148656769E-2</c:v>
                </c:pt>
                <c:pt idx="108">
                  <c:v>-5.0808324148656769E-2</c:v>
                </c:pt>
                <c:pt idx="109">
                  <c:v>-5.0808324148656769E-2</c:v>
                </c:pt>
                <c:pt idx="110">
                  <c:v>-3.9362692351814554E-2</c:v>
                </c:pt>
                <c:pt idx="111">
                  <c:v>-4.6787396155069216E-2</c:v>
                </c:pt>
                <c:pt idx="112">
                  <c:v>-5.1848044063213861E-2</c:v>
                </c:pt>
                <c:pt idx="113">
                  <c:v>-0.10762698450730201</c:v>
                </c:pt>
                <c:pt idx="114">
                  <c:v>-9.5702152191180612E-2</c:v>
                </c:pt>
                <c:pt idx="115">
                  <c:v>-9.5702152191180612E-2</c:v>
                </c:pt>
                <c:pt idx="116">
                  <c:v>-9.5702152191180612E-2</c:v>
                </c:pt>
                <c:pt idx="117">
                  <c:v>-8.8154017951141861E-2</c:v>
                </c:pt>
                <c:pt idx="118">
                  <c:v>-7.0847618591237449E-2</c:v>
                </c:pt>
                <c:pt idx="119">
                  <c:v>-7.4193309489477111E-2</c:v>
                </c:pt>
                <c:pt idx="120">
                  <c:v>-7.360955612962794E-2</c:v>
                </c:pt>
                <c:pt idx="121">
                  <c:v>-7.8671656160558268E-2</c:v>
                </c:pt>
                <c:pt idx="122">
                  <c:v>-7.8671656160558268E-2</c:v>
                </c:pt>
                <c:pt idx="123">
                  <c:v>-7.8671656160558268E-2</c:v>
                </c:pt>
                <c:pt idx="124">
                  <c:v>-7.2687458160712204E-2</c:v>
                </c:pt>
                <c:pt idx="125">
                  <c:v>-6.8689764131695918E-2</c:v>
                </c:pt>
                <c:pt idx="126">
                  <c:v>-9.2763055672935524E-2</c:v>
                </c:pt>
                <c:pt idx="127">
                  <c:v>-8.2773903030144647E-2</c:v>
                </c:pt>
                <c:pt idx="128">
                  <c:v>-0.10498412103733845</c:v>
                </c:pt>
                <c:pt idx="129">
                  <c:v>-0.10498412103733845</c:v>
                </c:pt>
                <c:pt idx="130">
                  <c:v>-0.10498412103733845</c:v>
                </c:pt>
                <c:pt idx="131">
                  <c:v>-9.1729144249521277E-2</c:v>
                </c:pt>
                <c:pt idx="132">
                  <c:v>-7.7659526578929494E-2</c:v>
                </c:pt>
                <c:pt idx="133">
                  <c:v>-7.2999664559636468E-2</c:v>
                </c:pt>
                <c:pt idx="134">
                  <c:v>-6.8585211291125936E-2</c:v>
                </c:pt>
                <c:pt idx="135">
                  <c:v>-6.8585211291125936E-2</c:v>
                </c:pt>
                <c:pt idx="136">
                  <c:v>-6.8585211291125936E-2</c:v>
                </c:pt>
                <c:pt idx="137">
                  <c:v>-6.8585211291125936E-2</c:v>
                </c:pt>
                <c:pt idx="138">
                  <c:v>-5.3789532227687009E-2</c:v>
                </c:pt>
                <c:pt idx="139">
                  <c:v>-6.4021189375688903E-2</c:v>
                </c:pt>
                <c:pt idx="140">
                  <c:v>-5.6680708694004323E-2</c:v>
                </c:pt>
                <c:pt idx="141">
                  <c:v>-6.1738452356577489E-2</c:v>
                </c:pt>
                <c:pt idx="142">
                  <c:v>-5.1914841711355852E-2</c:v>
                </c:pt>
                <c:pt idx="143">
                  <c:v>-5.1914841711355852E-2</c:v>
                </c:pt>
                <c:pt idx="144">
                  <c:v>-5.1914841711355852E-2</c:v>
                </c:pt>
                <c:pt idx="145">
                  <c:v>-6.079021617751923E-2</c:v>
                </c:pt>
                <c:pt idx="146">
                  <c:v>-4.807542906598028E-2</c:v>
                </c:pt>
                <c:pt idx="147">
                  <c:v>-3.9410612403742662E-2</c:v>
                </c:pt>
                <c:pt idx="148">
                  <c:v>-4.265175046141223E-2</c:v>
                </c:pt>
                <c:pt idx="149">
                  <c:v>-3.9876743817950588E-2</c:v>
                </c:pt>
                <c:pt idx="150">
                  <c:v>-3.9876743817950588E-2</c:v>
                </c:pt>
                <c:pt idx="151">
                  <c:v>-3.9876743817950588E-2</c:v>
                </c:pt>
                <c:pt idx="152">
                  <c:v>-3.180439325227602E-2</c:v>
                </c:pt>
                <c:pt idx="153">
                  <c:v>-3.0164946627227129E-2</c:v>
                </c:pt>
                <c:pt idx="154">
                  <c:v>-2.4567013288375739E-2</c:v>
                </c:pt>
                <c:pt idx="155">
                  <c:v>-3.6510723200711026E-2</c:v>
                </c:pt>
                <c:pt idx="156">
                  <c:v>-4.2455713885343194E-2</c:v>
                </c:pt>
                <c:pt idx="157">
                  <c:v>-4.2455713885343194E-2</c:v>
                </c:pt>
                <c:pt idx="158">
                  <c:v>-4.2455713885343194E-2</c:v>
                </c:pt>
                <c:pt idx="159">
                  <c:v>-3.5370806813940781E-2</c:v>
                </c:pt>
                <c:pt idx="160">
                  <c:v>-4.1603317810140594E-2</c:v>
                </c:pt>
                <c:pt idx="161">
                  <c:v>-2.9690102476304769E-2</c:v>
                </c:pt>
                <c:pt idx="162">
                  <c:v>-3.3173745039185243E-2</c:v>
                </c:pt>
                <c:pt idx="163">
                  <c:v>-2.5653201132074588E-2</c:v>
                </c:pt>
                <c:pt idx="164">
                  <c:v>-2.5653201132074588E-2</c:v>
                </c:pt>
                <c:pt idx="165">
                  <c:v>-2.5653201132074588E-2</c:v>
                </c:pt>
                <c:pt idx="166">
                  <c:v>-1.8626378972100177E-2</c:v>
                </c:pt>
                <c:pt idx="167">
                  <c:v>-1.508319937500624E-2</c:v>
                </c:pt>
                <c:pt idx="168">
                  <c:v>-8.7490397838079215E-3</c:v>
                </c:pt>
                <c:pt idx="169">
                  <c:v>-2.2667636684687853E-3</c:v>
                </c:pt>
              </c:numCache>
            </c:numRef>
          </c:val>
          <c:smooth val="0"/>
          <c:extLst>
            <c:ext xmlns:c16="http://schemas.microsoft.com/office/drawing/2014/chart" uri="{C3380CC4-5D6E-409C-BE32-E72D297353CC}">
              <c16:uniqueId val="{00000003-E20D-4E96-A113-CDF20BDFB848}"/>
            </c:ext>
          </c:extLst>
        </c:ser>
        <c:dLbls>
          <c:showLegendKey val="0"/>
          <c:showVal val="0"/>
          <c:showCatName val="0"/>
          <c:showSerName val="0"/>
          <c:showPercent val="0"/>
          <c:showBubbleSize val="0"/>
        </c:dLbls>
        <c:smooth val="0"/>
        <c:axId val="334464128"/>
        <c:axId val="334465664"/>
      </c:lineChart>
      <c:catAx>
        <c:axId val="334464128"/>
        <c:scaling>
          <c:orientation val="minMax"/>
        </c:scaling>
        <c:delete val="0"/>
        <c:axPos val="b"/>
        <c:majorGridlines>
          <c:spPr>
            <a:ln w="9525" cap="flat" cmpd="sng" algn="ctr">
              <a:solidFill>
                <a:schemeClr val="dk1">
                  <a:lumMod val="15000"/>
                  <a:lumOff val="85000"/>
                  <a:alpha val="54000"/>
                </a:schemeClr>
              </a:solidFill>
              <a:round/>
            </a:ln>
            <a:effectLst/>
          </c:spPr>
        </c:majorGridlines>
        <c:minorGridlines>
          <c:spPr>
            <a:ln w="9525" cap="flat" cmpd="sng" algn="ctr">
              <a:solidFill>
                <a:schemeClr val="dk1">
                  <a:lumMod val="15000"/>
                  <a:lumOff val="85000"/>
                  <a:alpha val="51000"/>
                </a:schemeClr>
              </a:solidFill>
              <a:round/>
            </a:ln>
            <a:effectLst/>
          </c:spPr>
        </c:minorGridlines>
        <c:title>
          <c:tx>
            <c:rich>
              <a:bodyPr rot="0" spcFirstLastPara="1" vertOverflow="ellipsis" vert="horz" wrap="square" anchor="ctr" anchorCtr="1"/>
              <a:lstStyle/>
              <a:p>
                <a:pPr>
                  <a:defRPr sz="1000" b="1" i="0" u="none" strike="noStrike" kern="1200" baseline="0">
                    <a:solidFill>
                      <a:schemeClr val="dk1">
                        <a:lumMod val="65000"/>
                        <a:lumOff val="35000"/>
                      </a:schemeClr>
                    </a:solidFill>
                    <a:latin typeface="+mn-lt"/>
                    <a:ea typeface="+mn-ea"/>
                    <a:cs typeface="+mn-cs"/>
                  </a:defRPr>
                </a:pPr>
                <a:r>
                  <a:rPr lang="de-DE" sz="1000" dirty="0"/>
                  <a:t>Trading </a:t>
                </a:r>
                <a:r>
                  <a:rPr lang="de-DE" sz="1000" dirty="0" err="1"/>
                  <a:t>days</a:t>
                </a:r>
                <a:endParaRPr lang="de-DE" sz="1000" dirty="0"/>
              </a:p>
            </c:rich>
          </c:tx>
          <c:layout>
            <c:manualLayout>
              <c:xMode val="edge"/>
              <c:yMode val="edge"/>
              <c:x val="0.82905831482603132"/>
              <c:y val="0.77028626036827874"/>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dk1">
                      <a:lumMod val="65000"/>
                      <a:lumOff val="35000"/>
                    </a:schemeClr>
                  </a:solidFill>
                  <a:latin typeface="+mn-lt"/>
                  <a:ea typeface="+mn-ea"/>
                  <a:cs typeface="+mn-cs"/>
                </a:defRPr>
              </a:pPr>
              <a:endParaRPr lang="nl-NL"/>
            </a:p>
          </c:txPr>
        </c:title>
        <c:numFmt formatCode="General" sourceLinked="0"/>
        <c:majorTickMark val="none"/>
        <c:minorTickMark val="none"/>
        <c:tickLblPos val="low"/>
        <c:spPr>
          <a:noFill/>
          <a:ln w="9525" cap="flat" cmpd="sng" algn="ctr">
            <a:solidFill>
              <a:schemeClr val="dk1">
                <a:lumMod val="15000"/>
                <a:lumOff val="85000"/>
              </a:schemeClr>
            </a:solidFill>
            <a:round/>
          </a:ln>
          <a:effectLst/>
        </c:spPr>
        <c:txPr>
          <a:bodyPr rot="0" spcFirstLastPara="1" vertOverflow="ellipsis" wrap="square" anchor="ctr" anchorCtr="1"/>
          <a:lstStyle/>
          <a:p>
            <a:pPr>
              <a:defRPr sz="900" b="0" i="0" u="none" strike="noStrike" kern="1200" cap="none" spc="0" normalizeH="0" baseline="0">
                <a:solidFill>
                  <a:schemeClr val="dk1">
                    <a:lumMod val="65000"/>
                    <a:lumOff val="35000"/>
                  </a:schemeClr>
                </a:solidFill>
                <a:latin typeface="+mn-lt"/>
                <a:ea typeface="+mn-ea"/>
                <a:cs typeface="+mn-cs"/>
              </a:defRPr>
            </a:pPr>
            <a:endParaRPr lang="nl-NL"/>
          </a:p>
        </c:txPr>
        <c:crossAx val="334465664"/>
        <c:crosses val="autoZero"/>
        <c:auto val="1"/>
        <c:lblAlgn val="ctr"/>
        <c:lblOffset val="100"/>
        <c:tickLblSkip val="200"/>
        <c:tickMarkSkip val="200"/>
        <c:noMultiLvlLbl val="1"/>
      </c:catAx>
      <c:valAx>
        <c:axId val="334465664"/>
        <c:scaling>
          <c:orientation val="minMax"/>
          <c:max val="0.1"/>
        </c:scaling>
        <c:delete val="0"/>
        <c:axPos val="l"/>
        <c:majorGridlines>
          <c:spPr>
            <a:ln w="9525" cap="flat" cmpd="sng" algn="ctr">
              <a:solidFill>
                <a:schemeClr val="dk1">
                  <a:lumMod val="15000"/>
                  <a:lumOff val="85000"/>
                  <a:alpha val="54000"/>
                </a:schemeClr>
              </a:solidFill>
              <a:round/>
            </a:ln>
            <a:effectLst/>
          </c:spPr>
        </c:majorGridlines>
        <c:title>
          <c:tx>
            <c:rich>
              <a:bodyPr rot="-5400000" spcFirstLastPara="1" vertOverflow="ellipsis" vert="horz" wrap="square" anchor="ctr" anchorCtr="1"/>
              <a:lstStyle/>
              <a:p>
                <a:pPr>
                  <a:defRPr sz="1000" b="1" i="0" u="none" strike="noStrike" kern="1200" baseline="0">
                    <a:solidFill>
                      <a:schemeClr val="dk1">
                        <a:lumMod val="65000"/>
                        <a:lumOff val="35000"/>
                      </a:schemeClr>
                    </a:solidFill>
                    <a:latin typeface="+mn-lt"/>
                    <a:ea typeface="+mn-ea"/>
                    <a:cs typeface="+mn-cs"/>
                  </a:defRPr>
                </a:pPr>
                <a:r>
                  <a:rPr lang="de-DE" sz="1000"/>
                  <a:t>Return</a:t>
                </a:r>
                <a:r>
                  <a:rPr lang="de-DE" sz="1000" baseline="0"/>
                  <a:t> in %</a:t>
                </a:r>
                <a:endParaRPr lang="de-DE" sz="1000"/>
              </a:p>
            </c:rich>
          </c:tx>
          <c:layout>
            <c:manualLayout>
              <c:xMode val="edge"/>
              <c:yMode val="edge"/>
              <c:x val="7.0512820512820512E-2"/>
              <c:y val="0.60047442027327103"/>
            </c:manualLayout>
          </c:layout>
          <c:overlay val="0"/>
          <c:spPr>
            <a:noFill/>
            <a:ln>
              <a:noFill/>
            </a:ln>
            <a:effectLst/>
          </c:spPr>
          <c:txPr>
            <a:bodyPr rot="-5400000" spcFirstLastPara="1" vertOverflow="ellipsis" vert="horz" wrap="square" anchor="ctr" anchorCtr="1"/>
            <a:lstStyle/>
            <a:p>
              <a:pPr>
                <a:defRPr sz="1000" b="1" i="0" u="none" strike="noStrike" kern="1200" baseline="0">
                  <a:solidFill>
                    <a:schemeClr val="dk1">
                      <a:lumMod val="65000"/>
                      <a:lumOff val="35000"/>
                    </a:schemeClr>
                  </a:solidFill>
                  <a:latin typeface="+mn-lt"/>
                  <a:ea typeface="+mn-ea"/>
                  <a:cs typeface="+mn-cs"/>
                </a:defRPr>
              </a:pPr>
              <a:endParaRPr lang="nl-NL"/>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nl-NL"/>
          </a:p>
        </c:txPr>
        <c:crossAx val="334464128"/>
        <c:crosses val="autoZero"/>
        <c:crossBetween val="between"/>
      </c:valAx>
      <c:spPr>
        <a:pattFill prst="ltDnDiag">
          <a:fgClr>
            <a:srgbClr val="000000">
              <a:alpha val="0"/>
            </a:srgbClr>
          </a:fgClr>
          <a:bgClr>
            <a:srgbClr val="FFFFFF"/>
          </a:bgClr>
        </a:pattFill>
        <a:ln w="25400">
          <a:noFill/>
        </a:ln>
        <a:effectLst/>
      </c:spPr>
    </c:plotArea>
    <c:legend>
      <c:legendPos val="b"/>
      <c:layout>
        <c:manualLayout>
          <c:xMode val="edge"/>
          <c:yMode val="edge"/>
          <c:x val="0.58813077548231196"/>
          <c:y val="0.47823996941384361"/>
          <c:w val="0.40960240358065014"/>
          <c:h val="0.2709371519324838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nl-NL"/>
        </a:p>
      </c:txPr>
    </c:legend>
    <c:plotVisOnly val="1"/>
    <c:dispBlanksAs val="gap"/>
    <c:showDLblsOverMax val="0"/>
  </c:chart>
  <c:spPr>
    <a:solidFill>
      <a:schemeClr val="lt1"/>
    </a:solidFill>
    <a:ln w="9525" cap="flat" cmpd="sng" algn="ctr">
      <a:noFill/>
      <a:round/>
    </a:ln>
    <a:effectLst/>
  </c:spPr>
  <c:txPr>
    <a:bodyPr/>
    <a:lstStyle/>
    <a:p>
      <a:pPr>
        <a:defRPr/>
      </a:pPr>
      <a:endParaRPr lang="nl-NL"/>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Worksheet!$R$7</c:f>
              <c:strCache>
                <c:ptCount val="1"/>
                <c:pt idx="0">
                  <c:v>S&amp;P 500</c:v>
                </c:pt>
              </c:strCache>
            </c:strRef>
          </c:tx>
          <c:spPr>
            <a:ln w="28575" cap="rnd">
              <a:solidFill>
                <a:srgbClr val="326295"/>
              </a:solidFill>
              <a:round/>
            </a:ln>
            <a:effectLst/>
          </c:spPr>
          <c:marker>
            <c:symbol val="none"/>
          </c:marker>
          <c:cat>
            <c:numRef>
              <c:f>Worksheet!$Q$8:$Q$509</c:f>
              <c:numCache>
                <c:formatCode>m/d/yyyy</c:formatCode>
                <c:ptCount val="502"/>
                <c:pt idx="0">
                  <c:v>44469</c:v>
                </c:pt>
                <c:pt idx="1">
                  <c:v>44439</c:v>
                </c:pt>
                <c:pt idx="2">
                  <c:v>44407</c:v>
                </c:pt>
                <c:pt idx="3">
                  <c:v>44377</c:v>
                </c:pt>
                <c:pt idx="4">
                  <c:v>44347</c:v>
                </c:pt>
                <c:pt idx="5">
                  <c:v>44316</c:v>
                </c:pt>
                <c:pt idx="6">
                  <c:v>44286</c:v>
                </c:pt>
                <c:pt idx="7">
                  <c:v>44253</c:v>
                </c:pt>
                <c:pt idx="8">
                  <c:v>44225</c:v>
                </c:pt>
                <c:pt idx="9">
                  <c:v>44196</c:v>
                </c:pt>
                <c:pt idx="10">
                  <c:v>44165</c:v>
                </c:pt>
                <c:pt idx="11">
                  <c:v>44134</c:v>
                </c:pt>
                <c:pt idx="12">
                  <c:v>44104</c:v>
                </c:pt>
                <c:pt idx="13">
                  <c:v>44074</c:v>
                </c:pt>
                <c:pt idx="14">
                  <c:v>44043</c:v>
                </c:pt>
                <c:pt idx="15">
                  <c:v>44012</c:v>
                </c:pt>
                <c:pt idx="16">
                  <c:v>43980</c:v>
                </c:pt>
                <c:pt idx="17">
                  <c:v>43951</c:v>
                </c:pt>
                <c:pt idx="18">
                  <c:v>43921</c:v>
                </c:pt>
                <c:pt idx="19">
                  <c:v>43889</c:v>
                </c:pt>
                <c:pt idx="20">
                  <c:v>43861</c:v>
                </c:pt>
                <c:pt idx="21">
                  <c:v>43830</c:v>
                </c:pt>
                <c:pt idx="22">
                  <c:v>43798</c:v>
                </c:pt>
                <c:pt idx="23">
                  <c:v>43769</c:v>
                </c:pt>
                <c:pt idx="24">
                  <c:v>43738</c:v>
                </c:pt>
                <c:pt idx="25">
                  <c:v>43707</c:v>
                </c:pt>
                <c:pt idx="26">
                  <c:v>43677</c:v>
                </c:pt>
                <c:pt idx="27">
                  <c:v>43644</c:v>
                </c:pt>
                <c:pt idx="28">
                  <c:v>43616</c:v>
                </c:pt>
                <c:pt idx="29">
                  <c:v>43585</c:v>
                </c:pt>
                <c:pt idx="30">
                  <c:v>43553</c:v>
                </c:pt>
                <c:pt idx="31">
                  <c:v>43524</c:v>
                </c:pt>
                <c:pt idx="32">
                  <c:v>43496</c:v>
                </c:pt>
                <c:pt idx="33">
                  <c:v>43465</c:v>
                </c:pt>
                <c:pt idx="34">
                  <c:v>43434</c:v>
                </c:pt>
                <c:pt idx="35">
                  <c:v>43404</c:v>
                </c:pt>
                <c:pt idx="36">
                  <c:v>43371</c:v>
                </c:pt>
                <c:pt idx="37">
                  <c:v>43343</c:v>
                </c:pt>
                <c:pt idx="38">
                  <c:v>43312</c:v>
                </c:pt>
                <c:pt idx="39">
                  <c:v>43280</c:v>
                </c:pt>
                <c:pt idx="40">
                  <c:v>43251</c:v>
                </c:pt>
                <c:pt idx="41">
                  <c:v>43220</c:v>
                </c:pt>
                <c:pt idx="42">
                  <c:v>43189</c:v>
                </c:pt>
                <c:pt idx="43">
                  <c:v>43159</c:v>
                </c:pt>
                <c:pt idx="44">
                  <c:v>43131</c:v>
                </c:pt>
                <c:pt idx="45">
                  <c:v>43098</c:v>
                </c:pt>
                <c:pt idx="46">
                  <c:v>43069</c:v>
                </c:pt>
                <c:pt idx="47">
                  <c:v>43039</c:v>
                </c:pt>
                <c:pt idx="48">
                  <c:v>43007</c:v>
                </c:pt>
                <c:pt idx="49">
                  <c:v>42978</c:v>
                </c:pt>
                <c:pt idx="50">
                  <c:v>42947</c:v>
                </c:pt>
                <c:pt idx="51">
                  <c:v>42916</c:v>
                </c:pt>
                <c:pt idx="52">
                  <c:v>42886</c:v>
                </c:pt>
                <c:pt idx="53">
                  <c:v>42853</c:v>
                </c:pt>
                <c:pt idx="54">
                  <c:v>42825</c:v>
                </c:pt>
                <c:pt idx="55">
                  <c:v>42794</c:v>
                </c:pt>
                <c:pt idx="56">
                  <c:v>42766</c:v>
                </c:pt>
                <c:pt idx="57">
                  <c:v>42734</c:v>
                </c:pt>
                <c:pt idx="58">
                  <c:v>42704</c:v>
                </c:pt>
                <c:pt idx="59">
                  <c:v>42674</c:v>
                </c:pt>
                <c:pt idx="60">
                  <c:v>42643</c:v>
                </c:pt>
                <c:pt idx="61">
                  <c:v>42613</c:v>
                </c:pt>
                <c:pt idx="62">
                  <c:v>42580</c:v>
                </c:pt>
                <c:pt idx="63">
                  <c:v>42551</c:v>
                </c:pt>
                <c:pt idx="64">
                  <c:v>42521</c:v>
                </c:pt>
                <c:pt idx="65">
                  <c:v>42489</c:v>
                </c:pt>
                <c:pt idx="66">
                  <c:v>42460</c:v>
                </c:pt>
                <c:pt idx="67">
                  <c:v>42429</c:v>
                </c:pt>
                <c:pt idx="68">
                  <c:v>42398</c:v>
                </c:pt>
                <c:pt idx="69">
                  <c:v>42369</c:v>
                </c:pt>
                <c:pt idx="70">
                  <c:v>42338</c:v>
                </c:pt>
                <c:pt idx="71">
                  <c:v>42307</c:v>
                </c:pt>
                <c:pt idx="72">
                  <c:v>42277</c:v>
                </c:pt>
                <c:pt idx="73">
                  <c:v>42247</c:v>
                </c:pt>
                <c:pt idx="74">
                  <c:v>42216</c:v>
                </c:pt>
                <c:pt idx="75">
                  <c:v>42185</c:v>
                </c:pt>
                <c:pt idx="76">
                  <c:v>42153</c:v>
                </c:pt>
                <c:pt idx="77">
                  <c:v>42124</c:v>
                </c:pt>
                <c:pt idx="78">
                  <c:v>42094</c:v>
                </c:pt>
                <c:pt idx="79">
                  <c:v>42062</c:v>
                </c:pt>
                <c:pt idx="80">
                  <c:v>42034</c:v>
                </c:pt>
                <c:pt idx="81">
                  <c:v>42004</c:v>
                </c:pt>
                <c:pt idx="82">
                  <c:v>41971</c:v>
                </c:pt>
                <c:pt idx="83">
                  <c:v>41943</c:v>
                </c:pt>
                <c:pt idx="84">
                  <c:v>41912</c:v>
                </c:pt>
                <c:pt idx="85">
                  <c:v>41880</c:v>
                </c:pt>
                <c:pt idx="86">
                  <c:v>41851</c:v>
                </c:pt>
                <c:pt idx="87">
                  <c:v>41820</c:v>
                </c:pt>
                <c:pt idx="88">
                  <c:v>41789</c:v>
                </c:pt>
                <c:pt idx="89">
                  <c:v>41759</c:v>
                </c:pt>
                <c:pt idx="90">
                  <c:v>41729</c:v>
                </c:pt>
                <c:pt idx="91">
                  <c:v>41698</c:v>
                </c:pt>
                <c:pt idx="92">
                  <c:v>41670</c:v>
                </c:pt>
                <c:pt idx="93">
                  <c:v>41639</c:v>
                </c:pt>
                <c:pt idx="94">
                  <c:v>41607</c:v>
                </c:pt>
                <c:pt idx="95">
                  <c:v>41578</c:v>
                </c:pt>
                <c:pt idx="96">
                  <c:v>41547</c:v>
                </c:pt>
                <c:pt idx="97">
                  <c:v>41516</c:v>
                </c:pt>
                <c:pt idx="98">
                  <c:v>41486</c:v>
                </c:pt>
                <c:pt idx="99">
                  <c:v>41453</c:v>
                </c:pt>
                <c:pt idx="100">
                  <c:v>41425</c:v>
                </c:pt>
                <c:pt idx="101">
                  <c:v>41394</c:v>
                </c:pt>
                <c:pt idx="102">
                  <c:v>41362</c:v>
                </c:pt>
                <c:pt idx="103">
                  <c:v>41333</c:v>
                </c:pt>
                <c:pt idx="104">
                  <c:v>41305</c:v>
                </c:pt>
                <c:pt idx="105">
                  <c:v>41274</c:v>
                </c:pt>
                <c:pt idx="106">
                  <c:v>41243</c:v>
                </c:pt>
                <c:pt idx="107">
                  <c:v>41213</c:v>
                </c:pt>
                <c:pt idx="108">
                  <c:v>41180</c:v>
                </c:pt>
                <c:pt idx="109">
                  <c:v>41152</c:v>
                </c:pt>
                <c:pt idx="110">
                  <c:v>41121</c:v>
                </c:pt>
                <c:pt idx="111">
                  <c:v>41089</c:v>
                </c:pt>
                <c:pt idx="112">
                  <c:v>41060</c:v>
                </c:pt>
                <c:pt idx="113">
                  <c:v>41029</c:v>
                </c:pt>
                <c:pt idx="114">
                  <c:v>40998</c:v>
                </c:pt>
                <c:pt idx="115">
                  <c:v>40968</c:v>
                </c:pt>
                <c:pt idx="116">
                  <c:v>40939</c:v>
                </c:pt>
                <c:pt idx="117">
                  <c:v>40907</c:v>
                </c:pt>
                <c:pt idx="118">
                  <c:v>40877</c:v>
                </c:pt>
                <c:pt idx="119">
                  <c:v>40847</c:v>
                </c:pt>
                <c:pt idx="120">
                  <c:v>40816</c:v>
                </c:pt>
                <c:pt idx="121">
                  <c:v>40786</c:v>
                </c:pt>
                <c:pt idx="122">
                  <c:v>40753</c:v>
                </c:pt>
                <c:pt idx="123">
                  <c:v>40724</c:v>
                </c:pt>
                <c:pt idx="124">
                  <c:v>40694</c:v>
                </c:pt>
                <c:pt idx="125">
                  <c:v>40662</c:v>
                </c:pt>
                <c:pt idx="126">
                  <c:v>40633</c:v>
                </c:pt>
                <c:pt idx="127">
                  <c:v>40602</c:v>
                </c:pt>
                <c:pt idx="128">
                  <c:v>40574</c:v>
                </c:pt>
                <c:pt idx="129">
                  <c:v>40543</c:v>
                </c:pt>
                <c:pt idx="130">
                  <c:v>40512</c:v>
                </c:pt>
                <c:pt idx="131">
                  <c:v>40480</c:v>
                </c:pt>
                <c:pt idx="132">
                  <c:v>40451</c:v>
                </c:pt>
                <c:pt idx="133">
                  <c:v>40421</c:v>
                </c:pt>
                <c:pt idx="134">
                  <c:v>40389</c:v>
                </c:pt>
                <c:pt idx="135">
                  <c:v>40359</c:v>
                </c:pt>
                <c:pt idx="136">
                  <c:v>40329</c:v>
                </c:pt>
                <c:pt idx="137">
                  <c:v>40298</c:v>
                </c:pt>
                <c:pt idx="138">
                  <c:v>40268</c:v>
                </c:pt>
                <c:pt idx="139">
                  <c:v>40235</c:v>
                </c:pt>
                <c:pt idx="140">
                  <c:v>40207</c:v>
                </c:pt>
                <c:pt idx="141">
                  <c:v>40178</c:v>
                </c:pt>
                <c:pt idx="142">
                  <c:v>40147</c:v>
                </c:pt>
                <c:pt idx="143">
                  <c:v>40116</c:v>
                </c:pt>
                <c:pt idx="144">
                  <c:v>40086</c:v>
                </c:pt>
                <c:pt idx="145">
                  <c:v>40056</c:v>
                </c:pt>
                <c:pt idx="146">
                  <c:v>40025</c:v>
                </c:pt>
                <c:pt idx="147">
                  <c:v>39994</c:v>
                </c:pt>
                <c:pt idx="148">
                  <c:v>39962</c:v>
                </c:pt>
                <c:pt idx="149">
                  <c:v>39933</c:v>
                </c:pt>
                <c:pt idx="150">
                  <c:v>39903</c:v>
                </c:pt>
                <c:pt idx="151">
                  <c:v>39871</c:v>
                </c:pt>
                <c:pt idx="152">
                  <c:v>39843</c:v>
                </c:pt>
                <c:pt idx="153">
                  <c:v>39813</c:v>
                </c:pt>
                <c:pt idx="154">
                  <c:v>39780</c:v>
                </c:pt>
                <c:pt idx="155">
                  <c:v>39752</c:v>
                </c:pt>
                <c:pt idx="156">
                  <c:v>39721</c:v>
                </c:pt>
                <c:pt idx="157">
                  <c:v>39689</c:v>
                </c:pt>
                <c:pt idx="158">
                  <c:v>39660</c:v>
                </c:pt>
                <c:pt idx="159">
                  <c:v>39629</c:v>
                </c:pt>
                <c:pt idx="160">
                  <c:v>39598</c:v>
                </c:pt>
                <c:pt idx="161">
                  <c:v>39568</c:v>
                </c:pt>
                <c:pt idx="162">
                  <c:v>39538</c:v>
                </c:pt>
                <c:pt idx="163">
                  <c:v>39507</c:v>
                </c:pt>
                <c:pt idx="164">
                  <c:v>39478</c:v>
                </c:pt>
                <c:pt idx="165">
                  <c:v>39447</c:v>
                </c:pt>
                <c:pt idx="166">
                  <c:v>39416</c:v>
                </c:pt>
                <c:pt idx="167">
                  <c:v>39386</c:v>
                </c:pt>
                <c:pt idx="168">
                  <c:v>39353</c:v>
                </c:pt>
                <c:pt idx="169">
                  <c:v>39325</c:v>
                </c:pt>
                <c:pt idx="170">
                  <c:v>39294</c:v>
                </c:pt>
                <c:pt idx="171">
                  <c:v>39262</c:v>
                </c:pt>
                <c:pt idx="172">
                  <c:v>39233</c:v>
                </c:pt>
                <c:pt idx="173">
                  <c:v>39202</c:v>
                </c:pt>
                <c:pt idx="174">
                  <c:v>39171</c:v>
                </c:pt>
                <c:pt idx="175">
                  <c:v>39141</c:v>
                </c:pt>
                <c:pt idx="176">
                  <c:v>39113</c:v>
                </c:pt>
                <c:pt idx="177">
                  <c:v>39080</c:v>
                </c:pt>
                <c:pt idx="178">
                  <c:v>39051</c:v>
                </c:pt>
                <c:pt idx="179">
                  <c:v>39021</c:v>
                </c:pt>
                <c:pt idx="180">
                  <c:v>38989</c:v>
                </c:pt>
                <c:pt idx="181">
                  <c:v>38960</c:v>
                </c:pt>
                <c:pt idx="182">
                  <c:v>38929</c:v>
                </c:pt>
                <c:pt idx="183">
                  <c:v>38898</c:v>
                </c:pt>
                <c:pt idx="184">
                  <c:v>38868</c:v>
                </c:pt>
                <c:pt idx="185">
                  <c:v>38835</c:v>
                </c:pt>
                <c:pt idx="186">
                  <c:v>38807</c:v>
                </c:pt>
                <c:pt idx="187">
                  <c:v>38776</c:v>
                </c:pt>
                <c:pt idx="188">
                  <c:v>38748</c:v>
                </c:pt>
                <c:pt idx="189">
                  <c:v>38716</c:v>
                </c:pt>
                <c:pt idx="190">
                  <c:v>38686</c:v>
                </c:pt>
                <c:pt idx="191">
                  <c:v>38656</c:v>
                </c:pt>
                <c:pt idx="192">
                  <c:v>38625</c:v>
                </c:pt>
                <c:pt idx="193">
                  <c:v>38595</c:v>
                </c:pt>
                <c:pt idx="194">
                  <c:v>38562</c:v>
                </c:pt>
                <c:pt idx="195">
                  <c:v>38533</c:v>
                </c:pt>
                <c:pt idx="196">
                  <c:v>38503</c:v>
                </c:pt>
                <c:pt idx="197">
                  <c:v>38471</c:v>
                </c:pt>
                <c:pt idx="198">
                  <c:v>38442</c:v>
                </c:pt>
                <c:pt idx="199">
                  <c:v>38411</c:v>
                </c:pt>
                <c:pt idx="200">
                  <c:v>38383</c:v>
                </c:pt>
                <c:pt idx="201">
                  <c:v>38352</c:v>
                </c:pt>
                <c:pt idx="202">
                  <c:v>38321</c:v>
                </c:pt>
                <c:pt idx="203">
                  <c:v>38289</c:v>
                </c:pt>
                <c:pt idx="204">
                  <c:v>38260</c:v>
                </c:pt>
                <c:pt idx="205">
                  <c:v>38230</c:v>
                </c:pt>
                <c:pt idx="206">
                  <c:v>38198</c:v>
                </c:pt>
                <c:pt idx="207">
                  <c:v>38168</c:v>
                </c:pt>
                <c:pt idx="208">
                  <c:v>38138</c:v>
                </c:pt>
                <c:pt idx="209">
                  <c:v>38107</c:v>
                </c:pt>
                <c:pt idx="210">
                  <c:v>38077</c:v>
                </c:pt>
                <c:pt idx="211">
                  <c:v>38044</c:v>
                </c:pt>
                <c:pt idx="212">
                  <c:v>38016</c:v>
                </c:pt>
                <c:pt idx="213">
                  <c:v>37986</c:v>
                </c:pt>
                <c:pt idx="214">
                  <c:v>37953</c:v>
                </c:pt>
                <c:pt idx="215">
                  <c:v>37925</c:v>
                </c:pt>
                <c:pt idx="216">
                  <c:v>37894</c:v>
                </c:pt>
                <c:pt idx="217">
                  <c:v>37862</c:v>
                </c:pt>
                <c:pt idx="218">
                  <c:v>37833</c:v>
                </c:pt>
                <c:pt idx="219">
                  <c:v>37802</c:v>
                </c:pt>
                <c:pt idx="220">
                  <c:v>37771</c:v>
                </c:pt>
                <c:pt idx="221">
                  <c:v>37741</c:v>
                </c:pt>
                <c:pt idx="222">
                  <c:v>37711</c:v>
                </c:pt>
                <c:pt idx="223">
                  <c:v>37680</c:v>
                </c:pt>
                <c:pt idx="224">
                  <c:v>37652</c:v>
                </c:pt>
                <c:pt idx="225">
                  <c:v>37621</c:v>
                </c:pt>
                <c:pt idx="226">
                  <c:v>37589</c:v>
                </c:pt>
                <c:pt idx="227">
                  <c:v>37560</c:v>
                </c:pt>
                <c:pt idx="228">
                  <c:v>37529</c:v>
                </c:pt>
                <c:pt idx="229">
                  <c:v>37498</c:v>
                </c:pt>
                <c:pt idx="230">
                  <c:v>37468</c:v>
                </c:pt>
                <c:pt idx="231">
                  <c:v>37435</c:v>
                </c:pt>
                <c:pt idx="232">
                  <c:v>37407</c:v>
                </c:pt>
                <c:pt idx="233">
                  <c:v>37376</c:v>
                </c:pt>
                <c:pt idx="234">
                  <c:v>37344</c:v>
                </c:pt>
                <c:pt idx="235">
                  <c:v>37315</c:v>
                </c:pt>
                <c:pt idx="236">
                  <c:v>37287</c:v>
                </c:pt>
                <c:pt idx="237">
                  <c:v>37256</c:v>
                </c:pt>
                <c:pt idx="238">
                  <c:v>37225</c:v>
                </c:pt>
                <c:pt idx="239">
                  <c:v>37195</c:v>
                </c:pt>
                <c:pt idx="240">
                  <c:v>37162</c:v>
                </c:pt>
                <c:pt idx="241">
                  <c:v>37134</c:v>
                </c:pt>
                <c:pt idx="242">
                  <c:v>37103</c:v>
                </c:pt>
                <c:pt idx="243">
                  <c:v>37071</c:v>
                </c:pt>
                <c:pt idx="244">
                  <c:v>37042</c:v>
                </c:pt>
                <c:pt idx="245">
                  <c:v>37011</c:v>
                </c:pt>
                <c:pt idx="246">
                  <c:v>36980</c:v>
                </c:pt>
                <c:pt idx="247">
                  <c:v>36950</c:v>
                </c:pt>
                <c:pt idx="248">
                  <c:v>36922</c:v>
                </c:pt>
                <c:pt idx="249">
                  <c:v>36889</c:v>
                </c:pt>
                <c:pt idx="250">
                  <c:v>36860</c:v>
                </c:pt>
                <c:pt idx="251">
                  <c:v>36830</c:v>
                </c:pt>
                <c:pt idx="252">
                  <c:v>36798</c:v>
                </c:pt>
                <c:pt idx="253">
                  <c:v>36769</c:v>
                </c:pt>
                <c:pt idx="254">
                  <c:v>36738</c:v>
                </c:pt>
                <c:pt idx="255">
                  <c:v>36707</c:v>
                </c:pt>
                <c:pt idx="256">
                  <c:v>36677</c:v>
                </c:pt>
                <c:pt idx="257">
                  <c:v>36644</c:v>
                </c:pt>
                <c:pt idx="258">
                  <c:v>36616</c:v>
                </c:pt>
                <c:pt idx="259">
                  <c:v>36585</c:v>
                </c:pt>
                <c:pt idx="260">
                  <c:v>36556</c:v>
                </c:pt>
                <c:pt idx="261">
                  <c:v>36525</c:v>
                </c:pt>
                <c:pt idx="262">
                  <c:v>36494</c:v>
                </c:pt>
                <c:pt idx="263">
                  <c:v>36462</c:v>
                </c:pt>
                <c:pt idx="264">
                  <c:v>36433</c:v>
                </c:pt>
                <c:pt idx="265">
                  <c:v>36403</c:v>
                </c:pt>
                <c:pt idx="266">
                  <c:v>36371</c:v>
                </c:pt>
                <c:pt idx="267">
                  <c:v>36341</c:v>
                </c:pt>
                <c:pt idx="268">
                  <c:v>36311</c:v>
                </c:pt>
                <c:pt idx="269">
                  <c:v>36280</c:v>
                </c:pt>
                <c:pt idx="270">
                  <c:v>36250</c:v>
                </c:pt>
                <c:pt idx="271">
                  <c:v>36217</c:v>
                </c:pt>
                <c:pt idx="272">
                  <c:v>36189</c:v>
                </c:pt>
                <c:pt idx="273">
                  <c:v>36160</c:v>
                </c:pt>
                <c:pt idx="274">
                  <c:v>36129</c:v>
                </c:pt>
                <c:pt idx="275">
                  <c:v>36098</c:v>
                </c:pt>
                <c:pt idx="276">
                  <c:v>36068</c:v>
                </c:pt>
                <c:pt idx="277">
                  <c:v>36038</c:v>
                </c:pt>
                <c:pt idx="278">
                  <c:v>36007</c:v>
                </c:pt>
                <c:pt idx="279">
                  <c:v>35976</c:v>
                </c:pt>
                <c:pt idx="280">
                  <c:v>35944</c:v>
                </c:pt>
                <c:pt idx="281">
                  <c:v>35915</c:v>
                </c:pt>
                <c:pt idx="282">
                  <c:v>35885</c:v>
                </c:pt>
                <c:pt idx="283">
                  <c:v>35853</c:v>
                </c:pt>
                <c:pt idx="284">
                  <c:v>35825</c:v>
                </c:pt>
                <c:pt idx="285">
                  <c:v>35795</c:v>
                </c:pt>
                <c:pt idx="286">
                  <c:v>35762</c:v>
                </c:pt>
                <c:pt idx="287">
                  <c:v>35734</c:v>
                </c:pt>
                <c:pt idx="288">
                  <c:v>35703</c:v>
                </c:pt>
                <c:pt idx="289">
                  <c:v>35671</c:v>
                </c:pt>
                <c:pt idx="290">
                  <c:v>35642</c:v>
                </c:pt>
                <c:pt idx="291">
                  <c:v>35611</c:v>
                </c:pt>
                <c:pt idx="292">
                  <c:v>35580</c:v>
                </c:pt>
                <c:pt idx="293">
                  <c:v>35550</c:v>
                </c:pt>
                <c:pt idx="294">
                  <c:v>35520</c:v>
                </c:pt>
                <c:pt idx="295">
                  <c:v>35489</c:v>
                </c:pt>
                <c:pt idx="296">
                  <c:v>35461</c:v>
                </c:pt>
                <c:pt idx="297">
                  <c:v>35430</c:v>
                </c:pt>
                <c:pt idx="298">
                  <c:v>35398</c:v>
                </c:pt>
                <c:pt idx="299">
                  <c:v>35369</c:v>
                </c:pt>
                <c:pt idx="300">
                  <c:v>35338</c:v>
                </c:pt>
                <c:pt idx="301">
                  <c:v>35307</c:v>
                </c:pt>
                <c:pt idx="302">
                  <c:v>35277</c:v>
                </c:pt>
                <c:pt idx="303">
                  <c:v>35244</c:v>
                </c:pt>
                <c:pt idx="304">
                  <c:v>35216</c:v>
                </c:pt>
                <c:pt idx="305">
                  <c:v>35185</c:v>
                </c:pt>
                <c:pt idx="306">
                  <c:v>35153</c:v>
                </c:pt>
                <c:pt idx="307">
                  <c:v>35124</c:v>
                </c:pt>
                <c:pt idx="308">
                  <c:v>35095</c:v>
                </c:pt>
                <c:pt idx="309">
                  <c:v>35062</c:v>
                </c:pt>
                <c:pt idx="310">
                  <c:v>35033</c:v>
                </c:pt>
                <c:pt idx="311">
                  <c:v>35003</c:v>
                </c:pt>
                <c:pt idx="312">
                  <c:v>34971</c:v>
                </c:pt>
                <c:pt idx="313">
                  <c:v>34942</c:v>
                </c:pt>
                <c:pt idx="314">
                  <c:v>34911</c:v>
                </c:pt>
                <c:pt idx="315">
                  <c:v>34880</c:v>
                </c:pt>
                <c:pt idx="316">
                  <c:v>34850</c:v>
                </c:pt>
                <c:pt idx="317">
                  <c:v>34817</c:v>
                </c:pt>
                <c:pt idx="318">
                  <c:v>34789</c:v>
                </c:pt>
                <c:pt idx="319">
                  <c:v>34758</c:v>
                </c:pt>
                <c:pt idx="320">
                  <c:v>34730</c:v>
                </c:pt>
                <c:pt idx="321">
                  <c:v>34698</c:v>
                </c:pt>
                <c:pt idx="322">
                  <c:v>34668</c:v>
                </c:pt>
                <c:pt idx="323">
                  <c:v>34638</c:v>
                </c:pt>
                <c:pt idx="324">
                  <c:v>34607</c:v>
                </c:pt>
                <c:pt idx="325">
                  <c:v>34577</c:v>
                </c:pt>
                <c:pt idx="326">
                  <c:v>34544</c:v>
                </c:pt>
                <c:pt idx="327">
                  <c:v>34515</c:v>
                </c:pt>
                <c:pt idx="328">
                  <c:v>34485</c:v>
                </c:pt>
                <c:pt idx="329">
                  <c:v>34453</c:v>
                </c:pt>
                <c:pt idx="330">
                  <c:v>34424</c:v>
                </c:pt>
                <c:pt idx="331">
                  <c:v>34393</c:v>
                </c:pt>
                <c:pt idx="332">
                  <c:v>34365</c:v>
                </c:pt>
                <c:pt idx="333">
                  <c:v>34334</c:v>
                </c:pt>
                <c:pt idx="334">
                  <c:v>34303</c:v>
                </c:pt>
                <c:pt idx="335">
                  <c:v>34271</c:v>
                </c:pt>
                <c:pt idx="336">
                  <c:v>34242</c:v>
                </c:pt>
                <c:pt idx="337">
                  <c:v>34212</c:v>
                </c:pt>
                <c:pt idx="338">
                  <c:v>34180</c:v>
                </c:pt>
                <c:pt idx="339">
                  <c:v>34150</c:v>
                </c:pt>
                <c:pt idx="340">
                  <c:v>34120</c:v>
                </c:pt>
                <c:pt idx="341">
                  <c:v>34089</c:v>
                </c:pt>
                <c:pt idx="342">
                  <c:v>34059</c:v>
                </c:pt>
                <c:pt idx="343">
                  <c:v>34026</c:v>
                </c:pt>
                <c:pt idx="344">
                  <c:v>33998</c:v>
                </c:pt>
                <c:pt idx="345">
                  <c:v>33969</c:v>
                </c:pt>
                <c:pt idx="346">
                  <c:v>33938</c:v>
                </c:pt>
                <c:pt idx="347">
                  <c:v>33907</c:v>
                </c:pt>
                <c:pt idx="348">
                  <c:v>33877</c:v>
                </c:pt>
                <c:pt idx="349">
                  <c:v>33847</c:v>
                </c:pt>
                <c:pt idx="350">
                  <c:v>33816</c:v>
                </c:pt>
                <c:pt idx="351">
                  <c:v>33785</c:v>
                </c:pt>
                <c:pt idx="352">
                  <c:v>33753</c:v>
                </c:pt>
                <c:pt idx="353">
                  <c:v>33724</c:v>
                </c:pt>
                <c:pt idx="354">
                  <c:v>33694</c:v>
                </c:pt>
                <c:pt idx="355">
                  <c:v>33662</c:v>
                </c:pt>
                <c:pt idx="356">
                  <c:v>33634</c:v>
                </c:pt>
                <c:pt idx="357">
                  <c:v>33603</c:v>
                </c:pt>
                <c:pt idx="358">
                  <c:v>33571</c:v>
                </c:pt>
                <c:pt idx="359">
                  <c:v>33542</c:v>
                </c:pt>
                <c:pt idx="360">
                  <c:v>33511</c:v>
                </c:pt>
                <c:pt idx="361">
                  <c:v>33480</c:v>
                </c:pt>
                <c:pt idx="362">
                  <c:v>33450</c:v>
                </c:pt>
                <c:pt idx="363">
                  <c:v>33417</c:v>
                </c:pt>
                <c:pt idx="364">
                  <c:v>33389</c:v>
                </c:pt>
                <c:pt idx="365">
                  <c:v>33358</c:v>
                </c:pt>
                <c:pt idx="366">
                  <c:v>33326</c:v>
                </c:pt>
                <c:pt idx="367">
                  <c:v>33297</c:v>
                </c:pt>
                <c:pt idx="368">
                  <c:v>33269</c:v>
                </c:pt>
                <c:pt idx="369">
                  <c:v>33238</c:v>
                </c:pt>
                <c:pt idx="370">
                  <c:v>33207</c:v>
                </c:pt>
                <c:pt idx="371">
                  <c:v>33177</c:v>
                </c:pt>
                <c:pt idx="372">
                  <c:v>33144</c:v>
                </c:pt>
                <c:pt idx="373">
                  <c:v>33116</c:v>
                </c:pt>
                <c:pt idx="374">
                  <c:v>33085</c:v>
                </c:pt>
                <c:pt idx="375">
                  <c:v>33053</c:v>
                </c:pt>
                <c:pt idx="376">
                  <c:v>33024</c:v>
                </c:pt>
                <c:pt idx="377">
                  <c:v>32993</c:v>
                </c:pt>
                <c:pt idx="378">
                  <c:v>32962</c:v>
                </c:pt>
                <c:pt idx="379">
                  <c:v>32932</c:v>
                </c:pt>
                <c:pt idx="380">
                  <c:v>32904</c:v>
                </c:pt>
                <c:pt idx="381">
                  <c:v>32871</c:v>
                </c:pt>
                <c:pt idx="382">
                  <c:v>32842</c:v>
                </c:pt>
                <c:pt idx="383">
                  <c:v>32812</c:v>
                </c:pt>
                <c:pt idx="384">
                  <c:v>32780</c:v>
                </c:pt>
                <c:pt idx="385">
                  <c:v>32751</c:v>
                </c:pt>
                <c:pt idx="386">
                  <c:v>32720</c:v>
                </c:pt>
                <c:pt idx="387">
                  <c:v>32689</c:v>
                </c:pt>
                <c:pt idx="388">
                  <c:v>32659</c:v>
                </c:pt>
                <c:pt idx="389">
                  <c:v>32626</c:v>
                </c:pt>
                <c:pt idx="390">
                  <c:v>32598</c:v>
                </c:pt>
                <c:pt idx="391">
                  <c:v>32567</c:v>
                </c:pt>
                <c:pt idx="392">
                  <c:v>32539</c:v>
                </c:pt>
                <c:pt idx="393">
                  <c:v>32507</c:v>
                </c:pt>
                <c:pt idx="394">
                  <c:v>32477</c:v>
                </c:pt>
                <c:pt idx="395">
                  <c:v>32447</c:v>
                </c:pt>
                <c:pt idx="396">
                  <c:v>32416</c:v>
                </c:pt>
                <c:pt idx="397">
                  <c:v>32386</c:v>
                </c:pt>
                <c:pt idx="398">
                  <c:v>32353</c:v>
                </c:pt>
                <c:pt idx="399">
                  <c:v>32324</c:v>
                </c:pt>
                <c:pt idx="400">
                  <c:v>32294</c:v>
                </c:pt>
                <c:pt idx="401">
                  <c:v>32262</c:v>
                </c:pt>
                <c:pt idx="402">
                  <c:v>32233</c:v>
                </c:pt>
                <c:pt idx="403">
                  <c:v>32202</c:v>
                </c:pt>
                <c:pt idx="404">
                  <c:v>32171</c:v>
                </c:pt>
                <c:pt idx="405">
                  <c:v>32142</c:v>
                </c:pt>
                <c:pt idx="406">
                  <c:v>32111</c:v>
                </c:pt>
                <c:pt idx="407">
                  <c:v>32080</c:v>
                </c:pt>
                <c:pt idx="408">
                  <c:v>32050</c:v>
                </c:pt>
                <c:pt idx="409">
                  <c:v>32020</c:v>
                </c:pt>
                <c:pt idx="410">
                  <c:v>31989</c:v>
                </c:pt>
                <c:pt idx="411">
                  <c:v>31958</c:v>
                </c:pt>
                <c:pt idx="412">
                  <c:v>31926</c:v>
                </c:pt>
                <c:pt idx="413">
                  <c:v>31897</c:v>
                </c:pt>
                <c:pt idx="414">
                  <c:v>31867</c:v>
                </c:pt>
                <c:pt idx="415">
                  <c:v>31835</c:v>
                </c:pt>
                <c:pt idx="416">
                  <c:v>31807</c:v>
                </c:pt>
                <c:pt idx="417">
                  <c:v>31777</c:v>
                </c:pt>
                <c:pt idx="418">
                  <c:v>31744</c:v>
                </c:pt>
                <c:pt idx="419">
                  <c:v>31716</c:v>
                </c:pt>
                <c:pt idx="420">
                  <c:v>31685</c:v>
                </c:pt>
                <c:pt idx="421">
                  <c:v>31653</c:v>
                </c:pt>
                <c:pt idx="422">
                  <c:v>31624</c:v>
                </c:pt>
                <c:pt idx="423">
                  <c:v>31593</c:v>
                </c:pt>
                <c:pt idx="424">
                  <c:v>31562</c:v>
                </c:pt>
                <c:pt idx="425">
                  <c:v>31532</c:v>
                </c:pt>
                <c:pt idx="426">
                  <c:v>31502</c:v>
                </c:pt>
                <c:pt idx="427">
                  <c:v>31471</c:v>
                </c:pt>
                <c:pt idx="428">
                  <c:v>31443</c:v>
                </c:pt>
                <c:pt idx="429">
                  <c:v>31412</c:v>
                </c:pt>
                <c:pt idx="430">
                  <c:v>31380</c:v>
                </c:pt>
                <c:pt idx="431">
                  <c:v>31351</c:v>
                </c:pt>
                <c:pt idx="432">
                  <c:v>31320</c:v>
                </c:pt>
                <c:pt idx="433">
                  <c:v>31289</c:v>
                </c:pt>
                <c:pt idx="434">
                  <c:v>31259</c:v>
                </c:pt>
                <c:pt idx="435">
                  <c:v>31226</c:v>
                </c:pt>
                <c:pt idx="436">
                  <c:v>31198</c:v>
                </c:pt>
                <c:pt idx="437">
                  <c:v>31167</c:v>
                </c:pt>
                <c:pt idx="438">
                  <c:v>31135</c:v>
                </c:pt>
                <c:pt idx="439">
                  <c:v>31106</c:v>
                </c:pt>
                <c:pt idx="440">
                  <c:v>31078</c:v>
                </c:pt>
                <c:pt idx="441">
                  <c:v>31047</c:v>
                </c:pt>
                <c:pt idx="442">
                  <c:v>31016</c:v>
                </c:pt>
                <c:pt idx="443">
                  <c:v>30986</c:v>
                </c:pt>
                <c:pt idx="444">
                  <c:v>30953</c:v>
                </c:pt>
                <c:pt idx="445">
                  <c:v>30925</c:v>
                </c:pt>
                <c:pt idx="446">
                  <c:v>30894</c:v>
                </c:pt>
                <c:pt idx="447">
                  <c:v>30862</c:v>
                </c:pt>
                <c:pt idx="448">
                  <c:v>30833</c:v>
                </c:pt>
                <c:pt idx="449">
                  <c:v>30802</c:v>
                </c:pt>
                <c:pt idx="450">
                  <c:v>30771</c:v>
                </c:pt>
                <c:pt idx="451">
                  <c:v>30741</c:v>
                </c:pt>
                <c:pt idx="452">
                  <c:v>30712</c:v>
                </c:pt>
                <c:pt idx="453">
                  <c:v>30680</c:v>
                </c:pt>
                <c:pt idx="454">
                  <c:v>30650</c:v>
                </c:pt>
                <c:pt idx="455">
                  <c:v>30620</c:v>
                </c:pt>
                <c:pt idx="456">
                  <c:v>30589</c:v>
                </c:pt>
                <c:pt idx="457">
                  <c:v>30559</c:v>
                </c:pt>
                <c:pt idx="458">
                  <c:v>30526</c:v>
                </c:pt>
                <c:pt idx="459">
                  <c:v>30497</c:v>
                </c:pt>
                <c:pt idx="460">
                  <c:v>30467</c:v>
                </c:pt>
                <c:pt idx="461">
                  <c:v>30435</c:v>
                </c:pt>
                <c:pt idx="462">
                  <c:v>30406</c:v>
                </c:pt>
                <c:pt idx="463">
                  <c:v>30375</c:v>
                </c:pt>
                <c:pt idx="464">
                  <c:v>30347</c:v>
                </c:pt>
                <c:pt idx="465">
                  <c:v>30316</c:v>
                </c:pt>
                <c:pt idx="466">
                  <c:v>30285</c:v>
                </c:pt>
                <c:pt idx="467">
                  <c:v>30253</c:v>
                </c:pt>
                <c:pt idx="468">
                  <c:v>30224</c:v>
                </c:pt>
                <c:pt idx="469">
                  <c:v>30194</c:v>
                </c:pt>
                <c:pt idx="470">
                  <c:v>30162</c:v>
                </c:pt>
                <c:pt idx="471">
                  <c:v>30132</c:v>
                </c:pt>
                <c:pt idx="472">
                  <c:v>30102</c:v>
                </c:pt>
                <c:pt idx="473">
                  <c:v>30071</c:v>
                </c:pt>
                <c:pt idx="474">
                  <c:v>30041</c:v>
                </c:pt>
                <c:pt idx="475">
                  <c:v>30008</c:v>
                </c:pt>
                <c:pt idx="476">
                  <c:v>29980</c:v>
                </c:pt>
                <c:pt idx="477">
                  <c:v>29951</c:v>
                </c:pt>
                <c:pt idx="478">
                  <c:v>29920</c:v>
                </c:pt>
                <c:pt idx="479">
                  <c:v>29889</c:v>
                </c:pt>
                <c:pt idx="480">
                  <c:v>29859</c:v>
                </c:pt>
                <c:pt idx="481">
                  <c:v>29829</c:v>
                </c:pt>
                <c:pt idx="482">
                  <c:v>29798</c:v>
                </c:pt>
                <c:pt idx="483">
                  <c:v>29767</c:v>
                </c:pt>
                <c:pt idx="484">
                  <c:v>29735</c:v>
                </c:pt>
                <c:pt idx="485">
                  <c:v>29706</c:v>
                </c:pt>
                <c:pt idx="486">
                  <c:v>29676</c:v>
                </c:pt>
                <c:pt idx="487">
                  <c:v>29644</c:v>
                </c:pt>
                <c:pt idx="488">
                  <c:v>29616</c:v>
                </c:pt>
                <c:pt idx="489">
                  <c:v>29586</c:v>
                </c:pt>
                <c:pt idx="490">
                  <c:v>29553</c:v>
                </c:pt>
                <c:pt idx="491">
                  <c:v>29525</c:v>
                </c:pt>
                <c:pt idx="492">
                  <c:v>29494</c:v>
                </c:pt>
                <c:pt idx="493">
                  <c:v>29462</c:v>
                </c:pt>
                <c:pt idx="494">
                  <c:v>29433</c:v>
                </c:pt>
                <c:pt idx="495">
                  <c:v>29402</c:v>
                </c:pt>
                <c:pt idx="496">
                  <c:v>29371</c:v>
                </c:pt>
                <c:pt idx="497">
                  <c:v>29341</c:v>
                </c:pt>
                <c:pt idx="498">
                  <c:v>29311</c:v>
                </c:pt>
                <c:pt idx="499">
                  <c:v>29280</c:v>
                </c:pt>
                <c:pt idx="500">
                  <c:v>29251</c:v>
                </c:pt>
                <c:pt idx="501">
                  <c:v>29220</c:v>
                </c:pt>
              </c:numCache>
            </c:numRef>
          </c:cat>
          <c:val>
            <c:numRef>
              <c:f>Worksheet!$R$8:$R$509</c:f>
              <c:numCache>
                <c:formatCode>General</c:formatCode>
                <c:ptCount val="502"/>
                <c:pt idx="0">
                  <c:v>3990.6800074115254</c:v>
                </c:pt>
                <c:pt idx="1">
                  <c:v>4189.994441356308</c:v>
                </c:pt>
                <c:pt idx="2">
                  <c:v>4071.9473781730585</c:v>
                </c:pt>
                <c:pt idx="3">
                  <c:v>3981.3785436353528</c:v>
                </c:pt>
                <c:pt idx="4">
                  <c:v>3894.8582545858803</c:v>
                </c:pt>
                <c:pt idx="5">
                  <c:v>3873.6057068741893</c:v>
                </c:pt>
                <c:pt idx="6">
                  <c:v>3680.6466555493794</c:v>
                </c:pt>
                <c:pt idx="7">
                  <c:v>3530.804150453956</c:v>
                </c:pt>
                <c:pt idx="8">
                  <c:v>3441.0227904391322</c:v>
                </c:pt>
                <c:pt idx="9">
                  <c:v>3479.7758013711323</c:v>
                </c:pt>
                <c:pt idx="10">
                  <c:v>3355.2251250694831</c:v>
                </c:pt>
                <c:pt idx="11">
                  <c:v>3029.4237539373721</c:v>
                </c:pt>
                <c:pt idx="12">
                  <c:v>3115.6197887715398</c:v>
                </c:pt>
                <c:pt idx="13">
                  <c:v>3242.8293496386887</c:v>
                </c:pt>
                <c:pt idx="14">
                  <c:v>3030.4984250509538</c:v>
                </c:pt>
                <c:pt idx="15">
                  <c:v>2872.2345747637573</c:v>
                </c:pt>
                <c:pt idx="16">
                  <c:v>2820.3724291272929</c:v>
                </c:pt>
                <c:pt idx="17">
                  <c:v>2698.193440800444</c:v>
                </c:pt>
                <c:pt idx="18">
                  <c:v>2394.4691495275156</c:v>
                </c:pt>
                <c:pt idx="19">
                  <c:v>2736.9093941078372</c:v>
                </c:pt>
                <c:pt idx="20">
                  <c:v>2988.2527329998147</c:v>
                </c:pt>
                <c:pt idx="21">
                  <c:v>2993.1258106355381</c:v>
                </c:pt>
                <c:pt idx="22">
                  <c:v>2909.9314433944778</c:v>
                </c:pt>
                <c:pt idx="23">
                  <c:v>2814.1189549749861</c:v>
                </c:pt>
                <c:pt idx="24">
                  <c:v>2757.7728367611635</c:v>
                </c:pt>
                <c:pt idx="25">
                  <c:v>2711.1914026310915</c:v>
                </c:pt>
                <c:pt idx="26">
                  <c:v>2761.1450806003336</c:v>
                </c:pt>
                <c:pt idx="27">
                  <c:v>2725.3659440429869</c:v>
                </c:pt>
                <c:pt idx="28">
                  <c:v>2549.6201593477858</c:v>
                </c:pt>
                <c:pt idx="29">
                  <c:v>2729.1365573466737</c:v>
                </c:pt>
                <c:pt idx="30">
                  <c:v>2625.9032795997778</c:v>
                </c:pt>
                <c:pt idx="31">
                  <c:v>2579.6646284973131</c:v>
                </c:pt>
                <c:pt idx="32">
                  <c:v>2505.1880674448767</c:v>
                </c:pt>
                <c:pt idx="33">
                  <c:v>2322.4476561052429</c:v>
                </c:pt>
                <c:pt idx="34">
                  <c:v>2557.1335927367054</c:v>
                </c:pt>
                <c:pt idx="35">
                  <c:v>2512.2660737446731</c:v>
                </c:pt>
                <c:pt idx="36">
                  <c:v>2699.6294237539369</c:v>
                </c:pt>
                <c:pt idx="37">
                  <c:v>2688.0859736890861</c:v>
                </c:pt>
                <c:pt idx="38">
                  <c:v>2609.125440059292</c:v>
                </c:pt>
                <c:pt idx="39">
                  <c:v>2518.4083750231607</c:v>
                </c:pt>
                <c:pt idx="40">
                  <c:v>2506.2720029646098</c:v>
                </c:pt>
                <c:pt idx="41">
                  <c:v>2453.2610709653513</c:v>
                </c:pt>
                <c:pt idx="42">
                  <c:v>2446.6092273485265</c:v>
                </c:pt>
                <c:pt idx="43">
                  <c:v>2514.2023346303499</c:v>
                </c:pt>
                <c:pt idx="44">
                  <c:v>2616.0922734852697</c:v>
                </c:pt>
                <c:pt idx="45">
                  <c:v>2476.940893088753</c:v>
                </c:pt>
                <c:pt idx="46">
                  <c:v>2452.8256438762273</c:v>
                </c:pt>
                <c:pt idx="47">
                  <c:v>2385.8254585881045</c:v>
                </c:pt>
                <c:pt idx="48">
                  <c:v>2334.037428200852</c:v>
                </c:pt>
                <c:pt idx="49">
                  <c:v>2289.8369464517323</c:v>
                </c:pt>
                <c:pt idx="50">
                  <c:v>2288.5862516212715</c:v>
                </c:pt>
                <c:pt idx="51">
                  <c:v>2245.1454511765792</c:v>
                </c:pt>
                <c:pt idx="52">
                  <c:v>2234.3894756346117</c:v>
                </c:pt>
                <c:pt idx="53">
                  <c:v>2208.8197146562907</c:v>
                </c:pt>
                <c:pt idx="54">
                  <c:v>2188.9197702427273</c:v>
                </c:pt>
                <c:pt idx="55">
                  <c:v>2189.772095608671</c:v>
                </c:pt>
                <c:pt idx="56">
                  <c:v>2111.2377246618489</c:v>
                </c:pt>
                <c:pt idx="57">
                  <c:v>2074.1430424309801</c:v>
                </c:pt>
                <c:pt idx="58">
                  <c:v>2037.0668890124141</c:v>
                </c:pt>
                <c:pt idx="59">
                  <c:v>1969.751713915138</c:v>
                </c:pt>
                <c:pt idx="60">
                  <c:v>2008.7733926255326</c:v>
                </c:pt>
                <c:pt idx="61">
                  <c:v>2011.2562534741521</c:v>
                </c:pt>
                <c:pt idx="62">
                  <c:v>2013.7113211043172</c:v>
                </c:pt>
                <c:pt idx="63">
                  <c:v>1944.4691495275151</c:v>
                </c:pt>
                <c:pt idx="64">
                  <c:v>1942.7089123587177</c:v>
                </c:pt>
                <c:pt idx="65">
                  <c:v>1913.3778024828612</c:v>
                </c:pt>
                <c:pt idx="66">
                  <c:v>1908.22679266259</c:v>
                </c:pt>
                <c:pt idx="67">
                  <c:v>1790.0963498239762</c:v>
                </c:pt>
                <c:pt idx="68">
                  <c:v>1797.5171391513804</c:v>
                </c:pt>
                <c:pt idx="69">
                  <c:v>1893.5890309431165</c:v>
                </c:pt>
                <c:pt idx="70">
                  <c:v>1927.3763201778768</c:v>
                </c:pt>
                <c:pt idx="71">
                  <c:v>1926.4035575319622</c:v>
                </c:pt>
                <c:pt idx="72">
                  <c:v>1778.793774319066</c:v>
                </c:pt>
                <c:pt idx="73">
                  <c:v>1827.1076523994811</c:v>
                </c:pt>
                <c:pt idx="74">
                  <c:v>1949.0828237909952</c:v>
                </c:pt>
                <c:pt idx="75">
                  <c:v>1911.3488975356681</c:v>
                </c:pt>
                <c:pt idx="76">
                  <c:v>1952.3716879748004</c:v>
                </c:pt>
                <c:pt idx="77">
                  <c:v>1932.1011673151752</c:v>
                </c:pt>
                <c:pt idx="78">
                  <c:v>1915.7772836761162</c:v>
                </c:pt>
                <c:pt idx="79">
                  <c:v>1949.6942745969982</c:v>
                </c:pt>
                <c:pt idx="80">
                  <c:v>1848.2397628312026</c:v>
                </c:pt>
                <c:pt idx="81">
                  <c:v>1907.4485825458587</c:v>
                </c:pt>
                <c:pt idx="82">
                  <c:v>1915.4715582731146</c:v>
                </c:pt>
                <c:pt idx="83">
                  <c:v>1869.6034834167128</c:v>
                </c:pt>
                <c:pt idx="84">
                  <c:v>1827.2095608671482</c:v>
                </c:pt>
                <c:pt idx="85">
                  <c:v>1856.0033351862146</c:v>
                </c:pt>
                <c:pt idx="86">
                  <c:v>1788.6511024643319</c:v>
                </c:pt>
                <c:pt idx="87">
                  <c:v>1816.0366870483604</c:v>
                </c:pt>
                <c:pt idx="88">
                  <c:v>1782.0733740967203</c:v>
                </c:pt>
                <c:pt idx="89">
                  <c:v>1745.3677969242169</c:v>
                </c:pt>
                <c:pt idx="90">
                  <c:v>1734.6118213822492</c:v>
                </c:pt>
                <c:pt idx="91">
                  <c:v>1722.6700018528813</c:v>
                </c:pt>
                <c:pt idx="92">
                  <c:v>1651.4637761719473</c:v>
                </c:pt>
                <c:pt idx="93">
                  <c:v>1712.3957754307949</c:v>
                </c:pt>
                <c:pt idx="94">
                  <c:v>1672.9757272558827</c:v>
                </c:pt>
                <c:pt idx="95">
                  <c:v>1627.3299981471187</c:v>
                </c:pt>
                <c:pt idx="96">
                  <c:v>1557.8562164165278</c:v>
                </c:pt>
                <c:pt idx="97">
                  <c:v>1512.8497313322216</c:v>
                </c:pt>
                <c:pt idx="98">
                  <c:v>1561.7287381878823</c:v>
                </c:pt>
                <c:pt idx="99">
                  <c:v>1488.1230313136928</c:v>
                </c:pt>
                <c:pt idx="100">
                  <c:v>1510.7837687604224</c:v>
                </c:pt>
                <c:pt idx="101">
                  <c:v>1480.0537335556789</c:v>
                </c:pt>
                <c:pt idx="102">
                  <c:v>1453.7613488975358</c:v>
                </c:pt>
                <c:pt idx="103">
                  <c:v>1403.2610709653511</c:v>
                </c:pt>
                <c:pt idx="104">
                  <c:v>1387.9099499722067</c:v>
                </c:pt>
                <c:pt idx="105">
                  <c:v>1321.2803409301464</c:v>
                </c:pt>
                <c:pt idx="106">
                  <c:v>1312.0066703724292</c:v>
                </c:pt>
                <c:pt idx="107">
                  <c:v>1308.2823790994998</c:v>
                </c:pt>
                <c:pt idx="108">
                  <c:v>1334.6952010376135</c:v>
                </c:pt>
                <c:pt idx="109">
                  <c:v>1303.1128404669262</c:v>
                </c:pt>
                <c:pt idx="110">
                  <c:v>1277.858069297758</c:v>
                </c:pt>
                <c:pt idx="111">
                  <c:v>1261.9603483416715</c:v>
                </c:pt>
                <c:pt idx="112">
                  <c:v>1213.9429312581062</c:v>
                </c:pt>
                <c:pt idx="113">
                  <c:v>1295.0806003335185</c:v>
                </c:pt>
                <c:pt idx="114">
                  <c:v>1304.8638132295719</c:v>
                </c:pt>
                <c:pt idx="115">
                  <c:v>1265.2214193070224</c:v>
                </c:pt>
                <c:pt idx="116">
                  <c:v>1215.869927737632</c:v>
                </c:pt>
                <c:pt idx="117">
                  <c:v>1165.1009820270519</c:v>
                </c:pt>
                <c:pt idx="118">
                  <c:v>1155.2343894756345</c:v>
                </c:pt>
                <c:pt idx="119">
                  <c:v>1161.1080229757272</c:v>
                </c:pt>
                <c:pt idx="120">
                  <c:v>1048.1934408004449</c:v>
                </c:pt>
                <c:pt idx="121">
                  <c:v>1129.2292014081897</c:v>
                </c:pt>
                <c:pt idx="122">
                  <c:v>1197.2206781545301</c:v>
                </c:pt>
                <c:pt idx="123">
                  <c:v>1223.4945340003708</c:v>
                </c:pt>
                <c:pt idx="124">
                  <c:v>1246.247915508616</c:v>
                </c:pt>
                <c:pt idx="125">
                  <c:v>1263.3036872336481</c:v>
                </c:pt>
                <c:pt idx="126">
                  <c:v>1228.3027607930328</c:v>
                </c:pt>
                <c:pt idx="127">
                  <c:v>1229.5905132481009</c:v>
                </c:pt>
                <c:pt idx="128">
                  <c:v>1191.5138039651656</c:v>
                </c:pt>
                <c:pt idx="129">
                  <c:v>1165.1287752455069</c:v>
                </c:pt>
                <c:pt idx="130">
                  <c:v>1093.7094682230868</c:v>
                </c:pt>
                <c:pt idx="131">
                  <c:v>1096.220122290161</c:v>
                </c:pt>
                <c:pt idx="132">
                  <c:v>1057.2540300166759</c:v>
                </c:pt>
                <c:pt idx="133">
                  <c:v>972.14193070224178</c:v>
                </c:pt>
                <c:pt idx="134">
                  <c:v>1020.5669816564757</c:v>
                </c:pt>
                <c:pt idx="135">
                  <c:v>954.89160644802666</c:v>
                </c:pt>
                <c:pt idx="136">
                  <c:v>1009.2736705577174</c:v>
                </c:pt>
                <c:pt idx="137">
                  <c:v>1099.3978136001483</c:v>
                </c:pt>
                <c:pt idx="138">
                  <c:v>1083.4074485825458</c:v>
                </c:pt>
                <c:pt idx="139">
                  <c:v>1023.2443950342782</c:v>
                </c:pt>
                <c:pt idx="140">
                  <c:v>994.87678339818399</c:v>
                </c:pt>
                <c:pt idx="141">
                  <c:v>1033.0739299610893</c:v>
                </c:pt>
                <c:pt idx="142">
                  <c:v>1015.0361311839912</c:v>
                </c:pt>
                <c:pt idx="143">
                  <c:v>959.97776542523638</c:v>
                </c:pt>
                <c:pt idx="144">
                  <c:v>979.32184546970529</c:v>
                </c:pt>
                <c:pt idx="145">
                  <c:v>945.55308504724826</c:v>
                </c:pt>
                <c:pt idx="146">
                  <c:v>914.84157865480813</c:v>
                </c:pt>
                <c:pt idx="147">
                  <c:v>851.69538632573654</c:v>
                </c:pt>
                <c:pt idx="148">
                  <c:v>851.52862701500828</c:v>
                </c:pt>
                <c:pt idx="149">
                  <c:v>808.60663331480453</c:v>
                </c:pt>
                <c:pt idx="150">
                  <c:v>739.17917361497121</c:v>
                </c:pt>
                <c:pt idx="151">
                  <c:v>681.01723179544183</c:v>
                </c:pt>
                <c:pt idx="152">
                  <c:v>765.12877524550663</c:v>
                </c:pt>
                <c:pt idx="153">
                  <c:v>836.80748564017028</c:v>
                </c:pt>
                <c:pt idx="154">
                  <c:v>830.31313692792287</c:v>
                </c:pt>
                <c:pt idx="155">
                  <c:v>897.48934593292574</c:v>
                </c:pt>
                <c:pt idx="156">
                  <c:v>1080.5632758940151</c:v>
                </c:pt>
                <c:pt idx="157">
                  <c:v>1188.4658143413005</c:v>
                </c:pt>
                <c:pt idx="158">
                  <c:v>1174.1523068371318</c:v>
                </c:pt>
                <c:pt idx="159">
                  <c:v>1185.8439874004077</c:v>
                </c:pt>
                <c:pt idx="160">
                  <c:v>1297.3689086529553</c:v>
                </c:pt>
                <c:pt idx="161">
                  <c:v>1283.6668519547895</c:v>
                </c:pt>
                <c:pt idx="162">
                  <c:v>1225.4030016675931</c:v>
                </c:pt>
                <c:pt idx="163">
                  <c:v>1232.7496757457848</c:v>
                </c:pt>
                <c:pt idx="164">
                  <c:v>1277.1447100240873</c:v>
                </c:pt>
                <c:pt idx="165">
                  <c:v>1360.3483416712988</c:v>
                </c:pt>
                <c:pt idx="166">
                  <c:v>1372.1882527329999</c:v>
                </c:pt>
                <c:pt idx="167">
                  <c:v>1435.4085603112842</c:v>
                </c:pt>
                <c:pt idx="168">
                  <c:v>1414.4432091902906</c:v>
                </c:pt>
                <c:pt idx="169">
                  <c:v>1365.5642023346302</c:v>
                </c:pt>
                <c:pt idx="170">
                  <c:v>1348.2304984250509</c:v>
                </c:pt>
                <c:pt idx="171">
                  <c:v>1392.7644987956271</c:v>
                </c:pt>
                <c:pt idx="172">
                  <c:v>1418.0285343709468</c:v>
                </c:pt>
                <c:pt idx="173">
                  <c:v>1373.3277746896424</c:v>
                </c:pt>
                <c:pt idx="174">
                  <c:v>1316.3424124513617</c:v>
                </c:pt>
                <c:pt idx="175">
                  <c:v>1303.3351862145635</c:v>
                </c:pt>
                <c:pt idx="176">
                  <c:v>1332.443950342783</c:v>
                </c:pt>
                <c:pt idx="177">
                  <c:v>1313.9707244765609</c:v>
                </c:pt>
                <c:pt idx="178">
                  <c:v>1297.6005188067445</c:v>
                </c:pt>
                <c:pt idx="179">
                  <c:v>1276.5795812488418</c:v>
                </c:pt>
                <c:pt idx="180">
                  <c:v>1237.5856957569019</c:v>
                </c:pt>
                <c:pt idx="181">
                  <c:v>1207.9118028534372</c:v>
                </c:pt>
                <c:pt idx="182">
                  <c:v>1182.7496757457848</c:v>
                </c:pt>
                <c:pt idx="183">
                  <c:v>1176.7648693718731</c:v>
                </c:pt>
                <c:pt idx="184">
                  <c:v>1176.6629609042059</c:v>
                </c:pt>
                <c:pt idx="185">
                  <c:v>1214.2023346303502</c:v>
                </c:pt>
                <c:pt idx="186">
                  <c:v>1199.5831017231794</c:v>
                </c:pt>
                <c:pt idx="187">
                  <c:v>1186.4554382064109</c:v>
                </c:pt>
                <c:pt idx="188">
                  <c:v>1185.9273670557716</c:v>
                </c:pt>
                <c:pt idx="189">
                  <c:v>1156.4665554937928</c:v>
                </c:pt>
                <c:pt idx="190">
                  <c:v>1157.5690198258292</c:v>
                </c:pt>
                <c:pt idx="191">
                  <c:v>1118.2230869001296</c:v>
                </c:pt>
                <c:pt idx="192">
                  <c:v>1138.4194923105429</c:v>
                </c:pt>
                <c:pt idx="193">
                  <c:v>1130.5632758940151</c:v>
                </c:pt>
                <c:pt idx="194">
                  <c:v>1143.3944784139337</c:v>
                </c:pt>
                <c:pt idx="195">
                  <c:v>1103.6964980544744</c:v>
                </c:pt>
                <c:pt idx="196">
                  <c:v>1103.8539929590513</c:v>
                </c:pt>
                <c:pt idx="197">
                  <c:v>1071.7528256438759</c:v>
                </c:pt>
                <c:pt idx="198">
                  <c:v>1093.746525847693</c:v>
                </c:pt>
                <c:pt idx="199">
                  <c:v>1115.0639244024455</c:v>
                </c:pt>
                <c:pt idx="200">
                  <c:v>1094.3765054659996</c:v>
                </c:pt>
                <c:pt idx="201">
                  <c:v>1122.7719103205486</c:v>
                </c:pt>
                <c:pt idx="202">
                  <c:v>1087.474522883083</c:v>
                </c:pt>
                <c:pt idx="203">
                  <c:v>1047.0631832499537</c:v>
                </c:pt>
                <c:pt idx="204">
                  <c:v>1032.5921808412079</c:v>
                </c:pt>
                <c:pt idx="205">
                  <c:v>1023.0127848804891</c:v>
                </c:pt>
                <c:pt idx="206">
                  <c:v>1020.6781545302947</c:v>
                </c:pt>
                <c:pt idx="207">
                  <c:v>1056.9205113952196</c:v>
                </c:pt>
                <c:pt idx="208">
                  <c:v>1038.243468593663</c:v>
                </c:pt>
                <c:pt idx="209">
                  <c:v>1025.8569575690196</c:v>
                </c:pt>
                <c:pt idx="210">
                  <c:v>1043.366685195479</c:v>
                </c:pt>
                <c:pt idx="211">
                  <c:v>1060.7189179173615</c:v>
                </c:pt>
                <c:pt idx="212">
                  <c:v>1047.9247730220493</c:v>
                </c:pt>
                <c:pt idx="213">
                  <c:v>1030.1278488048918</c:v>
                </c:pt>
                <c:pt idx="214">
                  <c:v>980.35945895868065</c:v>
                </c:pt>
                <c:pt idx="215">
                  <c:v>973.42041875115797</c:v>
                </c:pt>
                <c:pt idx="216">
                  <c:v>922.70705947748741</c:v>
                </c:pt>
                <c:pt idx="217">
                  <c:v>933.86140448397248</c:v>
                </c:pt>
                <c:pt idx="218">
                  <c:v>917.46340559570126</c:v>
                </c:pt>
                <c:pt idx="219">
                  <c:v>902.81637947007596</c:v>
                </c:pt>
                <c:pt idx="220">
                  <c:v>892.70891235871784</c:v>
                </c:pt>
                <c:pt idx="221">
                  <c:v>849.47192884936078</c:v>
                </c:pt>
                <c:pt idx="222">
                  <c:v>785.78840096349825</c:v>
                </c:pt>
                <c:pt idx="223">
                  <c:v>779.2755234389474</c:v>
                </c:pt>
                <c:pt idx="224">
                  <c:v>792.75523438947562</c:v>
                </c:pt>
                <c:pt idx="225">
                  <c:v>815.10098202705217</c:v>
                </c:pt>
                <c:pt idx="226">
                  <c:v>867.43561237724634</c:v>
                </c:pt>
                <c:pt idx="227">
                  <c:v>820.60403928108201</c:v>
                </c:pt>
                <c:pt idx="228">
                  <c:v>755.30850472484701</c:v>
                </c:pt>
                <c:pt idx="229">
                  <c:v>848.68445432647763</c:v>
                </c:pt>
                <c:pt idx="230">
                  <c:v>844.56179358903091</c:v>
                </c:pt>
                <c:pt idx="231">
                  <c:v>917.00018528812302</c:v>
                </c:pt>
                <c:pt idx="232">
                  <c:v>988.6418380581805</c:v>
                </c:pt>
                <c:pt idx="233">
                  <c:v>997.70242727441178</c:v>
                </c:pt>
                <c:pt idx="234">
                  <c:v>1062.9886974244955</c:v>
                </c:pt>
                <c:pt idx="235">
                  <c:v>1025.319622012229</c:v>
                </c:pt>
                <c:pt idx="236">
                  <c:v>1047.0724476561052</c:v>
                </c:pt>
                <c:pt idx="237">
                  <c:v>1063.6279414489532</c:v>
                </c:pt>
                <c:pt idx="238">
                  <c:v>1055.6327589401519</c:v>
                </c:pt>
                <c:pt idx="239">
                  <c:v>981.82323513062806</c:v>
                </c:pt>
                <c:pt idx="240">
                  <c:v>964.36909394107829</c:v>
                </c:pt>
                <c:pt idx="241">
                  <c:v>1050.1945525291828</c:v>
                </c:pt>
                <c:pt idx="242">
                  <c:v>1122.1326662960903</c:v>
                </c:pt>
                <c:pt idx="243">
                  <c:v>1134.3524180100055</c:v>
                </c:pt>
                <c:pt idx="244">
                  <c:v>1163.4426533259216</c:v>
                </c:pt>
                <c:pt idx="245">
                  <c:v>1157.550491013526</c:v>
                </c:pt>
                <c:pt idx="246">
                  <c:v>1074.9768389846208</c:v>
                </c:pt>
                <c:pt idx="247">
                  <c:v>1148.7307763572353</c:v>
                </c:pt>
                <c:pt idx="248">
                  <c:v>1265.527144710024</c:v>
                </c:pt>
                <c:pt idx="249">
                  <c:v>1223.161015378914</c:v>
                </c:pt>
                <c:pt idx="250">
                  <c:v>1218.2230869001298</c:v>
                </c:pt>
                <c:pt idx="251">
                  <c:v>1324.2542153047989</c:v>
                </c:pt>
                <c:pt idx="252">
                  <c:v>1330.841208078562</c:v>
                </c:pt>
                <c:pt idx="253">
                  <c:v>1406.0403928108208</c:v>
                </c:pt>
                <c:pt idx="254">
                  <c:v>1325.5790253844727</c:v>
                </c:pt>
                <c:pt idx="255">
                  <c:v>1347.6005188067443</c:v>
                </c:pt>
                <c:pt idx="256">
                  <c:v>1316.101537891421</c:v>
                </c:pt>
                <c:pt idx="257">
                  <c:v>1345.5901426718547</c:v>
                </c:pt>
                <c:pt idx="258">
                  <c:v>1388.3453770613301</c:v>
                </c:pt>
                <c:pt idx="259">
                  <c:v>1265.9069853622382</c:v>
                </c:pt>
                <c:pt idx="260">
                  <c:v>1291.8843802112283</c:v>
                </c:pt>
                <c:pt idx="261">
                  <c:v>1361.172873818788</c:v>
                </c:pt>
                <c:pt idx="262">
                  <c:v>1286.7426347971095</c:v>
                </c:pt>
                <c:pt idx="263">
                  <c:v>1262.6737076153418</c:v>
                </c:pt>
                <c:pt idx="264">
                  <c:v>1188.354641467482</c:v>
                </c:pt>
                <c:pt idx="265">
                  <c:v>1223.2814526588845</c:v>
                </c:pt>
                <c:pt idx="266">
                  <c:v>1230.9801741708357</c:v>
                </c:pt>
                <c:pt idx="267">
                  <c:v>1271.7342968315731</c:v>
                </c:pt>
                <c:pt idx="268">
                  <c:v>1206.077450435427</c:v>
                </c:pt>
                <c:pt idx="269">
                  <c:v>1236.964980544747</c:v>
                </c:pt>
                <c:pt idx="270">
                  <c:v>1191.7454141189551</c:v>
                </c:pt>
                <c:pt idx="271">
                  <c:v>1147.2392069668331</c:v>
                </c:pt>
                <c:pt idx="272">
                  <c:v>1185.5104687789512</c:v>
                </c:pt>
                <c:pt idx="273">
                  <c:v>1138.8085973689087</c:v>
                </c:pt>
                <c:pt idx="274">
                  <c:v>1078.0340930146378</c:v>
                </c:pt>
                <c:pt idx="275">
                  <c:v>1017.8525106540671</c:v>
                </c:pt>
                <c:pt idx="276">
                  <c:v>942.19937002038171</c:v>
                </c:pt>
                <c:pt idx="277">
                  <c:v>886.86307207707978</c:v>
                </c:pt>
                <c:pt idx="278">
                  <c:v>1038.2342041875115</c:v>
                </c:pt>
                <c:pt idx="279">
                  <c:v>1050.4354270891233</c:v>
                </c:pt>
                <c:pt idx="280">
                  <c:v>1010.579951825088</c:v>
                </c:pt>
                <c:pt idx="281">
                  <c:v>1029.9703539003149</c:v>
                </c:pt>
                <c:pt idx="282">
                  <c:v>1020.7059477487493</c:v>
                </c:pt>
                <c:pt idx="283">
                  <c:v>972.15119510839349</c:v>
                </c:pt>
                <c:pt idx="284">
                  <c:v>908.17120622568086</c:v>
                </c:pt>
                <c:pt idx="285">
                  <c:v>899.0457661663886</c:v>
                </c:pt>
                <c:pt idx="286">
                  <c:v>885.12136372058535</c:v>
                </c:pt>
                <c:pt idx="287">
                  <c:v>847.34111543450047</c:v>
                </c:pt>
                <c:pt idx="288">
                  <c:v>877.59866592551407</c:v>
                </c:pt>
                <c:pt idx="289">
                  <c:v>833.30554011487857</c:v>
                </c:pt>
                <c:pt idx="290">
                  <c:v>884.0930146377616</c:v>
                </c:pt>
                <c:pt idx="291">
                  <c:v>820.02964609968512</c:v>
                </c:pt>
                <c:pt idx="292">
                  <c:v>785.8810450250138</c:v>
                </c:pt>
                <c:pt idx="293">
                  <c:v>742.39392254956454</c:v>
                </c:pt>
                <c:pt idx="294">
                  <c:v>701.42671854734112</c:v>
                </c:pt>
                <c:pt idx="295">
                  <c:v>732.6477672781175</c:v>
                </c:pt>
                <c:pt idx="296">
                  <c:v>728.33055401148783</c:v>
                </c:pt>
                <c:pt idx="297">
                  <c:v>686.25162127107637</c:v>
                </c:pt>
                <c:pt idx="298">
                  <c:v>701.33407448582534</c:v>
                </c:pt>
                <c:pt idx="299">
                  <c:v>653.39077265147296</c:v>
                </c:pt>
                <c:pt idx="300">
                  <c:v>636.75189920326102</c:v>
                </c:pt>
                <c:pt idx="301">
                  <c:v>604.03001667593094</c:v>
                </c:pt>
                <c:pt idx="302">
                  <c:v>592.87567166944598</c:v>
                </c:pt>
                <c:pt idx="303">
                  <c:v>621.29886974244948</c:v>
                </c:pt>
                <c:pt idx="304">
                  <c:v>619.89994441356316</c:v>
                </c:pt>
                <c:pt idx="305">
                  <c:v>606.04965721697226</c:v>
                </c:pt>
                <c:pt idx="306">
                  <c:v>598.01741708356485</c:v>
                </c:pt>
                <c:pt idx="307">
                  <c:v>593.32036316472102</c:v>
                </c:pt>
                <c:pt idx="308">
                  <c:v>589.23476005188058</c:v>
                </c:pt>
                <c:pt idx="309">
                  <c:v>570.6225680933851</c:v>
                </c:pt>
                <c:pt idx="310">
                  <c:v>560.83935519733177</c:v>
                </c:pt>
                <c:pt idx="311">
                  <c:v>538.72521771354457</c:v>
                </c:pt>
                <c:pt idx="312">
                  <c:v>541.42115990365016</c:v>
                </c:pt>
                <c:pt idx="313">
                  <c:v>520.54845284417263</c:v>
                </c:pt>
                <c:pt idx="314">
                  <c:v>520.71521215490077</c:v>
                </c:pt>
                <c:pt idx="315">
                  <c:v>504.67852510654058</c:v>
                </c:pt>
                <c:pt idx="316">
                  <c:v>494.16342412451354</c:v>
                </c:pt>
                <c:pt idx="317">
                  <c:v>476.84824902723733</c:v>
                </c:pt>
                <c:pt idx="318">
                  <c:v>463.87808041504542</c:v>
                </c:pt>
                <c:pt idx="319">
                  <c:v>451.53789142115988</c:v>
                </c:pt>
                <c:pt idx="320">
                  <c:v>435.81619418195299</c:v>
                </c:pt>
                <c:pt idx="321">
                  <c:v>425.48638132295719</c:v>
                </c:pt>
                <c:pt idx="322">
                  <c:v>420.31684269038357</c:v>
                </c:pt>
                <c:pt idx="323">
                  <c:v>437.60422456920509</c:v>
                </c:pt>
                <c:pt idx="324">
                  <c:v>428.65480822679262</c:v>
                </c:pt>
                <c:pt idx="325">
                  <c:v>440.51324810079666</c:v>
                </c:pt>
                <c:pt idx="326">
                  <c:v>424.55067630164899</c:v>
                </c:pt>
                <c:pt idx="327">
                  <c:v>411.58977209560862</c:v>
                </c:pt>
                <c:pt idx="328">
                  <c:v>422.92014081897344</c:v>
                </c:pt>
                <c:pt idx="329">
                  <c:v>417.74133778024833</c:v>
                </c:pt>
                <c:pt idx="330">
                  <c:v>412.97943301834346</c:v>
                </c:pt>
                <c:pt idx="331">
                  <c:v>432.77746896423935</c:v>
                </c:pt>
                <c:pt idx="332">
                  <c:v>446.18306466555498</c:v>
                </c:pt>
                <c:pt idx="333">
                  <c:v>432.13822493978131</c:v>
                </c:pt>
                <c:pt idx="334">
                  <c:v>427.82101167315176</c:v>
                </c:pt>
                <c:pt idx="335">
                  <c:v>433.41671298869738</c:v>
                </c:pt>
                <c:pt idx="336">
                  <c:v>425.17139151380394</c:v>
                </c:pt>
                <c:pt idx="337">
                  <c:v>429.46081156197886</c:v>
                </c:pt>
                <c:pt idx="338">
                  <c:v>415.16583287011298</c:v>
                </c:pt>
                <c:pt idx="339">
                  <c:v>417.38929034648874</c:v>
                </c:pt>
                <c:pt idx="340">
                  <c:v>417.07430053733549</c:v>
                </c:pt>
                <c:pt idx="341">
                  <c:v>407.80989438576984</c:v>
                </c:pt>
                <c:pt idx="342">
                  <c:v>418.44543264776729</c:v>
                </c:pt>
                <c:pt idx="343">
                  <c:v>410.7652399481193</c:v>
                </c:pt>
                <c:pt idx="344">
                  <c:v>406.50361311839907</c:v>
                </c:pt>
                <c:pt idx="345">
                  <c:v>403.65944042986843</c:v>
                </c:pt>
                <c:pt idx="346">
                  <c:v>399.62015934778583</c:v>
                </c:pt>
                <c:pt idx="347">
                  <c:v>387.8821567537521</c:v>
                </c:pt>
                <c:pt idx="348">
                  <c:v>387.06688901241432</c:v>
                </c:pt>
                <c:pt idx="349">
                  <c:v>383.57420789327404</c:v>
                </c:pt>
                <c:pt idx="350">
                  <c:v>393.00537335556783</c:v>
                </c:pt>
                <c:pt idx="351">
                  <c:v>378.1174726700018</c:v>
                </c:pt>
                <c:pt idx="352">
                  <c:v>384.79710950528073</c:v>
                </c:pt>
                <c:pt idx="353">
                  <c:v>384.42653325921805</c:v>
                </c:pt>
                <c:pt idx="354">
                  <c:v>373.99481193255514</c:v>
                </c:pt>
                <c:pt idx="355">
                  <c:v>382.3420418751158</c:v>
                </c:pt>
                <c:pt idx="356">
                  <c:v>378.71965906985361</c:v>
                </c:pt>
                <c:pt idx="357">
                  <c:v>386.40911617565308</c:v>
                </c:pt>
                <c:pt idx="358">
                  <c:v>347.61904761904765</c:v>
                </c:pt>
                <c:pt idx="359">
                  <c:v>363.59088382434686</c:v>
                </c:pt>
                <c:pt idx="360">
                  <c:v>359.32925699462663</c:v>
                </c:pt>
                <c:pt idx="361">
                  <c:v>366.34241245136189</c:v>
                </c:pt>
                <c:pt idx="362">
                  <c:v>359.28293496386874</c:v>
                </c:pt>
                <c:pt idx="363">
                  <c:v>343.85769872151201</c:v>
                </c:pt>
                <c:pt idx="364">
                  <c:v>361.15434500648507</c:v>
                </c:pt>
                <c:pt idx="365">
                  <c:v>347.73948489901795</c:v>
                </c:pt>
                <c:pt idx="366">
                  <c:v>347.61904761904765</c:v>
                </c:pt>
                <c:pt idx="367">
                  <c:v>340.06855660552151</c:v>
                </c:pt>
                <c:pt idx="368">
                  <c:v>318.63072077079858</c:v>
                </c:pt>
                <c:pt idx="369">
                  <c:v>305.92921993700202</c:v>
                </c:pt>
                <c:pt idx="370">
                  <c:v>298.5176950157495</c:v>
                </c:pt>
                <c:pt idx="371">
                  <c:v>281.63794700759678</c:v>
                </c:pt>
                <c:pt idx="372">
                  <c:v>283.53715026866774</c:v>
                </c:pt>
                <c:pt idx="373">
                  <c:v>298.83268482490274</c:v>
                </c:pt>
                <c:pt idx="374">
                  <c:v>329.95182508801184</c:v>
                </c:pt>
                <c:pt idx="375">
                  <c:v>331.68426903835461</c:v>
                </c:pt>
                <c:pt idx="376">
                  <c:v>334.65814341300722</c:v>
                </c:pt>
                <c:pt idx="377">
                  <c:v>306.4665554937929</c:v>
                </c:pt>
                <c:pt idx="378">
                  <c:v>314.9342227163238</c:v>
                </c:pt>
                <c:pt idx="379">
                  <c:v>307.4763757643135</c:v>
                </c:pt>
                <c:pt idx="380">
                  <c:v>304.87307763572352</c:v>
                </c:pt>
                <c:pt idx="381">
                  <c:v>327.40411339633124</c:v>
                </c:pt>
                <c:pt idx="382">
                  <c:v>320.53918843802114</c:v>
                </c:pt>
                <c:pt idx="383">
                  <c:v>315.32332777468963</c:v>
                </c:pt>
                <c:pt idx="384">
                  <c:v>323.46674078191586</c:v>
                </c:pt>
                <c:pt idx="385">
                  <c:v>325.59755419677595</c:v>
                </c:pt>
                <c:pt idx="386">
                  <c:v>320.62256809338521</c:v>
                </c:pt>
                <c:pt idx="387">
                  <c:v>294.5895868074856</c:v>
                </c:pt>
                <c:pt idx="388">
                  <c:v>296.94274596998326</c:v>
                </c:pt>
                <c:pt idx="389">
                  <c:v>286.86307207707978</c:v>
                </c:pt>
                <c:pt idx="390">
                  <c:v>273.17954419121736</c:v>
                </c:pt>
                <c:pt idx="391">
                  <c:v>267.61163609412637</c:v>
                </c:pt>
                <c:pt idx="392">
                  <c:v>275.5882897906244</c:v>
                </c:pt>
                <c:pt idx="393">
                  <c:v>257.29108764128222</c:v>
                </c:pt>
                <c:pt idx="394">
                  <c:v>253.56679636835278</c:v>
                </c:pt>
                <c:pt idx="395">
                  <c:v>258.44913841022793</c:v>
                </c:pt>
                <c:pt idx="396">
                  <c:v>251.90846766722257</c:v>
                </c:pt>
                <c:pt idx="397">
                  <c:v>242.28274967574578</c:v>
                </c:pt>
                <c:pt idx="398">
                  <c:v>252.01037613488975</c:v>
                </c:pt>
                <c:pt idx="399">
                  <c:v>253.38150824532147</c:v>
                </c:pt>
                <c:pt idx="400">
                  <c:v>242.87567166944601</c:v>
                </c:pt>
                <c:pt idx="401">
                  <c:v>242.10672595886598</c:v>
                </c:pt>
                <c:pt idx="402">
                  <c:v>239.84621085788399</c:v>
                </c:pt>
                <c:pt idx="403">
                  <c:v>248.11932555123212</c:v>
                </c:pt>
                <c:pt idx="404">
                  <c:v>238.16008893829905</c:v>
                </c:pt>
                <c:pt idx="405">
                  <c:v>228.90494719288492</c:v>
                </c:pt>
                <c:pt idx="406">
                  <c:v>213.35927367055777</c:v>
                </c:pt>
                <c:pt idx="407">
                  <c:v>233.26848249027233</c:v>
                </c:pt>
                <c:pt idx="408">
                  <c:v>298.15638317583841</c:v>
                </c:pt>
                <c:pt idx="409">
                  <c:v>305.5401148786363</c:v>
                </c:pt>
                <c:pt idx="410">
                  <c:v>295.2195664257921</c:v>
                </c:pt>
                <c:pt idx="411">
                  <c:v>281.63794700759678</c:v>
                </c:pt>
                <c:pt idx="412">
                  <c:v>268.76042245692048</c:v>
                </c:pt>
                <c:pt idx="413">
                  <c:v>267.14841578654807</c:v>
                </c:pt>
                <c:pt idx="414">
                  <c:v>270.24272744117104</c:v>
                </c:pt>
                <c:pt idx="415">
                  <c:v>263.29442282749676</c:v>
                </c:pt>
                <c:pt idx="416">
                  <c:v>253.91884380211226</c:v>
                </c:pt>
                <c:pt idx="417">
                  <c:v>224.35612377246619</c:v>
                </c:pt>
                <c:pt idx="418">
                  <c:v>230.88753010931998</c:v>
                </c:pt>
                <c:pt idx="419">
                  <c:v>226.03298128589952</c:v>
                </c:pt>
                <c:pt idx="420">
                  <c:v>214.30424309801742</c:v>
                </c:pt>
                <c:pt idx="421">
                  <c:v>234.32462479155083</c:v>
                </c:pt>
                <c:pt idx="422">
                  <c:v>218.75115805076894</c:v>
                </c:pt>
                <c:pt idx="423">
                  <c:v>232.38836390587366</c:v>
                </c:pt>
                <c:pt idx="424">
                  <c:v>229.15508615897718</c:v>
                </c:pt>
                <c:pt idx="425">
                  <c:v>218.195293681675</c:v>
                </c:pt>
                <c:pt idx="426">
                  <c:v>221.32666296090423</c:v>
                </c:pt>
                <c:pt idx="427">
                  <c:v>210.22790439132854</c:v>
                </c:pt>
                <c:pt idx="428">
                  <c:v>196.20159347785807</c:v>
                </c:pt>
                <c:pt idx="429">
                  <c:v>195.73837317027977</c:v>
                </c:pt>
                <c:pt idx="430">
                  <c:v>187.29849916620341</c:v>
                </c:pt>
                <c:pt idx="431">
                  <c:v>175.85695756901981</c:v>
                </c:pt>
                <c:pt idx="432">
                  <c:v>168.68630720770801</c:v>
                </c:pt>
                <c:pt idx="433">
                  <c:v>174.75449323698348</c:v>
                </c:pt>
                <c:pt idx="434">
                  <c:v>176.87604224569202</c:v>
                </c:pt>
                <c:pt idx="435">
                  <c:v>177.73763201778766</c:v>
                </c:pt>
                <c:pt idx="436">
                  <c:v>175.60681860292758</c:v>
                </c:pt>
                <c:pt idx="437">
                  <c:v>166.6018158236057</c:v>
                </c:pt>
                <c:pt idx="438">
                  <c:v>167.37076153418565</c:v>
                </c:pt>
                <c:pt idx="439">
                  <c:v>167.85251065406706</c:v>
                </c:pt>
                <c:pt idx="440">
                  <c:v>166.41652770057439</c:v>
                </c:pt>
                <c:pt idx="441">
                  <c:v>154.93792847878453</c:v>
                </c:pt>
                <c:pt idx="442">
                  <c:v>151.54715582731146</c:v>
                </c:pt>
                <c:pt idx="443">
                  <c:v>153.87252177135446</c:v>
                </c:pt>
                <c:pt idx="444">
                  <c:v>153.881786177506</c:v>
                </c:pt>
                <c:pt idx="445">
                  <c:v>154.41912173429685</c:v>
                </c:pt>
                <c:pt idx="446">
                  <c:v>139.57754307948861</c:v>
                </c:pt>
                <c:pt idx="447">
                  <c:v>141.91217342968315</c:v>
                </c:pt>
                <c:pt idx="448">
                  <c:v>139.47563461182136</c:v>
                </c:pt>
                <c:pt idx="449">
                  <c:v>148.27682045580877</c:v>
                </c:pt>
                <c:pt idx="450">
                  <c:v>147.47081712062254</c:v>
                </c:pt>
                <c:pt idx="451">
                  <c:v>145.50676301649062</c:v>
                </c:pt>
                <c:pt idx="452">
                  <c:v>151.38966092273483</c:v>
                </c:pt>
                <c:pt idx="453">
                  <c:v>152.79785065777281</c:v>
                </c:pt>
                <c:pt idx="454">
                  <c:v>154.15971836205298</c:v>
                </c:pt>
                <c:pt idx="455">
                  <c:v>151.5193626088568</c:v>
                </c:pt>
                <c:pt idx="456">
                  <c:v>153.85399295905131</c:v>
                </c:pt>
                <c:pt idx="457">
                  <c:v>152.30683713173988</c:v>
                </c:pt>
                <c:pt idx="458">
                  <c:v>150.60218639985175</c:v>
                </c:pt>
                <c:pt idx="459">
                  <c:v>155.74393181397073</c:v>
                </c:pt>
                <c:pt idx="460">
                  <c:v>150.44469149527515</c:v>
                </c:pt>
                <c:pt idx="461">
                  <c:v>152.32536594404297</c:v>
                </c:pt>
                <c:pt idx="462">
                  <c:v>141.70835649434872</c:v>
                </c:pt>
                <c:pt idx="463">
                  <c:v>137.16879748008151</c:v>
                </c:pt>
                <c:pt idx="464">
                  <c:v>134.61182138224939</c:v>
                </c:pt>
                <c:pt idx="465">
                  <c:v>130.29460811561978</c:v>
                </c:pt>
                <c:pt idx="466">
                  <c:v>128.34908282379098</c:v>
                </c:pt>
                <c:pt idx="467">
                  <c:v>123.87437465258478</c:v>
                </c:pt>
                <c:pt idx="468">
                  <c:v>111.56197887715398</c:v>
                </c:pt>
                <c:pt idx="469">
                  <c:v>110.71891791736148</c:v>
                </c:pt>
                <c:pt idx="470">
                  <c:v>99.212525477116927</c:v>
                </c:pt>
                <c:pt idx="471">
                  <c:v>101.54715582731146</c:v>
                </c:pt>
                <c:pt idx="472">
                  <c:v>103.65017602371687</c:v>
                </c:pt>
                <c:pt idx="473">
                  <c:v>107.87474522883083</c:v>
                </c:pt>
                <c:pt idx="474">
                  <c:v>103.72429127292939</c:v>
                </c:pt>
                <c:pt idx="475">
                  <c:v>104.78969798035946</c:v>
                </c:pt>
                <c:pt idx="476">
                  <c:v>111.54345006485084</c:v>
                </c:pt>
                <c:pt idx="477">
                  <c:v>113.53529738743747</c:v>
                </c:pt>
                <c:pt idx="478">
                  <c:v>117.05577172503241</c:v>
                </c:pt>
                <c:pt idx="479">
                  <c:v>112.92384658143413</c:v>
                </c:pt>
                <c:pt idx="480">
                  <c:v>107.63387066889013</c:v>
                </c:pt>
                <c:pt idx="481">
                  <c:v>113.75764313507504</c:v>
                </c:pt>
                <c:pt idx="482">
                  <c:v>121.28960533629794</c:v>
                </c:pt>
                <c:pt idx="483">
                  <c:v>121.55827311469336</c:v>
                </c:pt>
                <c:pt idx="484">
                  <c:v>122.83676116360942</c:v>
                </c:pt>
                <c:pt idx="485">
                  <c:v>123.04057809894384</c:v>
                </c:pt>
                <c:pt idx="486">
                  <c:v>125.9959236612933</c:v>
                </c:pt>
                <c:pt idx="487">
                  <c:v>121.61385955160276</c:v>
                </c:pt>
                <c:pt idx="488">
                  <c:v>120.02038169353347</c:v>
                </c:pt>
                <c:pt idx="489">
                  <c:v>125.77357791365573</c:v>
                </c:pt>
                <c:pt idx="490">
                  <c:v>130.18343524180099</c:v>
                </c:pt>
                <c:pt idx="491">
                  <c:v>118.09338521400777</c:v>
                </c:pt>
                <c:pt idx="492">
                  <c:v>116.23123957754306</c:v>
                </c:pt>
                <c:pt idx="493">
                  <c:v>113.37780248286083</c:v>
                </c:pt>
                <c:pt idx="494">
                  <c:v>112.72002964609969</c:v>
                </c:pt>
                <c:pt idx="495">
                  <c:v>105.83657587548639</c:v>
                </c:pt>
                <c:pt idx="496">
                  <c:v>103.05725403001667</c:v>
                </c:pt>
                <c:pt idx="497">
                  <c:v>98.47137298499166</c:v>
                </c:pt>
                <c:pt idx="498">
                  <c:v>94.580322401334087</c:v>
                </c:pt>
                <c:pt idx="499">
                  <c:v>105.29924031869555</c:v>
                </c:pt>
                <c:pt idx="500">
                  <c:v>105.76246062627384</c:v>
                </c:pt>
                <c:pt idx="501">
                  <c:v>100</c:v>
                </c:pt>
              </c:numCache>
            </c:numRef>
          </c:val>
          <c:smooth val="0"/>
          <c:extLst>
            <c:ext xmlns:c16="http://schemas.microsoft.com/office/drawing/2014/chart" uri="{C3380CC4-5D6E-409C-BE32-E72D297353CC}">
              <c16:uniqueId val="{00000000-3F9A-4F82-A04B-9B184C6BA2F0}"/>
            </c:ext>
          </c:extLst>
        </c:ser>
        <c:dLbls>
          <c:showLegendKey val="0"/>
          <c:showVal val="0"/>
          <c:showCatName val="0"/>
          <c:showSerName val="0"/>
          <c:showPercent val="0"/>
          <c:showBubbleSize val="0"/>
        </c:dLbls>
        <c:smooth val="0"/>
        <c:axId val="1596640639"/>
        <c:axId val="1596643135"/>
      </c:lineChart>
      <c:dateAx>
        <c:axId val="1596640639"/>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nl-NL"/>
          </a:p>
        </c:txPr>
        <c:crossAx val="1596643135"/>
        <c:crosses val="autoZero"/>
        <c:auto val="1"/>
        <c:lblOffset val="100"/>
        <c:baseTimeUnit val="months"/>
      </c:dateAx>
      <c:valAx>
        <c:axId val="159664313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nl-NL"/>
          </a:p>
        </c:txPr>
        <c:crossAx val="1596640639"/>
        <c:crosses val="autoZero"/>
        <c:crossBetween val="between"/>
      </c:valAx>
      <c:spPr>
        <a:noFill/>
        <a:ln>
          <a:noFill/>
        </a:ln>
        <a:effectLst/>
      </c:spPr>
    </c:plotArea>
    <c:legend>
      <c:legendPos val="r"/>
      <c:layout>
        <c:manualLayout>
          <c:xMode val="edge"/>
          <c:yMode val="edge"/>
          <c:x val="0.72105900225403197"/>
          <c:y val="0.78475720603875976"/>
          <c:w val="0.2494405042409335"/>
          <c:h val="7.0936761400069409E-2"/>
        </c:manualLayout>
      </c:layout>
      <c:overlay val="1"/>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l-NL"/>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36"/>
    </mc:Choice>
    <mc:Fallback>
      <c:style val="36"/>
    </mc:Fallback>
  </mc:AlternateContent>
  <c:chart>
    <c:autoTitleDeleted val="0"/>
    <c:plotArea>
      <c:layout/>
      <c:lineChart>
        <c:grouping val="standard"/>
        <c:varyColors val="0"/>
        <c:ser>
          <c:idx val="0"/>
          <c:order val="0"/>
          <c:tx>
            <c:strRef>
              <c:f>Sheet1!$B$1</c:f>
              <c:strCache>
                <c:ptCount val="1"/>
                <c:pt idx="0">
                  <c:v>Equity</c:v>
                </c:pt>
              </c:strCache>
            </c:strRef>
          </c:tx>
          <c:spPr>
            <a:ln w="28575">
              <a:solidFill>
                <a:schemeClr val="accent6"/>
              </a:solidFill>
            </a:ln>
          </c:spPr>
          <c:marker>
            <c:symbol val="none"/>
          </c:marker>
          <c:cat>
            <c:numRef>
              <c:f>Sheet1!$A$2:$A$42</c:f>
              <c:numCache>
                <c:formatCode>0%</c:formatCode>
                <c:ptCount val="41"/>
                <c:pt idx="0">
                  <c:v>-0.4</c:v>
                </c:pt>
                <c:pt idx="1">
                  <c:v>-0.38</c:v>
                </c:pt>
                <c:pt idx="2">
                  <c:v>-0.36</c:v>
                </c:pt>
                <c:pt idx="3">
                  <c:v>-0.33999999999999997</c:v>
                </c:pt>
                <c:pt idx="4">
                  <c:v>-0.31999999999999995</c:v>
                </c:pt>
                <c:pt idx="5">
                  <c:v>-0.29999999999999993</c:v>
                </c:pt>
                <c:pt idx="6">
                  <c:v>-0.27999999999999992</c:v>
                </c:pt>
                <c:pt idx="7">
                  <c:v>-0.2599999999999999</c:v>
                </c:pt>
                <c:pt idx="8">
                  <c:v>-0.23999999999999991</c:v>
                </c:pt>
                <c:pt idx="9">
                  <c:v>-0.21999999999999992</c:v>
                </c:pt>
                <c:pt idx="10">
                  <c:v>-0.19999999999999993</c:v>
                </c:pt>
                <c:pt idx="11">
                  <c:v>-0.17999999999999994</c:v>
                </c:pt>
                <c:pt idx="12">
                  <c:v>-0.15999999999999995</c:v>
                </c:pt>
                <c:pt idx="13">
                  <c:v>-0.13999999999999996</c:v>
                </c:pt>
                <c:pt idx="14">
                  <c:v>-0.11999999999999995</c:v>
                </c:pt>
                <c:pt idx="15">
                  <c:v>-9.999999999999995E-2</c:v>
                </c:pt>
                <c:pt idx="16">
                  <c:v>-7.9999999999999946E-2</c:v>
                </c:pt>
                <c:pt idx="17">
                  <c:v>-5.9999999999999942E-2</c:v>
                </c:pt>
                <c:pt idx="18">
                  <c:v>-3.9999999999999938E-2</c:v>
                </c:pt>
                <c:pt idx="19">
                  <c:v>-1.9999999999999938E-2</c:v>
                </c:pt>
                <c:pt idx="20">
                  <c:v>6.2450045135165055E-17</c:v>
                </c:pt>
                <c:pt idx="21">
                  <c:v>2.0000000000000063E-2</c:v>
                </c:pt>
                <c:pt idx="22">
                  <c:v>4.0000000000000063E-2</c:v>
                </c:pt>
                <c:pt idx="23">
                  <c:v>6.0000000000000067E-2</c:v>
                </c:pt>
                <c:pt idx="24">
                  <c:v>8.0000000000000071E-2</c:v>
                </c:pt>
                <c:pt idx="25">
                  <c:v>0.10000000000000007</c:v>
                </c:pt>
                <c:pt idx="26">
                  <c:v>0.12000000000000008</c:v>
                </c:pt>
                <c:pt idx="27">
                  <c:v>0.14000000000000007</c:v>
                </c:pt>
                <c:pt idx="28">
                  <c:v>0.16000000000000006</c:v>
                </c:pt>
                <c:pt idx="29">
                  <c:v>0.18000000000000005</c:v>
                </c:pt>
                <c:pt idx="30">
                  <c:v>0.20000000000000004</c:v>
                </c:pt>
                <c:pt idx="31">
                  <c:v>0.22000000000000003</c:v>
                </c:pt>
                <c:pt idx="32">
                  <c:v>0.24000000000000002</c:v>
                </c:pt>
                <c:pt idx="33">
                  <c:v>0.26</c:v>
                </c:pt>
                <c:pt idx="34">
                  <c:v>0.28000000000000003</c:v>
                </c:pt>
                <c:pt idx="35">
                  <c:v>0.30000000000000004</c:v>
                </c:pt>
                <c:pt idx="36">
                  <c:v>0.32000000000000006</c:v>
                </c:pt>
                <c:pt idx="37">
                  <c:v>0.34000000000000008</c:v>
                </c:pt>
                <c:pt idx="38">
                  <c:v>0.3600000000000001</c:v>
                </c:pt>
                <c:pt idx="39">
                  <c:v>0.38000000000000012</c:v>
                </c:pt>
                <c:pt idx="40">
                  <c:v>0.40000000000000013</c:v>
                </c:pt>
              </c:numCache>
            </c:numRef>
          </c:cat>
          <c:val>
            <c:numRef>
              <c:f>Sheet1!$B$2:$B$42</c:f>
              <c:numCache>
                <c:formatCode>0%</c:formatCode>
                <c:ptCount val="41"/>
                <c:pt idx="0">
                  <c:v>-0.4</c:v>
                </c:pt>
                <c:pt idx="1">
                  <c:v>-0.38</c:v>
                </c:pt>
                <c:pt idx="2">
                  <c:v>-0.36</c:v>
                </c:pt>
                <c:pt idx="3">
                  <c:v>-0.33999999999999997</c:v>
                </c:pt>
                <c:pt idx="4">
                  <c:v>-0.31999999999999995</c:v>
                </c:pt>
                <c:pt idx="5">
                  <c:v>-0.29999999999999993</c:v>
                </c:pt>
                <c:pt idx="6">
                  <c:v>-0.27999999999999992</c:v>
                </c:pt>
                <c:pt idx="7">
                  <c:v>-0.2599999999999999</c:v>
                </c:pt>
                <c:pt idx="8">
                  <c:v>-0.23999999999999991</c:v>
                </c:pt>
                <c:pt idx="9">
                  <c:v>-0.21999999999999992</c:v>
                </c:pt>
                <c:pt idx="10">
                  <c:v>-0.19999999999999993</c:v>
                </c:pt>
                <c:pt idx="11">
                  <c:v>-0.17999999999999994</c:v>
                </c:pt>
                <c:pt idx="12">
                  <c:v>-0.15999999999999995</c:v>
                </c:pt>
                <c:pt idx="13">
                  <c:v>-0.13999999999999996</c:v>
                </c:pt>
                <c:pt idx="14">
                  <c:v>-0.11999999999999995</c:v>
                </c:pt>
                <c:pt idx="15">
                  <c:v>-9.999999999999995E-2</c:v>
                </c:pt>
                <c:pt idx="16">
                  <c:v>-7.9999999999999946E-2</c:v>
                </c:pt>
                <c:pt idx="17">
                  <c:v>-5.9999999999999942E-2</c:v>
                </c:pt>
                <c:pt idx="18">
                  <c:v>-3.9999999999999938E-2</c:v>
                </c:pt>
                <c:pt idx="19">
                  <c:v>-1.9999999999999938E-2</c:v>
                </c:pt>
                <c:pt idx="20">
                  <c:v>6.2450045135165055E-17</c:v>
                </c:pt>
                <c:pt idx="21">
                  <c:v>2.0000000000000063E-2</c:v>
                </c:pt>
                <c:pt idx="22">
                  <c:v>4.0000000000000063E-2</c:v>
                </c:pt>
                <c:pt idx="23">
                  <c:v>6.0000000000000067E-2</c:v>
                </c:pt>
                <c:pt idx="24">
                  <c:v>8.0000000000000071E-2</c:v>
                </c:pt>
                <c:pt idx="25">
                  <c:v>0.10000000000000007</c:v>
                </c:pt>
                <c:pt idx="26">
                  <c:v>0.12000000000000008</c:v>
                </c:pt>
                <c:pt idx="27">
                  <c:v>0.14000000000000007</c:v>
                </c:pt>
                <c:pt idx="28">
                  <c:v>0.16000000000000006</c:v>
                </c:pt>
                <c:pt idx="29">
                  <c:v>0.18000000000000005</c:v>
                </c:pt>
                <c:pt idx="30">
                  <c:v>0.20000000000000004</c:v>
                </c:pt>
                <c:pt idx="31">
                  <c:v>0.22000000000000003</c:v>
                </c:pt>
                <c:pt idx="32">
                  <c:v>0.24000000000000002</c:v>
                </c:pt>
                <c:pt idx="33">
                  <c:v>0.26</c:v>
                </c:pt>
                <c:pt idx="34">
                  <c:v>0.28000000000000003</c:v>
                </c:pt>
                <c:pt idx="35">
                  <c:v>0.30000000000000004</c:v>
                </c:pt>
                <c:pt idx="36">
                  <c:v>0.32000000000000006</c:v>
                </c:pt>
                <c:pt idx="37">
                  <c:v>0.34000000000000008</c:v>
                </c:pt>
                <c:pt idx="38">
                  <c:v>0.3600000000000001</c:v>
                </c:pt>
                <c:pt idx="39">
                  <c:v>0.38000000000000012</c:v>
                </c:pt>
                <c:pt idx="40">
                  <c:v>0.40000000000000013</c:v>
                </c:pt>
              </c:numCache>
            </c:numRef>
          </c:val>
          <c:smooth val="0"/>
          <c:extLst>
            <c:ext xmlns:c16="http://schemas.microsoft.com/office/drawing/2014/chart" uri="{C3380CC4-5D6E-409C-BE32-E72D297353CC}">
              <c16:uniqueId val="{00000000-E577-4444-90C0-B3A1E8A9F990}"/>
            </c:ext>
          </c:extLst>
        </c:ser>
        <c:ser>
          <c:idx val="1"/>
          <c:order val="1"/>
          <c:tx>
            <c:strRef>
              <c:f>Sheet1!$C$1</c:f>
              <c:strCache>
                <c:ptCount val="1"/>
                <c:pt idx="0">
                  <c:v>Equity with put</c:v>
                </c:pt>
              </c:strCache>
            </c:strRef>
          </c:tx>
          <c:spPr>
            <a:ln w="28575">
              <a:solidFill>
                <a:schemeClr val="tx2"/>
              </a:solidFill>
            </a:ln>
          </c:spPr>
          <c:marker>
            <c:symbol val="none"/>
          </c:marker>
          <c:cat>
            <c:numRef>
              <c:f>Sheet1!$A$2:$A$42</c:f>
              <c:numCache>
                <c:formatCode>0%</c:formatCode>
                <c:ptCount val="41"/>
                <c:pt idx="0">
                  <c:v>-0.4</c:v>
                </c:pt>
                <c:pt idx="1">
                  <c:v>-0.38</c:v>
                </c:pt>
                <c:pt idx="2">
                  <c:v>-0.36</c:v>
                </c:pt>
                <c:pt idx="3">
                  <c:v>-0.33999999999999997</c:v>
                </c:pt>
                <c:pt idx="4">
                  <c:v>-0.31999999999999995</c:v>
                </c:pt>
                <c:pt idx="5">
                  <c:v>-0.29999999999999993</c:v>
                </c:pt>
                <c:pt idx="6">
                  <c:v>-0.27999999999999992</c:v>
                </c:pt>
                <c:pt idx="7">
                  <c:v>-0.2599999999999999</c:v>
                </c:pt>
                <c:pt idx="8">
                  <c:v>-0.23999999999999991</c:v>
                </c:pt>
                <c:pt idx="9">
                  <c:v>-0.21999999999999992</c:v>
                </c:pt>
                <c:pt idx="10">
                  <c:v>-0.19999999999999993</c:v>
                </c:pt>
                <c:pt idx="11">
                  <c:v>-0.17999999999999994</c:v>
                </c:pt>
                <c:pt idx="12">
                  <c:v>-0.15999999999999995</c:v>
                </c:pt>
                <c:pt idx="13">
                  <c:v>-0.13999999999999996</c:v>
                </c:pt>
                <c:pt idx="14">
                  <c:v>-0.11999999999999995</c:v>
                </c:pt>
                <c:pt idx="15">
                  <c:v>-9.999999999999995E-2</c:v>
                </c:pt>
                <c:pt idx="16">
                  <c:v>-7.9999999999999946E-2</c:v>
                </c:pt>
                <c:pt idx="17">
                  <c:v>-5.9999999999999942E-2</c:v>
                </c:pt>
                <c:pt idx="18">
                  <c:v>-3.9999999999999938E-2</c:v>
                </c:pt>
                <c:pt idx="19">
                  <c:v>-1.9999999999999938E-2</c:v>
                </c:pt>
                <c:pt idx="20">
                  <c:v>6.2450045135165055E-17</c:v>
                </c:pt>
                <c:pt idx="21">
                  <c:v>2.0000000000000063E-2</c:v>
                </c:pt>
                <c:pt idx="22">
                  <c:v>4.0000000000000063E-2</c:v>
                </c:pt>
                <c:pt idx="23">
                  <c:v>6.0000000000000067E-2</c:v>
                </c:pt>
                <c:pt idx="24">
                  <c:v>8.0000000000000071E-2</c:v>
                </c:pt>
                <c:pt idx="25">
                  <c:v>0.10000000000000007</c:v>
                </c:pt>
                <c:pt idx="26">
                  <c:v>0.12000000000000008</c:v>
                </c:pt>
                <c:pt idx="27">
                  <c:v>0.14000000000000007</c:v>
                </c:pt>
                <c:pt idx="28">
                  <c:v>0.16000000000000006</c:v>
                </c:pt>
                <c:pt idx="29">
                  <c:v>0.18000000000000005</c:v>
                </c:pt>
                <c:pt idx="30">
                  <c:v>0.20000000000000004</c:v>
                </c:pt>
                <c:pt idx="31">
                  <c:v>0.22000000000000003</c:v>
                </c:pt>
                <c:pt idx="32">
                  <c:v>0.24000000000000002</c:v>
                </c:pt>
                <c:pt idx="33">
                  <c:v>0.26</c:v>
                </c:pt>
                <c:pt idx="34">
                  <c:v>0.28000000000000003</c:v>
                </c:pt>
                <c:pt idx="35">
                  <c:v>0.30000000000000004</c:v>
                </c:pt>
                <c:pt idx="36">
                  <c:v>0.32000000000000006</c:v>
                </c:pt>
                <c:pt idx="37">
                  <c:v>0.34000000000000008</c:v>
                </c:pt>
                <c:pt idx="38">
                  <c:v>0.3600000000000001</c:v>
                </c:pt>
                <c:pt idx="39">
                  <c:v>0.38000000000000012</c:v>
                </c:pt>
                <c:pt idx="40">
                  <c:v>0.40000000000000013</c:v>
                </c:pt>
              </c:numCache>
            </c:numRef>
          </c:cat>
          <c:val>
            <c:numRef>
              <c:f>Sheet1!$C$2:$C$42</c:f>
              <c:numCache>
                <c:formatCode>0.0%</c:formatCode>
                <c:ptCount val="41"/>
                <c:pt idx="0">
                  <c:v>-0.16999999999999998</c:v>
                </c:pt>
                <c:pt idx="1">
                  <c:v>-0.16999999999999998</c:v>
                </c:pt>
                <c:pt idx="2">
                  <c:v>-0.16999999999999998</c:v>
                </c:pt>
                <c:pt idx="3">
                  <c:v>-0.16999999999999998</c:v>
                </c:pt>
                <c:pt idx="4">
                  <c:v>-0.16999999999999998</c:v>
                </c:pt>
                <c:pt idx="5">
                  <c:v>-0.16999999999999998</c:v>
                </c:pt>
                <c:pt idx="6">
                  <c:v>-0.16999999999999998</c:v>
                </c:pt>
                <c:pt idx="7">
                  <c:v>-0.16999999999999998</c:v>
                </c:pt>
                <c:pt idx="8">
                  <c:v>-0.16999999999999998</c:v>
                </c:pt>
                <c:pt idx="9">
                  <c:v>-0.16999999999999998</c:v>
                </c:pt>
                <c:pt idx="10">
                  <c:v>-0.16999999999999998</c:v>
                </c:pt>
                <c:pt idx="11">
                  <c:v>-0.16999999999999998</c:v>
                </c:pt>
                <c:pt idx="12">
                  <c:v>-0.16999999999999998</c:v>
                </c:pt>
                <c:pt idx="13">
                  <c:v>-0.15999999999999995</c:v>
                </c:pt>
                <c:pt idx="14">
                  <c:v>-0.13999999999999996</c:v>
                </c:pt>
                <c:pt idx="15">
                  <c:v>-0.11999999999999995</c:v>
                </c:pt>
                <c:pt idx="16">
                  <c:v>-9.999999999999995E-2</c:v>
                </c:pt>
                <c:pt idx="17">
                  <c:v>-7.9999999999999946E-2</c:v>
                </c:pt>
                <c:pt idx="18">
                  <c:v>-5.9999999999999942E-2</c:v>
                </c:pt>
                <c:pt idx="19">
                  <c:v>-3.9999999999999938E-2</c:v>
                </c:pt>
                <c:pt idx="20">
                  <c:v>-1.9999999999999938E-2</c:v>
                </c:pt>
                <c:pt idx="21">
                  <c:v>6.2450045135165055E-17</c:v>
                </c:pt>
                <c:pt idx="22">
                  <c:v>2.0000000000000063E-2</c:v>
                </c:pt>
                <c:pt idx="23">
                  <c:v>4.0000000000000063E-2</c:v>
                </c:pt>
                <c:pt idx="24">
                  <c:v>6.0000000000000067E-2</c:v>
                </c:pt>
                <c:pt idx="25">
                  <c:v>8.0000000000000071E-2</c:v>
                </c:pt>
                <c:pt idx="26">
                  <c:v>0.10000000000000007</c:v>
                </c:pt>
                <c:pt idx="27">
                  <c:v>0.12000000000000006</c:v>
                </c:pt>
                <c:pt idx="28">
                  <c:v>0.14000000000000007</c:v>
                </c:pt>
                <c:pt idx="29">
                  <c:v>0.16000000000000006</c:v>
                </c:pt>
                <c:pt idx="30">
                  <c:v>0.18000000000000005</c:v>
                </c:pt>
                <c:pt idx="31">
                  <c:v>0.20000000000000004</c:v>
                </c:pt>
                <c:pt idx="32">
                  <c:v>0.22000000000000003</c:v>
                </c:pt>
                <c:pt idx="33">
                  <c:v>0.24000000000000002</c:v>
                </c:pt>
                <c:pt idx="34">
                  <c:v>0.26</c:v>
                </c:pt>
                <c:pt idx="35">
                  <c:v>0.28000000000000003</c:v>
                </c:pt>
                <c:pt idx="36">
                  <c:v>0.30000000000000004</c:v>
                </c:pt>
                <c:pt idx="37">
                  <c:v>0.32000000000000006</c:v>
                </c:pt>
                <c:pt idx="38">
                  <c:v>0.34000000000000008</c:v>
                </c:pt>
                <c:pt idx="39">
                  <c:v>0.3600000000000001</c:v>
                </c:pt>
                <c:pt idx="40">
                  <c:v>0.38000000000000012</c:v>
                </c:pt>
              </c:numCache>
            </c:numRef>
          </c:val>
          <c:smooth val="0"/>
          <c:extLst>
            <c:ext xmlns:c16="http://schemas.microsoft.com/office/drawing/2014/chart" uri="{C3380CC4-5D6E-409C-BE32-E72D297353CC}">
              <c16:uniqueId val="{00000001-E577-4444-90C0-B3A1E8A9F990}"/>
            </c:ext>
          </c:extLst>
        </c:ser>
        <c:dLbls>
          <c:showLegendKey val="0"/>
          <c:showVal val="0"/>
          <c:showCatName val="0"/>
          <c:showSerName val="0"/>
          <c:showPercent val="0"/>
          <c:showBubbleSize val="0"/>
        </c:dLbls>
        <c:smooth val="0"/>
        <c:axId val="495521152"/>
        <c:axId val="481621120"/>
      </c:lineChart>
      <c:catAx>
        <c:axId val="495521152"/>
        <c:scaling>
          <c:orientation val="minMax"/>
        </c:scaling>
        <c:delete val="0"/>
        <c:axPos val="b"/>
        <c:numFmt formatCode="0%" sourceLinked="1"/>
        <c:majorTickMark val="none"/>
        <c:minorTickMark val="none"/>
        <c:tickLblPos val="low"/>
        <c:txPr>
          <a:bodyPr/>
          <a:lstStyle/>
          <a:p>
            <a:pPr>
              <a:defRPr sz="1050"/>
            </a:pPr>
            <a:endParaRPr lang="nl-NL"/>
          </a:p>
        </c:txPr>
        <c:crossAx val="481621120"/>
        <c:crosses val="autoZero"/>
        <c:auto val="1"/>
        <c:lblAlgn val="ctr"/>
        <c:lblOffset val="100"/>
        <c:tickLblSkip val="5"/>
        <c:tickMarkSkip val="5"/>
        <c:noMultiLvlLbl val="0"/>
      </c:catAx>
      <c:valAx>
        <c:axId val="481621120"/>
        <c:scaling>
          <c:orientation val="minMax"/>
          <c:max val="0.4"/>
          <c:min val="-0.4"/>
        </c:scaling>
        <c:delete val="0"/>
        <c:axPos val="l"/>
        <c:numFmt formatCode="0%" sourceLinked="1"/>
        <c:majorTickMark val="none"/>
        <c:minorTickMark val="none"/>
        <c:tickLblPos val="nextTo"/>
        <c:txPr>
          <a:bodyPr/>
          <a:lstStyle/>
          <a:p>
            <a:pPr>
              <a:defRPr sz="1050"/>
            </a:pPr>
            <a:endParaRPr lang="nl-NL"/>
          </a:p>
        </c:txPr>
        <c:crossAx val="495521152"/>
        <c:crosses val="autoZero"/>
        <c:crossBetween val="between"/>
      </c:valAx>
      <c:spPr>
        <a:noFill/>
      </c:spPr>
    </c:plotArea>
    <c:legend>
      <c:legendPos val="t"/>
      <c:overlay val="1"/>
    </c:legend>
    <c:plotVisOnly val="1"/>
    <c:dispBlanksAs val="gap"/>
    <c:showDLblsOverMax val="0"/>
  </c:chart>
  <c:spPr>
    <a:ln>
      <a:noFill/>
    </a:ln>
  </c:spPr>
  <c:txPr>
    <a:bodyPr/>
    <a:lstStyle/>
    <a:p>
      <a:pPr>
        <a:defRPr sz="1000"/>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0"/>
    <c:view3D>
      <c:rotX val="15"/>
      <c:rotY val="150"/>
      <c:rAngAx val="0"/>
    </c:view3D>
    <c:floor>
      <c:thickness val="0"/>
    </c:floor>
    <c:sideWall>
      <c:thickness val="0"/>
    </c:sideWall>
    <c:backWall>
      <c:thickness val="0"/>
    </c:backWall>
    <c:plotArea>
      <c:layout/>
      <c:surface3DChart>
        <c:wireframe val="0"/>
        <c:ser>
          <c:idx val="0"/>
          <c:order val="0"/>
          <c:tx>
            <c:strRef>
              <c:f>Sheet1!$B$1</c:f>
              <c:strCache>
                <c:ptCount val="1"/>
                <c:pt idx="0">
                  <c:v>80%</c:v>
                </c:pt>
              </c:strCache>
            </c:strRef>
          </c:tx>
          <c:cat>
            <c:strRef>
              <c:f>Sheet1!$A$2:$A$8</c:f>
              <c:strCache>
                <c:ptCount val="7"/>
                <c:pt idx="0">
                  <c:v>24M</c:v>
                </c:pt>
                <c:pt idx="1">
                  <c:v>18M</c:v>
                </c:pt>
                <c:pt idx="2">
                  <c:v>12M</c:v>
                </c:pt>
                <c:pt idx="3">
                  <c:v>6M</c:v>
                </c:pt>
                <c:pt idx="4">
                  <c:v>3M</c:v>
                </c:pt>
                <c:pt idx="5">
                  <c:v>2M</c:v>
                </c:pt>
                <c:pt idx="6">
                  <c:v>1M</c:v>
                </c:pt>
              </c:strCache>
            </c:strRef>
          </c:cat>
          <c:val>
            <c:numRef>
              <c:f>Sheet1!$B$2:$B$8</c:f>
              <c:numCache>
                <c:formatCode>0%</c:formatCode>
                <c:ptCount val="7"/>
                <c:pt idx="0">
                  <c:v>0.32858999999999999</c:v>
                </c:pt>
                <c:pt idx="1">
                  <c:v>0.35043999999999997</c:v>
                </c:pt>
                <c:pt idx="2">
                  <c:v>0.39409999999999995</c:v>
                </c:pt>
                <c:pt idx="3">
                  <c:v>0.48508000000000001</c:v>
                </c:pt>
                <c:pt idx="4">
                  <c:v>0.58414999999999995</c:v>
                </c:pt>
                <c:pt idx="5">
                  <c:v>0.64739999999999998</c:v>
                </c:pt>
                <c:pt idx="6">
                  <c:v>0.70822000000000007</c:v>
                </c:pt>
              </c:numCache>
            </c:numRef>
          </c:val>
          <c:extLst>
            <c:ext xmlns:c16="http://schemas.microsoft.com/office/drawing/2014/chart" uri="{C3380CC4-5D6E-409C-BE32-E72D297353CC}">
              <c16:uniqueId val="{00000000-6035-48FA-996A-29A2C5ADF656}"/>
            </c:ext>
          </c:extLst>
        </c:ser>
        <c:ser>
          <c:idx val="1"/>
          <c:order val="1"/>
          <c:tx>
            <c:strRef>
              <c:f>Sheet1!$C$1</c:f>
              <c:strCache>
                <c:ptCount val="1"/>
                <c:pt idx="0">
                  <c:v>85%</c:v>
                </c:pt>
              </c:strCache>
            </c:strRef>
          </c:tx>
          <c:cat>
            <c:strRef>
              <c:f>Sheet1!$A$2:$A$8</c:f>
              <c:strCache>
                <c:ptCount val="7"/>
                <c:pt idx="0">
                  <c:v>24M</c:v>
                </c:pt>
                <c:pt idx="1">
                  <c:v>18M</c:v>
                </c:pt>
                <c:pt idx="2">
                  <c:v>12M</c:v>
                </c:pt>
                <c:pt idx="3">
                  <c:v>6M</c:v>
                </c:pt>
                <c:pt idx="4">
                  <c:v>3M</c:v>
                </c:pt>
                <c:pt idx="5">
                  <c:v>2M</c:v>
                </c:pt>
                <c:pt idx="6">
                  <c:v>1M</c:v>
                </c:pt>
              </c:strCache>
            </c:strRef>
          </c:cat>
          <c:val>
            <c:numRef>
              <c:f>Sheet1!$C$2:$C$8</c:f>
              <c:numCache>
                <c:formatCode>0%</c:formatCode>
                <c:ptCount val="7"/>
                <c:pt idx="0">
                  <c:v>0.31381999999999999</c:v>
                </c:pt>
                <c:pt idx="1">
                  <c:v>0.3347</c:v>
                </c:pt>
                <c:pt idx="2">
                  <c:v>0.37664999999999998</c:v>
                </c:pt>
                <c:pt idx="3">
                  <c:v>0.46018000000000003</c:v>
                </c:pt>
                <c:pt idx="4">
                  <c:v>0.55432999999999999</c:v>
                </c:pt>
                <c:pt idx="5">
                  <c:v>0.61133000000000004</c:v>
                </c:pt>
                <c:pt idx="6">
                  <c:v>0.68126000000000009</c:v>
                </c:pt>
              </c:numCache>
            </c:numRef>
          </c:val>
          <c:extLst>
            <c:ext xmlns:c16="http://schemas.microsoft.com/office/drawing/2014/chart" uri="{C3380CC4-5D6E-409C-BE32-E72D297353CC}">
              <c16:uniqueId val="{00000001-6035-48FA-996A-29A2C5ADF656}"/>
            </c:ext>
          </c:extLst>
        </c:ser>
        <c:ser>
          <c:idx val="2"/>
          <c:order val="2"/>
          <c:tx>
            <c:strRef>
              <c:f>Sheet1!$D$1</c:f>
              <c:strCache>
                <c:ptCount val="1"/>
                <c:pt idx="0">
                  <c:v>90%</c:v>
                </c:pt>
              </c:strCache>
            </c:strRef>
          </c:tx>
          <c:cat>
            <c:strRef>
              <c:f>Sheet1!$A$2:$A$8</c:f>
              <c:strCache>
                <c:ptCount val="7"/>
                <c:pt idx="0">
                  <c:v>24M</c:v>
                </c:pt>
                <c:pt idx="1">
                  <c:v>18M</c:v>
                </c:pt>
                <c:pt idx="2">
                  <c:v>12M</c:v>
                </c:pt>
                <c:pt idx="3">
                  <c:v>6M</c:v>
                </c:pt>
                <c:pt idx="4">
                  <c:v>3M</c:v>
                </c:pt>
                <c:pt idx="5">
                  <c:v>2M</c:v>
                </c:pt>
                <c:pt idx="6">
                  <c:v>1M</c:v>
                </c:pt>
              </c:strCache>
            </c:strRef>
          </c:cat>
          <c:val>
            <c:numRef>
              <c:f>Sheet1!$D$2:$D$8</c:f>
              <c:numCache>
                <c:formatCode>0%</c:formatCode>
                <c:ptCount val="7"/>
                <c:pt idx="0">
                  <c:v>0.29831000000000002</c:v>
                </c:pt>
                <c:pt idx="1">
                  <c:v>0.31824000000000002</c:v>
                </c:pt>
                <c:pt idx="2">
                  <c:v>0.35786000000000001</c:v>
                </c:pt>
                <c:pt idx="3">
                  <c:v>0.43398999999999999</c:v>
                </c:pt>
                <c:pt idx="4">
                  <c:v>0.52465000000000006</c:v>
                </c:pt>
                <c:pt idx="5">
                  <c:v>0.58152000000000004</c:v>
                </c:pt>
                <c:pt idx="6">
                  <c:v>0.65125</c:v>
                </c:pt>
              </c:numCache>
            </c:numRef>
          </c:val>
          <c:extLst>
            <c:ext xmlns:c16="http://schemas.microsoft.com/office/drawing/2014/chart" uri="{C3380CC4-5D6E-409C-BE32-E72D297353CC}">
              <c16:uniqueId val="{00000002-6035-48FA-996A-29A2C5ADF656}"/>
            </c:ext>
          </c:extLst>
        </c:ser>
        <c:ser>
          <c:idx val="3"/>
          <c:order val="3"/>
          <c:tx>
            <c:strRef>
              <c:f>Sheet1!$E$1</c:f>
              <c:strCache>
                <c:ptCount val="1"/>
                <c:pt idx="0">
                  <c:v>95%</c:v>
                </c:pt>
              </c:strCache>
            </c:strRef>
          </c:tx>
          <c:cat>
            <c:strRef>
              <c:f>Sheet1!$A$2:$A$8</c:f>
              <c:strCache>
                <c:ptCount val="7"/>
                <c:pt idx="0">
                  <c:v>24M</c:v>
                </c:pt>
                <c:pt idx="1">
                  <c:v>18M</c:v>
                </c:pt>
                <c:pt idx="2">
                  <c:v>12M</c:v>
                </c:pt>
                <c:pt idx="3">
                  <c:v>6M</c:v>
                </c:pt>
                <c:pt idx="4">
                  <c:v>3M</c:v>
                </c:pt>
                <c:pt idx="5">
                  <c:v>2M</c:v>
                </c:pt>
                <c:pt idx="6">
                  <c:v>1M</c:v>
                </c:pt>
              </c:strCache>
            </c:strRef>
          </c:cat>
          <c:val>
            <c:numRef>
              <c:f>Sheet1!$E$2:$E$8</c:f>
              <c:numCache>
                <c:formatCode>0%</c:formatCode>
                <c:ptCount val="7"/>
                <c:pt idx="0">
                  <c:v>0.2828</c:v>
                </c:pt>
                <c:pt idx="1">
                  <c:v>0.30130000000000001</c:v>
                </c:pt>
                <c:pt idx="2">
                  <c:v>0.33718999999999999</c:v>
                </c:pt>
                <c:pt idx="3">
                  <c:v>0.40526000000000001</c:v>
                </c:pt>
                <c:pt idx="4">
                  <c:v>0.48968000000000006</c:v>
                </c:pt>
                <c:pt idx="5">
                  <c:v>0.54482999999999993</c:v>
                </c:pt>
                <c:pt idx="6">
                  <c:v>0.61221999999999999</c:v>
                </c:pt>
              </c:numCache>
            </c:numRef>
          </c:val>
          <c:extLst>
            <c:ext xmlns:c16="http://schemas.microsoft.com/office/drawing/2014/chart" uri="{C3380CC4-5D6E-409C-BE32-E72D297353CC}">
              <c16:uniqueId val="{00000003-6035-48FA-996A-29A2C5ADF656}"/>
            </c:ext>
          </c:extLst>
        </c:ser>
        <c:ser>
          <c:idx val="4"/>
          <c:order val="4"/>
          <c:tx>
            <c:strRef>
              <c:f>Sheet1!$F$1</c:f>
              <c:strCache>
                <c:ptCount val="1"/>
                <c:pt idx="0">
                  <c:v>100%</c:v>
                </c:pt>
              </c:strCache>
            </c:strRef>
          </c:tx>
          <c:cat>
            <c:strRef>
              <c:f>Sheet1!$A$2:$A$8</c:f>
              <c:strCache>
                <c:ptCount val="7"/>
                <c:pt idx="0">
                  <c:v>24M</c:v>
                </c:pt>
                <c:pt idx="1">
                  <c:v>18M</c:v>
                </c:pt>
                <c:pt idx="2">
                  <c:v>12M</c:v>
                </c:pt>
                <c:pt idx="3">
                  <c:v>6M</c:v>
                </c:pt>
                <c:pt idx="4">
                  <c:v>3M</c:v>
                </c:pt>
                <c:pt idx="5">
                  <c:v>2M</c:v>
                </c:pt>
                <c:pt idx="6">
                  <c:v>1M</c:v>
                </c:pt>
              </c:strCache>
            </c:strRef>
          </c:cat>
          <c:val>
            <c:numRef>
              <c:f>Sheet1!$F$2:$F$8</c:f>
              <c:numCache>
                <c:formatCode>0%</c:formatCode>
                <c:ptCount val="7"/>
                <c:pt idx="0">
                  <c:v>0.27106000000000002</c:v>
                </c:pt>
                <c:pt idx="1">
                  <c:v>0.28569</c:v>
                </c:pt>
                <c:pt idx="2">
                  <c:v>0.31526999999999999</c:v>
                </c:pt>
                <c:pt idx="3">
                  <c:v>0.37412000000000001</c:v>
                </c:pt>
                <c:pt idx="4">
                  <c:v>0.44484000000000001</c:v>
                </c:pt>
                <c:pt idx="5">
                  <c:v>0.49349999999999999</c:v>
                </c:pt>
                <c:pt idx="6">
                  <c:v>0.55691000000000002</c:v>
                </c:pt>
              </c:numCache>
            </c:numRef>
          </c:val>
          <c:extLst>
            <c:ext xmlns:c16="http://schemas.microsoft.com/office/drawing/2014/chart" uri="{C3380CC4-5D6E-409C-BE32-E72D297353CC}">
              <c16:uniqueId val="{00000004-6035-48FA-996A-29A2C5ADF656}"/>
            </c:ext>
          </c:extLst>
        </c:ser>
        <c:ser>
          <c:idx val="5"/>
          <c:order val="5"/>
          <c:tx>
            <c:strRef>
              <c:f>Sheet1!$G$1</c:f>
              <c:strCache>
                <c:ptCount val="1"/>
                <c:pt idx="0">
                  <c:v>105%</c:v>
                </c:pt>
              </c:strCache>
            </c:strRef>
          </c:tx>
          <c:cat>
            <c:strRef>
              <c:f>Sheet1!$A$2:$A$8</c:f>
              <c:strCache>
                <c:ptCount val="7"/>
                <c:pt idx="0">
                  <c:v>24M</c:v>
                </c:pt>
                <c:pt idx="1">
                  <c:v>18M</c:v>
                </c:pt>
                <c:pt idx="2">
                  <c:v>12M</c:v>
                </c:pt>
                <c:pt idx="3">
                  <c:v>6M</c:v>
                </c:pt>
                <c:pt idx="4">
                  <c:v>3M</c:v>
                </c:pt>
                <c:pt idx="5">
                  <c:v>2M</c:v>
                </c:pt>
                <c:pt idx="6">
                  <c:v>1M</c:v>
                </c:pt>
              </c:strCache>
            </c:strRef>
          </c:cat>
          <c:val>
            <c:numRef>
              <c:f>Sheet1!$G$2:$G$8</c:f>
              <c:numCache>
                <c:formatCode>0%</c:formatCode>
                <c:ptCount val="7"/>
                <c:pt idx="0">
                  <c:v>0.26318999999999998</c:v>
                </c:pt>
                <c:pt idx="1">
                  <c:v>0.27284999999999998</c:v>
                </c:pt>
                <c:pt idx="2">
                  <c:v>0.29363</c:v>
                </c:pt>
                <c:pt idx="3">
                  <c:v>0.34262999999999999</c:v>
                </c:pt>
                <c:pt idx="4">
                  <c:v>0.39862000000000003</c:v>
                </c:pt>
                <c:pt idx="5">
                  <c:v>0.44140000000000001</c:v>
                </c:pt>
                <c:pt idx="6">
                  <c:v>0.49886000000000003</c:v>
                </c:pt>
              </c:numCache>
            </c:numRef>
          </c:val>
          <c:extLst>
            <c:ext xmlns:c16="http://schemas.microsoft.com/office/drawing/2014/chart" uri="{C3380CC4-5D6E-409C-BE32-E72D297353CC}">
              <c16:uniqueId val="{00000005-6035-48FA-996A-29A2C5ADF656}"/>
            </c:ext>
          </c:extLst>
        </c:ser>
        <c:ser>
          <c:idx val="6"/>
          <c:order val="6"/>
          <c:tx>
            <c:strRef>
              <c:f>Sheet1!$H$1</c:f>
              <c:strCache>
                <c:ptCount val="1"/>
                <c:pt idx="0">
                  <c:v>110%</c:v>
                </c:pt>
              </c:strCache>
            </c:strRef>
          </c:tx>
          <c:cat>
            <c:strRef>
              <c:f>Sheet1!$A$2:$A$8</c:f>
              <c:strCache>
                <c:ptCount val="7"/>
                <c:pt idx="0">
                  <c:v>24M</c:v>
                </c:pt>
                <c:pt idx="1">
                  <c:v>18M</c:v>
                </c:pt>
                <c:pt idx="2">
                  <c:v>12M</c:v>
                </c:pt>
                <c:pt idx="3">
                  <c:v>6M</c:v>
                </c:pt>
                <c:pt idx="4">
                  <c:v>3M</c:v>
                </c:pt>
                <c:pt idx="5">
                  <c:v>2M</c:v>
                </c:pt>
                <c:pt idx="6">
                  <c:v>1M</c:v>
                </c:pt>
              </c:strCache>
            </c:strRef>
          </c:cat>
          <c:val>
            <c:numRef>
              <c:f>Sheet1!$H$2:$H$8</c:f>
              <c:numCache>
                <c:formatCode>0%</c:formatCode>
                <c:ptCount val="7"/>
                <c:pt idx="0">
                  <c:v>0.25597999999999999</c:v>
                </c:pt>
                <c:pt idx="1">
                  <c:v>0.26153999999999999</c:v>
                </c:pt>
                <c:pt idx="2">
                  <c:v>0.27401999999999999</c:v>
                </c:pt>
                <c:pt idx="3">
                  <c:v>0.31386999999999998</c:v>
                </c:pt>
                <c:pt idx="4">
                  <c:v>0.36915999999999999</c:v>
                </c:pt>
                <c:pt idx="5">
                  <c:v>0.40960999999999997</c:v>
                </c:pt>
                <c:pt idx="6">
                  <c:v>0.46454999999999996</c:v>
                </c:pt>
              </c:numCache>
            </c:numRef>
          </c:val>
          <c:extLst>
            <c:ext xmlns:c16="http://schemas.microsoft.com/office/drawing/2014/chart" uri="{C3380CC4-5D6E-409C-BE32-E72D297353CC}">
              <c16:uniqueId val="{00000006-6035-48FA-996A-29A2C5ADF656}"/>
            </c:ext>
          </c:extLst>
        </c:ser>
        <c:ser>
          <c:idx val="7"/>
          <c:order val="7"/>
          <c:tx>
            <c:strRef>
              <c:f>Sheet1!$I$1</c:f>
              <c:strCache>
                <c:ptCount val="1"/>
                <c:pt idx="0">
                  <c:v>115%</c:v>
                </c:pt>
              </c:strCache>
            </c:strRef>
          </c:tx>
          <c:cat>
            <c:strRef>
              <c:f>Sheet1!$A$2:$A$8</c:f>
              <c:strCache>
                <c:ptCount val="7"/>
                <c:pt idx="0">
                  <c:v>24M</c:v>
                </c:pt>
                <c:pt idx="1">
                  <c:v>18M</c:v>
                </c:pt>
                <c:pt idx="2">
                  <c:v>12M</c:v>
                </c:pt>
                <c:pt idx="3">
                  <c:v>6M</c:v>
                </c:pt>
                <c:pt idx="4">
                  <c:v>3M</c:v>
                </c:pt>
                <c:pt idx="5">
                  <c:v>2M</c:v>
                </c:pt>
                <c:pt idx="6">
                  <c:v>1M</c:v>
                </c:pt>
              </c:strCache>
            </c:strRef>
          </c:cat>
          <c:val>
            <c:numRef>
              <c:f>Sheet1!$I$2:$I$8</c:f>
              <c:numCache>
                <c:formatCode>0%</c:formatCode>
                <c:ptCount val="7"/>
                <c:pt idx="0">
                  <c:v>0.24774000000000002</c:v>
                </c:pt>
                <c:pt idx="1">
                  <c:v>0.25045000000000001</c:v>
                </c:pt>
                <c:pt idx="2">
                  <c:v>0.25780999999999998</c:v>
                </c:pt>
                <c:pt idx="3">
                  <c:v>0.29036000000000001</c:v>
                </c:pt>
                <c:pt idx="4">
                  <c:v>0.34100000000000003</c:v>
                </c:pt>
                <c:pt idx="5">
                  <c:v>0.38069000000000003</c:v>
                </c:pt>
                <c:pt idx="6">
                  <c:v>0.43978</c:v>
                </c:pt>
              </c:numCache>
            </c:numRef>
          </c:val>
          <c:extLst>
            <c:ext xmlns:c16="http://schemas.microsoft.com/office/drawing/2014/chart" uri="{C3380CC4-5D6E-409C-BE32-E72D297353CC}">
              <c16:uniqueId val="{00000007-6035-48FA-996A-29A2C5ADF656}"/>
            </c:ext>
          </c:extLst>
        </c:ser>
        <c:ser>
          <c:idx val="8"/>
          <c:order val="8"/>
          <c:tx>
            <c:strRef>
              <c:f>Sheet1!$J$1</c:f>
              <c:strCache>
                <c:ptCount val="1"/>
                <c:pt idx="0">
                  <c:v>120%</c:v>
                </c:pt>
              </c:strCache>
            </c:strRef>
          </c:tx>
          <c:cat>
            <c:strRef>
              <c:f>Sheet1!$A$2:$A$8</c:f>
              <c:strCache>
                <c:ptCount val="7"/>
                <c:pt idx="0">
                  <c:v>24M</c:v>
                </c:pt>
                <c:pt idx="1">
                  <c:v>18M</c:v>
                </c:pt>
                <c:pt idx="2">
                  <c:v>12M</c:v>
                </c:pt>
                <c:pt idx="3">
                  <c:v>6M</c:v>
                </c:pt>
                <c:pt idx="4">
                  <c:v>3M</c:v>
                </c:pt>
                <c:pt idx="5">
                  <c:v>2M</c:v>
                </c:pt>
                <c:pt idx="6">
                  <c:v>1M</c:v>
                </c:pt>
              </c:strCache>
            </c:strRef>
          </c:cat>
          <c:val>
            <c:numRef>
              <c:f>Sheet1!$J$2:$J$8</c:f>
              <c:numCache>
                <c:formatCode>0%</c:formatCode>
                <c:ptCount val="7"/>
                <c:pt idx="0">
                  <c:v>0.23870000000000002</c:v>
                </c:pt>
                <c:pt idx="1">
                  <c:v>0.23960000000000001</c:v>
                </c:pt>
                <c:pt idx="2">
                  <c:v>0.24559999999999998</c:v>
                </c:pt>
                <c:pt idx="3">
                  <c:v>0.2732</c:v>
                </c:pt>
                <c:pt idx="4">
                  <c:v>0.32090000000000002</c:v>
                </c:pt>
                <c:pt idx="5">
                  <c:v>0.36630000000000001</c:v>
                </c:pt>
                <c:pt idx="6">
                  <c:v>0.44280000000000003</c:v>
                </c:pt>
              </c:numCache>
            </c:numRef>
          </c:val>
          <c:extLst>
            <c:ext xmlns:c16="http://schemas.microsoft.com/office/drawing/2014/chart" uri="{C3380CC4-5D6E-409C-BE32-E72D297353CC}">
              <c16:uniqueId val="{00000008-6035-48FA-996A-29A2C5ADF656}"/>
            </c:ext>
          </c:extLst>
        </c:ser>
        <c:bandFmts/>
        <c:axId val="217887872"/>
        <c:axId val="217889408"/>
        <c:axId val="217883968"/>
      </c:surface3DChart>
      <c:catAx>
        <c:axId val="217887872"/>
        <c:scaling>
          <c:orientation val="minMax"/>
        </c:scaling>
        <c:delete val="0"/>
        <c:axPos val="b"/>
        <c:numFmt formatCode="General" sourceLinked="0"/>
        <c:majorTickMark val="out"/>
        <c:minorTickMark val="none"/>
        <c:tickLblPos val="nextTo"/>
        <c:crossAx val="217889408"/>
        <c:crosses val="autoZero"/>
        <c:auto val="1"/>
        <c:lblAlgn val="ctr"/>
        <c:lblOffset val="100"/>
        <c:noMultiLvlLbl val="0"/>
      </c:catAx>
      <c:valAx>
        <c:axId val="217889408"/>
        <c:scaling>
          <c:orientation val="minMax"/>
        </c:scaling>
        <c:delete val="0"/>
        <c:axPos val="r"/>
        <c:majorGridlines>
          <c:spPr>
            <a:ln>
              <a:solidFill>
                <a:schemeClr val="bg1">
                  <a:lumMod val="85000"/>
                </a:schemeClr>
              </a:solidFill>
            </a:ln>
          </c:spPr>
        </c:majorGridlines>
        <c:numFmt formatCode="0%" sourceLinked="0"/>
        <c:majorTickMark val="out"/>
        <c:minorTickMark val="none"/>
        <c:tickLblPos val="high"/>
        <c:crossAx val="217887872"/>
        <c:crosses val="autoZero"/>
        <c:crossBetween val="midCat"/>
      </c:valAx>
      <c:serAx>
        <c:axId val="217883968"/>
        <c:scaling>
          <c:orientation val="minMax"/>
        </c:scaling>
        <c:delete val="0"/>
        <c:axPos val="b"/>
        <c:majorTickMark val="out"/>
        <c:minorTickMark val="none"/>
        <c:tickLblPos val="nextTo"/>
        <c:crossAx val="217889408"/>
        <c:crosses val="autoZero"/>
      </c:serAx>
    </c:plotArea>
    <c:plotVisOnly val="1"/>
    <c:dispBlanksAs val="zero"/>
    <c:showDLblsOverMax val="0"/>
  </c:chart>
  <c:txPr>
    <a:bodyPr/>
    <a:lstStyle/>
    <a:p>
      <a:pPr>
        <a:defRPr sz="800"/>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13"/>
    </mc:Choice>
    <mc:Fallback>
      <c:style val="13"/>
    </mc:Fallback>
  </mc:AlternateContent>
  <c:chart>
    <c:autoTitleDeleted val="0"/>
    <c:view3D>
      <c:rotX val="15"/>
      <c:rotY val="150"/>
      <c:rAngAx val="0"/>
    </c:view3D>
    <c:floor>
      <c:thickness val="0"/>
    </c:floor>
    <c:sideWall>
      <c:thickness val="0"/>
    </c:sideWall>
    <c:backWall>
      <c:thickness val="0"/>
    </c:backWall>
    <c:plotArea>
      <c:layout/>
      <c:surface3DChart>
        <c:wireframe val="0"/>
        <c:ser>
          <c:idx val="0"/>
          <c:order val="0"/>
          <c:tx>
            <c:strRef>
              <c:f>Sheet1!$B$1</c:f>
              <c:strCache>
                <c:ptCount val="1"/>
                <c:pt idx="0">
                  <c:v>80%</c:v>
                </c:pt>
              </c:strCache>
            </c:strRef>
          </c:tx>
          <c:cat>
            <c:strRef>
              <c:f>Sheet1!$A$2:$A$8</c:f>
              <c:strCache>
                <c:ptCount val="7"/>
                <c:pt idx="0">
                  <c:v>24M</c:v>
                </c:pt>
                <c:pt idx="1">
                  <c:v>18M</c:v>
                </c:pt>
                <c:pt idx="2">
                  <c:v>12M</c:v>
                </c:pt>
                <c:pt idx="3">
                  <c:v>6M</c:v>
                </c:pt>
                <c:pt idx="4">
                  <c:v>3M</c:v>
                </c:pt>
                <c:pt idx="5">
                  <c:v>2M</c:v>
                </c:pt>
                <c:pt idx="6">
                  <c:v>1M</c:v>
                </c:pt>
              </c:strCache>
            </c:strRef>
          </c:cat>
          <c:val>
            <c:numRef>
              <c:f>Sheet1!$B$2:$B$8</c:f>
              <c:numCache>
                <c:formatCode>0%</c:formatCode>
                <c:ptCount val="7"/>
                <c:pt idx="0">
                  <c:v>0.20786000000000002</c:v>
                </c:pt>
                <c:pt idx="1">
                  <c:v>0.21278</c:v>
                </c:pt>
                <c:pt idx="2">
                  <c:v>0.22425999999999999</c:v>
                </c:pt>
                <c:pt idx="3">
                  <c:v>0.24831</c:v>
                </c:pt>
                <c:pt idx="4">
                  <c:v>0.27948000000000001</c:v>
                </c:pt>
                <c:pt idx="5">
                  <c:v>0.30276999999999998</c:v>
                </c:pt>
                <c:pt idx="6">
                  <c:v>0.36700000000000005</c:v>
                </c:pt>
              </c:numCache>
            </c:numRef>
          </c:val>
          <c:extLst>
            <c:ext xmlns:c16="http://schemas.microsoft.com/office/drawing/2014/chart" uri="{C3380CC4-5D6E-409C-BE32-E72D297353CC}">
              <c16:uniqueId val="{00000000-CD4F-4F8A-8016-5F63D18C38BA}"/>
            </c:ext>
          </c:extLst>
        </c:ser>
        <c:ser>
          <c:idx val="1"/>
          <c:order val="1"/>
          <c:tx>
            <c:strRef>
              <c:f>Sheet1!$C$1</c:f>
              <c:strCache>
                <c:ptCount val="1"/>
                <c:pt idx="0">
                  <c:v>85%</c:v>
                </c:pt>
              </c:strCache>
            </c:strRef>
          </c:tx>
          <c:cat>
            <c:strRef>
              <c:f>Sheet1!$A$2:$A$8</c:f>
              <c:strCache>
                <c:ptCount val="7"/>
                <c:pt idx="0">
                  <c:v>24M</c:v>
                </c:pt>
                <c:pt idx="1">
                  <c:v>18M</c:v>
                </c:pt>
                <c:pt idx="2">
                  <c:v>12M</c:v>
                </c:pt>
                <c:pt idx="3">
                  <c:v>6M</c:v>
                </c:pt>
                <c:pt idx="4">
                  <c:v>3M</c:v>
                </c:pt>
                <c:pt idx="5">
                  <c:v>2M</c:v>
                </c:pt>
                <c:pt idx="6">
                  <c:v>1M</c:v>
                </c:pt>
              </c:strCache>
            </c:strRef>
          </c:cat>
          <c:val>
            <c:numRef>
              <c:f>Sheet1!$C$2:$C$8</c:f>
              <c:numCache>
                <c:formatCode>0%</c:formatCode>
                <c:ptCount val="7"/>
                <c:pt idx="0">
                  <c:v>0.19759000000000002</c:v>
                </c:pt>
                <c:pt idx="1">
                  <c:v>0.20097999999999999</c:v>
                </c:pt>
                <c:pt idx="2">
                  <c:v>0.20998999999999998</c:v>
                </c:pt>
                <c:pt idx="3">
                  <c:v>0.22702999999999998</c:v>
                </c:pt>
                <c:pt idx="4">
                  <c:v>0.25</c:v>
                </c:pt>
                <c:pt idx="5">
                  <c:v>0.26651000000000002</c:v>
                </c:pt>
                <c:pt idx="6">
                  <c:v>0.30207999999999996</c:v>
                </c:pt>
              </c:numCache>
            </c:numRef>
          </c:val>
          <c:extLst>
            <c:ext xmlns:c16="http://schemas.microsoft.com/office/drawing/2014/chart" uri="{C3380CC4-5D6E-409C-BE32-E72D297353CC}">
              <c16:uniqueId val="{00000001-CD4F-4F8A-8016-5F63D18C38BA}"/>
            </c:ext>
          </c:extLst>
        </c:ser>
        <c:ser>
          <c:idx val="2"/>
          <c:order val="2"/>
          <c:tx>
            <c:strRef>
              <c:f>Sheet1!$D$1</c:f>
              <c:strCache>
                <c:ptCount val="1"/>
                <c:pt idx="0">
                  <c:v>90%</c:v>
                </c:pt>
              </c:strCache>
            </c:strRef>
          </c:tx>
          <c:cat>
            <c:strRef>
              <c:f>Sheet1!$A$2:$A$8</c:f>
              <c:strCache>
                <c:ptCount val="7"/>
                <c:pt idx="0">
                  <c:v>24M</c:v>
                </c:pt>
                <c:pt idx="1">
                  <c:v>18M</c:v>
                </c:pt>
                <c:pt idx="2">
                  <c:v>12M</c:v>
                </c:pt>
                <c:pt idx="3">
                  <c:v>6M</c:v>
                </c:pt>
                <c:pt idx="4">
                  <c:v>3M</c:v>
                </c:pt>
                <c:pt idx="5">
                  <c:v>2M</c:v>
                </c:pt>
                <c:pt idx="6">
                  <c:v>1M</c:v>
                </c:pt>
              </c:strCache>
            </c:strRef>
          </c:cat>
          <c:val>
            <c:numRef>
              <c:f>Sheet1!$D$2:$D$8</c:f>
              <c:numCache>
                <c:formatCode>0%</c:formatCode>
                <c:ptCount val="7"/>
                <c:pt idx="0">
                  <c:v>0.18683</c:v>
                </c:pt>
                <c:pt idx="1">
                  <c:v>0.18856999999999999</c:v>
                </c:pt>
                <c:pt idx="2">
                  <c:v>0.19460999999999998</c:v>
                </c:pt>
                <c:pt idx="3">
                  <c:v>0.20501000000000003</c:v>
                </c:pt>
                <c:pt idx="4">
                  <c:v>0.22152000000000002</c:v>
                </c:pt>
                <c:pt idx="5">
                  <c:v>0.23280999999999999</c:v>
                </c:pt>
                <c:pt idx="6">
                  <c:v>0.25279000000000001</c:v>
                </c:pt>
              </c:numCache>
            </c:numRef>
          </c:val>
          <c:extLst>
            <c:ext xmlns:c16="http://schemas.microsoft.com/office/drawing/2014/chart" uri="{C3380CC4-5D6E-409C-BE32-E72D297353CC}">
              <c16:uniqueId val="{00000002-CD4F-4F8A-8016-5F63D18C38BA}"/>
            </c:ext>
          </c:extLst>
        </c:ser>
        <c:ser>
          <c:idx val="3"/>
          <c:order val="3"/>
          <c:tx>
            <c:strRef>
              <c:f>Sheet1!$E$1</c:f>
              <c:strCache>
                <c:ptCount val="1"/>
                <c:pt idx="0">
                  <c:v>95%</c:v>
                </c:pt>
              </c:strCache>
            </c:strRef>
          </c:tx>
          <c:cat>
            <c:strRef>
              <c:f>Sheet1!$A$2:$A$8</c:f>
              <c:strCache>
                <c:ptCount val="7"/>
                <c:pt idx="0">
                  <c:v>24M</c:v>
                </c:pt>
                <c:pt idx="1">
                  <c:v>18M</c:v>
                </c:pt>
                <c:pt idx="2">
                  <c:v>12M</c:v>
                </c:pt>
                <c:pt idx="3">
                  <c:v>6M</c:v>
                </c:pt>
                <c:pt idx="4">
                  <c:v>3M</c:v>
                </c:pt>
                <c:pt idx="5">
                  <c:v>2M</c:v>
                </c:pt>
                <c:pt idx="6">
                  <c:v>1M</c:v>
                </c:pt>
              </c:strCache>
            </c:strRef>
          </c:cat>
          <c:val>
            <c:numRef>
              <c:f>Sheet1!$E$2:$E$8</c:f>
              <c:numCache>
                <c:formatCode>0%</c:formatCode>
                <c:ptCount val="7"/>
                <c:pt idx="0">
                  <c:v>0.17565</c:v>
                </c:pt>
                <c:pt idx="1">
                  <c:v>0.17529</c:v>
                </c:pt>
                <c:pt idx="2">
                  <c:v>0.17765</c:v>
                </c:pt>
                <c:pt idx="3">
                  <c:v>0.18077000000000001</c:v>
                </c:pt>
                <c:pt idx="4">
                  <c:v>0.19108</c:v>
                </c:pt>
                <c:pt idx="5">
                  <c:v>0.19875000000000001</c:v>
                </c:pt>
                <c:pt idx="6">
                  <c:v>0.21113999999999999</c:v>
                </c:pt>
              </c:numCache>
            </c:numRef>
          </c:val>
          <c:extLst>
            <c:ext xmlns:c16="http://schemas.microsoft.com/office/drawing/2014/chart" uri="{C3380CC4-5D6E-409C-BE32-E72D297353CC}">
              <c16:uniqueId val="{00000003-CD4F-4F8A-8016-5F63D18C38BA}"/>
            </c:ext>
          </c:extLst>
        </c:ser>
        <c:ser>
          <c:idx val="4"/>
          <c:order val="4"/>
          <c:tx>
            <c:strRef>
              <c:f>Sheet1!$F$1</c:f>
              <c:strCache>
                <c:ptCount val="1"/>
                <c:pt idx="0">
                  <c:v>100%</c:v>
                </c:pt>
              </c:strCache>
            </c:strRef>
          </c:tx>
          <c:cat>
            <c:strRef>
              <c:f>Sheet1!$A$2:$A$8</c:f>
              <c:strCache>
                <c:ptCount val="7"/>
                <c:pt idx="0">
                  <c:v>24M</c:v>
                </c:pt>
                <c:pt idx="1">
                  <c:v>18M</c:v>
                </c:pt>
                <c:pt idx="2">
                  <c:v>12M</c:v>
                </c:pt>
                <c:pt idx="3">
                  <c:v>6M</c:v>
                </c:pt>
                <c:pt idx="4">
                  <c:v>3M</c:v>
                </c:pt>
                <c:pt idx="5">
                  <c:v>2M</c:v>
                </c:pt>
                <c:pt idx="6">
                  <c:v>1M</c:v>
                </c:pt>
              </c:strCache>
            </c:strRef>
          </c:cat>
          <c:val>
            <c:numRef>
              <c:f>Sheet1!$F$2:$F$8</c:f>
              <c:numCache>
                <c:formatCode>0%</c:formatCode>
                <c:ptCount val="7"/>
                <c:pt idx="0">
                  <c:v>0.16408999999999999</c:v>
                </c:pt>
                <c:pt idx="1">
                  <c:v>0.16094</c:v>
                </c:pt>
                <c:pt idx="2">
                  <c:v>0.15858</c:v>
                </c:pt>
                <c:pt idx="3">
                  <c:v>0.15311</c:v>
                </c:pt>
                <c:pt idx="4">
                  <c:v>0.15597</c:v>
                </c:pt>
                <c:pt idx="5">
                  <c:v>0.15826999999999999</c:v>
                </c:pt>
                <c:pt idx="6">
                  <c:v>0.16268999999999997</c:v>
                </c:pt>
              </c:numCache>
            </c:numRef>
          </c:val>
          <c:extLst>
            <c:ext xmlns:c16="http://schemas.microsoft.com/office/drawing/2014/chart" uri="{C3380CC4-5D6E-409C-BE32-E72D297353CC}">
              <c16:uniqueId val="{00000004-CD4F-4F8A-8016-5F63D18C38BA}"/>
            </c:ext>
          </c:extLst>
        </c:ser>
        <c:ser>
          <c:idx val="5"/>
          <c:order val="5"/>
          <c:tx>
            <c:strRef>
              <c:f>Sheet1!$G$1</c:f>
              <c:strCache>
                <c:ptCount val="1"/>
                <c:pt idx="0">
                  <c:v>105%</c:v>
                </c:pt>
              </c:strCache>
            </c:strRef>
          </c:tx>
          <c:cat>
            <c:strRef>
              <c:f>Sheet1!$A$2:$A$8</c:f>
              <c:strCache>
                <c:ptCount val="7"/>
                <c:pt idx="0">
                  <c:v>24M</c:v>
                </c:pt>
                <c:pt idx="1">
                  <c:v>18M</c:v>
                </c:pt>
                <c:pt idx="2">
                  <c:v>12M</c:v>
                </c:pt>
                <c:pt idx="3">
                  <c:v>6M</c:v>
                </c:pt>
                <c:pt idx="4">
                  <c:v>3M</c:v>
                </c:pt>
                <c:pt idx="5">
                  <c:v>2M</c:v>
                </c:pt>
                <c:pt idx="6">
                  <c:v>1M</c:v>
                </c:pt>
              </c:strCache>
            </c:strRef>
          </c:cat>
          <c:val>
            <c:numRef>
              <c:f>Sheet1!$G$2:$G$8</c:f>
              <c:numCache>
                <c:formatCode>0%</c:formatCode>
                <c:ptCount val="7"/>
                <c:pt idx="0">
                  <c:v>0.15240000000000001</c:v>
                </c:pt>
                <c:pt idx="1">
                  <c:v>0.14609</c:v>
                </c:pt>
                <c:pt idx="2">
                  <c:v>0.13863</c:v>
                </c:pt>
                <c:pt idx="3">
                  <c:v>0.12533</c:v>
                </c:pt>
                <c:pt idx="4">
                  <c:v>0.11778000000000001</c:v>
                </c:pt>
                <c:pt idx="5">
                  <c:v>0.11337</c:v>
                </c:pt>
                <c:pt idx="6">
                  <c:v>0.10555999999999999</c:v>
                </c:pt>
              </c:numCache>
            </c:numRef>
          </c:val>
          <c:extLst>
            <c:ext xmlns:c16="http://schemas.microsoft.com/office/drawing/2014/chart" uri="{C3380CC4-5D6E-409C-BE32-E72D297353CC}">
              <c16:uniqueId val="{00000005-CD4F-4F8A-8016-5F63D18C38BA}"/>
            </c:ext>
          </c:extLst>
        </c:ser>
        <c:ser>
          <c:idx val="6"/>
          <c:order val="6"/>
          <c:tx>
            <c:strRef>
              <c:f>Sheet1!$H$1</c:f>
              <c:strCache>
                <c:ptCount val="1"/>
                <c:pt idx="0">
                  <c:v>110%</c:v>
                </c:pt>
              </c:strCache>
            </c:strRef>
          </c:tx>
          <c:cat>
            <c:strRef>
              <c:f>Sheet1!$A$2:$A$8</c:f>
              <c:strCache>
                <c:ptCount val="7"/>
                <c:pt idx="0">
                  <c:v>24M</c:v>
                </c:pt>
                <c:pt idx="1">
                  <c:v>18M</c:v>
                </c:pt>
                <c:pt idx="2">
                  <c:v>12M</c:v>
                </c:pt>
                <c:pt idx="3">
                  <c:v>6M</c:v>
                </c:pt>
                <c:pt idx="4">
                  <c:v>3M</c:v>
                </c:pt>
                <c:pt idx="5">
                  <c:v>2M</c:v>
                </c:pt>
                <c:pt idx="6">
                  <c:v>1M</c:v>
                </c:pt>
              </c:strCache>
            </c:strRef>
          </c:cat>
          <c:val>
            <c:numRef>
              <c:f>Sheet1!$H$2:$H$8</c:f>
              <c:numCache>
                <c:formatCode>0%</c:formatCode>
                <c:ptCount val="7"/>
                <c:pt idx="0">
                  <c:v>0.14119999999999999</c:v>
                </c:pt>
                <c:pt idx="1">
                  <c:v>0.13241</c:v>
                </c:pt>
                <c:pt idx="2">
                  <c:v>0.12157999999999999</c:v>
                </c:pt>
                <c:pt idx="3">
                  <c:v>0.10827999999999999</c:v>
                </c:pt>
                <c:pt idx="4">
                  <c:v>0.10554000000000001</c:v>
                </c:pt>
                <c:pt idx="5">
                  <c:v>0.1079</c:v>
                </c:pt>
                <c:pt idx="6">
                  <c:v>0.12964000000000001</c:v>
                </c:pt>
              </c:numCache>
            </c:numRef>
          </c:val>
          <c:extLst>
            <c:ext xmlns:c16="http://schemas.microsoft.com/office/drawing/2014/chart" uri="{C3380CC4-5D6E-409C-BE32-E72D297353CC}">
              <c16:uniqueId val="{00000006-CD4F-4F8A-8016-5F63D18C38BA}"/>
            </c:ext>
          </c:extLst>
        </c:ser>
        <c:ser>
          <c:idx val="7"/>
          <c:order val="7"/>
          <c:tx>
            <c:strRef>
              <c:f>Sheet1!$I$1</c:f>
              <c:strCache>
                <c:ptCount val="1"/>
                <c:pt idx="0">
                  <c:v>115%</c:v>
                </c:pt>
              </c:strCache>
            </c:strRef>
          </c:tx>
          <c:cat>
            <c:strRef>
              <c:f>Sheet1!$A$2:$A$8</c:f>
              <c:strCache>
                <c:ptCount val="7"/>
                <c:pt idx="0">
                  <c:v>24M</c:v>
                </c:pt>
                <c:pt idx="1">
                  <c:v>18M</c:v>
                </c:pt>
                <c:pt idx="2">
                  <c:v>12M</c:v>
                </c:pt>
                <c:pt idx="3">
                  <c:v>6M</c:v>
                </c:pt>
                <c:pt idx="4">
                  <c:v>3M</c:v>
                </c:pt>
                <c:pt idx="5">
                  <c:v>2M</c:v>
                </c:pt>
                <c:pt idx="6">
                  <c:v>1M</c:v>
                </c:pt>
              </c:strCache>
            </c:strRef>
          </c:cat>
          <c:val>
            <c:numRef>
              <c:f>Sheet1!$I$2:$I$8</c:f>
              <c:numCache>
                <c:formatCode>0%</c:formatCode>
                <c:ptCount val="7"/>
                <c:pt idx="0">
                  <c:v>0.13143000000000002</c:v>
                </c:pt>
                <c:pt idx="1">
                  <c:v>0.1216</c:v>
                </c:pt>
                <c:pt idx="2">
                  <c:v>0.11033</c:v>
                </c:pt>
                <c:pt idx="3">
                  <c:v>0.1043</c:v>
                </c:pt>
                <c:pt idx="4">
                  <c:v>0.11391999999999999</c:v>
                </c:pt>
                <c:pt idx="5">
                  <c:v>0.12454999999999999</c:v>
                </c:pt>
                <c:pt idx="6">
                  <c:v>0.17515999999999998</c:v>
                </c:pt>
              </c:numCache>
            </c:numRef>
          </c:val>
          <c:extLst>
            <c:ext xmlns:c16="http://schemas.microsoft.com/office/drawing/2014/chart" uri="{C3380CC4-5D6E-409C-BE32-E72D297353CC}">
              <c16:uniqueId val="{00000007-CD4F-4F8A-8016-5F63D18C38BA}"/>
            </c:ext>
          </c:extLst>
        </c:ser>
        <c:ser>
          <c:idx val="8"/>
          <c:order val="8"/>
          <c:tx>
            <c:strRef>
              <c:f>Sheet1!$J$1</c:f>
              <c:strCache>
                <c:ptCount val="1"/>
                <c:pt idx="0">
                  <c:v>120</c:v>
                </c:pt>
              </c:strCache>
            </c:strRef>
          </c:tx>
          <c:cat>
            <c:strRef>
              <c:f>Sheet1!$A$2:$A$8</c:f>
              <c:strCache>
                <c:ptCount val="7"/>
                <c:pt idx="0">
                  <c:v>24M</c:v>
                </c:pt>
                <c:pt idx="1">
                  <c:v>18M</c:v>
                </c:pt>
                <c:pt idx="2">
                  <c:v>12M</c:v>
                </c:pt>
                <c:pt idx="3">
                  <c:v>6M</c:v>
                </c:pt>
                <c:pt idx="4">
                  <c:v>3M</c:v>
                </c:pt>
                <c:pt idx="5">
                  <c:v>2M</c:v>
                </c:pt>
                <c:pt idx="6">
                  <c:v>1M</c:v>
                </c:pt>
              </c:strCache>
            </c:strRef>
          </c:cat>
          <c:val>
            <c:numRef>
              <c:f>Sheet1!$J$2:$J$8</c:f>
              <c:numCache>
                <c:formatCode>0%</c:formatCode>
                <c:ptCount val="7"/>
                <c:pt idx="0">
                  <c:v>0.12380000000000001</c:v>
                </c:pt>
                <c:pt idx="1">
                  <c:v>0.11460000000000001</c:v>
                </c:pt>
                <c:pt idx="2">
                  <c:v>0.10539999999999999</c:v>
                </c:pt>
                <c:pt idx="3">
                  <c:v>0.10589999999999999</c:v>
                </c:pt>
                <c:pt idx="4">
                  <c:v>0.1268</c:v>
                </c:pt>
                <c:pt idx="5">
                  <c:v>0.14990000000000001</c:v>
                </c:pt>
                <c:pt idx="6">
                  <c:v>0.2157</c:v>
                </c:pt>
              </c:numCache>
            </c:numRef>
          </c:val>
          <c:extLst>
            <c:ext xmlns:c16="http://schemas.microsoft.com/office/drawing/2014/chart" uri="{C3380CC4-5D6E-409C-BE32-E72D297353CC}">
              <c16:uniqueId val="{00000008-CD4F-4F8A-8016-5F63D18C38BA}"/>
            </c:ext>
          </c:extLst>
        </c:ser>
        <c:bandFmts/>
        <c:axId val="218189824"/>
        <c:axId val="218191360"/>
        <c:axId val="217689152"/>
      </c:surface3DChart>
      <c:catAx>
        <c:axId val="218189824"/>
        <c:scaling>
          <c:orientation val="minMax"/>
        </c:scaling>
        <c:delete val="0"/>
        <c:axPos val="b"/>
        <c:numFmt formatCode="General" sourceLinked="0"/>
        <c:majorTickMark val="out"/>
        <c:minorTickMark val="none"/>
        <c:tickLblPos val="nextTo"/>
        <c:crossAx val="218191360"/>
        <c:crosses val="autoZero"/>
        <c:auto val="1"/>
        <c:lblAlgn val="ctr"/>
        <c:lblOffset val="100"/>
        <c:noMultiLvlLbl val="0"/>
      </c:catAx>
      <c:valAx>
        <c:axId val="218191360"/>
        <c:scaling>
          <c:orientation val="minMax"/>
          <c:max val="0.8"/>
        </c:scaling>
        <c:delete val="0"/>
        <c:axPos val="r"/>
        <c:majorGridlines>
          <c:spPr>
            <a:ln>
              <a:solidFill>
                <a:schemeClr val="bg1">
                  <a:lumMod val="85000"/>
                </a:schemeClr>
              </a:solidFill>
            </a:ln>
          </c:spPr>
        </c:majorGridlines>
        <c:numFmt formatCode="0%" sourceLinked="0"/>
        <c:majorTickMark val="out"/>
        <c:minorTickMark val="none"/>
        <c:tickLblPos val="high"/>
        <c:crossAx val="218189824"/>
        <c:crosses val="autoZero"/>
        <c:crossBetween val="midCat"/>
      </c:valAx>
      <c:serAx>
        <c:axId val="217689152"/>
        <c:scaling>
          <c:orientation val="minMax"/>
        </c:scaling>
        <c:delete val="0"/>
        <c:axPos val="b"/>
        <c:majorTickMark val="out"/>
        <c:minorTickMark val="none"/>
        <c:tickLblPos val="nextTo"/>
        <c:crossAx val="218191360"/>
        <c:crosses val="autoZero"/>
      </c:serAx>
    </c:plotArea>
    <c:plotVisOnly val="1"/>
    <c:dispBlanksAs val="zero"/>
    <c:showDLblsOverMax val="0"/>
  </c:chart>
  <c:txPr>
    <a:bodyPr/>
    <a:lstStyle/>
    <a:p>
      <a:pPr>
        <a:defRPr sz="800"/>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rgbClr val="326295"/>
              </a:solidFill>
              <a:ln w="19050">
                <a:solidFill>
                  <a:schemeClr val="lt1"/>
                </a:solidFill>
              </a:ln>
              <a:effectLst/>
            </c:spPr>
            <c:extLst>
              <c:ext xmlns:c16="http://schemas.microsoft.com/office/drawing/2014/chart" uri="{C3380CC4-5D6E-409C-BE32-E72D297353CC}">
                <c16:uniqueId val="{00000001-99C5-46FD-8C0D-C062292093A3}"/>
              </c:ext>
            </c:extLst>
          </c:dPt>
          <c:dPt>
            <c:idx val="1"/>
            <c:bubble3D val="0"/>
            <c:spPr>
              <a:solidFill>
                <a:srgbClr val="7091B5"/>
              </a:solidFill>
              <a:ln w="19050">
                <a:solidFill>
                  <a:schemeClr val="lt1"/>
                </a:solidFill>
              </a:ln>
              <a:effectLst/>
            </c:spPr>
            <c:extLst>
              <c:ext xmlns:c16="http://schemas.microsoft.com/office/drawing/2014/chart" uri="{C3380CC4-5D6E-409C-BE32-E72D297353CC}">
                <c16:uniqueId val="{00000003-99C5-46FD-8C0D-C062292093A3}"/>
              </c:ext>
            </c:extLst>
          </c:dPt>
          <c:dPt>
            <c:idx val="2"/>
            <c:bubble3D val="0"/>
            <c:spPr>
              <a:solidFill>
                <a:schemeClr val="accent2"/>
              </a:solidFill>
              <a:ln w="19050">
                <a:solidFill>
                  <a:schemeClr val="lt1"/>
                </a:solidFill>
              </a:ln>
              <a:effectLst/>
            </c:spPr>
            <c:extLst>
              <c:ext xmlns:c16="http://schemas.microsoft.com/office/drawing/2014/chart" uri="{C3380CC4-5D6E-409C-BE32-E72D297353CC}">
                <c16:uniqueId val="{00000005-99C5-46FD-8C0D-C062292093A3}"/>
              </c:ext>
            </c:extLst>
          </c:dPt>
          <c:dPt>
            <c:idx val="3"/>
            <c:bubble3D val="0"/>
            <c:spPr>
              <a:solidFill>
                <a:schemeClr val="accent2">
                  <a:lumMod val="60000"/>
                  <a:lumOff val="40000"/>
                </a:schemeClr>
              </a:solidFill>
              <a:ln w="19050">
                <a:solidFill>
                  <a:schemeClr val="lt1"/>
                </a:solidFill>
              </a:ln>
              <a:effectLst/>
            </c:spPr>
            <c:extLst>
              <c:ext xmlns:c16="http://schemas.microsoft.com/office/drawing/2014/chart" uri="{C3380CC4-5D6E-409C-BE32-E72D297353CC}">
                <c16:uniqueId val="{00000007-99C5-46FD-8C0D-C062292093A3}"/>
              </c:ext>
            </c:extLst>
          </c:dPt>
          <c:dPt>
            <c:idx val="4"/>
            <c:bubble3D val="0"/>
            <c:spPr>
              <a:solidFill>
                <a:schemeClr val="accent6"/>
              </a:solidFill>
              <a:ln w="19050">
                <a:solidFill>
                  <a:schemeClr val="lt1"/>
                </a:solidFill>
              </a:ln>
              <a:effectLst/>
            </c:spPr>
            <c:extLst>
              <c:ext xmlns:c16="http://schemas.microsoft.com/office/drawing/2014/chart" uri="{C3380CC4-5D6E-409C-BE32-E72D297353CC}">
                <c16:uniqueId val="{00000009-99C5-46FD-8C0D-C062292093A3}"/>
              </c:ext>
            </c:extLst>
          </c:dPt>
          <c:dPt>
            <c:idx val="5"/>
            <c:bubble3D val="0"/>
            <c:spPr>
              <a:solidFill>
                <a:srgbClr val="DEA86D"/>
              </a:solidFill>
              <a:ln w="19050">
                <a:solidFill>
                  <a:schemeClr val="lt1"/>
                </a:solidFill>
              </a:ln>
              <a:effectLst/>
            </c:spPr>
            <c:extLst>
              <c:ext xmlns:c16="http://schemas.microsoft.com/office/drawing/2014/chart" uri="{C3380CC4-5D6E-409C-BE32-E72D297353CC}">
                <c16:uniqueId val="{0000000B-99C5-46FD-8C0D-C062292093A3}"/>
              </c:ext>
            </c:extLst>
          </c:dPt>
          <c:dPt>
            <c:idx val="6"/>
            <c:bubble3D val="0"/>
            <c:spPr>
              <a:solidFill>
                <a:srgbClr val="688E74"/>
              </a:solidFill>
              <a:ln w="19050">
                <a:solidFill>
                  <a:schemeClr val="lt1"/>
                </a:solidFill>
              </a:ln>
              <a:effectLst/>
            </c:spPr>
            <c:extLst>
              <c:ext xmlns:c16="http://schemas.microsoft.com/office/drawing/2014/chart" uri="{C3380CC4-5D6E-409C-BE32-E72D297353CC}">
                <c16:uniqueId val="{0000000D-99C5-46FD-8C0D-C062292093A3}"/>
              </c:ext>
            </c:extLst>
          </c:dPt>
          <c:dLbls>
            <c:dLbl>
              <c:idx val="0"/>
              <c:layout>
                <c:manualLayout>
                  <c:x val="7.3403071934576972E-2"/>
                  <c:y val="6.3264364571912424E-2"/>
                </c:manualLayout>
              </c:layout>
              <c:tx>
                <c:rich>
                  <a:bodyPr/>
                  <a:lstStyle/>
                  <a:p>
                    <a:fld id="{1C2710D0-FB33-4CF0-8A77-9A30FFC243BF}" type="CELLRANGE">
                      <a:rPr lang="en-US" baseline="0"/>
                      <a:pPr/>
                      <a:t>[CELLRANGE]</a:t>
                    </a:fld>
                    <a:r>
                      <a:rPr lang="en-US" baseline="0"/>
                      <a:t>, </a:t>
                    </a:r>
                    <a:fld id="{0DC3ED5C-97F8-4A4B-B7A6-27B1C3BA7163}" type="VALUE">
                      <a:rPr lang="en-US" baseline="0"/>
                      <a:pPr/>
                      <a:t>[WAARDE]</a:t>
                    </a:fld>
                    <a:endParaRPr lang="en-US" baseline="0"/>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99C5-46FD-8C0D-C062292093A3}"/>
                </c:ext>
              </c:extLst>
            </c:dLbl>
            <c:dLbl>
              <c:idx val="1"/>
              <c:layout>
                <c:manualLayout>
                  <c:x val="1.9187978710263665E-2"/>
                  <c:y val="-5.3609461674573096E-2"/>
                </c:manualLayout>
              </c:layout>
              <c:tx>
                <c:rich>
                  <a:bodyPr/>
                  <a:lstStyle/>
                  <a:p>
                    <a:fld id="{0EE5534D-57DB-4951-868C-523888813C64}" type="CELLRANGE">
                      <a:rPr lang="en-US" baseline="0"/>
                      <a:pPr/>
                      <a:t>[CELLRANGE]</a:t>
                    </a:fld>
                    <a:r>
                      <a:rPr lang="en-US" baseline="0"/>
                      <a:t>, </a:t>
                    </a:r>
                    <a:fld id="{FB55E7D2-6B81-4F71-8F43-C487CF991636}" type="VALUE">
                      <a:rPr lang="en-US" baseline="0"/>
                      <a:pPr/>
                      <a:t>[WAARDE]</a:t>
                    </a:fld>
                    <a:endParaRPr lang="en-US" baseline="0"/>
                  </a:p>
                </c:rich>
              </c:tx>
              <c:showLegendKey val="0"/>
              <c:showVal val="1"/>
              <c:showCatName val="0"/>
              <c:showSerName val="0"/>
              <c:showPercent val="0"/>
              <c:showBubbleSize val="0"/>
              <c:extLst>
                <c:ext xmlns:c15="http://schemas.microsoft.com/office/drawing/2012/chart" uri="{CE6537A1-D6FC-4f65-9D91-7224C49458BB}">
                  <c15:layout>
                    <c:manualLayout>
                      <c:w val="0.22431845558920951"/>
                      <c:h val="0.16326707845287078"/>
                    </c:manualLayout>
                  </c15:layout>
                  <c15:dlblFieldTable/>
                  <c15:showDataLabelsRange val="1"/>
                </c:ext>
                <c:ext xmlns:c16="http://schemas.microsoft.com/office/drawing/2014/chart" uri="{C3380CC4-5D6E-409C-BE32-E72D297353CC}">
                  <c16:uniqueId val="{00000003-99C5-46FD-8C0D-C062292093A3}"/>
                </c:ext>
              </c:extLst>
            </c:dLbl>
            <c:dLbl>
              <c:idx val="2"/>
              <c:layout>
                <c:manualLayout>
                  <c:x val="1.3109104565581134E-2"/>
                  <c:y val="-2.0544078854525215E-3"/>
                </c:manualLayout>
              </c:layout>
              <c:tx>
                <c:rich>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fld id="{E0D66ED5-7A20-429F-B055-4BF5EA2CAECF}" type="CELLRANGE">
                      <a:rPr lang="en-US" sz="800" baseline="0"/>
                      <a:pPr>
                        <a:defRPr sz="800"/>
                      </a:pPr>
                      <a:t>[CELLRANGE]</a:t>
                    </a:fld>
                    <a:r>
                      <a:rPr lang="en-US" sz="800" baseline="0"/>
                      <a:t>, </a:t>
                    </a:r>
                    <a:fld id="{D33A4A28-6B89-4A78-8C50-B240EEFFEF0E}" type="VALUE">
                      <a:rPr lang="en-US" sz="800" baseline="0"/>
                      <a:pPr>
                        <a:defRPr sz="800"/>
                      </a:pPr>
                      <a:t>[WAARDE]</a:t>
                    </a:fld>
                    <a:endParaRPr lang="en-US" sz="800" baseline="0"/>
                  </a:p>
                </c:rich>
              </c:tx>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layout>
                    <c:manualLayout>
                      <c:w val="0.23814873294139061"/>
                      <c:h val="0.127525266231722"/>
                    </c:manualLayout>
                  </c15:layout>
                  <c15:dlblFieldTable/>
                  <c15:showDataLabelsRange val="1"/>
                </c:ext>
                <c:ext xmlns:c16="http://schemas.microsoft.com/office/drawing/2014/chart" uri="{C3380CC4-5D6E-409C-BE32-E72D297353CC}">
                  <c16:uniqueId val="{00000005-99C5-46FD-8C0D-C062292093A3}"/>
                </c:ext>
              </c:extLst>
            </c:dLbl>
            <c:dLbl>
              <c:idx val="3"/>
              <c:layout>
                <c:manualLayout>
                  <c:x val="8.2953188848173015E-2"/>
                  <c:y val="4.1826161746719107E-3"/>
                </c:manualLayout>
              </c:layout>
              <c:tx>
                <c:rich>
                  <a:bodyPr/>
                  <a:lstStyle/>
                  <a:p>
                    <a:fld id="{ADE55699-B1AB-4A79-AADD-272E42A2E98D}" type="CELLRANGE">
                      <a:rPr lang="en-US"/>
                      <a:pPr/>
                      <a:t>[CELLRANGE]</a:t>
                    </a:fld>
                    <a:r>
                      <a:rPr lang="en-US" baseline="0"/>
                      <a:t>, </a:t>
                    </a:r>
                    <a:fld id="{67C9F1D1-10E9-41FB-ABF6-5B110D019DDA}" type="VALUE">
                      <a:rPr lang="en-US" baseline="0"/>
                      <a:pPr/>
                      <a:t>[WAARDE]</a:t>
                    </a:fld>
                    <a:endParaRPr lang="en-US" baseline="0"/>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99C5-46FD-8C0D-C062292093A3}"/>
                </c:ext>
              </c:extLst>
            </c:dLbl>
            <c:dLbl>
              <c:idx val="4"/>
              <c:layout>
                <c:manualLayout>
                  <c:x val="0.22394513856942838"/>
                  <c:y val="4.0299503902560818E-2"/>
                </c:manualLayout>
              </c:layout>
              <c:tx>
                <c:rich>
                  <a:bodyPr/>
                  <a:lstStyle/>
                  <a:p>
                    <a:fld id="{84308D3D-8305-47C1-9009-4163E42DC39D}" type="CELLRANGE">
                      <a:rPr lang="en-US" baseline="0"/>
                      <a:pPr/>
                      <a:t>[CELLRANGE]</a:t>
                    </a:fld>
                    <a:r>
                      <a:rPr lang="en-US" baseline="0"/>
                      <a:t>, </a:t>
                    </a:r>
                    <a:fld id="{706A69D9-1ACD-4930-BCD1-E69E7D4412A7}" type="VALUE">
                      <a:rPr lang="en-US" baseline="0"/>
                      <a:pPr/>
                      <a:t>[WAARDE]</a:t>
                    </a:fld>
                    <a:endParaRPr lang="en-US" baseline="0"/>
                  </a:p>
                </c:rich>
              </c:tx>
              <c:showLegendKey val="0"/>
              <c:showVal val="1"/>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99C5-46FD-8C0D-C062292093A3}"/>
                </c:ext>
              </c:extLst>
            </c:dLbl>
            <c:dLbl>
              <c:idx val="5"/>
              <c:layout>
                <c:manualLayout>
                  <c:x val="-8.328960764553256E-2"/>
                  <c:y val="1.9754339495652362E-2"/>
                </c:manualLayout>
              </c:layout>
              <c:tx>
                <c:rich>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fld id="{FF4E23A8-7140-43AC-AFFB-2E4C8BE848A2}" type="CELLRANGE">
                      <a:rPr lang="en-US" sz="800" baseline="0" dirty="0"/>
                      <a:pPr>
                        <a:defRPr sz="800"/>
                      </a:pPr>
                      <a:t>[CELLRANGE]</a:t>
                    </a:fld>
                    <a:r>
                      <a:rPr lang="en-US" sz="800" baseline="0" dirty="0"/>
                      <a:t>, </a:t>
                    </a:r>
                    <a:fld id="{C3CF5884-DDC3-44D3-85D2-02977958B8F7}" type="VALUE">
                      <a:rPr lang="en-US" sz="800" baseline="0" dirty="0"/>
                      <a:pPr>
                        <a:defRPr sz="800"/>
                      </a:pPr>
                      <a:t>[WAARDE]</a:t>
                    </a:fld>
                    <a:endParaRPr lang="en-US" sz="800" baseline="0" dirty="0"/>
                  </a:p>
                </c:rich>
              </c:tx>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layout>
                    <c:manualLayout>
                      <c:w val="0.37288830733246237"/>
                      <c:h val="0.10812101737969365"/>
                    </c:manualLayout>
                  </c15:layout>
                  <c15:dlblFieldTable/>
                  <c15:showDataLabelsRange val="1"/>
                </c:ext>
                <c:ext xmlns:c16="http://schemas.microsoft.com/office/drawing/2014/chart" uri="{C3380CC4-5D6E-409C-BE32-E72D297353CC}">
                  <c16:uniqueId val="{0000000B-99C5-46FD-8C0D-C062292093A3}"/>
                </c:ext>
              </c:extLst>
            </c:dLbl>
            <c:dLbl>
              <c:idx val="6"/>
              <c:layout>
                <c:manualLayout>
                  <c:x val="-4.251870708416304E-2"/>
                  <c:y val="-4.6552509370283556E-3"/>
                </c:manualLayout>
              </c:layout>
              <c:tx>
                <c:rich>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fld id="{36549935-70FF-41E7-92BF-3306EFD7C466}" type="CELLRANGE">
                      <a:rPr lang="en-US" baseline="0"/>
                      <a:pPr>
                        <a:defRPr sz="800"/>
                      </a:pPr>
                      <a:t>[CELLRANGE]</a:t>
                    </a:fld>
                    <a:r>
                      <a:rPr lang="en-US" baseline="0"/>
                      <a:t>, </a:t>
                    </a:r>
                    <a:fld id="{73937660-7ED7-4494-8AD5-BD3B9708607D}" type="VALUE">
                      <a:rPr lang="en-US" baseline="0"/>
                      <a:pPr>
                        <a:defRPr sz="800"/>
                      </a:pPr>
                      <a:t>[WAARDE]</a:t>
                    </a:fld>
                    <a:endParaRPr lang="en-US" baseline="0"/>
                  </a:p>
                </c:rich>
              </c:tx>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layout>
                    <c:manualLayout>
                      <c:w val="0.19173070123798733"/>
                      <c:h val="0.15922313835368279"/>
                    </c:manualLayout>
                  </c15:layout>
                  <c15:dlblFieldTable/>
                  <c15:showDataLabelsRange val="1"/>
                </c:ext>
                <c:ext xmlns:c16="http://schemas.microsoft.com/office/drawing/2014/chart" uri="{C3380CC4-5D6E-409C-BE32-E72D297353CC}">
                  <c16:uniqueId val="{0000000D-99C5-46FD-8C0D-C062292093A3}"/>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howDataLabelsRange val="1"/>
              </c:ext>
            </c:extLst>
          </c:dLbls>
          <c:cat>
            <c:strRef>
              <c:f>'Portfolio Overview'!$A$7:$A$13</c:f>
              <c:strCache>
                <c:ptCount val="7"/>
                <c:pt idx="0">
                  <c:v>Equity Developed</c:v>
                </c:pt>
                <c:pt idx="1">
                  <c:v>Equity Emerging Markets</c:v>
                </c:pt>
                <c:pt idx="2">
                  <c:v>Direct Real Estate</c:v>
                </c:pt>
                <c:pt idx="3">
                  <c:v>Indirect Real Estate</c:v>
                </c:pt>
                <c:pt idx="4">
                  <c:v>Global High Yield</c:v>
                </c:pt>
                <c:pt idx="5">
                  <c:v>Emerging Markets HC</c:v>
                </c:pt>
                <c:pt idx="6">
                  <c:v>Matching Portfolio</c:v>
                </c:pt>
              </c:strCache>
            </c:strRef>
          </c:cat>
          <c:val>
            <c:numRef>
              <c:f>'Portfolio Overview'!$C$7:$C$13</c:f>
              <c:numCache>
                <c:formatCode>0.0%</c:formatCode>
                <c:ptCount val="7"/>
                <c:pt idx="0">
                  <c:v>0.24</c:v>
                </c:pt>
                <c:pt idx="1">
                  <c:v>0.06</c:v>
                </c:pt>
                <c:pt idx="2">
                  <c:v>2.5000000000000001E-2</c:v>
                </c:pt>
                <c:pt idx="3">
                  <c:v>7.4999999999999997E-2</c:v>
                </c:pt>
                <c:pt idx="4">
                  <c:v>0.05</c:v>
                </c:pt>
                <c:pt idx="5">
                  <c:v>0.05</c:v>
                </c:pt>
                <c:pt idx="6">
                  <c:v>0.5</c:v>
                </c:pt>
              </c:numCache>
            </c:numRef>
          </c:val>
          <c:extLst>
            <c:ext xmlns:c15="http://schemas.microsoft.com/office/drawing/2012/chart" uri="{02D57815-91ED-43cb-92C2-25804820EDAC}">
              <c15:datalabelsRange>
                <c15:f>'Portfolio Overview'!$A$7:$A$13</c15:f>
                <c15:dlblRangeCache>
                  <c:ptCount val="7"/>
                  <c:pt idx="0">
                    <c:v>Equity Developed</c:v>
                  </c:pt>
                  <c:pt idx="1">
                    <c:v>Equity Emerging Markets</c:v>
                  </c:pt>
                  <c:pt idx="2">
                    <c:v>Direct Real Estate</c:v>
                  </c:pt>
                  <c:pt idx="3">
                    <c:v>Indirect Real Estate</c:v>
                  </c:pt>
                  <c:pt idx="4">
                    <c:v>Global High Yield</c:v>
                  </c:pt>
                  <c:pt idx="5">
                    <c:v>Emerging Markets HC</c:v>
                  </c:pt>
                  <c:pt idx="6">
                    <c:v>Matching Portfolio</c:v>
                  </c:pt>
                </c15:dlblRangeCache>
              </c15:datalabelsRange>
            </c:ext>
            <c:ext xmlns:c16="http://schemas.microsoft.com/office/drawing/2014/chart" uri="{C3380CC4-5D6E-409C-BE32-E72D297353CC}">
              <c16:uniqueId val="{0000000E-99C5-46FD-8C0D-C062292093A3}"/>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32">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ap="none" spc="0" normalizeH="0" baseline="0"/>
  </cs:categoryAxis>
  <cs:chartArea>
    <cs:lnRef idx="0"/>
    <cs:fillRef idx="0"/>
    <cs:effectRef idx="0"/>
    <cs:fontRef idx="minor">
      <a:schemeClr val="dk1"/>
    </cs:fontRef>
    <cs:spPr>
      <a:solidFill>
        <a:schemeClr val="lt1"/>
      </a:solidFill>
      <a:ln w="9525" cap="flat" cmpd="sng" algn="ctr">
        <a:solidFill>
          <a:schemeClr val="dk1">
            <a:lumMod val="15000"/>
            <a:lumOff val="85000"/>
          </a:schemeClr>
        </a:solidFill>
        <a:round/>
      </a:ln>
    </cs:spPr>
    <cs:defRPr sz="1197" kern="1200"/>
  </cs:chartArea>
  <cs:dataLabel>
    <cs:lnRef idx="0"/>
    <cs:fillRef idx="0"/>
    <cs:effectRef idx="0"/>
    <cs:fontRef idx="minor">
      <a:schemeClr val="dk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lt1"/>
      </a:solidFill>
      <a:ln w="15875">
        <a:solidFill>
          <a:schemeClr val="phClr"/>
        </a:solidFill>
        <a:round/>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064"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50000"/>
            <a:lumOff val="50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50000"/>
            <a:lumOff val="50000"/>
          </a:schemeClr>
        </a:solidFill>
        <a:round/>
      </a:ln>
    </cs:spPr>
  </cs:errorBar>
  <cs:floor>
    <cs:lnRef idx="0"/>
    <cs:fillRef idx="0"/>
    <cs:effectRef idx="0"/>
    <cs:fontRef idx="minor">
      <a:schemeClr val="dk1"/>
    </cs:fontRef>
    <cs:spPr>
      <a:pattFill prst="ltDnDiag">
        <a:fgClr>
          <a:schemeClr val="dk1">
            <a:lumMod val="15000"/>
            <a:lumOff val="85000"/>
          </a:schemeClr>
        </a:fgClr>
        <a:bgClr>
          <a:schemeClr val="lt1"/>
        </a:bgClr>
      </a:pattFill>
    </cs:spPr>
  </cs:floor>
  <cs:gridlineMajor>
    <cs:lnRef idx="0"/>
    <cs:fillRef idx="0"/>
    <cs:effectRef idx="0"/>
    <cs:fontRef idx="minor">
      <a:schemeClr val="dk1"/>
    </cs:fontRef>
    <cs:spPr>
      <a:ln w="9525" cap="flat" cmpd="sng" algn="ctr">
        <a:solidFill>
          <a:schemeClr val="dk1">
            <a:lumMod val="15000"/>
            <a:lumOff val="85000"/>
            <a:alpha val="54000"/>
          </a:schemeClr>
        </a:solidFill>
        <a:round/>
      </a:ln>
    </cs:spPr>
  </cs:gridlineMajor>
  <cs:gridlineMinor>
    <cs:lnRef idx="0"/>
    <cs:fillRef idx="0"/>
    <cs:effectRef idx="0"/>
    <cs:fontRef idx="minor">
      <a:schemeClr val="dk1"/>
    </cs:fontRef>
    <cs:spPr>
      <a:ln w="9525" cap="flat" cmpd="sng" algn="ctr">
        <a:solidFill>
          <a:schemeClr val="dk1">
            <a:lumMod val="15000"/>
            <a:lumOff val="85000"/>
            <a:alpha val="51000"/>
          </a:schemeClr>
        </a:solidFill>
        <a:round/>
      </a:ln>
    </cs:spPr>
  </cs:gridlineMinor>
  <cs:hiLoLine>
    <cs:lnRef idx="0"/>
    <cs:fillRef idx="0"/>
    <cs:effectRef idx="0"/>
    <cs:fontRef idx="minor">
      <a:schemeClr val="dk1"/>
    </cs:fontRef>
    <cs:spPr>
      <a:ln w="9525" cap="flat" cmpd="sng" algn="ctr">
        <a:solidFill>
          <a:schemeClr val="dk1">
            <a:lumMod val="35000"/>
            <a:lumOff val="65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spPr>
      <a:pattFill prst="ltDnDiag">
        <a:fgClr>
          <a:schemeClr val="dk1">
            <a:lumMod val="15000"/>
            <a:lumOff val="85000"/>
          </a:schemeClr>
        </a:fgClr>
        <a:bgClr>
          <a:schemeClr val="lt1"/>
        </a:bgClr>
      </a:pattFill>
    </cs:spPr>
  </cs:plotArea>
  <cs:plotArea3D>
    <cs:lnRef idx="0"/>
    <cs:fillRef idx="0"/>
    <cs:effectRef idx="0"/>
    <cs:fontRef idx="minor">
      <a:schemeClr val="dk1"/>
    </cs:fontRef>
    <cs:spPr>
      <a:solidFill>
        <a:schemeClr val="lt1"/>
      </a:solidFill>
    </cs:spPr>
  </cs:plotArea3D>
  <cs:seriesAxis>
    <cs:lnRef idx="0"/>
    <cs:fillRef idx="0"/>
    <cs:effectRef idx="0"/>
    <cs:fontRef idx="minor">
      <a:schemeClr val="dk1">
        <a:lumMod val="65000"/>
        <a:lumOff val="35000"/>
      </a:schemeClr>
    </cs:fontRef>
    <cs:defRPr sz="1197"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ajor">
      <a:schemeClr val="dk1">
        <a:lumMod val="50000"/>
        <a:lumOff val="50000"/>
      </a:schemeClr>
    </cs:fontRef>
    <cs:defRPr sz="2128" b="1" kern="1200" cap="none" spc="0" normalizeH="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solidFill>
      <a:ln w="9525" cap="flat" cmpd="sng" algn="ctr">
        <a:solidFill>
          <a:schemeClr val="dk1">
            <a:lumMod val="50000"/>
            <a:lumOff val="50000"/>
          </a:schemeClr>
        </a:solidFill>
        <a:round/>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spPr>
      <a:pattFill prst="ltDnDiag">
        <a:fgClr>
          <a:schemeClr val="dk1">
            <a:lumMod val="15000"/>
            <a:lumOff val="85000"/>
          </a:schemeClr>
        </a:fgClr>
        <a:bgClr>
          <a:schemeClr val="lt1"/>
        </a:bgClr>
      </a:pattFill>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675915-6EC4-4F63-BB72-A25330338731}" type="doc">
      <dgm:prSet loTypeId="urn:microsoft.com/office/officeart/2005/8/layout/hierarchy2" loCatId="hierarchy" qsTypeId="urn:microsoft.com/office/officeart/2005/8/quickstyle/simple5" qsCatId="simple" csTypeId="urn:microsoft.com/office/officeart/2005/8/colors/accent1_2" csCatId="accent1" phldr="1"/>
      <dgm:spPr/>
      <dgm:t>
        <a:bodyPr/>
        <a:lstStyle/>
        <a:p>
          <a:endParaRPr lang="nl-NL"/>
        </a:p>
      </dgm:t>
    </dgm:pt>
    <dgm:pt modelId="{3CB4E4D1-485A-4CEA-9315-F09BD2020DD3}">
      <dgm:prSet phldrT="[Tekst]" custT="1">
        <dgm:style>
          <a:lnRef idx="2">
            <a:schemeClr val="accent1">
              <a:shade val="50000"/>
            </a:schemeClr>
          </a:lnRef>
          <a:fillRef idx="1">
            <a:schemeClr val="accent1"/>
          </a:fillRef>
          <a:effectRef idx="0">
            <a:schemeClr val="accent1"/>
          </a:effectRef>
          <a:fontRef idx="minor">
            <a:schemeClr val="lt1"/>
          </a:fontRef>
        </dgm:style>
      </dgm:prSet>
      <dgm:spPr>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rtlCol="0" anchor="ctr"/>
        <a:lstStyle/>
        <a:p>
          <a:pPr marL="0" algn="ctr" defTabSz="914400" rtl="0" eaLnBrk="1" latinLnBrk="0" hangingPunct="1"/>
          <a:r>
            <a:rPr lang="da-DK"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endParaRPr lang="nl-NL"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gm:t>
    </dgm:pt>
    <dgm:pt modelId="{346C58AC-14AA-4E8E-9BF9-4E3C9BDE5E7C}" type="parTrans" cxnId="{56810D53-A82B-4FB0-BB0E-9F2A49529094}">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30236DF7-2BBE-4230-AF4B-C3FAFDD70A98}" type="sibTrans" cxnId="{56810D53-A82B-4FB0-BB0E-9F2A49529094}">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C708D649-E24D-4EDD-B691-AAE46AE15142}">
      <dgm:prSet phldrT="[Tekst]" custT="1"/>
      <dgm:spPr>
        <a:solidFill>
          <a:srgbClr val="BFB1A4"/>
        </a:solidFill>
      </dgm:spPr>
      <dgm:t>
        <a:bodyPr/>
        <a:lstStyle/>
        <a:p>
          <a:r>
            <a:rPr lang="da-DK"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FTK</a:t>
          </a:r>
          <a:endPar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gm:t>
    </dgm:pt>
    <dgm:pt modelId="{2ADCE89A-9A36-4DE1-A9A8-3A13EEE1A505}" type="parTrans" cxnId="{9EEF5497-932E-453A-BCF4-6FFCBB7090CD}">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48959493-EAEE-4619-B13D-3D0A41CAAD8A}" type="sibTrans" cxnId="{9EEF5497-932E-453A-BCF4-6FFCBB7090CD}">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6B3A1EC7-EC9E-4030-9EF6-D5D971590504}">
      <dgm:prSet phldrT="[Tekst]" custT="1"/>
      <dgm:spPr>
        <a:solidFill>
          <a:srgbClr val="BFB1A4"/>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Verzekering van groepen deelnemers</a:t>
          </a:r>
        </a:p>
      </dgm:t>
    </dgm:pt>
    <dgm:pt modelId="{6D62F4C6-2298-4F17-9A9C-02567C6F40C3}" type="parTrans" cxnId="{67BE9F87-B5F6-4D8A-B36D-DA6915796FC3}">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6B91392C-F150-4B9F-862A-60F6AE9CE646}" type="sibTrans" cxnId="{67BE9F87-B5F6-4D8A-B36D-DA6915796FC3}">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223574CA-B469-46B6-A308-6B9943987EEA}">
      <dgm:prSet phldrT="[Tekst]" custT="1"/>
      <dgm:spPr>
        <a:solidFill>
          <a:srgbClr val="4BA485"/>
        </a:solidFill>
      </dgm:spPr>
      <dgm:t>
        <a:bodyPr/>
        <a:lstStyle/>
        <a:p>
          <a:r>
            <a:rPr lang="da-DK" sz="1050" dirty="0">
              <a:latin typeface="Open Sans" panose="020B0606030504020204" pitchFamily="34" charset="0"/>
              <a:ea typeface="Open Sans" panose="020B0606030504020204" pitchFamily="34" charset="0"/>
              <a:cs typeface="Open Sans" panose="020B0606030504020204" pitchFamily="34" charset="0"/>
            </a:rPr>
            <a:t>Naar een APF</a:t>
          </a:r>
        </a:p>
      </dgm:t>
    </dgm:pt>
    <dgm:pt modelId="{A497E396-AC0E-4339-9E05-CA7EAEE01049}" type="parTrans" cxnId="{E00C6079-ED21-4A26-8A21-948AAE13B191}">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B7D14DC2-4273-4A29-86AD-63BFCA25AECC}" type="sibTrans" cxnId="{E00C6079-ED21-4A26-8A21-948AAE13B191}">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5F23F643-FFB1-4E97-ABD4-6A139D15BFD7}">
      <dgm:prSet phldrT="[Tekst]" custT="1"/>
      <dgm:spPr>
        <a:solidFill>
          <a:srgbClr val="4BA485"/>
        </a:solidFill>
        <a:ln>
          <a:solidFill>
            <a:srgbClr val="4BA485"/>
          </a:solidFill>
        </a:ln>
      </dgm:spPr>
      <dgm:t>
        <a:bodyPr/>
        <a:lstStyle/>
        <a:p>
          <a:r>
            <a:rPr lang="nl-NL" sz="1050" dirty="0">
              <a:latin typeface="Open Sans" panose="020B0606030504020204" pitchFamily="34" charset="0"/>
              <a:ea typeface="Open Sans" panose="020B0606030504020204" pitchFamily="34" charset="0"/>
              <a:cs typeface="Open Sans" panose="020B0606030504020204" pitchFamily="34" charset="0"/>
            </a:rPr>
            <a:t>Keuze (waarde)vast pensioen via verzekering van deel van de kring</a:t>
          </a:r>
        </a:p>
      </dgm:t>
    </dgm:pt>
    <dgm:pt modelId="{591F1ADF-B138-40C7-890F-02521C3A5BB9}" type="parTrans" cxnId="{B1D8318E-1279-4562-8554-E61C5A30F02C}">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CDEC695A-BDE7-4DA7-B0C4-FFE85CBB7E06}" type="sibTrans" cxnId="{B1D8318E-1279-4562-8554-E61C5A30F02C}">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FEDD3AD6-842B-463C-BF55-B492FE2930A6}">
      <dgm:prSet custT="1"/>
      <dgm:spPr>
        <a:solidFill>
          <a:srgbClr val="CEC4BA"/>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1960D1DA-B828-4B8F-BC60-D1464C743012}" type="parTrans" cxnId="{724E5794-6F1D-4C29-8FA6-7AFB760C838D}">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AA512B67-241B-44C5-B225-7102F56C5118}" type="sibTrans" cxnId="{724E5794-6F1D-4C29-8FA6-7AFB760C838D}">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FEB699FC-E5FA-4C6F-89F3-24BED27E2767}">
      <dgm:prSet custT="1"/>
      <dgm:spPr>
        <a:solidFill>
          <a:srgbClr val="4BA485"/>
        </a:solidFill>
      </dgm:spPr>
      <dgm:t>
        <a:bodyPr/>
        <a:lstStyle/>
        <a:p>
          <a:r>
            <a:rPr lang="da-DK" sz="1050" dirty="0">
              <a:latin typeface="Open Sans" panose="020B0606030504020204" pitchFamily="34" charset="0"/>
              <a:ea typeface="Open Sans" panose="020B0606030504020204" pitchFamily="34" charset="0"/>
              <a:cs typeface="Open Sans" panose="020B0606030504020204" pitchFamily="34" charset="0"/>
            </a:rPr>
            <a:t>Naar een BPF</a:t>
          </a:r>
          <a:endParaRPr lang="nl-NL" sz="1050" dirty="0">
            <a:latin typeface="Open Sans" panose="020B0606030504020204" pitchFamily="34" charset="0"/>
            <a:ea typeface="Open Sans" panose="020B0606030504020204" pitchFamily="34" charset="0"/>
            <a:cs typeface="Open Sans" panose="020B0606030504020204" pitchFamily="34" charset="0"/>
          </a:endParaRPr>
        </a:p>
      </dgm:t>
    </dgm:pt>
    <dgm:pt modelId="{9414715E-EBFE-49BA-BAE1-CA6E6A1341CE}" type="parTrans" cxnId="{C5B68F24-0CB1-4648-A83C-84A54422C78C}">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0043ECA1-01FF-4566-8E69-2FF51B09A6D2}" type="sibTrans" cxnId="{C5B68F24-0CB1-4648-A83C-84A54422C78C}">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15EAE18F-8116-4000-8B2F-F634EC363E99}">
      <dgm:prSet custT="1"/>
      <dgm:spPr>
        <a:solidFill>
          <a:srgbClr val="4BA485"/>
        </a:solidFill>
        <a:ln>
          <a:solidFill>
            <a:srgbClr val="4BA485"/>
          </a:solidFill>
        </a:ln>
      </dgm:spPr>
      <dgm:t>
        <a:bodyPr/>
        <a:lstStyle/>
        <a:p>
          <a:r>
            <a:rPr lang="nl-NL" sz="1050" dirty="0">
              <a:latin typeface="Open Sans" panose="020B0606030504020204" pitchFamily="34" charset="0"/>
              <a:ea typeface="Open Sans" panose="020B0606030504020204" pitchFamily="34" charset="0"/>
              <a:cs typeface="Open Sans" panose="020B0606030504020204" pitchFamily="34" charset="0"/>
            </a:rPr>
            <a:t>Keuze </a:t>
          </a:r>
          <a:r>
            <a:rPr lang="nl-NL" sz="1050" dirty="0" err="1">
              <a:latin typeface="Open Sans" panose="020B0606030504020204" pitchFamily="34" charset="0"/>
              <a:ea typeface="Open Sans" panose="020B0606030504020204" pitchFamily="34" charset="0"/>
              <a:cs typeface="Open Sans" panose="020B0606030504020204" pitchFamily="34" charset="0"/>
            </a:rPr>
            <a:t>Opt</a:t>
          </a:r>
          <a:r>
            <a:rPr lang="nl-NL" sz="1050" dirty="0">
              <a:latin typeface="Open Sans" panose="020B0606030504020204" pitchFamily="34" charset="0"/>
              <a:ea typeface="Open Sans" panose="020B0606030504020204" pitchFamily="34" charset="0"/>
              <a:cs typeface="Open Sans" panose="020B0606030504020204" pitchFamily="34" charset="0"/>
            </a:rPr>
            <a:t>-out voor gepensioneerden naar verzekeraar</a:t>
          </a:r>
        </a:p>
      </dgm:t>
    </dgm:pt>
    <dgm:pt modelId="{784C0B12-906E-4B5F-ADA0-48F8768D063D}" type="parTrans" cxnId="{38B36459-4E29-4219-9A68-3556D7FC981F}">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C8AA688E-D1E2-44AA-995B-7EF966A25DF2}" type="sibTrans" cxnId="{38B36459-4E29-4219-9A68-3556D7FC981F}">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43C8870B-3084-4D6E-802C-E8659C1D2CEA}">
      <dgm:prSet custT="1"/>
      <dgm:spPr>
        <a:solidFill>
          <a:srgbClr val="4BA485"/>
        </a:solidFill>
        <a:ln>
          <a:solidFill>
            <a:srgbClr val="4BA485"/>
          </a:solidFill>
        </a:ln>
        <a:effectLst>
          <a:outerShdw blurRad="57150" dist="19050" dir="5400000" algn="ctr" rotWithShape="0">
            <a:srgbClr val="000000">
              <a:alpha val="63000"/>
            </a:srgbClr>
          </a:outerShdw>
        </a:effectLst>
      </dgm:spPr>
      <dgm:t>
        <a:bodyPr spcFirstLastPara="0" vert="horz" wrap="square" lIns="7620" tIns="7620" rIns="7620" bIns="7620" numCol="1" spcCol="1270" anchor="ctr" anchorCtr="0"/>
        <a:lstStyle/>
        <a:p>
          <a:pPr marL="0" lvl="0" indent="0" algn="ctr" defTabSz="533400">
            <a:lnSpc>
              <a:spcPct val="90000"/>
            </a:lnSpc>
            <a:spcBef>
              <a:spcPct val="0"/>
            </a:spcBef>
            <a:spcAft>
              <a:spcPct val="35000"/>
            </a:spcAft>
            <a:buNone/>
          </a:pPr>
          <a:r>
            <a:rPr lang="nl-NL" sz="105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Verzekering van groepen deelnemers</a:t>
          </a:r>
          <a:endParaRPr lang="da-DK" sz="1050" kern="12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dgm:t>
    </dgm:pt>
    <dgm:pt modelId="{57E4CE66-D2FC-4622-B6B2-522F4EE6B2E4}" type="parTrans" cxnId="{D768A3F3-8CF3-40A5-9B8B-7AD434BC324D}">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9C9EFD60-F685-48C7-9325-D7FF78EDE2D0}" type="sibTrans" cxnId="{D768A3F3-8CF3-40A5-9B8B-7AD434BC324D}">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9B2056A8-2C0A-40D6-91D7-FB729E01C6B2}">
      <dgm:prSet custT="1"/>
      <dgm:spPr>
        <a:solidFill>
          <a:srgbClr val="BFB1A4"/>
        </a:solidFill>
      </dgm:spPr>
      <dgm:t>
        <a:bodyPr/>
        <a:lstStyle/>
        <a:p>
          <a:r>
            <a:rPr lang="da-DK" sz="1050">
              <a:solidFill>
                <a:srgbClr val="002060"/>
              </a:solidFill>
              <a:latin typeface="Open Sans" panose="020B0606030504020204" pitchFamily="34" charset="0"/>
              <a:ea typeface="Open Sans" panose="020B0606030504020204" pitchFamily="34" charset="0"/>
              <a:cs typeface="Open Sans" panose="020B0606030504020204" pitchFamily="34" charset="0"/>
            </a:rPr>
            <a:t>Flexibele regeling</a:t>
          </a:r>
          <a:endParaRPr lang="da-DK" sz="105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gm:t>
    </dgm:pt>
    <dgm:pt modelId="{4F92D41F-E332-47B7-AB32-DE5D05BD081C}" type="parTrans" cxnId="{2E3FDAD8-2137-4D04-81E7-A4859EB80E54}">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A25FBE58-2B11-4307-8B6B-6FB15718E8AE}" type="sibTrans" cxnId="{2E3FDAD8-2137-4D04-81E7-A4859EB80E54}">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5B9213CC-50A0-4424-9AAC-EDB387B4F9F3}">
      <dgm:prSet custT="1"/>
      <dgm:spPr>
        <a:solidFill>
          <a:srgbClr val="BFB1A4"/>
        </a:solidFill>
      </dgm:spPr>
      <dgm:t>
        <a:bodyPr/>
        <a:lstStyle/>
        <a:p>
          <a:r>
            <a:rPr lang="da-DK"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Solidaire regeling</a:t>
          </a:r>
          <a:endPar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gm:t>
    </dgm:pt>
    <dgm:pt modelId="{BA59E171-32DF-4DFC-8AA8-4AA76CCAF7DA}" type="parTrans" cxnId="{5C6BB6E2-49A6-4C5C-8255-835EDFDEA194}">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127B7F24-503A-4EBF-AAE5-A1C4B81134A8}" type="sibTrans" cxnId="{5C6BB6E2-49A6-4C5C-8255-835EDFDEA194}">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3730F20C-23B2-4C37-AFDC-21F310E9145B}">
      <dgm:prSet custT="1"/>
      <dgm:spPr>
        <a:solidFill>
          <a:srgbClr val="CEC4BA"/>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20C63641-C9AC-4510-BB39-9FBDDF724FC5}" type="parTrans" cxnId="{196A7D76-9A15-4A92-BBB5-683AD61CEB62}">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043D7DE4-6093-4F88-8F39-411705AC04FA}" type="sibTrans" cxnId="{196A7D76-9A15-4A92-BBB5-683AD61CEB62}">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979CC5CE-13DD-4D72-948D-A8036E933509}">
      <dgm:prSet custT="1"/>
      <dgm:spPr>
        <a:solidFill>
          <a:srgbClr val="CEC4BA"/>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74019E75-12DF-4C95-9977-2F6EC218FFA9}" type="parTrans" cxnId="{6F481E20-2AC8-4B22-9068-229EDC25E2DA}">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AFD228F1-FEF6-47A2-AFEA-4A7F6D300A09}" type="sibTrans" cxnId="{6F481E20-2AC8-4B22-9068-229EDC25E2DA}">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0F383DA2-7910-4A4D-8D09-8DE6F71B6F1C}">
      <dgm:prSet custT="1"/>
      <dgm:spPr>
        <a:solidFill>
          <a:srgbClr val="BFB1A4"/>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gm:t>
    </dgm:pt>
    <dgm:pt modelId="{D3D9CD61-1884-4605-A562-9D106AA8F9C4}" type="sibTrans" cxnId="{2A4887D8-E4F5-484D-9086-7D820B76623D}">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F9C85353-C45A-427C-A4F2-3231F82A97CB}" type="parTrans" cxnId="{2A4887D8-E4F5-484D-9086-7D820B76623D}">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2FFB0482-4941-4DC6-ABAD-1464A17C2B51}">
      <dgm:prSet custT="1"/>
      <dgm:spPr>
        <a:solidFill>
          <a:srgbClr val="BFB1A4"/>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gm:t>
    </dgm:pt>
    <dgm:pt modelId="{27A555D3-5802-4E6B-AF94-7D71771538CE}" type="sibTrans" cxnId="{7A0D2560-63C4-4330-9D49-B5E8C9624C7A}">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C3BD3A15-8128-4B82-88F7-E4C4E4D606A0}" type="parTrans" cxnId="{7A0D2560-63C4-4330-9D49-B5E8C9624C7A}">
      <dgm:prSet custT="1"/>
      <dgm:spPr>
        <a:ln w="28575">
          <a:solidFill>
            <a:srgbClr val="BFB1A4"/>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923DE269-5AD1-4A1B-9318-09D47E9EB830}">
      <dgm:prSet custT="1"/>
      <dgm:spPr>
        <a:solidFill>
          <a:srgbClr val="4BA485"/>
        </a:solidFill>
      </dgm:spPr>
      <dgm:t>
        <a:bodyPr/>
        <a:lstStyle/>
        <a:p>
          <a:r>
            <a:rPr lang="da-DK" sz="1050" dirty="0">
              <a:latin typeface="Open Sans" panose="020B0606030504020204" pitchFamily="34" charset="0"/>
              <a:ea typeface="Open Sans" panose="020B0606030504020204" pitchFamily="34" charset="0"/>
              <a:cs typeface="Open Sans" panose="020B0606030504020204" pitchFamily="34" charset="0"/>
            </a:rPr>
            <a:t>Naar een verzekeraar</a:t>
          </a:r>
        </a:p>
      </dgm:t>
    </dgm:pt>
    <dgm:pt modelId="{38465062-F7CC-4FC6-A0E1-CE4FE21C6FEA}" type="parTrans" cxnId="{BB7C572C-0A26-44A4-983F-340A85DD60EA}">
      <dgm:prSet custT="1"/>
      <dgm:spPr>
        <a:ln w="28575">
          <a:solidFill>
            <a:srgbClr val="4BA485"/>
          </a:solidFill>
        </a:ln>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CAF79FA3-6B9C-4484-B53A-E9717E798800}" type="sibTrans" cxnId="{BB7C572C-0A26-44A4-983F-340A85DD60EA}">
      <dgm:prSet/>
      <dgm:spPr/>
      <dgm:t>
        <a:bodyPr/>
        <a:lstStyle/>
        <a:p>
          <a:endParaRPr lang="nl-NL" sz="800">
            <a:latin typeface="Open Sans" panose="020B0606030504020204" pitchFamily="34" charset="0"/>
            <a:ea typeface="Open Sans" panose="020B0606030504020204" pitchFamily="34" charset="0"/>
            <a:cs typeface="Open Sans" panose="020B0606030504020204" pitchFamily="34" charset="0"/>
          </a:endParaRPr>
        </a:p>
      </dgm:t>
    </dgm:pt>
    <dgm:pt modelId="{14ED2B7F-3A05-4D21-80AC-33207C8D0316}">
      <dgm:prSet custT="1"/>
      <dgm:spPr>
        <a:solidFill>
          <a:srgbClr val="4BA485"/>
        </a:solidFill>
        <a:ln>
          <a:solidFill>
            <a:srgbClr val="4BA485"/>
          </a:solidFill>
        </a:ln>
      </dgm:spPr>
      <dgm:t>
        <a:bodyPr/>
        <a:lstStyle/>
        <a:p>
          <a:r>
            <a:rPr lang="nl-NL" sz="1050" dirty="0">
              <a:latin typeface="Open Sans" panose="020B0606030504020204" pitchFamily="34" charset="0"/>
              <a:ea typeface="Open Sans" panose="020B0606030504020204" pitchFamily="34" charset="0"/>
              <a:cs typeface="Open Sans" panose="020B0606030504020204" pitchFamily="34" charset="0"/>
            </a:rPr>
            <a:t> (Waarde)vast pensioen</a:t>
          </a:r>
          <a:endParaRPr lang="nl-NL" sz="1050" dirty="0"/>
        </a:p>
      </dgm:t>
    </dgm:pt>
    <dgm:pt modelId="{DA55154E-1443-443C-9E0E-1CAFECE4749F}" type="parTrans" cxnId="{E739BEC3-E485-47A3-BD2A-692ADBE46A48}">
      <dgm:prSet custT="1"/>
      <dgm:spPr>
        <a:ln w="28575">
          <a:solidFill>
            <a:srgbClr val="4BA485"/>
          </a:solidFill>
        </a:ln>
      </dgm:spPr>
      <dgm:t>
        <a:bodyPr/>
        <a:lstStyle/>
        <a:p>
          <a:endParaRPr lang="nl-NL" sz="300"/>
        </a:p>
      </dgm:t>
    </dgm:pt>
    <dgm:pt modelId="{9AB4CACC-735A-4F53-BF12-DBEC1B64F71C}" type="sibTrans" cxnId="{E739BEC3-E485-47A3-BD2A-692ADBE46A48}">
      <dgm:prSet/>
      <dgm:spPr/>
      <dgm:t>
        <a:bodyPr/>
        <a:lstStyle/>
        <a:p>
          <a:endParaRPr lang="nl-NL" sz="1400"/>
        </a:p>
      </dgm:t>
    </dgm:pt>
    <dgm:pt modelId="{19B9D666-791A-4C86-9FDB-DBB9C9719FFA}">
      <dgm:prSet custT="1"/>
      <dgm:spPr>
        <a:solidFill>
          <a:srgbClr val="4BA485"/>
        </a:solidFill>
      </dgm:spPr>
      <dgm:t>
        <a:bodyPr/>
        <a:lstStyle/>
        <a:p>
          <a:r>
            <a:rPr lang="da-DK"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br>
            <a:rPr lang="da-DK"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da-DK" sz="1050" dirty="0">
              <a:solidFill>
                <a:schemeClr val="bg1"/>
              </a:solidFill>
              <a:latin typeface="Open Sans" panose="020B0606030504020204" pitchFamily="34" charset="0"/>
              <a:ea typeface="Open Sans" panose="020B0606030504020204" pitchFamily="34" charset="0"/>
              <a:cs typeface="Open Sans" panose="020B0606030504020204" pitchFamily="34" charset="0"/>
            </a:rPr>
            <a:t>gaat door</a:t>
          </a:r>
          <a:endParaRPr lang="nl-NL" sz="1050" dirty="0">
            <a:solidFill>
              <a:schemeClr val="bg1"/>
            </a:solidFill>
          </a:endParaRPr>
        </a:p>
      </dgm:t>
    </dgm:pt>
    <dgm:pt modelId="{1FDDF5C1-123D-42D7-B126-3DFD35664F1E}" type="parTrans" cxnId="{F45EA011-376F-4CF9-AEEA-BD5F4C4643F1}">
      <dgm:prSet custT="1"/>
      <dgm:spPr>
        <a:ln w="28575">
          <a:solidFill>
            <a:srgbClr val="4BA485"/>
          </a:solidFill>
        </a:ln>
      </dgm:spPr>
      <dgm:t>
        <a:bodyPr/>
        <a:lstStyle/>
        <a:p>
          <a:endParaRPr lang="nl-NL" sz="300"/>
        </a:p>
      </dgm:t>
    </dgm:pt>
    <dgm:pt modelId="{819A3D2F-202D-4195-BDDB-B1B661B83954}" type="sibTrans" cxnId="{F45EA011-376F-4CF9-AEEA-BD5F4C4643F1}">
      <dgm:prSet/>
      <dgm:spPr/>
      <dgm:t>
        <a:bodyPr/>
        <a:lstStyle/>
        <a:p>
          <a:endParaRPr lang="nl-NL" sz="1400"/>
        </a:p>
      </dgm:t>
    </dgm:pt>
    <dgm:pt modelId="{021C5964-898F-4430-BAB9-D02C638C9F3C}">
      <dgm:prSet custT="1"/>
      <dgm:spPr>
        <a:solidFill>
          <a:srgbClr val="B2E2A7"/>
        </a:solidFill>
      </dgm:spPr>
      <dgm:t>
        <a:bodyPr/>
        <a:lstStyle/>
        <a:p>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Eventuele </a:t>
          </a:r>
          <a:r>
            <a:rPr lang="nl-NL" sz="1050" dirty="0" err="1">
              <a:solidFill>
                <a:srgbClr val="002060"/>
              </a:solidFill>
              <a:latin typeface="Open Sans" panose="020B0606030504020204" pitchFamily="34" charset="0"/>
              <a:ea typeface="Open Sans" panose="020B0606030504020204" pitchFamily="34" charset="0"/>
              <a:cs typeface="Open Sans" panose="020B0606030504020204" pitchFamily="34" charset="0"/>
            </a:rPr>
            <a:t>Opt</a:t>
          </a:r>
          <a:r>
            <a:rPr lang="nl-NL" sz="1050" dirty="0">
              <a:solidFill>
                <a:srgbClr val="002060"/>
              </a:solidFill>
              <a:latin typeface="Open Sans" panose="020B0606030504020204" pitchFamily="34" charset="0"/>
              <a:ea typeface="Open Sans" panose="020B0606030504020204" pitchFamily="34" charset="0"/>
              <a:cs typeface="Open Sans" panose="020B0606030504020204" pitchFamily="34" charset="0"/>
            </a:rPr>
            <a:t>-out voor actieve deelnemers naar nieuwe uitvoerder</a:t>
          </a:r>
          <a:endParaRPr lang="nl-NL" sz="1050" dirty="0">
            <a:solidFill>
              <a:srgbClr val="002060"/>
            </a:solidFill>
          </a:endParaRPr>
        </a:p>
      </dgm:t>
    </dgm:pt>
    <dgm:pt modelId="{3AE2F4A6-B4AE-4133-885C-75A51649089B}" type="parTrans" cxnId="{5479BA7F-3AB7-455F-9AB3-3AB5828123F1}">
      <dgm:prSet custT="1"/>
      <dgm:spPr/>
      <dgm:t>
        <a:bodyPr/>
        <a:lstStyle/>
        <a:p>
          <a:endParaRPr lang="nl-NL" sz="300"/>
        </a:p>
      </dgm:t>
    </dgm:pt>
    <dgm:pt modelId="{1C640B7E-8605-450E-9887-C354E950B2DB}" type="sibTrans" cxnId="{5479BA7F-3AB7-455F-9AB3-3AB5828123F1}">
      <dgm:prSet/>
      <dgm:spPr/>
      <dgm:t>
        <a:bodyPr/>
        <a:lstStyle/>
        <a:p>
          <a:endParaRPr lang="nl-NL" sz="1400"/>
        </a:p>
      </dgm:t>
    </dgm:pt>
    <dgm:pt modelId="{43FA40DE-85DA-44A1-93D4-31542D12A641}" type="pres">
      <dgm:prSet presAssocID="{10675915-6EC4-4F63-BB72-A25330338731}" presName="diagram" presStyleCnt="0">
        <dgm:presLayoutVars>
          <dgm:chPref val="1"/>
          <dgm:dir/>
          <dgm:animOne val="branch"/>
          <dgm:animLvl val="lvl"/>
          <dgm:resizeHandles val="exact"/>
        </dgm:presLayoutVars>
      </dgm:prSet>
      <dgm:spPr/>
      <dgm:t>
        <a:bodyPr/>
        <a:lstStyle/>
        <a:p>
          <a:endParaRPr lang="nl-NL"/>
        </a:p>
      </dgm:t>
    </dgm:pt>
    <dgm:pt modelId="{94C1C3D0-3C9D-439D-8DED-BE04B141F92A}" type="pres">
      <dgm:prSet presAssocID="{3CB4E4D1-485A-4CEA-9315-F09BD2020DD3}" presName="root1" presStyleCnt="0"/>
      <dgm:spPr/>
    </dgm:pt>
    <dgm:pt modelId="{70779920-459F-4C7B-ABB2-7EA5A310E576}" type="pres">
      <dgm:prSet presAssocID="{3CB4E4D1-485A-4CEA-9315-F09BD2020DD3}" presName="LevelOneTextNode" presStyleLbl="node0" presStyleIdx="0" presStyleCnt="1" custScaleX="131627" custScaleY="198058">
        <dgm:presLayoutVars>
          <dgm:chPref val="3"/>
        </dgm:presLayoutVars>
      </dgm:prSet>
      <dgm:spPr>
        <a:xfrm>
          <a:off x="251201" y="2511402"/>
          <a:ext cx="1220274" cy="918068"/>
        </a:xfrm>
        <a:prstGeom prst="roundRect">
          <a:avLst>
            <a:gd name="adj" fmla="val 10000"/>
          </a:avLst>
        </a:prstGeom>
      </dgm:spPr>
      <dgm:t>
        <a:bodyPr/>
        <a:lstStyle/>
        <a:p>
          <a:endParaRPr lang="nl-NL"/>
        </a:p>
      </dgm:t>
    </dgm:pt>
    <dgm:pt modelId="{B4C8A095-93C5-4420-86AC-5057BA0E54F8}" type="pres">
      <dgm:prSet presAssocID="{3CB4E4D1-485A-4CEA-9315-F09BD2020DD3}" presName="level2hierChild" presStyleCnt="0"/>
      <dgm:spPr/>
    </dgm:pt>
    <dgm:pt modelId="{8A39741E-7C08-4901-8265-1CADB3D59101}" type="pres">
      <dgm:prSet presAssocID="{1FDDF5C1-123D-42D7-B126-3DFD35664F1E}" presName="conn2-1" presStyleLbl="parChTrans1D2" presStyleIdx="0" presStyleCnt="4"/>
      <dgm:spPr/>
      <dgm:t>
        <a:bodyPr/>
        <a:lstStyle/>
        <a:p>
          <a:endParaRPr lang="nl-NL"/>
        </a:p>
      </dgm:t>
    </dgm:pt>
    <dgm:pt modelId="{DFBD830D-C4CD-4558-80A6-F178C4AAB1D7}" type="pres">
      <dgm:prSet presAssocID="{1FDDF5C1-123D-42D7-B126-3DFD35664F1E}" presName="connTx" presStyleLbl="parChTrans1D2" presStyleIdx="0" presStyleCnt="4"/>
      <dgm:spPr/>
      <dgm:t>
        <a:bodyPr/>
        <a:lstStyle/>
        <a:p>
          <a:endParaRPr lang="nl-NL"/>
        </a:p>
      </dgm:t>
    </dgm:pt>
    <dgm:pt modelId="{A10E9A6E-01D4-4238-A1A8-509E47860998}" type="pres">
      <dgm:prSet presAssocID="{19B9D666-791A-4C86-9FDB-DBB9C9719FFA}" presName="root2" presStyleCnt="0"/>
      <dgm:spPr/>
    </dgm:pt>
    <dgm:pt modelId="{AC1D65A5-768B-4E2E-8E92-E330A84DB47B}" type="pres">
      <dgm:prSet presAssocID="{19B9D666-791A-4C86-9FDB-DBB9C9719FFA}" presName="LevelTwoTextNode" presStyleLbl="node2" presStyleIdx="0" presStyleCnt="4" custScaleX="174744" custScaleY="201664" custLinFactNeighborX="3853" custLinFactNeighborY="-2549">
        <dgm:presLayoutVars>
          <dgm:chPref val="3"/>
        </dgm:presLayoutVars>
      </dgm:prSet>
      <dgm:spPr/>
      <dgm:t>
        <a:bodyPr/>
        <a:lstStyle/>
        <a:p>
          <a:endParaRPr lang="nl-NL"/>
        </a:p>
      </dgm:t>
    </dgm:pt>
    <dgm:pt modelId="{6D5FD618-B8FB-4CDD-A9DC-617A17A0B4C3}" type="pres">
      <dgm:prSet presAssocID="{19B9D666-791A-4C86-9FDB-DBB9C9719FFA}" presName="level3hierChild" presStyleCnt="0"/>
      <dgm:spPr/>
    </dgm:pt>
    <dgm:pt modelId="{1160787F-8A74-4A6E-936C-73A71478E8B1}" type="pres">
      <dgm:prSet presAssocID="{57E4CE66-D2FC-4622-B6B2-522F4EE6B2E4}" presName="conn2-1" presStyleLbl="parChTrans1D3" presStyleIdx="0" presStyleCnt="4"/>
      <dgm:spPr/>
      <dgm:t>
        <a:bodyPr/>
        <a:lstStyle/>
        <a:p>
          <a:endParaRPr lang="nl-NL"/>
        </a:p>
      </dgm:t>
    </dgm:pt>
    <dgm:pt modelId="{F4CF6E08-4024-4490-94E2-981C01739270}" type="pres">
      <dgm:prSet presAssocID="{57E4CE66-D2FC-4622-B6B2-522F4EE6B2E4}" presName="connTx" presStyleLbl="parChTrans1D3" presStyleIdx="0" presStyleCnt="4"/>
      <dgm:spPr/>
      <dgm:t>
        <a:bodyPr/>
        <a:lstStyle/>
        <a:p>
          <a:endParaRPr lang="nl-NL"/>
        </a:p>
      </dgm:t>
    </dgm:pt>
    <dgm:pt modelId="{98AA6B80-60C1-40ED-B941-FC5157BD5B21}" type="pres">
      <dgm:prSet presAssocID="{43C8870B-3084-4D6E-802C-E8659C1D2CEA}" presName="root2" presStyleCnt="0"/>
      <dgm:spPr/>
    </dgm:pt>
    <dgm:pt modelId="{B8E5483D-4B2E-40A6-B93C-7E96727B7AF2}" type="pres">
      <dgm:prSet presAssocID="{43C8870B-3084-4D6E-802C-E8659C1D2CEA}" presName="LevelTwoTextNode" presStyleLbl="node3" presStyleIdx="0" presStyleCnt="4" custScaleX="174744" custScaleY="189956" custLinFactNeighborX="3853" custLinFactNeighborY="-2549">
        <dgm:presLayoutVars>
          <dgm:chPref val="3"/>
        </dgm:presLayoutVars>
      </dgm:prSet>
      <dgm:spPr>
        <a:xfrm>
          <a:off x="3868851" y="1011894"/>
          <a:ext cx="1619999" cy="880512"/>
        </a:xfrm>
        <a:prstGeom prst="roundRect">
          <a:avLst>
            <a:gd name="adj" fmla="val 10000"/>
          </a:avLst>
        </a:prstGeom>
      </dgm:spPr>
      <dgm:t>
        <a:bodyPr/>
        <a:lstStyle/>
        <a:p>
          <a:endParaRPr lang="nl-NL"/>
        </a:p>
      </dgm:t>
    </dgm:pt>
    <dgm:pt modelId="{C233E242-B27B-4DA8-87C8-233FE464C70C}" type="pres">
      <dgm:prSet presAssocID="{43C8870B-3084-4D6E-802C-E8659C1D2CEA}" presName="level3hierChild" presStyleCnt="0"/>
      <dgm:spPr/>
    </dgm:pt>
    <dgm:pt modelId="{4FFCD822-998B-4783-8991-D15AC70BA337}" type="pres">
      <dgm:prSet presAssocID="{2ADCE89A-9A36-4DE1-A9A8-3A13EEE1A505}" presName="conn2-1" presStyleLbl="parChTrans1D4" presStyleIdx="0" presStyleCnt="10"/>
      <dgm:spPr/>
      <dgm:t>
        <a:bodyPr/>
        <a:lstStyle/>
        <a:p>
          <a:endParaRPr lang="nl-NL"/>
        </a:p>
      </dgm:t>
    </dgm:pt>
    <dgm:pt modelId="{95ED207B-53ED-4327-8E8D-FF5FF27BEE61}" type="pres">
      <dgm:prSet presAssocID="{2ADCE89A-9A36-4DE1-A9A8-3A13EEE1A505}" presName="connTx" presStyleLbl="parChTrans1D4" presStyleIdx="0" presStyleCnt="10"/>
      <dgm:spPr/>
      <dgm:t>
        <a:bodyPr/>
        <a:lstStyle/>
        <a:p>
          <a:endParaRPr lang="nl-NL"/>
        </a:p>
      </dgm:t>
    </dgm:pt>
    <dgm:pt modelId="{FA8BBF47-2E49-40FD-AACE-CB6919A73F64}" type="pres">
      <dgm:prSet presAssocID="{C708D649-E24D-4EDD-B691-AAE46AE15142}" presName="root2" presStyleCnt="0"/>
      <dgm:spPr/>
    </dgm:pt>
    <dgm:pt modelId="{E6EDF9BA-0972-4591-A810-A06E051B92E9}" type="pres">
      <dgm:prSet presAssocID="{C708D649-E24D-4EDD-B691-AAE46AE15142}" presName="LevelTwoTextNode" presStyleLbl="node4" presStyleIdx="0" presStyleCnt="10" custScaleX="172943" custScaleY="199845" custLinFactNeighborY="-2959">
        <dgm:presLayoutVars>
          <dgm:chPref val="3"/>
        </dgm:presLayoutVars>
      </dgm:prSet>
      <dgm:spPr/>
      <dgm:t>
        <a:bodyPr/>
        <a:lstStyle/>
        <a:p>
          <a:endParaRPr lang="nl-NL"/>
        </a:p>
      </dgm:t>
    </dgm:pt>
    <dgm:pt modelId="{940346AC-4903-4BD1-9E85-76A75515EC46}" type="pres">
      <dgm:prSet presAssocID="{C708D649-E24D-4EDD-B691-AAE46AE15142}" presName="level3hierChild" presStyleCnt="0"/>
      <dgm:spPr/>
    </dgm:pt>
    <dgm:pt modelId="{5586BE20-D037-4BCF-949C-2F45ADB0A3DB}" type="pres">
      <dgm:prSet presAssocID="{6D62F4C6-2298-4F17-9A9C-02567C6F40C3}" presName="conn2-1" presStyleLbl="parChTrans1D4" presStyleIdx="1" presStyleCnt="10"/>
      <dgm:spPr/>
      <dgm:t>
        <a:bodyPr/>
        <a:lstStyle/>
        <a:p>
          <a:endParaRPr lang="nl-NL"/>
        </a:p>
      </dgm:t>
    </dgm:pt>
    <dgm:pt modelId="{76AD0FFF-97D8-4DAD-8E15-F65143A7D7E2}" type="pres">
      <dgm:prSet presAssocID="{6D62F4C6-2298-4F17-9A9C-02567C6F40C3}" presName="connTx" presStyleLbl="parChTrans1D4" presStyleIdx="1" presStyleCnt="10"/>
      <dgm:spPr/>
      <dgm:t>
        <a:bodyPr/>
        <a:lstStyle/>
        <a:p>
          <a:endParaRPr lang="nl-NL"/>
        </a:p>
      </dgm:t>
    </dgm:pt>
    <dgm:pt modelId="{3D875189-5F08-44B8-A545-8C482CD57894}" type="pres">
      <dgm:prSet presAssocID="{6B3A1EC7-EC9E-4030-9EF6-D5D971590504}" presName="root2" presStyleCnt="0"/>
      <dgm:spPr/>
    </dgm:pt>
    <dgm:pt modelId="{B373D5D3-3897-470E-A191-32D0E5083731}" type="pres">
      <dgm:prSet presAssocID="{6B3A1EC7-EC9E-4030-9EF6-D5D971590504}" presName="LevelTwoTextNode" presStyleLbl="node4" presStyleIdx="1" presStyleCnt="10" custScaleX="172943" custScaleY="199845" custLinFactNeighborY="-2959">
        <dgm:presLayoutVars>
          <dgm:chPref val="3"/>
        </dgm:presLayoutVars>
      </dgm:prSet>
      <dgm:spPr/>
      <dgm:t>
        <a:bodyPr/>
        <a:lstStyle/>
        <a:p>
          <a:endParaRPr lang="nl-NL"/>
        </a:p>
      </dgm:t>
    </dgm:pt>
    <dgm:pt modelId="{195F801C-C7A0-40AA-83D3-68E272C381FF}" type="pres">
      <dgm:prSet presAssocID="{6B3A1EC7-EC9E-4030-9EF6-D5D971590504}" presName="level3hierChild" presStyleCnt="0"/>
      <dgm:spPr/>
    </dgm:pt>
    <dgm:pt modelId="{3628B605-EE70-4903-BE9C-86CB9F41EEE4}" type="pres">
      <dgm:prSet presAssocID="{1960D1DA-B828-4B8F-BC60-D1464C743012}" presName="conn2-1" presStyleLbl="parChTrans1D4" presStyleIdx="2" presStyleCnt="10"/>
      <dgm:spPr/>
      <dgm:t>
        <a:bodyPr/>
        <a:lstStyle/>
        <a:p>
          <a:endParaRPr lang="nl-NL"/>
        </a:p>
      </dgm:t>
    </dgm:pt>
    <dgm:pt modelId="{9D81FE90-074E-4DCD-B191-153F618D8AAC}" type="pres">
      <dgm:prSet presAssocID="{1960D1DA-B828-4B8F-BC60-D1464C743012}" presName="connTx" presStyleLbl="parChTrans1D4" presStyleIdx="2" presStyleCnt="10"/>
      <dgm:spPr/>
      <dgm:t>
        <a:bodyPr/>
        <a:lstStyle/>
        <a:p>
          <a:endParaRPr lang="nl-NL"/>
        </a:p>
      </dgm:t>
    </dgm:pt>
    <dgm:pt modelId="{445BDAE7-92CE-44A5-A8FA-5A75127C0E9A}" type="pres">
      <dgm:prSet presAssocID="{FEDD3AD6-842B-463C-BF55-B492FE2930A6}" presName="root2" presStyleCnt="0"/>
      <dgm:spPr/>
    </dgm:pt>
    <dgm:pt modelId="{33AD4ABC-DFE1-4AF6-991F-F7ECBA3ACEAA}" type="pres">
      <dgm:prSet presAssocID="{FEDD3AD6-842B-463C-BF55-B492FE2930A6}" presName="LevelTwoTextNode" presStyleLbl="node4" presStyleIdx="2" presStyleCnt="10" custScaleX="172943" custScaleY="199845" custLinFactNeighborY="-2959">
        <dgm:presLayoutVars>
          <dgm:chPref val="3"/>
        </dgm:presLayoutVars>
      </dgm:prSet>
      <dgm:spPr/>
      <dgm:t>
        <a:bodyPr/>
        <a:lstStyle/>
        <a:p>
          <a:endParaRPr lang="nl-NL"/>
        </a:p>
      </dgm:t>
    </dgm:pt>
    <dgm:pt modelId="{64A48561-0BD0-4B3E-8C7B-794726A5FC69}" type="pres">
      <dgm:prSet presAssocID="{FEDD3AD6-842B-463C-BF55-B492FE2930A6}" presName="level3hierChild" presStyleCnt="0"/>
      <dgm:spPr/>
    </dgm:pt>
    <dgm:pt modelId="{B3C018BD-8378-4D50-9DE7-111C0CFCD9E9}" type="pres">
      <dgm:prSet presAssocID="{4F92D41F-E332-47B7-AB32-DE5D05BD081C}" presName="conn2-1" presStyleLbl="parChTrans1D4" presStyleIdx="3" presStyleCnt="10"/>
      <dgm:spPr/>
      <dgm:t>
        <a:bodyPr/>
        <a:lstStyle/>
        <a:p>
          <a:endParaRPr lang="nl-NL"/>
        </a:p>
      </dgm:t>
    </dgm:pt>
    <dgm:pt modelId="{73C0DCC8-6560-4E83-ADA0-68F0C087CB64}" type="pres">
      <dgm:prSet presAssocID="{4F92D41F-E332-47B7-AB32-DE5D05BD081C}" presName="connTx" presStyleLbl="parChTrans1D4" presStyleIdx="3" presStyleCnt="10"/>
      <dgm:spPr/>
      <dgm:t>
        <a:bodyPr/>
        <a:lstStyle/>
        <a:p>
          <a:endParaRPr lang="nl-NL"/>
        </a:p>
      </dgm:t>
    </dgm:pt>
    <dgm:pt modelId="{92249A65-E4BC-45F0-8BEC-E9690542375B}" type="pres">
      <dgm:prSet presAssocID="{9B2056A8-2C0A-40D6-91D7-FB729E01C6B2}" presName="root2" presStyleCnt="0"/>
      <dgm:spPr/>
    </dgm:pt>
    <dgm:pt modelId="{F298295D-B5F1-40F4-8188-198915F292B3}" type="pres">
      <dgm:prSet presAssocID="{9B2056A8-2C0A-40D6-91D7-FB729E01C6B2}" presName="LevelTwoTextNode" presStyleLbl="node4" presStyleIdx="3" presStyleCnt="10" custScaleX="172943" custScaleY="199845">
        <dgm:presLayoutVars>
          <dgm:chPref val="3"/>
        </dgm:presLayoutVars>
      </dgm:prSet>
      <dgm:spPr/>
      <dgm:t>
        <a:bodyPr/>
        <a:lstStyle/>
        <a:p>
          <a:endParaRPr lang="nl-NL"/>
        </a:p>
      </dgm:t>
    </dgm:pt>
    <dgm:pt modelId="{84F6E371-4CA8-467E-AA3A-88CE98F8E41C}" type="pres">
      <dgm:prSet presAssocID="{9B2056A8-2C0A-40D6-91D7-FB729E01C6B2}" presName="level3hierChild" presStyleCnt="0"/>
      <dgm:spPr/>
    </dgm:pt>
    <dgm:pt modelId="{CB6F51A5-ADF5-4E43-90EE-34D6ABAD366B}" type="pres">
      <dgm:prSet presAssocID="{F9C85353-C45A-427C-A4F2-3231F82A97CB}" presName="conn2-1" presStyleLbl="parChTrans1D4" presStyleIdx="4" presStyleCnt="10"/>
      <dgm:spPr/>
      <dgm:t>
        <a:bodyPr/>
        <a:lstStyle/>
        <a:p>
          <a:endParaRPr lang="nl-NL"/>
        </a:p>
      </dgm:t>
    </dgm:pt>
    <dgm:pt modelId="{DAAA3967-3D4C-4207-A5B6-C10B412D9351}" type="pres">
      <dgm:prSet presAssocID="{F9C85353-C45A-427C-A4F2-3231F82A97CB}" presName="connTx" presStyleLbl="parChTrans1D4" presStyleIdx="4" presStyleCnt="10"/>
      <dgm:spPr/>
      <dgm:t>
        <a:bodyPr/>
        <a:lstStyle/>
        <a:p>
          <a:endParaRPr lang="nl-NL"/>
        </a:p>
      </dgm:t>
    </dgm:pt>
    <dgm:pt modelId="{8CD6EF49-F4A3-4DE4-A26E-9C708202CB4C}" type="pres">
      <dgm:prSet presAssocID="{0F383DA2-7910-4A4D-8D09-8DE6F71B6F1C}" presName="root2" presStyleCnt="0"/>
      <dgm:spPr/>
    </dgm:pt>
    <dgm:pt modelId="{574884EC-FE99-4C51-9308-935E8F5C70AF}" type="pres">
      <dgm:prSet presAssocID="{0F383DA2-7910-4A4D-8D09-8DE6F71B6F1C}" presName="LevelTwoTextNode" presStyleLbl="node4" presStyleIdx="4" presStyleCnt="10" custScaleX="172943" custScaleY="199845">
        <dgm:presLayoutVars>
          <dgm:chPref val="3"/>
        </dgm:presLayoutVars>
      </dgm:prSet>
      <dgm:spPr/>
      <dgm:t>
        <a:bodyPr/>
        <a:lstStyle/>
        <a:p>
          <a:endParaRPr lang="nl-NL"/>
        </a:p>
      </dgm:t>
    </dgm:pt>
    <dgm:pt modelId="{A6595B05-7209-4FC1-9021-FDA4EC18B76E}" type="pres">
      <dgm:prSet presAssocID="{0F383DA2-7910-4A4D-8D09-8DE6F71B6F1C}" presName="level3hierChild" presStyleCnt="0"/>
      <dgm:spPr/>
    </dgm:pt>
    <dgm:pt modelId="{CCE1F522-EDC0-4BBB-9F23-D7E87C3A26BD}" type="pres">
      <dgm:prSet presAssocID="{20C63641-C9AC-4510-BB39-9FBDDF724FC5}" presName="conn2-1" presStyleLbl="parChTrans1D4" presStyleIdx="5" presStyleCnt="10"/>
      <dgm:spPr/>
      <dgm:t>
        <a:bodyPr/>
        <a:lstStyle/>
        <a:p>
          <a:endParaRPr lang="nl-NL"/>
        </a:p>
      </dgm:t>
    </dgm:pt>
    <dgm:pt modelId="{208AE90A-252B-4B0F-A899-F62D87466758}" type="pres">
      <dgm:prSet presAssocID="{20C63641-C9AC-4510-BB39-9FBDDF724FC5}" presName="connTx" presStyleLbl="parChTrans1D4" presStyleIdx="5" presStyleCnt="10"/>
      <dgm:spPr/>
      <dgm:t>
        <a:bodyPr/>
        <a:lstStyle/>
        <a:p>
          <a:endParaRPr lang="nl-NL"/>
        </a:p>
      </dgm:t>
    </dgm:pt>
    <dgm:pt modelId="{B1DBED53-4BA2-4EA8-91C9-A7185CC77FBA}" type="pres">
      <dgm:prSet presAssocID="{3730F20C-23B2-4C37-AFDC-21F310E9145B}" presName="root2" presStyleCnt="0"/>
      <dgm:spPr/>
    </dgm:pt>
    <dgm:pt modelId="{4300FE2C-FD3F-4707-A548-B9F2B38C7EA9}" type="pres">
      <dgm:prSet presAssocID="{3730F20C-23B2-4C37-AFDC-21F310E9145B}" presName="LevelTwoTextNode" presStyleLbl="node4" presStyleIdx="5" presStyleCnt="10" custScaleX="172943" custScaleY="199845">
        <dgm:presLayoutVars>
          <dgm:chPref val="3"/>
        </dgm:presLayoutVars>
      </dgm:prSet>
      <dgm:spPr/>
      <dgm:t>
        <a:bodyPr/>
        <a:lstStyle/>
        <a:p>
          <a:endParaRPr lang="nl-NL"/>
        </a:p>
      </dgm:t>
    </dgm:pt>
    <dgm:pt modelId="{4B4FA40B-547C-4086-AFFC-4F8EEE9D2454}" type="pres">
      <dgm:prSet presAssocID="{3730F20C-23B2-4C37-AFDC-21F310E9145B}" presName="level3hierChild" presStyleCnt="0"/>
      <dgm:spPr/>
    </dgm:pt>
    <dgm:pt modelId="{47334A7C-D400-4806-8E27-D20D5F35850E}" type="pres">
      <dgm:prSet presAssocID="{BA59E171-32DF-4DFC-8AA8-4AA76CCAF7DA}" presName="conn2-1" presStyleLbl="parChTrans1D4" presStyleIdx="6" presStyleCnt="10"/>
      <dgm:spPr/>
      <dgm:t>
        <a:bodyPr/>
        <a:lstStyle/>
        <a:p>
          <a:endParaRPr lang="nl-NL"/>
        </a:p>
      </dgm:t>
    </dgm:pt>
    <dgm:pt modelId="{362C3FB7-744E-4EA3-87F4-B84303901425}" type="pres">
      <dgm:prSet presAssocID="{BA59E171-32DF-4DFC-8AA8-4AA76CCAF7DA}" presName="connTx" presStyleLbl="parChTrans1D4" presStyleIdx="6" presStyleCnt="10"/>
      <dgm:spPr/>
      <dgm:t>
        <a:bodyPr/>
        <a:lstStyle/>
        <a:p>
          <a:endParaRPr lang="nl-NL"/>
        </a:p>
      </dgm:t>
    </dgm:pt>
    <dgm:pt modelId="{2E34D342-50A3-4229-A7B1-16D7B2AAD9F4}" type="pres">
      <dgm:prSet presAssocID="{5B9213CC-50A0-4424-9AAC-EDB387B4F9F3}" presName="root2" presStyleCnt="0"/>
      <dgm:spPr/>
    </dgm:pt>
    <dgm:pt modelId="{3B6A86F8-3D3F-48D8-ACE1-62C4FC5F55DA}" type="pres">
      <dgm:prSet presAssocID="{5B9213CC-50A0-4424-9AAC-EDB387B4F9F3}" presName="LevelTwoTextNode" presStyleLbl="node4" presStyleIdx="6" presStyleCnt="10" custScaleX="172943" custScaleY="199845">
        <dgm:presLayoutVars>
          <dgm:chPref val="3"/>
        </dgm:presLayoutVars>
      </dgm:prSet>
      <dgm:spPr/>
      <dgm:t>
        <a:bodyPr/>
        <a:lstStyle/>
        <a:p>
          <a:endParaRPr lang="nl-NL"/>
        </a:p>
      </dgm:t>
    </dgm:pt>
    <dgm:pt modelId="{72FCCCBF-52E2-4811-A5ED-D7D55641C9EE}" type="pres">
      <dgm:prSet presAssocID="{5B9213CC-50A0-4424-9AAC-EDB387B4F9F3}" presName="level3hierChild" presStyleCnt="0"/>
      <dgm:spPr/>
    </dgm:pt>
    <dgm:pt modelId="{8F9B8AD0-4A36-49B2-B6B3-E2FCE04754F1}" type="pres">
      <dgm:prSet presAssocID="{C3BD3A15-8128-4B82-88F7-E4C4E4D606A0}" presName="conn2-1" presStyleLbl="parChTrans1D4" presStyleIdx="7" presStyleCnt="10"/>
      <dgm:spPr/>
      <dgm:t>
        <a:bodyPr/>
        <a:lstStyle/>
        <a:p>
          <a:endParaRPr lang="nl-NL"/>
        </a:p>
      </dgm:t>
    </dgm:pt>
    <dgm:pt modelId="{2F59CD9F-81AA-4161-8366-CE4DCFC64EF6}" type="pres">
      <dgm:prSet presAssocID="{C3BD3A15-8128-4B82-88F7-E4C4E4D606A0}" presName="connTx" presStyleLbl="parChTrans1D4" presStyleIdx="7" presStyleCnt="10"/>
      <dgm:spPr/>
      <dgm:t>
        <a:bodyPr/>
        <a:lstStyle/>
        <a:p>
          <a:endParaRPr lang="nl-NL"/>
        </a:p>
      </dgm:t>
    </dgm:pt>
    <dgm:pt modelId="{341D02AC-EE2F-4697-B620-07ED6683DDE9}" type="pres">
      <dgm:prSet presAssocID="{2FFB0482-4941-4DC6-ABAD-1464A17C2B51}" presName="root2" presStyleCnt="0"/>
      <dgm:spPr/>
    </dgm:pt>
    <dgm:pt modelId="{E9C4F763-8FC3-45A0-A574-439296161C58}" type="pres">
      <dgm:prSet presAssocID="{2FFB0482-4941-4DC6-ABAD-1464A17C2B51}" presName="LevelTwoTextNode" presStyleLbl="node4" presStyleIdx="7" presStyleCnt="10" custScaleX="172943" custScaleY="199845">
        <dgm:presLayoutVars>
          <dgm:chPref val="3"/>
        </dgm:presLayoutVars>
      </dgm:prSet>
      <dgm:spPr/>
      <dgm:t>
        <a:bodyPr/>
        <a:lstStyle/>
        <a:p>
          <a:endParaRPr lang="nl-NL"/>
        </a:p>
      </dgm:t>
    </dgm:pt>
    <dgm:pt modelId="{437C2ACC-AA67-4FBF-9600-15FAA6CE13EF}" type="pres">
      <dgm:prSet presAssocID="{2FFB0482-4941-4DC6-ABAD-1464A17C2B51}" presName="level3hierChild" presStyleCnt="0"/>
      <dgm:spPr/>
    </dgm:pt>
    <dgm:pt modelId="{E7B84A15-4EDC-47ED-935A-5A26BE5B9DD9}" type="pres">
      <dgm:prSet presAssocID="{74019E75-12DF-4C95-9977-2F6EC218FFA9}" presName="conn2-1" presStyleLbl="parChTrans1D4" presStyleIdx="8" presStyleCnt="10"/>
      <dgm:spPr/>
      <dgm:t>
        <a:bodyPr/>
        <a:lstStyle/>
        <a:p>
          <a:endParaRPr lang="nl-NL"/>
        </a:p>
      </dgm:t>
    </dgm:pt>
    <dgm:pt modelId="{57709A1F-18FA-4DD6-99B7-DB35DE9AAA98}" type="pres">
      <dgm:prSet presAssocID="{74019E75-12DF-4C95-9977-2F6EC218FFA9}" presName="connTx" presStyleLbl="parChTrans1D4" presStyleIdx="8" presStyleCnt="10"/>
      <dgm:spPr/>
      <dgm:t>
        <a:bodyPr/>
        <a:lstStyle/>
        <a:p>
          <a:endParaRPr lang="nl-NL"/>
        </a:p>
      </dgm:t>
    </dgm:pt>
    <dgm:pt modelId="{43224558-CFB6-4F57-989F-71443FE0555B}" type="pres">
      <dgm:prSet presAssocID="{979CC5CE-13DD-4D72-948D-A8036E933509}" presName="root2" presStyleCnt="0"/>
      <dgm:spPr/>
    </dgm:pt>
    <dgm:pt modelId="{9533FB9A-4C7C-402C-93EE-9DEEA41E120B}" type="pres">
      <dgm:prSet presAssocID="{979CC5CE-13DD-4D72-948D-A8036E933509}" presName="LevelTwoTextNode" presStyleLbl="node4" presStyleIdx="8" presStyleCnt="10" custScaleX="172943" custScaleY="199845">
        <dgm:presLayoutVars>
          <dgm:chPref val="3"/>
        </dgm:presLayoutVars>
      </dgm:prSet>
      <dgm:spPr/>
      <dgm:t>
        <a:bodyPr/>
        <a:lstStyle/>
        <a:p>
          <a:endParaRPr lang="nl-NL"/>
        </a:p>
      </dgm:t>
    </dgm:pt>
    <dgm:pt modelId="{427DABDC-37A9-49EA-A308-AEF70C4771D6}" type="pres">
      <dgm:prSet presAssocID="{979CC5CE-13DD-4D72-948D-A8036E933509}" presName="level3hierChild" presStyleCnt="0"/>
      <dgm:spPr/>
    </dgm:pt>
    <dgm:pt modelId="{3EE35210-EFA8-4161-B29C-9DC2C88BF6C9}" type="pres">
      <dgm:prSet presAssocID="{A497E396-AC0E-4339-9E05-CA7EAEE01049}" presName="conn2-1" presStyleLbl="parChTrans1D2" presStyleIdx="1" presStyleCnt="4"/>
      <dgm:spPr/>
      <dgm:t>
        <a:bodyPr/>
        <a:lstStyle/>
        <a:p>
          <a:endParaRPr lang="nl-NL"/>
        </a:p>
      </dgm:t>
    </dgm:pt>
    <dgm:pt modelId="{F77B7AA9-DADE-4F35-85FC-AE79125228EB}" type="pres">
      <dgm:prSet presAssocID="{A497E396-AC0E-4339-9E05-CA7EAEE01049}" presName="connTx" presStyleLbl="parChTrans1D2" presStyleIdx="1" presStyleCnt="4"/>
      <dgm:spPr/>
      <dgm:t>
        <a:bodyPr/>
        <a:lstStyle/>
        <a:p>
          <a:endParaRPr lang="nl-NL"/>
        </a:p>
      </dgm:t>
    </dgm:pt>
    <dgm:pt modelId="{23BE52A4-D010-4164-B519-30333013E427}" type="pres">
      <dgm:prSet presAssocID="{223574CA-B469-46B6-A308-6B9943987EEA}" presName="root2" presStyleCnt="0"/>
      <dgm:spPr/>
    </dgm:pt>
    <dgm:pt modelId="{2C4E11B7-7219-40E0-8831-C1D3C6A447B8}" type="pres">
      <dgm:prSet presAssocID="{223574CA-B469-46B6-A308-6B9943987EEA}" presName="LevelTwoTextNode" presStyleLbl="node2" presStyleIdx="1" presStyleCnt="4" custScaleX="174744" custScaleY="201664" custLinFactNeighborX="3853" custLinFactNeighborY="-2959">
        <dgm:presLayoutVars>
          <dgm:chPref val="3"/>
        </dgm:presLayoutVars>
      </dgm:prSet>
      <dgm:spPr/>
      <dgm:t>
        <a:bodyPr/>
        <a:lstStyle/>
        <a:p>
          <a:endParaRPr lang="nl-NL"/>
        </a:p>
      </dgm:t>
    </dgm:pt>
    <dgm:pt modelId="{43BAD6F1-21F0-4C83-84EE-2E394973EC1B}" type="pres">
      <dgm:prSet presAssocID="{223574CA-B469-46B6-A308-6B9943987EEA}" presName="level3hierChild" presStyleCnt="0"/>
      <dgm:spPr/>
    </dgm:pt>
    <dgm:pt modelId="{2C28A49E-5BAB-4350-999F-AFB6A6E33B6C}" type="pres">
      <dgm:prSet presAssocID="{591F1ADF-B138-40C7-890F-02521C3A5BB9}" presName="conn2-1" presStyleLbl="parChTrans1D3" presStyleIdx="1" presStyleCnt="4"/>
      <dgm:spPr/>
      <dgm:t>
        <a:bodyPr/>
        <a:lstStyle/>
        <a:p>
          <a:endParaRPr lang="nl-NL"/>
        </a:p>
      </dgm:t>
    </dgm:pt>
    <dgm:pt modelId="{FDAAEDB9-BE21-4BCF-BA47-03558B613FB1}" type="pres">
      <dgm:prSet presAssocID="{591F1ADF-B138-40C7-890F-02521C3A5BB9}" presName="connTx" presStyleLbl="parChTrans1D3" presStyleIdx="1" presStyleCnt="4"/>
      <dgm:spPr/>
      <dgm:t>
        <a:bodyPr/>
        <a:lstStyle/>
        <a:p>
          <a:endParaRPr lang="nl-NL"/>
        </a:p>
      </dgm:t>
    </dgm:pt>
    <dgm:pt modelId="{9BEB2696-14C5-4EBD-95B3-BAB4D6C37900}" type="pres">
      <dgm:prSet presAssocID="{5F23F643-FFB1-4E97-ABD4-6A139D15BFD7}" presName="root2" presStyleCnt="0"/>
      <dgm:spPr/>
    </dgm:pt>
    <dgm:pt modelId="{BED0DA98-6F09-4C27-8D40-1F6F82042840}" type="pres">
      <dgm:prSet presAssocID="{5F23F643-FFB1-4E97-ABD4-6A139D15BFD7}" presName="LevelTwoTextNode" presStyleLbl="node3" presStyleIdx="1" presStyleCnt="4" custScaleX="174744" custScaleY="201664" custLinFactNeighborX="3853" custLinFactNeighborY="-2959">
        <dgm:presLayoutVars>
          <dgm:chPref val="3"/>
        </dgm:presLayoutVars>
      </dgm:prSet>
      <dgm:spPr/>
      <dgm:t>
        <a:bodyPr/>
        <a:lstStyle/>
        <a:p>
          <a:endParaRPr lang="nl-NL"/>
        </a:p>
      </dgm:t>
    </dgm:pt>
    <dgm:pt modelId="{D7A0295A-3687-4E29-9E4C-DB6D688801BE}" type="pres">
      <dgm:prSet presAssocID="{5F23F643-FFB1-4E97-ABD4-6A139D15BFD7}" presName="level3hierChild" presStyleCnt="0"/>
      <dgm:spPr/>
    </dgm:pt>
    <dgm:pt modelId="{A07E0BA9-A85D-4C4A-B933-B2C7348AC368}" type="pres">
      <dgm:prSet presAssocID="{9414715E-EBFE-49BA-BAE1-CA6E6A1341CE}" presName="conn2-1" presStyleLbl="parChTrans1D2" presStyleIdx="2" presStyleCnt="4"/>
      <dgm:spPr/>
      <dgm:t>
        <a:bodyPr/>
        <a:lstStyle/>
        <a:p>
          <a:endParaRPr lang="nl-NL"/>
        </a:p>
      </dgm:t>
    </dgm:pt>
    <dgm:pt modelId="{FBB07691-33E4-4D7C-A937-A22D60C12031}" type="pres">
      <dgm:prSet presAssocID="{9414715E-EBFE-49BA-BAE1-CA6E6A1341CE}" presName="connTx" presStyleLbl="parChTrans1D2" presStyleIdx="2" presStyleCnt="4"/>
      <dgm:spPr/>
      <dgm:t>
        <a:bodyPr/>
        <a:lstStyle/>
        <a:p>
          <a:endParaRPr lang="nl-NL"/>
        </a:p>
      </dgm:t>
    </dgm:pt>
    <dgm:pt modelId="{7D6AA80E-7CBF-4EE6-AA17-C07CBD41C6AA}" type="pres">
      <dgm:prSet presAssocID="{FEB699FC-E5FA-4C6F-89F3-24BED27E2767}" presName="root2" presStyleCnt="0"/>
      <dgm:spPr/>
    </dgm:pt>
    <dgm:pt modelId="{7248CDB8-8D27-4305-AC3F-77E9C7B4455F}" type="pres">
      <dgm:prSet presAssocID="{FEB699FC-E5FA-4C6F-89F3-24BED27E2767}" presName="LevelTwoTextNode" presStyleLbl="node2" presStyleIdx="2" presStyleCnt="4" custScaleX="174744" custScaleY="201664" custLinFactNeighborX="3853" custLinFactNeighborY="-2959">
        <dgm:presLayoutVars>
          <dgm:chPref val="3"/>
        </dgm:presLayoutVars>
      </dgm:prSet>
      <dgm:spPr/>
      <dgm:t>
        <a:bodyPr/>
        <a:lstStyle/>
        <a:p>
          <a:endParaRPr lang="nl-NL"/>
        </a:p>
      </dgm:t>
    </dgm:pt>
    <dgm:pt modelId="{2E3D9068-A25E-4022-A6EF-71D6CC4E1F4A}" type="pres">
      <dgm:prSet presAssocID="{FEB699FC-E5FA-4C6F-89F3-24BED27E2767}" presName="level3hierChild" presStyleCnt="0"/>
      <dgm:spPr/>
    </dgm:pt>
    <dgm:pt modelId="{C7E99121-8A95-4A6C-AF6B-7156325E8455}" type="pres">
      <dgm:prSet presAssocID="{784C0B12-906E-4B5F-ADA0-48F8768D063D}" presName="conn2-1" presStyleLbl="parChTrans1D3" presStyleIdx="2" presStyleCnt="4"/>
      <dgm:spPr/>
      <dgm:t>
        <a:bodyPr/>
        <a:lstStyle/>
        <a:p>
          <a:endParaRPr lang="nl-NL"/>
        </a:p>
      </dgm:t>
    </dgm:pt>
    <dgm:pt modelId="{5670425B-B0D3-4968-9D88-03F241833784}" type="pres">
      <dgm:prSet presAssocID="{784C0B12-906E-4B5F-ADA0-48F8768D063D}" presName="connTx" presStyleLbl="parChTrans1D3" presStyleIdx="2" presStyleCnt="4"/>
      <dgm:spPr/>
      <dgm:t>
        <a:bodyPr/>
        <a:lstStyle/>
        <a:p>
          <a:endParaRPr lang="nl-NL"/>
        </a:p>
      </dgm:t>
    </dgm:pt>
    <dgm:pt modelId="{946A65F2-047F-454B-9C09-884EF1424A35}" type="pres">
      <dgm:prSet presAssocID="{15EAE18F-8116-4000-8B2F-F634EC363E99}" presName="root2" presStyleCnt="0"/>
      <dgm:spPr/>
    </dgm:pt>
    <dgm:pt modelId="{35848290-1963-4846-A7F6-F6C2649D0D26}" type="pres">
      <dgm:prSet presAssocID="{15EAE18F-8116-4000-8B2F-F634EC363E99}" presName="LevelTwoTextNode" presStyleLbl="node3" presStyleIdx="2" presStyleCnt="4" custScaleX="174744" custScaleY="201664" custLinFactNeighborX="3853" custLinFactNeighborY="-2959">
        <dgm:presLayoutVars>
          <dgm:chPref val="3"/>
        </dgm:presLayoutVars>
      </dgm:prSet>
      <dgm:spPr/>
      <dgm:t>
        <a:bodyPr/>
        <a:lstStyle/>
        <a:p>
          <a:endParaRPr lang="nl-NL"/>
        </a:p>
      </dgm:t>
    </dgm:pt>
    <dgm:pt modelId="{A16646E3-EF7D-4DD9-8273-59F708942BBE}" type="pres">
      <dgm:prSet presAssocID="{15EAE18F-8116-4000-8B2F-F634EC363E99}" presName="level3hierChild" presStyleCnt="0"/>
      <dgm:spPr/>
    </dgm:pt>
    <dgm:pt modelId="{F54A8CC8-9933-4DA2-A0E8-20CBBF6B27C9}" type="pres">
      <dgm:prSet presAssocID="{38465062-F7CC-4FC6-A0E1-CE4FE21C6FEA}" presName="conn2-1" presStyleLbl="parChTrans1D2" presStyleIdx="3" presStyleCnt="4"/>
      <dgm:spPr/>
      <dgm:t>
        <a:bodyPr/>
        <a:lstStyle/>
        <a:p>
          <a:endParaRPr lang="nl-NL"/>
        </a:p>
      </dgm:t>
    </dgm:pt>
    <dgm:pt modelId="{6BE9BA4D-946C-4F0D-857A-CB4B6DC1BEBE}" type="pres">
      <dgm:prSet presAssocID="{38465062-F7CC-4FC6-A0E1-CE4FE21C6FEA}" presName="connTx" presStyleLbl="parChTrans1D2" presStyleIdx="3" presStyleCnt="4"/>
      <dgm:spPr/>
      <dgm:t>
        <a:bodyPr/>
        <a:lstStyle/>
        <a:p>
          <a:endParaRPr lang="nl-NL"/>
        </a:p>
      </dgm:t>
    </dgm:pt>
    <dgm:pt modelId="{4F301CAF-6277-4A9A-A9B0-021B7FBE65F7}" type="pres">
      <dgm:prSet presAssocID="{923DE269-5AD1-4A1B-9318-09D47E9EB830}" presName="root2" presStyleCnt="0"/>
      <dgm:spPr/>
    </dgm:pt>
    <dgm:pt modelId="{387036C8-4FE6-4E4D-94FD-693E2966505A}" type="pres">
      <dgm:prSet presAssocID="{923DE269-5AD1-4A1B-9318-09D47E9EB830}" presName="LevelTwoTextNode" presStyleLbl="node2" presStyleIdx="3" presStyleCnt="4" custScaleX="174744" custScaleY="201664" custLinFactNeighborX="3853">
        <dgm:presLayoutVars>
          <dgm:chPref val="3"/>
        </dgm:presLayoutVars>
      </dgm:prSet>
      <dgm:spPr/>
      <dgm:t>
        <a:bodyPr/>
        <a:lstStyle/>
        <a:p>
          <a:endParaRPr lang="nl-NL"/>
        </a:p>
      </dgm:t>
    </dgm:pt>
    <dgm:pt modelId="{92EA81CF-8825-4875-9138-4BB8BFADCC84}" type="pres">
      <dgm:prSet presAssocID="{923DE269-5AD1-4A1B-9318-09D47E9EB830}" presName="level3hierChild" presStyleCnt="0"/>
      <dgm:spPr/>
    </dgm:pt>
    <dgm:pt modelId="{2551E84C-BB4B-422C-99FF-67B4B8B1DE6B}" type="pres">
      <dgm:prSet presAssocID="{DA55154E-1443-443C-9E0E-1CAFECE4749F}" presName="conn2-1" presStyleLbl="parChTrans1D3" presStyleIdx="3" presStyleCnt="4"/>
      <dgm:spPr/>
      <dgm:t>
        <a:bodyPr/>
        <a:lstStyle/>
        <a:p>
          <a:endParaRPr lang="nl-NL"/>
        </a:p>
      </dgm:t>
    </dgm:pt>
    <dgm:pt modelId="{04E593F7-DD51-4D9D-8AE5-D30B9FC200AE}" type="pres">
      <dgm:prSet presAssocID="{DA55154E-1443-443C-9E0E-1CAFECE4749F}" presName="connTx" presStyleLbl="parChTrans1D3" presStyleIdx="3" presStyleCnt="4"/>
      <dgm:spPr/>
      <dgm:t>
        <a:bodyPr/>
        <a:lstStyle/>
        <a:p>
          <a:endParaRPr lang="nl-NL"/>
        </a:p>
      </dgm:t>
    </dgm:pt>
    <dgm:pt modelId="{C7668596-80AF-4FE2-89AE-4FFED33728DD}" type="pres">
      <dgm:prSet presAssocID="{14ED2B7F-3A05-4D21-80AC-33207C8D0316}" presName="root2" presStyleCnt="0"/>
      <dgm:spPr/>
    </dgm:pt>
    <dgm:pt modelId="{BCC9B3DD-F67A-413E-9F40-27BAF0DA5829}" type="pres">
      <dgm:prSet presAssocID="{14ED2B7F-3A05-4D21-80AC-33207C8D0316}" presName="LevelTwoTextNode" presStyleLbl="node3" presStyleIdx="3" presStyleCnt="4" custScaleX="180918" custScaleY="201664">
        <dgm:presLayoutVars>
          <dgm:chPref val="3"/>
        </dgm:presLayoutVars>
      </dgm:prSet>
      <dgm:spPr/>
      <dgm:t>
        <a:bodyPr/>
        <a:lstStyle/>
        <a:p>
          <a:endParaRPr lang="nl-NL"/>
        </a:p>
      </dgm:t>
    </dgm:pt>
    <dgm:pt modelId="{F78580DF-6C0A-43FA-AD9E-9BBAB347A9CD}" type="pres">
      <dgm:prSet presAssocID="{14ED2B7F-3A05-4D21-80AC-33207C8D0316}" presName="level3hierChild" presStyleCnt="0"/>
      <dgm:spPr/>
    </dgm:pt>
    <dgm:pt modelId="{99A3CE25-3A55-44A0-BF2C-105E467D33CD}" type="pres">
      <dgm:prSet presAssocID="{3AE2F4A6-B4AE-4133-885C-75A51649089B}" presName="conn2-1" presStyleLbl="parChTrans1D4" presStyleIdx="9" presStyleCnt="10"/>
      <dgm:spPr/>
      <dgm:t>
        <a:bodyPr/>
        <a:lstStyle/>
        <a:p>
          <a:endParaRPr lang="nl-NL"/>
        </a:p>
      </dgm:t>
    </dgm:pt>
    <dgm:pt modelId="{1EB13F99-889C-4967-BE3F-61E2D9763736}" type="pres">
      <dgm:prSet presAssocID="{3AE2F4A6-B4AE-4133-885C-75A51649089B}" presName="connTx" presStyleLbl="parChTrans1D4" presStyleIdx="9" presStyleCnt="10"/>
      <dgm:spPr/>
      <dgm:t>
        <a:bodyPr/>
        <a:lstStyle/>
        <a:p>
          <a:endParaRPr lang="nl-NL"/>
        </a:p>
      </dgm:t>
    </dgm:pt>
    <dgm:pt modelId="{D9543555-D6B1-4BC0-B524-E945FF3AB0C3}" type="pres">
      <dgm:prSet presAssocID="{021C5964-898F-4430-BAB9-D02C638C9F3C}" presName="root2" presStyleCnt="0"/>
      <dgm:spPr/>
    </dgm:pt>
    <dgm:pt modelId="{FF7D7F05-02BB-485A-BBB6-D17B48DE4C1C}" type="pres">
      <dgm:prSet presAssocID="{021C5964-898F-4430-BAB9-D02C638C9F3C}" presName="LevelTwoTextNode" presStyleLbl="node4" presStyleIdx="9" presStyleCnt="10" custScaleX="174744" custScaleY="201664">
        <dgm:presLayoutVars>
          <dgm:chPref val="3"/>
        </dgm:presLayoutVars>
      </dgm:prSet>
      <dgm:spPr/>
      <dgm:t>
        <a:bodyPr/>
        <a:lstStyle/>
        <a:p>
          <a:endParaRPr lang="nl-NL"/>
        </a:p>
      </dgm:t>
    </dgm:pt>
    <dgm:pt modelId="{4010C470-8AFA-4CF6-A078-1664EE479155}" type="pres">
      <dgm:prSet presAssocID="{021C5964-898F-4430-BAB9-D02C638C9F3C}" presName="level3hierChild" presStyleCnt="0"/>
      <dgm:spPr/>
    </dgm:pt>
  </dgm:ptLst>
  <dgm:cxnLst>
    <dgm:cxn modelId="{AF17DAA7-E7CB-402E-8347-71AE2FF8EEF4}" type="presOf" srcId="{F9C85353-C45A-427C-A4F2-3231F82A97CB}" destId="{DAAA3967-3D4C-4207-A5B6-C10B412D9351}" srcOrd="1" destOrd="0" presId="urn:microsoft.com/office/officeart/2005/8/layout/hierarchy2"/>
    <dgm:cxn modelId="{35783CEA-CBCE-45AD-B94E-E78F399F6B16}" type="presOf" srcId="{0F383DA2-7910-4A4D-8D09-8DE6F71B6F1C}" destId="{574884EC-FE99-4C51-9308-935E8F5C70AF}" srcOrd="0" destOrd="0" presId="urn:microsoft.com/office/officeart/2005/8/layout/hierarchy2"/>
    <dgm:cxn modelId="{535D9454-841C-4EA6-8464-FF7A7180AD97}" type="presOf" srcId="{3CB4E4D1-485A-4CEA-9315-F09BD2020DD3}" destId="{70779920-459F-4C7B-ABB2-7EA5A310E576}" srcOrd="0" destOrd="0" presId="urn:microsoft.com/office/officeart/2005/8/layout/hierarchy2"/>
    <dgm:cxn modelId="{6F481E20-2AC8-4B22-9068-229EDC25E2DA}" srcId="{2FFB0482-4941-4DC6-ABAD-1464A17C2B51}" destId="{979CC5CE-13DD-4D72-948D-A8036E933509}" srcOrd="0" destOrd="0" parTransId="{74019E75-12DF-4C95-9977-2F6EC218FFA9}" sibTransId="{AFD228F1-FEF6-47A2-AFEA-4A7F6D300A09}"/>
    <dgm:cxn modelId="{BB7C572C-0A26-44A4-983F-340A85DD60EA}" srcId="{3CB4E4D1-485A-4CEA-9315-F09BD2020DD3}" destId="{923DE269-5AD1-4A1B-9318-09D47E9EB830}" srcOrd="3" destOrd="0" parTransId="{38465062-F7CC-4FC6-A0E1-CE4FE21C6FEA}" sibTransId="{CAF79FA3-6B9C-4484-B53A-E9717E798800}"/>
    <dgm:cxn modelId="{B61B3BB3-9A24-4F37-9726-3241EE06FAF7}" type="presOf" srcId="{1960D1DA-B828-4B8F-BC60-D1464C743012}" destId="{3628B605-EE70-4903-BE9C-86CB9F41EEE4}" srcOrd="0" destOrd="0" presId="urn:microsoft.com/office/officeart/2005/8/layout/hierarchy2"/>
    <dgm:cxn modelId="{C5B68F24-0CB1-4648-A83C-84A54422C78C}" srcId="{3CB4E4D1-485A-4CEA-9315-F09BD2020DD3}" destId="{FEB699FC-E5FA-4C6F-89F3-24BED27E2767}" srcOrd="2" destOrd="0" parTransId="{9414715E-EBFE-49BA-BAE1-CA6E6A1341CE}" sibTransId="{0043ECA1-01FF-4566-8E69-2FF51B09A6D2}"/>
    <dgm:cxn modelId="{876020E3-8AAB-4EE3-BC1E-A2472CAF2C9F}" type="presOf" srcId="{38465062-F7CC-4FC6-A0E1-CE4FE21C6FEA}" destId="{F54A8CC8-9933-4DA2-A0E8-20CBBF6B27C9}" srcOrd="0" destOrd="0" presId="urn:microsoft.com/office/officeart/2005/8/layout/hierarchy2"/>
    <dgm:cxn modelId="{28395529-AFD3-479A-8C85-7D1088C263C0}" type="presOf" srcId="{3AE2F4A6-B4AE-4133-885C-75A51649089B}" destId="{1EB13F99-889C-4967-BE3F-61E2D9763736}" srcOrd="1" destOrd="0" presId="urn:microsoft.com/office/officeart/2005/8/layout/hierarchy2"/>
    <dgm:cxn modelId="{3EC0FA23-2A1E-4634-A593-7950C8A34CA4}" type="presOf" srcId="{4F92D41F-E332-47B7-AB32-DE5D05BD081C}" destId="{73C0DCC8-6560-4E83-ADA0-68F0C087CB64}" srcOrd="1" destOrd="0" presId="urn:microsoft.com/office/officeart/2005/8/layout/hierarchy2"/>
    <dgm:cxn modelId="{47ACFEC1-E1DB-40D5-9245-1F2563E1B721}" type="presOf" srcId="{5F23F643-FFB1-4E97-ABD4-6A139D15BFD7}" destId="{BED0DA98-6F09-4C27-8D40-1F6F82042840}" srcOrd="0" destOrd="0" presId="urn:microsoft.com/office/officeart/2005/8/layout/hierarchy2"/>
    <dgm:cxn modelId="{CB6C7C73-89AA-406A-B915-66EC24108175}" type="presOf" srcId="{6D62F4C6-2298-4F17-9A9C-02567C6F40C3}" destId="{76AD0FFF-97D8-4DAD-8E15-F65143A7D7E2}" srcOrd="1" destOrd="0" presId="urn:microsoft.com/office/officeart/2005/8/layout/hierarchy2"/>
    <dgm:cxn modelId="{4E233F15-1D26-46C4-98C1-375B9B9E06E0}" type="presOf" srcId="{1FDDF5C1-123D-42D7-B126-3DFD35664F1E}" destId="{8A39741E-7C08-4901-8265-1CADB3D59101}" srcOrd="0" destOrd="0" presId="urn:microsoft.com/office/officeart/2005/8/layout/hierarchy2"/>
    <dgm:cxn modelId="{F602D107-CF62-40D1-A147-49C70479EAEB}" type="presOf" srcId="{021C5964-898F-4430-BAB9-D02C638C9F3C}" destId="{FF7D7F05-02BB-485A-BBB6-D17B48DE4C1C}" srcOrd="0" destOrd="0" presId="urn:microsoft.com/office/officeart/2005/8/layout/hierarchy2"/>
    <dgm:cxn modelId="{D9631FF8-D8E8-4D8F-AB07-B6E4B7B21184}" type="presOf" srcId="{43C8870B-3084-4D6E-802C-E8659C1D2CEA}" destId="{B8E5483D-4B2E-40A6-B93C-7E96727B7AF2}" srcOrd="0" destOrd="0" presId="urn:microsoft.com/office/officeart/2005/8/layout/hierarchy2"/>
    <dgm:cxn modelId="{F837EBEE-751F-493B-8ACE-E70C967D9607}" type="presOf" srcId="{C3BD3A15-8128-4B82-88F7-E4C4E4D606A0}" destId="{8F9B8AD0-4A36-49B2-B6B3-E2FCE04754F1}" srcOrd="0" destOrd="0" presId="urn:microsoft.com/office/officeart/2005/8/layout/hierarchy2"/>
    <dgm:cxn modelId="{49745A4A-E9D7-46A2-B7C4-BE06F5D7EDEA}" type="presOf" srcId="{2ADCE89A-9A36-4DE1-A9A8-3A13EEE1A505}" destId="{4FFCD822-998B-4783-8991-D15AC70BA337}" srcOrd="0" destOrd="0" presId="urn:microsoft.com/office/officeart/2005/8/layout/hierarchy2"/>
    <dgm:cxn modelId="{5E0E55DD-C4DF-4DE5-A09C-A4EF16F8EA10}" type="presOf" srcId="{BA59E171-32DF-4DFC-8AA8-4AA76CCAF7DA}" destId="{47334A7C-D400-4806-8E27-D20D5F35850E}" srcOrd="0" destOrd="0" presId="urn:microsoft.com/office/officeart/2005/8/layout/hierarchy2"/>
    <dgm:cxn modelId="{595A5748-6C20-4993-87ED-79FD16720763}" type="presOf" srcId="{6B3A1EC7-EC9E-4030-9EF6-D5D971590504}" destId="{B373D5D3-3897-470E-A191-32D0E5083731}" srcOrd="0" destOrd="0" presId="urn:microsoft.com/office/officeart/2005/8/layout/hierarchy2"/>
    <dgm:cxn modelId="{04D2BEE6-3481-4099-9671-67D4F0CE4020}" type="presOf" srcId="{3730F20C-23B2-4C37-AFDC-21F310E9145B}" destId="{4300FE2C-FD3F-4707-A548-B9F2B38C7EA9}" srcOrd="0" destOrd="0" presId="urn:microsoft.com/office/officeart/2005/8/layout/hierarchy2"/>
    <dgm:cxn modelId="{68E52753-E389-48C0-8102-D2F702112C27}" type="presOf" srcId="{FEB699FC-E5FA-4C6F-89F3-24BED27E2767}" destId="{7248CDB8-8D27-4305-AC3F-77E9C7B4455F}" srcOrd="0" destOrd="0" presId="urn:microsoft.com/office/officeart/2005/8/layout/hierarchy2"/>
    <dgm:cxn modelId="{395C18B5-F16D-47AE-8236-2E96AFBC0583}" type="presOf" srcId="{A497E396-AC0E-4339-9E05-CA7EAEE01049}" destId="{F77B7AA9-DADE-4F35-85FC-AE79125228EB}" srcOrd="1" destOrd="0" presId="urn:microsoft.com/office/officeart/2005/8/layout/hierarchy2"/>
    <dgm:cxn modelId="{B18FF5A9-DBB8-4F91-AEA1-68FAF46FF236}" type="presOf" srcId="{DA55154E-1443-443C-9E0E-1CAFECE4749F}" destId="{2551E84C-BB4B-422C-99FF-67B4B8B1DE6B}" srcOrd="0" destOrd="0" presId="urn:microsoft.com/office/officeart/2005/8/layout/hierarchy2"/>
    <dgm:cxn modelId="{9EEF5497-932E-453A-BCF4-6FFCBB7090CD}" srcId="{43C8870B-3084-4D6E-802C-E8659C1D2CEA}" destId="{C708D649-E24D-4EDD-B691-AAE46AE15142}" srcOrd="0" destOrd="0" parTransId="{2ADCE89A-9A36-4DE1-A9A8-3A13EEE1A505}" sibTransId="{48959493-EAEE-4619-B13D-3D0A41CAAD8A}"/>
    <dgm:cxn modelId="{421F5B5F-1447-43AC-915B-77733FB51446}" type="presOf" srcId="{10675915-6EC4-4F63-BB72-A25330338731}" destId="{43FA40DE-85DA-44A1-93D4-31542D12A641}" srcOrd="0" destOrd="0" presId="urn:microsoft.com/office/officeart/2005/8/layout/hierarchy2"/>
    <dgm:cxn modelId="{56810D53-A82B-4FB0-BB0E-9F2A49529094}" srcId="{10675915-6EC4-4F63-BB72-A25330338731}" destId="{3CB4E4D1-485A-4CEA-9315-F09BD2020DD3}" srcOrd="0" destOrd="0" parTransId="{346C58AC-14AA-4E8E-9BF9-4E3C9BDE5E7C}" sibTransId="{30236DF7-2BBE-4230-AF4B-C3FAFDD70A98}"/>
    <dgm:cxn modelId="{93AD7697-4AA3-4711-9B88-6385CF8AFD49}" type="presOf" srcId="{9414715E-EBFE-49BA-BAE1-CA6E6A1341CE}" destId="{FBB07691-33E4-4D7C-A937-A22D60C12031}" srcOrd="1" destOrd="0" presId="urn:microsoft.com/office/officeart/2005/8/layout/hierarchy2"/>
    <dgm:cxn modelId="{38865F63-5A45-4434-8CB7-0C2EE3417633}" type="presOf" srcId="{74019E75-12DF-4C95-9977-2F6EC218FFA9}" destId="{57709A1F-18FA-4DD6-99B7-DB35DE9AAA98}" srcOrd="1" destOrd="0" presId="urn:microsoft.com/office/officeart/2005/8/layout/hierarchy2"/>
    <dgm:cxn modelId="{F85138B0-CB6F-418F-847A-9167FBBE424B}" type="presOf" srcId="{784C0B12-906E-4B5F-ADA0-48F8768D063D}" destId="{5670425B-B0D3-4968-9D88-03F241833784}" srcOrd="1" destOrd="0" presId="urn:microsoft.com/office/officeart/2005/8/layout/hierarchy2"/>
    <dgm:cxn modelId="{197C6CFE-2580-431E-B51D-ABA97B4CA9FE}" type="presOf" srcId="{F9C85353-C45A-427C-A4F2-3231F82A97CB}" destId="{CB6F51A5-ADF5-4E43-90EE-34D6ABAD366B}" srcOrd="0" destOrd="0" presId="urn:microsoft.com/office/officeart/2005/8/layout/hierarchy2"/>
    <dgm:cxn modelId="{CF301100-6C56-45BD-A6A6-CBD8F55F87E0}" type="presOf" srcId="{38465062-F7CC-4FC6-A0E1-CE4FE21C6FEA}" destId="{6BE9BA4D-946C-4F0D-857A-CB4B6DC1BEBE}" srcOrd="1" destOrd="0" presId="urn:microsoft.com/office/officeart/2005/8/layout/hierarchy2"/>
    <dgm:cxn modelId="{196A7D76-9A15-4A92-BBB5-683AD61CEB62}" srcId="{0F383DA2-7910-4A4D-8D09-8DE6F71B6F1C}" destId="{3730F20C-23B2-4C37-AFDC-21F310E9145B}" srcOrd="0" destOrd="0" parTransId="{20C63641-C9AC-4510-BB39-9FBDDF724FC5}" sibTransId="{043D7DE4-6093-4F88-8F39-411705AC04FA}"/>
    <dgm:cxn modelId="{A8E85013-8F01-4D57-ACB7-2F7FB57E3AF9}" type="presOf" srcId="{C3BD3A15-8128-4B82-88F7-E4C4E4D606A0}" destId="{2F59CD9F-81AA-4161-8366-CE4DCFC64EF6}" srcOrd="1" destOrd="0" presId="urn:microsoft.com/office/officeart/2005/8/layout/hierarchy2"/>
    <dgm:cxn modelId="{5C6BB6E2-49A6-4C5C-8255-835EDFDEA194}" srcId="{43C8870B-3084-4D6E-802C-E8659C1D2CEA}" destId="{5B9213CC-50A0-4424-9AAC-EDB387B4F9F3}" srcOrd="2" destOrd="0" parTransId="{BA59E171-32DF-4DFC-8AA8-4AA76CCAF7DA}" sibTransId="{127B7F24-503A-4EBF-AAE5-A1C4B81134A8}"/>
    <dgm:cxn modelId="{E00C6079-ED21-4A26-8A21-948AAE13B191}" srcId="{3CB4E4D1-485A-4CEA-9315-F09BD2020DD3}" destId="{223574CA-B469-46B6-A308-6B9943987EEA}" srcOrd="1" destOrd="0" parTransId="{A497E396-AC0E-4339-9E05-CA7EAEE01049}" sibTransId="{B7D14DC2-4273-4A29-86AD-63BFCA25AECC}"/>
    <dgm:cxn modelId="{1FC63DC3-7BE6-4190-BF2A-9845918350FD}" type="presOf" srcId="{3AE2F4A6-B4AE-4133-885C-75A51649089B}" destId="{99A3CE25-3A55-44A0-BF2C-105E467D33CD}" srcOrd="0" destOrd="0" presId="urn:microsoft.com/office/officeart/2005/8/layout/hierarchy2"/>
    <dgm:cxn modelId="{E739BEC3-E485-47A3-BD2A-692ADBE46A48}" srcId="{923DE269-5AD1-4A1B-9318-09D47E9EB830}" destId="{14ED2B7F-3A05-4D21-80AC-33207C8D0316}" srcOrd="0" destOrd="0" parTransId="{DA55154E-1443-443C-9E0E-1CAFECE4749F}" sibTransId="{9AB4CACC-735A-4F53-BF12-DBEC1B64F71C}"/>
    <dgm:cxn modelId="{FAB44DE9-13E8-4DBA-B735-E19767EED671}" type="presOf" srcId="{15EAE18F-8116-4000-8B2F-F634EC363E99}" destId="{35848290-1963-4846-A7F6-F6C2649D0D26}" srcOrd="0" destOrd="0" presId="urn:microsoft.com/office/officeart/2005/8/layout/hierarchy2"/>
    <dgm:cxn modelId="{41A66C07-E654-4227-9A1B-F4B3A4776F1E}" type="presOf" srcId="{923DE269-5AD1-4A1B-9318-09D47E9EB830}" destId="{387036C8-4FE6-4E4D-94FD-693E2966505A}" srcOrd="0" destOrd="0" presId="urn:microsoft.com/office/officeart/2005/8/layout/hierarchy2"/>
    <dgm:cxn modelId="{244099D0-D3DC-4A93-9ACE-C95B6963A625}" type="presOf" srcId="{DA55154E-1443-443C-9E0E-1CAFECE4749F}" destId="{04E593F7-DD51-4D9D-8AE5-D30B9FC200AE}" srcOrd="1" destOrd="0" presId="urn:microsoft.com/office/officeart/2005/8/layout/hierarchy2"/>
    <dgm:cxn modelId="{46F80EB8-DCB3-4C8D-8A44-BA967E42EE0E}" type="presOf" srcId="{19B9D666-791A-4C86-9FDB-DBB9C9719FFA}" destId="{AC1D65A5-768B-4E2E-8E92-E330A84DB47B}" srcOrd="0" destOrd="0" presId="urn:microsoft.com/office/officeart/2005/8/layout/hierarchy2"/>
    <dgm:cxn modelId="{DF51D8FE-39F6-4EC4-94C2-2BE88ED32AEC}" type="presOf" srcId="{57E4CE66-D2FC-4622-B6B2-522F4EE6B2E4}" destId="{F4CF6E08-4024-4490-94E2-981C01739270}" srcOrd="1" destOrd="0" presId="urn:microsoft.com/office/officeart/2005/8/layout/hierarchy2"/>
    <dgm:cxn modelId="{AFBD2C71-1AE3-431C-A314-0511D42E3226}" type="presOf" srcId="{FEDD3AD6-842B-463C-BF55-B492FE2930A6}" destId="{33AD4ABC-DFE1-4AF6-991F-F7ECBA3ACEAA}" srcOrd="0" destOrd="0" presId="urn:microsoft.com/office/officeart/2005/8/layout/hierarchy2"/>
    <dgm:cxn modelId="{BC1DCDEA-03D2-4CC1-A8FF-E58135E27568}" type="presOf" srcId="{9B2056A8-2C0A-40D6-91D7-FB729E01C6B2}" destId="{F298295D-B5F1-40F4-8188-198915F292B3}" srcOrd="0" destOrd="0" presId="urn:microsoft.com/office/officeart/2005/8/layout/hierarchy2"/>
    <dgm:cxn modelId="{67BE9F87-B5F6-4D8A-B36D-DA6915796FC3}" srcId="{C708D649-E24D-4EDD-B691-AAE46AE15142}" destId="{6B3A1EC7-EC9E-4030-9EF6-D5D971590504}" srcOrd="0" destOrd="0" parTransId="{6D62F4C6-2298-4F17-9A9C-02567C6F40C3}" sibTransId="{6B91392C-F150-4B9F-862A-60F6AE9CE646}"/>
    <dgm:cxn modelId="{B1D8318E-1279-4562-8554-E61C5A30F02C}" srcId="{223574CA-B469-46B6-A308-6B9943987EEA}" destId="{5F23F643-FFB1-4E97-ABD4-6A139D15BFD7}" srcOrd="0" destOrd="0" parTransId="{591F1ADF-B138-40C7-890F-02521C3A5BB9}" sibTransId="{CDEC695A-BDE7-4DA7-B0C4-FFE85CBB7E06}"/>
    <dgm:cxn modelId="{D59C3129-9872-4B33-B3A4-4B8D0DD3D408}" type="presOf" srcId="{784C0B12-906E-4B5F-ADA0-48F8768D063D}" destId="{C7E99121-8A95-4A6C-AF6B-7156325E8455}" srcOrd="0" destOrd="0" presId="urn:microsoft.com/office/officeart/2005/8/layout/hierarchy2"/>
    <dgm:cxn modelId="{B03B71EE-455D-4005-9989-9B8F6DBDA179}" type="presOf" srcId="{1960D1DA-B828-4B8F-BC60-D1464C743012}" destId="{9D81FE90-074E-4DCD-B191-153F618D8AAC}" srcOrd="1" destOrd="0" presId="urn:microsoft.com/office/officeart/2005/8/layout/hierarchy2"/>
    <dgm:cxn modelId="{7111EC84-8590-4F7E-BAE0-3B7278C03501}" type="presOf" srcId="{591F1ADF-B138-40C7-890F-02521C3A5BB9}" destId="{FDAAEDB9-BE21-4BCF-BA47-03558B613FB1}" srcOrd="1" destOrd="0" presId="urn:microsoft.com/office/officeart/2005/8/layout/hierarchy2"/>
    <dgm:cxn modelId="{FC6A72BD-CFE7-4976-A1E1-8487E6ADB4A6}" type="presOf" srcId="{20C63641-C9AC-4510-BB39-9FBDDF724FC5}" destId="{208AE90A-252B-4B0F-A899-F62D87466758}" srcOrd="1" destOrd="0" presId="urn:microsoft.com/office/officeart/2005/8/layout/hierarchy2"/>
    <dgm:cxn modelId="{5479BA7F-3AB7-455F-9AB3-3AB5828123F1}" srcId="{14ED2B7F-3A05-4D21-80AC-33207C8D0316}" destId="{021C5964-898F-4430-BAB9-D02C638C9F3C}" srcOrd="0" destOrd="0" parTransId="{3AE2F4A6-B4AE-4133-885C-75A51649089B}" sibTransId="{1C640B7E-8605-450E-9887-C354E950B2DB}"/>
    <dgm:cxn modelId="{D36850CB-6913-4939-9B57-E99A6E9CB238}" type="presOf" srcId="{5B9213CC-50A0-4424-9AAC-EDB387B4F9F3}" destId="{3B6A86F8-3D3F-48D8-ACE1-62C4FC5F55DA}" srcOrd="0" destOrd="0" presId="urn:microsoft.com/office/officeart/2005/8/layout/hierarchy2"/>
    <dgm:cxn modelId="{7ED06945-DCCE-4500-B80B-766F7BE9CE14}" type="presOf" srcId="{BA59E171-32DF-4DFC-8AA8-4AA76CCAF7DA}" destId="{362C3FB7-744E-4EA3-87F4-B84303901425}" srcOrd="1" destOrd="0" presId="urn:microsoft.com/office/officeart/2005/8/layout/hierarchy2"/>
    <dgm:cxn modelId="{724E5794-6F1D-4C29-8FA6-7AFB760C838D}" srcId="{6B3A1EC7-EC9E-4030-9EF6-D5D971590504}" destId="{FEDD3AD6-842B-463C-BF55-B492FE2930A6}" srcOrd="0" destOrd="0" parTransId="{1960D1DA-B828-4B8F-BC60-D1464C743012}" sibTransId="{AA512B67-241B-44C5-B225-7102F56C5118}"/>
    <dgm:cxn modelId="{7AB3DABA-FE29-4C9A-A948-1B3C72EC357C}" type="presOf" srcId="{A497E396-AC0E-4339-9E05-CA7EAEE01049}" destId="{3EE35210-EFA8-4161-B29C-9DC2C88BF6C9}" srcOrd="0" destOrd="0" presId="urn:microsoft.com/office/officeart/2005/8/layout/hierarchy2"/>
    <dgm:cxn modelId="{87363839-0086-456A-99B2-0376F5BA509E}" type="presOf" srcId="{1FDDF5C1-123D-42D7-B126-3DFD35664F1E}" destId="{DFBD830D-C4CD-4558-80A6-F178C4AAB1D7}" srcOrd="1" destOrd="0" presId="urn:microsoft.com/office/officeart/2005/8/layout/hierarchy2"/>
    <dgm:cxn modelId="{96D7F690-D28E-4C5B-A4EC-745DA117D770}" type="presOf" srcId="{2ADCE89A-9A36-4DE1-A9A8-3A13EEE1A505}" destId="{95ED207B-53ED-4327-8E8D-FF5FF27BEE61}" srcOrd="1" destOrd="0" presId="urn:microsoft.com/office/officeart/2005/8/layout/hierarchy2"/>
    <dgm:cxn modelId="{DE29C213-52FE-4E7A-A768-7ACFF55F7338}" type="presOf" srcId="{979CC5CE-13DD-4D72-948D-A8036E933509}" destId="{9533FB9A-4C7C-402C-93EE-9DEEA41E120B}" srcOrd="0" destOrd="0" presId="urn:microsoft.com/office/officeart/2005/8/layout/hierarchy2"/>
    <dgm:cxn modelId="{D768A3F3-8CF3-40A5-9B8B-7AD434BC324D}" srcId="{19B9D666-791A-4C86-9FDB-DBB9C9719FFA}" destId="{43C8870B-3084-4D6E-802C-E8659C1D2CEA}" srcOrd="0" destOrd="0" parTransId="{57E4CE66-D2FC-4622-B6B2-522F4EE6B2E4}" sibTransId="{9C9EFD60-F685-48C7-9325-D7FF78EDE2D0}"/>
    <dgm:cxn modelId="{38B36459-4E29-4219-9A68-3556D7FC981F}" srcId="{FEB699FC-E5FA-4C6F-89F3-24BED27E2767}" destId="{15EAE18F-8116-4000-8B2F-F634EC363E99}" srcOrd="0" destOrd="0" parTransId="{784C0B12-906E-4B5F-ADA0-48F8768D063D}" sibTransId="{C8AA688E-D1E2-44AA-995B-7EF966A25DF2}"/>
    <dgm:cxn modelId="{2A7E9B32-4D06-4728-8857-7D606206B90E}" type="presOf" srcId="{74019E75-12DF-4C95-9977-2F6EC218FFA9}" destId="{E7B84A15-4EDC-47ED-935A-5A26BE5B9DD9}" srcOrd="0" destOrd="0" presId="urn:microsoft.com/office/officeart/2005/8/layout/hierarchy2"/>
    <dgm:cxn modelId="{67906347-07C8-4A95-8108-571E1575D704}" type="presOf" srcId="{9414715E-EBFE-49BA-BAE1-CA6E6A1341CE}" destId="{A07E0BA9-A85D-4C4A-B933-B2C7348AC368}" srcOrd="0" destOrd="0" presId="urn:microsoft.com/office/officeart/2005/8/layout/hierarchy2"/>
    <dgm:cxn modelId="{1EF8582D-88FA-4790-B443-CF68408D4A1A}" type="presOf" srcId="{14ED2B7F-3A05-4D21-80AC-33207C8D0316}" destId="{BCC9B3DD-F67A-413E-9F40-27BAF0DA5829}" srcOrd="0" destOrd="0" presId="urn:microsoft.com/office/officeart/2005/8/layout/hierarchy2"/>
    <dgm:cxn modelId="{2E3FDAD8-2137-4D04-81E7-A4859EB80E54}" srcId="{43C8870B-3084-4D6E-802C-E8659C1D2CEA}" destId="{9B2056A8-2C0A-40D6-91D7-FB729E01C6B2}" srcOrd="1" destOrd="0" parTransId="{4F92D41F-E332-47B7-AB32-DE5D05BD081C}" sibTransId="{A25FBE58-2B11-4307-8B6B-6FB15718E8AE}"/>
    <dgm:cxn modelId="{4789D815-CDE1-4067-99B1-843C5D9E4BF6}" type="presOf" srcId="{591F1ADF-B138-40C7-890F-02521C3A5BB9}" destId="{2C28A49E-5BAB-4350-999F-AFB6A6E33B6C}" srcOrd="0" destOrd="0" presId="urn:microsoft.com/office/officeart/2005/8/layout/hierarchy2"/>
    <dgm:cxn modelId="{25318625-A4DC-4BDB-B27E-DE86A62CE48E}" type="presOf" srcId="{2FFB0482-4941-4DC6-ABAD-1464A17C2B51}" destId="{E9C4F763-8FC3-45A0-A574-439296161C58}" srcOrd="0" destOrd="0" presId="urn:microsoft.com/office/officeart/2005/8/layout/hierarchy2"/>
    <dgm:cxn modelId="{F5863018-9ED5-4709-A0EA-8F75C043994B}" type="presOf" srcId="{6D62F4C6-2298-4F17-9A9C-02567C6F40C3}" destId="{5586BE20-D037-4BCF-949C-2F45ADB0A3DB}" srcOrd="0" destOrd="0" presId="urn:microsoft.com/office/officeart/2005/8/layout/hierarchy2"/>
    <dgm:cxn modelId="{0AF3F3B0-1CEB-490B-BB05-BB2FFCF2C3F6}" type="presOf" srcId="{4F92D41F-E332-47B7-AB32-DE5D05BD081C}" destId="{B3C018BD-8378-4D50-9DE7-111C0CFCD9E9}" srcOrd="0" destOrd="0" presId="urn:microsoft.com/office/officeart/2005/8/layout/hierarchy2"/>
    <dgm:cxn modelId="{2A4887D8-E4F5-484D-9086-7D820B76623D}" srcId="{9B2056A8-2C0A-40D6-91D7-FB729E01C6B2}" destId="{0F383DA2-7910-4A4D-8D09-8DE6F71B6F1C}" srcOrd="0" destOrd="0" parTransId="{F9C85353-C45A-427C-A4F2-3231F82A97CB}" sibTransId="{D3D9CD61-1884-4605-A562-9D106AA8F9C4}"/>
    <dgm:cxn modelId="{A5A18A21-D6A1-479B-8CD5-F3E33F8EA95A}" type="presOf" srcId="{C708D649-E24D-4EDD-B691-AAE46AE15142}" destId="{E6EDF9BA-0972-4591-A810-A06E051B92E9}" srcOrd="0" destOrd="0" presId="urn:microsoft.com/office/officeart/2005/8/layout/hierarchy2"/>
    <dgm:cxn modelId="{FF103C0F-E383-42F8-BA8D-1553DDFB7459}" type="presOf" srcId="{20C63641-C9AC-4510-BB39-9FBDDF724FC5}" destId="{CCE1F522-EDC0-4BBB-9F23-D7E87C3A26BD}" srcOrd="0" destOrd="0" presId="urn:microsoft.com/office/officeart/2005/8/layout/hierarchy2"/>
    <dgm:cxn modelId="{635E56F9-CD98-40D8-82B6-0A180F06C18C}" type="presOf" srcId="{223574CA-B469-46B6-A308-6B9943987EEA}" destId="{2C4E11B7-7219-40E0-8831-C1D3C6A447B8}" srcOrd="0" destOrd="0" presId="urn:microsoft.com/office/officeart/2005/8/layout/hierarchy2"/>
    <dgm:cxn modelId="{048F4080-B382-4EA8-B13F-7F65BF6E1167}" type="presOf" srcId="{57E4CE66-D2FC-4622-B6B2-522F4EE6B2E4}" destId="{1160787F-8A74-4A6E-936C-73A71478E8B1}" srcOrd="0" destOrd="0" presId="urn:microsoft.com/office/officeart/2005/8/layout/hierarchy2"/>
    <dgm:cxn modelId="{7A0D2560-63C4-4330-9D49-B5E8C9624C7A}" srcId="{5B9213CC-50A0-4424-9AAC-EDB387B4F9F3}" destId="{2FFB0482-4941-4DC6-ABAD-1464A17C2B51}" srcOrd="0" destOrd="0" parTransId="{C3BD3A15-8128-4B82-88F7-E4C4E4D606A0}" sibTransId="{27A555D3-5802-4E6B-AF94-7D71771538CE}"/>
    <dgm:cxn modelId="{F45EA011-376F-4CF9-AEEA-BD5F4C4643F1}" srcId="{3CB4E4D1-485A-4CEA-9315-F09BD2020DD3}" destId="{19B9D666-791A-4C86-9FDB-DBB9C9719FFA}" srcOrd="0" destOrd="0" parTransId="{1FDDF5C1-123D-42D7-B126-3DFD35664F1E}" sibTransId="{819A3D2F-202D-4195-BDDB-B1B661B83954}"/>
    <dgm:cxn modelId="{E1073171-1ACC-4522-A440-AB3B5CD05AD8}" type="presParOf" srcId="{43FA40DE-85DA-44A1-93D4-31542D12A641}" destId="{94C1C3D0-3C9D-439D-8DED-BE04B141F92A}" srcOrd="0" destOrd="0" presId="urn:microsoft.com/office/officeart/2005/8/layout/hierarchy2"/>
    <dgm:cxn modelId="{1FECAB5E-DA9C-44A5-8010-E806DD887191}" type="presParOf" srcId="{94C1C3D0-3C9D-439D-8DED-BE04B141F92A}" destId="{70779920-459F-4C7B-ABB2-7EA5A310E576}" srcOrd="0" destOrd="0" presId="urn:microsoft.com/office/officeart/2005/8/layout/hierarchy2"/>
    <dgm:cxn modelId="{A9D6A5EC-C697-4020-88E8-70FFBD860BBE}" type="presParOf" srcId="{94C1C3D0-3C9D-439D-8DED-BE04B141F92A}" destId="{B4C8A095-93C5-4420-86AC-5057BA0E54F8}" srcOrd="1" destOrd="0" presId="urn:microsoft.com/office/officeart/2005/8/layout/hierarchy2"/>
    <dgm:cxn modelId="{E69CAA4E-CF8F-4902-A43A-88913A9D03EB}" type="presParOf" srcId="{B4C8A095-93C5-4420-86AC-5057BA0E54F8}" destId="{8A39741E-7C08-4901-8265-1CADB3D59101}" srcOrd="0" destOrd="0" presId="urn:microsoft.com/office/officeart/2005/8/layout/hierarchy2"/>
    <dgm:cxn modelId="{DCA9E460-A7A4-4288-BF52-15EBC03BB0D3}" type="presParOf" srcId="{8A39741E-7C08-4901-8265-1CADB3D59101}" destId="{DFBD830D-C4CD-4558-80A6-F178C4AAB1D7}" srcOrd="0" destOrd="0" presId="urn:microsoft.com/office/officeart/2005/8/layout/hierarchy2"/>
    <dgm:cxn modelId="{C9D8CDF3-0692-492B-80F5-6E2143AF3EB7}" type="presParOf" srcId="{B4C8A095-93C5-4420-86AC-5057BA0E54F8}" destId="{A10E9A6E-01D4-4238-A1A8-509E47860998}" srcOrd="1" destOrd="0" presId="urn:microsoft.com/office/officeart/2005/8/layout/hierarchy2"/>
    <dgm:cxn modelId="{D89A2412-61C6-453D-99D5-E2D388C82611}" type="presParOf" srcId="{A10E9A6E-01D4-4238-A1A8-509E47860998}" destId="{AC1D65A5-768B-4E2E-8E92-E330A84DB47B}" srcOrd="0" destOrd="0" presId="urn:microsoft.com/office/officeart/2005/8/layout/hierarchy2"/>
    <dgm:cxn modelId="{78A4AD06-6E06-4CE5-BCA0-5A52296CDBF8}" type="presParOf" srcId="{A10E9A6E-01D4-4238-A1A8-509E47860998}" destId="{6D5FD618-B8FB-4CDD-A9DC-617A17A0B4C3}" srcOrd="1" destOrd="0" presId="urn:microsoft.com/office/officeart/2005/8/layout/hierarchy2"/>
    <dgm:cxn modelId="{F785B5AF-0E99-4A11-9155-D72891587B89}" type="presParOf" srcId="{6D5FD618-B8FB-4CDD-A9DC-617A17A0B4C3}" destId="{1160787F-8A74-4A6E-936C-73A71478E8B1}" srcOrd="0" destOrd="0" presId="urn:microsoft.com/office/officeart/2005/8/layout/hierarchy2"/>
    <dgm:cxn modelId="{B2DF6B98-73C2-4E79-BE55-23E4865B91A9}" type="presParOf" srcId="{1160787F-8A74-4A6E-936C-73A71478E8B1}" destId="{F4CF6E08-4024-4490-94E2-981C01739270}" srcOrd="0" destOrd="0" presId="urn:microsoft.com/office/officeart/2005/8/layout/hierarchy2"/>
    <dgm:cxn modelId="{0F5BDD75-5806-491E-B66F-749DBB7773C1}" type="presParOf" srcId="{6D5FD618-B8FB-4CDD-A9DC-617A17A0B4C3}" destId="{98AA6B80-60C1-40ED-B941-FC5157BD5B21}" srcOrd="1" destOrd="0" presId="urn:microsoft.com/office/officeart/2005/8/layout/hierarchy2"/>
    <dgm:cxn modelId="{58215995-92DF-4FA1-837C-59D893438B89}" type="presParOf" srcId="{98AA6B80-60C1-40ED-B941-FC5157BD5B21}" destId="{B8E5483D-4B2E-40A6-B93C-7E96727B7AF2}" srcOrd="0" destOrd="0" presId="urn:microsoft.com/office/officeart/2005/8/layout/hierarchy2"/>
    <dgm:cxn modelId="{CBAB3579-235A-4B3B-875C-54FE7E4C9406}" type="presParOf" srcId="{98AA6B80-60C1-40ED-B941-FC5157BD5B21}" destId="{C233E242-B27B-4DA8-87C8-233FE464C70C}" srcOrd="1" destOrd="0" presId="urn:microsoft.com/office/officeart/2005/8/layout/hierarchy2"/>
    <dgm:cxn modelId="{8A543B3F-2C27-40C3-B7D3-EB77B1ED852D}" type="presParOf" srcId="{C233E242-B27B-4DA8-87C8-233FE464C70C}" destId="{4FFCD822-998B-4783-8991-D15AC70BA337}" srcOrd="0" destOrd="0" presId="urn:microsoft.com/office/officeart/2005/8/layout/hierarchy2"/>
    <dgm:cxn modelId="{2D60CFF7-31AA-4DAC-B224-64B23DD6EBD9}" type="presParOf" srcId="{4FFCD822-998B-4783-8991-D15AC70BA337}" destId="{95ED207B-53ED-4327-8E8D-FF5FF27BEE61}" srcOrd="0" destOrd="0" presId="urn:microsoft.com/office/officeart/2005/8/layout/hierarchy2"/>
    <dgm:cxn modelId="{66B8E025-AD68-422E-B8EF-D9888FEA1718}" type="presParOf" srcId="{C233E242-B27B-4DA8-87C8-233FE464C70C}" destId="{FA8BBF47-2E49-40FD-AACE-CB6919A73F64}" srcOrd="1" destOrd="0" presId="urn:microsoft.com/office/officeart/2005/8/layout/hierarchy2"/>
    <dgm:cxn modelId="{CF8D1220-CF95-4B19-AC97-965FAFEC6C03}" type="presParOf" srcId="{FA8BBF47-2E49-40FD-AACE-CB6919A73F64}" destId="{E6EDF9BA-0972-4591-A810-A06E051B92E9}" srcOrd="0" destOrd="0" presId="urn:microsoft.com/office/officeart/2005/8/layout/hierarchy2"/>
    <dgm:cxn modelId="{448D69DD-4E80-431D-95E5-ED8A996B2D28}" type="presParOf" srcId="{FA8BBF47-2E49-40FD-AACE-CB6919A73F64}" destId="{940346AC-4903-4BD1-9E85-76A75515EC46}" srcOrd="1" destOrd="0" presId="urn:microsoft.com/office/officeart/2005/8/layout/hierarchy2"/>
    <dgm:cxn modelId="{FD560DE6-DD71-4F24-B8A8-CE9D8FB1379D}" type="presParOf" srcId="{940346AC-4903-4BD1-9E85-76A75515EC46}" destId="{5586BE20-D037-4BCF-949C-2F45ADB0A3DB}" srcOrd="0" destOrd="0" presId="urn:microsoft.com/office/officeart/2005/8/layout/hierarchy2"/>
    <dgm:cxn modelId="{BDF36A5A-6FB9-4A74-A85E-82F181FFBBF0}" type="presParOf" srcId="{5586BE20-D037-4BCF-949C-2F45ADB0A3DB}" destId="{76AD0FFF-97D8-4DAD-8E15-F65143A7D7E2}" srcOrd="0" destOrd="0" presId="urn:microsoft.com/office/officeart/2005/8/layout/hierarchy2"/>
    <dgm:cxn modelId="{E2D63E9E-DEA6-4131-B1E9-95547475A8B0}" type="presParOf" srcId="{940346AC-4903-4BD1-9E85-76A75515EC46}" destId="{3D875189-5F08-44B8-A545-8C482CD57894}" srcOrd="1" destOrd="0" presId="urn:microsoft.com/office/officeart/2005/8/layout/hierarchy2"/>
    <dgm:cxn modelId="{21C0F337-BF2C-4C73-AFAD-F70313D2E5AB}" type="presParOf" srcId="{3D875189-5F08-44B8-A545-8C482CD57894}" destId="{B373D5D3-3897-470E-A191-32D0E5083731}" srcOrd="0" destOrd="0" presId="urn:microsoft.com/office/officeart/2005/8/layout/hierarchy2"/>
    <dgm:cxn modelId="{CC45945D-A8F7-4327-B8E0-4F07F0CE51E9}" type="presParOf" srcId="{3D875189-5F08-44B8-A545-8C482CD57894}" destId="{195F801C-C7A0-40AA-83D3-68E272C381FF}" srcOrd="1" destOrd="0" presId="urn:microsoft.com/office/officeart/2005/8/layout/hierarchy2"/>
    <dgm:cxn modelId="{B5D49621-00A5-42DF-824B-227EE31FD157}" type="presParOf" srcId="{195F801C-C7A0-40AA-83D3-68E272C381FF}" destId="{3628B605-EE70-4903-BE9C-86CB9F41EEE4}" srcOrd="0" destOrd="0" presId="urn:microsoft.com/office/officeart/2005/8/layout/hierarchy2"/>
    <dgm:cxn modelId="{C93DCE1A-0501-4526-BF0B-96DD6C967D71}" type="presParOf" srcId="{3628B605-EE70-4903-BE9C-86CB9F41EEE4}" destId="{9D81FE90-074E-4DCD-B191-153F618D8AAC}" srcOrd="0" destOrd="0" presId="urn:microsoft.com/office/officeart/2005/8/layout/hierarchy2"/>
    <dgm:cxn modelId="{EB01E01A-120C-44EB-BF8D-AF3BA8D1D643}" type="presParOf" srcId="{195F801C-C7A0-40AA-83D3-68E272C381FF}" destId="{445BDAE7-92CE-44A5-A8FA-5A75127C0E9A}" srcOrd="1" destOrd="0" presId="urn:microsoft.com/office/officeart/2005/8/layout/hierarchy2"/>
    <dgm:cxn modelId="{D1CA1D96-5240-4503-B69C-C1CA3EE7C1A5}" type="presParOf" srcId="{445BDAE7-92CE-44A5-A8FA-5A75127C0E9A}" destId="{33AD4ABC-DFE1-4AF6-991F-F7ECBA3ACEAA}" srcOrd="0" destOrd="0" presId="urn:microsoft.com/office/officeart/2005/8/layout/hierarchy2"/>
    <dgm:cxn modelId="{954ADA3B-48DF-4B8C-9EAB-C6E33A1131F5}" type="presParOf" srcId="{445BDAE7-92CE-44A5-A8FA-5A75127C0E9A}" destId="{64A48561-0BD0-4B3E-8C7B-794726A5FC69}" srcOrd="1" destOrd="0" presId="urn:microsoft.com/office/officeart/2005/8/layout/hierarchy2"/>
    <dgm:cxn modelId="{18C0B255-0A46-4388-9595-C07D9A802306}" type="presParOf" srcId="{C233E242-B27B-4DA8-87C8-233FE464C70C}" destId="{B3C018BD-8378-4D50-9DE7-111C0CFCD9E9}" srcOrd="2" destOrd="0" presId="urn:microsoft.com/office/officeart/2005/8/layout/hierarchy2"/>
    <dgm:cxn modelId="{DD00F365-538F-4FCA-B9CD-82AD38CDA4D5}" type="presParOf" srcId="{B3C018BD-8378-4D50-9DE7-111C0CFCD9E9}" destId="{73C0DCC8-6560-4E83-ADA0-68F0C087CB64}" srcOrd="0" destOrd="0" presId="urn:microsoft.com/office/officeart/2005/8/layout/hierarchy2"/>
    <dgm:cxn modelId="{5FBF081D-3FC4-438E-ADCF-ABD22FB4B0D4}" type="presParOf" srcId="{C233E242-B27B-4DA8-87C8-233FE464C70C}" destId="{92249A65-E4BC-45F0-8BEC-E9690542375B}" srcOrd="3" destOrd="0" presId="urn:microsoft.com/office/officeart/2005/8/layout/hierarchy2"/>
    <dgm:cxn modelId="{8DCABEEE-F0D4-44F1-B559-1C738A11DF58}" type="presParOf" srcId="{92249A65-E4BC-45F0-8BEC-E9690542375B}" destId="{F298295D-B5F1-40F4-8188-198915F292B3}" srcOrd="0" destOrd="0" presId="urn:microsoft.com/office/officeart/2005/8/layout/hierarchy2"/>
    <dgm:cxn modelId="{DF0C50E8-A7E7-41F3-890E-561FF3EB377E}" type="presParOf" srcId="{92249A65-E4BC-45F0-8BEC-E9690542375B}" destId="{84F6E371-4CA8-467E-AA3A-88CE98F8E41C}" srcOrd="1" destOrd="0" presId="urn:microsoft.com/office/officeart/2005/8/layout/hierarchy2"/>
    <dgm:cxn modelId="{60A1D538-607A-4917-9B44-29E65C3A6EC2}" type="presParOf" srcId="{84F6E371-4CA8-467E-AA3A-88CE98F8E41C}" destId="{CB6F51A5-ADF5-4E43-90EE-34D6ABAD366B}" srcOrd="0" destOrd="0" presId="urn:microsoft.com/office/officeart/2005/8/layout/hierarchy2"/>
    <dgm:cxn modelId="{96D80B1B-81B8-4370-A56B-B32A4073B179}" type="presParOf" srcId="{CB6F51A5-ADF5-4E43-90EE-34D6ABAD366B}" destId="{DAAA3967-3D4C-4207-A5B6-C10B412D9351}" srcOrd="0" destOrd="0" presId="urn:microsoft.com/office/officeart/2005/8/layout/hierarchy2"/>
    <dgm:cxn modelId="{9F8EFECF-FDC0-46D5-81FD-6B530E3381F4}" type="presParOf" srcId="{84F6E371-4CA8-467E-AA3A-88CE98F8E41C}" destId="{8CD6EF49-F4A3-4DE4-A26E-9C708202CB4C}" srcOrd="1" destOrd="0" presId="urn:microsoft.com/office/officeart/2005/8/layout/hierarchy2"/>
    <dgm:cxn modelId="{9A85DF40-2424-459E-B907-ED711A8DD00A}" type="presParOf" srcId="{8CD6EF49-F4A3-4DE4-A26E-9C708202CB4C}" destId="{574884EC-FE99-4C51-9308-935E8F5C70AF}" srcOrd="0" destOrd="0" presId="urn:microsoft.com/office/officeart/2005/8/layout/hierarchy2"/>
    <dgm:cxn modelId="{533C06E1-0BFB-4AF2-84B3-344350FF5BDB}" type="presParOf" srcId="{8CD6EF49-F4A3-4DE4-A26E-9C708202CB4C}" destId="{A6595B05-7209-4FC1-9021-FDA4EC18B76E}" srcOrd="1" destOrd="0" presId="urn:microsoft.com/office/officeart/2005/8/layout/hierarchy2"/>
    <dgm:cxn modelId="{B95560D8-F80A-41FE-A313-6C4A66939A2F}" type="presParOf" srcId="{A6595B05-7209-4FC1-9021-FDA4EC18B76E}" destId="{CCE1F522-EDC0-4BBB-9F23-D7E87C3A26BD}" srcOrd="0" destOrd="0" presId="urn:microsoft.com/office/officeart/2005/8/layout/hierarchy2"/>
    <dgm:cxn modelId="{7184262E-17E3-4BF8-8D45-38DAED3B6873}" type="presParOf" srcId="{CCE1F522-EDC0-4BBB-9F23-D7E87C3A26BD}" destId="{208AE90A-252B-4B0F-A899-F62D87466758}" srcOrd="0" destOrd="0" presId="urn:microsoft.com/office/officeart/2005/8/layout/hierarchy2"/>
    <dgm:cxn modelId="{84E6E24E-93DD-477F-9185-4A683B6E1AB6}" type="presParOf" srcId="{A6595B05-7209-4FC1-9021-FDA4EC18B76E}" destId="{B1DBED53-4BA2-4EA8-91C9-A7185CC77FBA}" srcOrd="1" destOrd="0" presId="urn:microsoft.com/office/officeart/2005/8/layout/hierarchy2"/>
    <dgm:cxn modelId="{5B1CE509-1DFE-459F-987C-8CA7F7916521}" type="presParOf" srcId="{B1DBED53-4BA2-4EA8-91C9-A7185CC77FBA}" destId="{4300FE2C-FD3F-4707-A548-B9F2B38C7EA9}" srcOrd="0" destOrd="0" presId="urn:microsoft.com/office/officeart/2005/8/layout/hierarchy2"/>
    <dgm:cxn modelId="{A19CEE45-97C2-4897-93E3-34178E7FCC34}" type="presParOf" srcId="{B1DBED53-4BA2-4EA8-91C9-A7185CC77FBA}" destId="{4B4FA40B-547C-4086-AFFC-4F8EEE9D2454}" srcOrd="1" destOrd="0" presId="urn:microsoft.com/office/officeart/2005/8/layout/hierarchy2"/>
    <dgm:cxn modelId="{4EEF18FD-C9FF-4673-8440-B946E089783C}" type="presParOf" srcId="{C233E242-B27B-4DA8-87C8-233FE464C70C}" destId="{47334A7C-D400-4806-8E27-D20D5F35850E}" srcOrd="4" destOrd="0" presId="urn:microsoft.com/office/officeart/2005/8/layout/hierarchy2"/>
    <dgm:cxn modelId="{F752B68F-01E3-4CD0-855E-501B8F5950B3}" type="presParOf" srcId="{47334A7C-D400-4806-8E27-D20D5F35850E}" destId="{362C3FB7-744E-4EA3-87F4-B84303901425}" srcOrd="0" destOrd="0" presId="urn:microsoft.com/office/officeart/2005/8/layout/hierarchy2"/>
    <dgm:cxn modelId="{A1AC02CB-958F-4A0E-826B-CBFD6F72EDB0}" type="presParOf" srcId="{C233E242-B27B-4DA8-87C8-233FE464C70C}" destId="{2E34D342-50A3-4229-A7B1-16D7B2AAD9F4}" srcOrd="5" destOrd="0" presId="urn:microsoft.com/office/officeart/2005/8/layout/hierarchy2"/>
    <dgm:cxn modelId="{C13D20C3-A077-430A-A78B-46293236AB08}" type="presParOf" srcId="{2E34D342-50A3-4229-A7B1-16D7B2AAD9F4}" destId="{3B6A86F8-3D3F-48D8-ACE1-62C4FC5F55DA}" srcOrd="0" destOrd="0" presId="urn:microsoft.com/office/officeart/2005/8/layout/hierarchy2"/>
    <dgm:cxn modelId="{B6A4D00D-5853-427D-83A7-F40521395E70}" type="presParOf" srcId="{2E34D342-50A3-4229-A7B1-16D7B2AAD9F4}" destId="{72FCCCBF-52E2-4811-A5ED-D7D55641C9EE}" srcOrd="1" destOrd="0" presId="urn:microsoft.com/office/officeart/2005/8/layout/hierarchy2"/>
    <dgm:cxn modelId="{7F1F3F18-DFE5-41D4-8503-E6AECCD6D01D}" type="presParOf" srcId="{72FCCCBF-52E2-4811-A5ED-D7D55641C9EE}" destId="{8F9B8AD0-4A36-49B2-B6B3-E2FCE04754F1}" srcOrd="0" destOrd="0" presId="urn:microsoft.com/office/officeart/2005/8/layout/hierarchy2"/>
    <dgm:cxn modelId="{3FFD4D15-5E61-4FB4-84E1-A2625F487545}" type="presParOf" srcId="{8F9B8AD0-4A36-49B2-B6B3-E2FCE04754F1}" destId="{2F59CD9F-81AA-4161-8366-CE4DCFC64EF6}" srcOrd="0" destOrd="0" presId="urn:microsoft.com/office/officeart/2005/8/layout/hierarchy2"/>
    <dgm:cxn modelId="{F8D03472-88DD-4D81-B7B9-F66587D89CA4}" type="presParOf" srcId="{72FCCCBF-52E2-4811-A5ED-D7D55641C9EE}" destId="{341D02AC-EE2F-4697-B620-07ED6683DDE9}" srcOrd="1" destOrd="0" presId="urn:microsoft.com/office/officeart/2005/8/layout/hierarchy2"/>
    <dgm:cxn modelId="{3E6469B5-0721-4835-91F7-911416D0E65E}" type="presParOf" srcId="{341D02AC-EE2F-4697-B620-07ED6683DDE9}" destId="{E9C4F763-8FC3-45A0-A574-439296161C58}" srcOrd="0" destOrd="0" presId="urn:microsoft.com/office/officeart/2005/8/layout/hierarchy2"/>
    <dgm:cxn modelId="{F23E0BE9-C2F5-44B2-97EB-1B0F8A1097C1}" type="presParOf" srcId="{341D02AC-EE2F-4697-B620-07ED6683DDE9}" destId="{437C2ACC-AA67-4FBF-9600-15FAA6CE13EF}" srcOrd="1" destOrd="0" presId="urn:microsoft.com/office/officeart/2005/8/layout/hierarchy2"/>
    <dgm:cxn modelId="{39585265-3ADC-437B-9256-21BD9212DDAB}" type="presParOf" srcId="{437C2ACC-AA67-4FBF-9600-15FAA6CE13EF}" destId="{E7B84A15-4EDC-47ED-935A-5A26BE5B9DD9}" srcOrd="0" destOrd="0" presId="urn:microsoft.com/office/officeart/2005/8/layout/hierarchy2"/>
    <dgm:cxn modelId="{32452B47-C893-4CB1-9BFD-783F2161B6E5}" type="presParOf" srcId="{E7B84A15-4EDC-47ED-935A-5A26BE5B9DD9}" destId="{57709A1F-18FA-4DD6-99B7-DB35DE9AAA98}" srcOrd="0" destOrd="0" presId="urn:microsoft.com/office/officeart/2005/8/layout/hierarchy2"/>
    <dgm:cxn modelId="{2601F08A-F681-493B-8A08-3960A653C957}" type="presParOf" srcId="{437C2ACC-AA67-4FBF-9600-15FAA6CE13EF}" destId="{43224558-CFB6-4F57-989F-71443FE0555B}" srcOrd="1" destOrd="0" presId="urn:microsoft.com/office/officeart/2005/8/layout/hierarchy2"/>
    <dgm:cxn modelId="{45E0BFCA-A33E-4C08-94FC-174DF0E8F385}" type="presParOf" srcId="{43224558-CFB6-4F57-989F-71443FE0555B}" destId="{9533FB9A-4C7C-402C-93EE-9DEEA41E120B}" srcOrd="0" destOrd="0" presId="urn:microsoft.com/office/officeart/2005/8/layout/hierarchy2"/>
    <dgm:cxn modelId="{22B49120-51D9-4318-AE30-BEADCD457329}" type="presParOf" srcId="{43224558-CFB6-4F57-989F-71443FE0555B}" destId="{427DABDC-37A9-49EA-A308-AEF70C4771D6}" srcOrd="1" destOrd="0" presId="urn:microsoft.com/office/officeart/2005/8/layout/hierarchy2"/>
    <dgm:cxn modelId="{4838F4C7-F6C8-4640-B251-30B5EEB08166}" type="presParOf" srcId="{B4C8A095-93C5-4420-86AC-5057BA0E54F8}" destId="{3EE35210-EFA8-4161-B29C-9DC2C88BF6C9}" srcOrd="2" destOrd="0" presId="urn:microsoft.com/office/officeart/2005/8/layout/hierarchy2"/>
    <dgm:cxn modelId="{4831052B-D123-4858-816E-C55C7E56B34F}" type="presParOf" srcId="{3EE35210-EFA8-4161-B29C-9DC2C88BF6C9}" destId="{F77B7AA9-DADE-4F35-85FC-AE79125228EB}" srcOrd="0" destOrd="0" presId="urn:microsoft.com/office/officeart/2005/8/layout/hierarchy2"/>
    <dgm:cxn modelId="{8D553B8B-F058-4205-8D60-186394F98C22}" type="presParOf" srcId="{B4C8A095-93C5-4420-86AC-5057BA0E54F8}" destId="{23BE52A4-D010-4164-B519-30333013E427}" srcOrd="3" destOrd="0" presId="urn:microsoft.com/office/officeart/2005/8/layout/hierarchy2"/>
    <dgm:cxn modelId="{327AEB7B-BB36-49A3-A232-B1EC4A49BDE4}" type="presParOf" srcId="{23BE52A4-D010-4164-B519-30333013E427}" destId="{2C4E11B7-7219-40E0-8831-C1D3C6A447B8}" srcOrd="0" destOrd="0" presId="urn:microsoft.com/office/officeart/2005/8/layout/hierarchy2"/>
    <dgm:cxn modelId="{E2E61C27-679C-4448-9C19-6D00A7717340}" type="presParOf" srcId="{23BE52A4-D010-4164-B519-30333013E427}" destId="{43BAD6F1-21F0-4C83-84EE-2E394973EC1B}" srcOrd="1" destOrd="0" presId="urn:microsoft.com/office/officeart/2005/8/layout/hierarchy2"/>
    <dgm:cxn modelId="{71E66365-A567-417F-A7B8-9114FBD10DEA}" type="presParOf" srcId="{43BAD6F1-21F0-4C83-84EE-2E394973EC1B}" destId="{2C28A49E-5BAB-4350-999F-AFB6A6E33B6C}" srcOrd="0" destOrd="0" presId="urn:microsoft.com/office/officeart/2005/8/layout/hierarchy2"/>
    <dgm:cxn modelId="{52DD39C5-60E6-48BA-AC37-3B0630A66C63}" type="presParOf" srcId="{2C28A49E-5BAB-4350-999F-AFB6A6E33B6C}" destId="{FDAAEDB9-BE21-4BCF-BA47-03558B613FB1}" srcOrd="0" destOrd="0" presId="urn:microsoft.com/office/officeart/2005/8/layout/hierarchy2"/>
    <dgm:cxn modelId="{4E8D046D-8858-4276-A3E0-8747A867FF6A}" type="presParOf" srcId="{43BAD6F1-21F0-4C83-84EE-2E394973EC1B}" destId="{9BEB2696-14C5-4EBD-95B3-BAB4D6C37900}" srcOrd="1" destOrd="0" presId="urn:microsoft.com/office/officeart/2005/8/layout/hierarchy2"/>
    <dgm:cxn modelId="{8001340E-05CD-4399-899D-3E02F15A1BDF}" type="presParOf" srcId="{9BEB2696-14C5-4EBD-95B3-BAB4D6C37900}" destId="{BED0DA98-6F09-4C27-8D40-1F6F82042840}" srcOrd="0" destOrd="0" presId="urn:microsoft.com/office/officeart/2005/8/layout/hierarchy2"/>
    <dgm:cxn modelId="{1A666AB3-E895-4463-8043-F54A2F1085C2}" type="presParOf" srcId="{9BEB2696-14C5-4EBD-95B3-BAB4D6C37900}" destId="{D7A0295A-3687-4E29-9E4C-DB6D688801BE}" srcOrd="1" destOrd="0" presId="urn:microsoft.com/office/officeart/2005/8/layout/hierarchy2"/>
    <dgm:cxn modelId="{F13F6F9C-C5EA-47B8-81E4-A9973D5C1741}" type="presParOf" srcId="{B4C8A095-93C5-4420-86AC-5057BA0E54F8}" destId="{A07E0BA9-A85D-4C4A-B933-B2C7348AC368}" srcOrd="4" destOrd="0" presId="urn:microsoft.com/office/officeart/2005/8/layout/hierarchy2"/>
    <dgm:cxn modelId="{97C5BAF5-9B90-4D8E-995F-907B9C03D3B2}" type="presParOf" srcId="{A07E0BA9-A85D-4C4A-B933-B2C7348AC368}" destId="{FBB07691-33E4-4D7C-A937-A22D60C12031}" srcOrd="0" destOrd="0" presId="urn:microsoft.com/office/officeart/2005/8/layout/hierarchy2"/>
    <dgm:cxn modelId="{D582493F-0A5D-485C-8679-1508A059E43F}" type="presParOf" srcId="{B4C8A095-93C5-4420-86AC-5057BA0E54F8}" destId="{7D6AA80E-7CBF-4EE6-AA17-C07CBD41C6AA}" srcOrd="5" destOrd="0" presId="urn:microsoft.com/office/officeart/2005/8/layout/hierarchy2"/>
    <dgm:cxn modelId="{7B38ADB1-E98F-43CD-81A1-24DBBE08D449}" type="presParOf" srcId="{7D6AA80E-7CBF-4EE6-AA17-C07CBD41C6AA}" destId="{7248CDB8-8D27-4305-AC3F-77E9C7B4455F}" srcOrd="0" destOrd="0" presId="urn:microsoft.com/office/officeart/2005/8/layout/hierarchy2"/>
    <dgm:cxn modelId="{072D32B9-06FD-4275-A927-7DA72B1EA6E9}" type="presParOf" srcId="{7D6AA80E-7CBF-4EE6-AA17-C07CBD41C6AA}" destId="{2E3D9068-A25E-4022-A6EF-71D6CC4E1F4A}" srcOrd="1" destOrd="0" presId="urn:microsoft.com/office/officeart/2005/8/layout/hierarchy2"/>
    <dgm:cxn modelId="{CF19C560-13E9-443D-A81E-82352557BE4F}" type="presParOf" srcId="{2E3D9068-A25E-4022-A6EF-71D6CC4E1F4A}" destId="{C7E99121-8A95-4A6C-AF6B-7156325E8455}" srcOrd="0" destOrd="0" presId="urn:microsoft.com/office/officeart/2005/8/layout/hierarchy2"/>
    <dgm:cxn modelId="{3CB93DCE-3460-44E9-997C-CEB0947CC47B}" type="presParOf" srcId="{C7E99121-8A95-4A6C-AF6B-7156325E8455}" destId="{5670425B-B0D3-4968-9D88-03F241833784}" srcOrd="0" destOrd="0" presId="urn:microsoft.com/office/officeart/2005/8/layout/hierarchy2"/>
    <dgm:cxn modelId="{5BD3301B-63E9-46E9-9051-364C754AF1E7}" type="presParOf" srcId="{2E3D9068-A25E-4022-A6EF-71D6CC4E1F4A}" destId="{946A65F2-047F-454B-9C09-884EF1424A35}" srcOrd="1" destOrd="0" presId="urn:microsoft.com/office/officeart/2005/8/layout/hierarchy2"/>
    <dgm:cxn modelId="{C5039CAE-18F7-448E-8C7D-B6F46E9DDD27}" type="presParOf" srcId="{946A65F2-047F-454B-9C09-884EF1424A35}" destId="{35848290-1963-4846-A7F6-F6C2649D0D26}" srcOrd="0" destOrd="0" presId="urn:microsoft.com/office/officeart/2005/8/layout/hierarchy2"/>
    <dgm:cxn modelId="{2A681AB8-AE42-4740-88FA-FC85D880F5F2}" type="presParOf" srcId="{946A65F2-047F-454B-9C09-884EF1424A35}" destId="{A16646E3-EF7D-4DD9-8273-59F708942BBE}" srcOrd="1" destOrd="0" presId="urn:microsoft.com/office/officeart/2005/8/layout/hierarchy2"/>
    <dgm:cxn modelId="{4A08C474-8BC3-420B-BED6-10E685EB898C}" type="presParOf" srcId="{B4C8A095-93C5-4420-86AC-5057BA0E54F8}" destId="{F54A8CC8-9933-4DA2-A0E8-20CBBF6B27C9}" srcOrd="6" destOrd="0" presId="urn:microsoft.com/office/officeart/2005/8/layout/hierarchy2"/>
    <dgm:cxn modelId="{C1302770-E8AE-4B59-848E-0F626BB7FAEF}" type="presParOf" srcId="{F54A8CC8-9933-4DA2-A0E8-20CBBF6B27C9}" destId="{6BE9BA4D-946C-4F0D-857A-CB4B6DC1BEBE}" srcOrd="0" destOrd="0" presId="urn:microsoft.com/office/officeart/2005/8/layout/hierarchy2"/>
    <dgm:cxn modelId="{C50FB67F-38E4-4E78-9297-822206FEEDF5}" type="presParOf" srcId="{B4C8A095-93C5-4420-86AC-5057BA0E54F8}" destId="{4F301CAF-6277-4A9A-A9B0-021B7FBE65F7}" srcOrd="7" destOrd="0" presId="urn:microsoft.com/office/officeart/2005/8/layout/hierarchy2"/>
    <dgm:cxn modelId="{63E1AAF0-271B-465E-B5E3-DF1D483ABC45}" type="presParOf" srcId="{4F301CAF-6277-4A9A-A9B0-021B7FBE65F7}" destId="{387036C8-4FE6-4E4D-94FD-693E2966505A}" srcOrd="0" destOrd="0" presId="urn:microsoft.com/office/officeart/2005/8/layout/hierarchy2"/>
    <dgm:cxn modelId="{0997526C-14CB-4743-8D34-637DB49819F5}" type="presParOf" srcId="{4F301CAF-6277-4A9A-A9B0-021B7FBE65F7}" destId="{92EA81CF-8825-4875-9138-4BB8BFADCC84}" srcOrd="1" destOrd="0" presId="urn:microsoft.com/office/officeart/2005/8/layout/hierarchy2"/>
    <dgm:cxn modelId="{D96A5C69-0045-45EB-8516-016D28F3DF01}" type="presParOf" srcId="{92EA81CF-8825-4875-9138-4BB8BFADCC84}" destId="{2551E84C-BB4B-422C-99FF-67B4B8B1DE6B}" srcOrd="0" destOrd="0" presId="urn:microsoft.com/office/officeart/2005/8/layout/hierarchy2"/>
    <dgm:cxn modelId="{64EE46B8-862E-47EB-892B-9A4A4C325FF0}" type="presParOf" srcId="{2551E84C-BB4B-422C-99FF-67B4B8B1DE6B}" destId="{04E593F7-DD51-4D9D-8AE5-D30B9FC200AE}" srcOrd="0" destOrd="0" presId="urn:microsoft.com/office/officeart/2005/8/layout/hierarchy2"/>
    <dgm:cxn modelId="{13C827C7-D836-4FCD-B07B-16C2FFF5BB00}" type="presParOf" srcId="{92EA81CF-8825-4875-9138-4BB8BFADCC84}" destId="{C7668596-80AF-4FE2-89AE-4FFED33728DD}" srcOrd="1" destOrd="0" presId="urn:microsoft.com/office/officeart/2005/8/layout/hierarchy2"/>
    <dgm:cxn modelId="{3647D3A8-98BE-46CD-BCC9-45BCC468201A}" type="presParOf" srcId="{C7668596-80AF-4FE2-89AE-4FFED33728DD}" destId="{BCC9B3DD-F67A-413E-9F40-27BAF0DA5829}" srcOrd="0" destOrd="0" presId="urn:microsoft.com/office/officeart/2005/8/layout/hierarchy2"/>
    <dgm:cxn modelId="{7E301E8C-4EE6-494B-BF70-9DAA15761C55}" type="presParOf" srcId="{C7668596-80AF-4FE2-89AE-4FFED33728DD}" destId="{F78580DF-6C0A-43FA-AD9E-9BBAB347A9CD}" srcOrd="1" destOrd="0" presId="urn:microsoft.com/office/officeart/2005/8/layout/hierarchy2"/>
    <dgm:cxn modelId="{3BDF10F2-43F1-4E9D-9208-31091EAD275B}" type="presParOf" srcId="{F78580DF-6C0A-43FA-AD9E-9BBAB347A9CD}" destId="{99A3CE25-3A55-44A0-BF2C-105E467D33CD}" srcOrd="0" destOrd="0" presId="urn:microsoft.com/office/officeart/2005/8/layout/hierarchy2"/>
    <dgm:cxn modelId="{9F3B4690-EF72-4351-8A90-DDE8A592620A}" type="presParOf" srcId="{99A3CE25-3A55-44A0-BF2C-105E467D33CD}" destId="{1EB13F99-889C-4967-BE3F-61E2D9763736}" srcOrd="0" destOrd="0" presId="urn:microsoft.com/office/officeart/2005/8/layout/hierarchy2"/>
    <dgm:cxn modelId="{0E194B4F-D273-4973-BC74-3205E817BEA2}" type="presParOf" srcId="{F78580DF-6C0A-43FA-AD9E-9BBAB347A9CD}" destId="{D9543555-D6B1-4BC0-B524-E945FF3AB0C3}" srcOrd="1" destOrd="0" presId="urn:microsoft.com/office/officeart/2005/8/layout/hierarchy2"/>
    <dgm:cxn modelId="{0CA353C5-4A0D-48A7-96BB-FD7ED6B1F93A}" type="presParOf" srcId="{D9543555-D6B1-4BC0-B524-E945FF3AB0C3}" destId="{FF7D7F05-02BB-485A-BBB6-D17B48DE4C1C}" srcOrd="0" destOrd="0" presId="urn:microsoft.com/office/officeart/2005/8/layout/hierarchy2"/>
    <dgm:cxn modelId="{BF9B4813-BE56-4EE6-8036-B20BAFA1B2A0}" type="presParOf" srcId="{D9543555-D6B1-4BC0-B524-E945FF3AB0C3}" destId="{4010C470-8AFA-4CF6-A078-1664EE479155}" srcOrd="1" destOrd="0" presId="urn:microsoft.com/office/officeart/2005/8/layout/hierarchy2"/>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2.xml><?xml version="1.0" encoding="utf-8"?>
<dgm:dataModel xmlns:dgm="http://schemas.openxmlformats.org/drawingml/2006/diagram" xmlns:a="http://schemas.openxmlformats.org/drawingml/2006/main">
  <dgm:ptLst>
    <dgm:pt modelId="{10675915-6EC4-4F63-BB72-A25330338731}" type="doc">
      <dgm:prSet loTypeId="urn:microsoft.com/office/officeart/2005/8/layout/hierarchy2" loCatId="hierarchy" qsTypeId="urn:microsoft.com/office/officeart/2005/8/quickstyle/simple5" qsCatId="simple" csTypeId="urn:microsoft.com/office/officeart/2005/8/colors/accent1_2" csCatId="accent1" phldr="1"/>
      <dgm:spPr/>
      <dgm:t>
        <a:bodyPr/>
        <a:lstStyle/>
        <a:p>
          <a:endParaRPr lang="nl-NL"/>
        </a:p>
      </dgm:t>
    </dgm:pt>
    <dgm:pt modelId="{3CB4E4D1-485A-4CEA-9315-F09BD2020DD3}">
      <dgm:prSet phldrT="[Tekst]" custT="1">
        <dgm:style>
          <a:lnRef idx="2">
            <a:schemeClr val="accent1">
              <a:shade val="50000"/>
            </a:schemeClr>
          </a:lnRef>
          <a:fillRef idx="1">
            <a:schemeClr val="accent1"/>
          </a:fillRef>
          <a:effectRef idx="0">
            <a:schemeClr val="accent1"/>
          </a:effectRef>
          <a:fontRef idx="minor">
            <a:schemeClr val="lt1"/>
          </a:fontRef>
        </dgm:style>
      </dgm:prSet>
      <dgm:spPr>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dgm:spPr>
      <dgm:t>
        <a:bodyPr rtlCol="0" anchor="ctr"/>
        <a:lstStyle/>
        <a:p>
          <a:pPr marL="0" algn="ctr" defTabSz="914400" rtl="0" eaLnBrk="1" latinLnBrk="0" hangingPunct="1"/>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a:t>
          </a:r>
        </a:p>
        <a:p>
          <a:pPr marL="0" algn="ctr" defTabSz="914400" rtl="0" eaLnBrk="1" latinLnBrk="0" hangingPunct="1"/>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fonds</a:t>
          </a:r>
          <a:endParaRPr lang="nl-NL"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gm:t>
    </dgm:pt>
    <dgm:pt modelId="{346C58AC-14AA-4E8E-9BF9-4E3C9BDE5E7C}" type="parTrans" cxnId="{56810D53-A82B-4FB0-BB0E-9F2A49529094}">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30236DF7-2BBE-4230-AF4B-C3FAFDD70A98}" type="sibTrans" cxnId="{56810D53-A82B-4FB0-BB0E-9F2A49529094}">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223574CA-B469-46B6-A308-6B9943987EEA}">
      <dgm:prSet phldrT="[Tekst]" custT="1"/>
      <dgm:spPr>
        <a:solidFill>
          <a:srgbClr val="B2E2A7"/>
        </a:solidFill>
      </dgm:spPr>
      <dgm:t>
        <a:bodyPr/>
        <a:lstStyle/>
        <a:p>
          <a:r>
            <a:rPr lang="da-DK"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Naar een APF</a:t>
          </a:r>
        </a:p>
      </dgm:t>
    </dgm:pt>
    <dgm:pt modelId="{A497E396-AC0E-4339-9E05-CA7EAEE01049}" type="parTrans" cxnId="{E00C6079-ED21-4A26-8A21-948AAE13B191}">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B7D14DC2-4273-4A29-86AD-63BFCA25AECC}" type="sibTrans" cxnId="{E00C6079-ED21-4A26-8A21-948AAE13B191}">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5F23F643-FFB1-4E97-ABD4-6A139D15BFD7}">
      <dgm:prSet phldrT="[Tekst]" custT="1"/>
      <dgm:spPr>
        <a:solidFill>
          <a:srgbClr val="B2E2A7"/>
        </a:solidFill>
        <a:ln>
          <a:solidFill>
            <a:srgbClr val="4BA485"/>
          </a:solidFill>
        </a:ln>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via verzekering van deel van de kring</a:t>
          </a:r>
        </a:p>
      </dgm:t>
    </dgm:pt>
    <dgm:pt modelId="{591F1ADF-B138-40C7-890F-02521C3A5BB9}" type="parTrans" cxnId="{B1D8318E-1279-4562-8554-E61C5A30F02C}">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CDEC695A-BDE7-4DA7-B0C4-FFE85CBB7E06}" type="sibTrans" cxnId="{B1D8318E-1279-4562-8554-E61C5A30F02C}">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FEB699FC-E5FA-4C6F-89F3-24BED27E2767}">
      <dgm:prSet custT="1"/>
      <dgm:spPr>
        <a:solidFill>
          <a:srgbClr val="4BA485"/>
        </a:solidFill>
      </dgm:spPr>
      <dgm:t>
        <a:bodyPr/>
        <a:lstStyle/>
        <a:p>
          <a:r>
            <a:rPr lang="da-DK" sz="1200" dirty="0">
              <a:latin typeface="Open Sans" panose="020B0606030504020204" pitchFamily="34" charset="0"/>
              <a:ea typeface="Open Sans" panose="020B0606030504020204" pitchFamily="34" charset="0"/>
              <a:cs typeface="Open Sans" panose="020B0606030504020204" pitchFamily="34" charset="0"/>
            </a:rPr>
            <a:t>Naar een BPF</a:t>
          </a:r>
          <a:endParaRPr lang="nl-NL" sz="1200" dirty="0">
            <a:latin typeface="Open Sans" panose="020B0606030504020204" pitchFamily="34" charset="0"/>
            <a:ea typeface="Open Sans" panose="020B0606030504020204" pitchFamily="34" charset="0"/>
            <a:cs typeface="Open Sans" panose="020B0606030504020204" pitchFamily="34" charset="0"/>
          </a:endParaRPr>
        </a:p>
      </dgm:t>
    </dgm:pt>
    <dgm:pt modelId="{9414715E-EBFE-49BA-BAE1-CA6E6A1341CE}" type="parTrans" cxnId="{C5B68F24-0CB1-4648-A83C-84A54422C78C}">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0043ECA1-01FF-4566-8E69-2FF51B09A6D2}" type="sibTrans" cxnId="{C5B68F24-0CB1-4648-A83C-84A54422C78C}">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15EAE18F-8116-4000-8B2F-F634EC363E99}">
      <dgm:prSet custT="1"/>
      <dgm:spPr>
        <a:solidFill>
          <a:srgbClr val="4BA485"/>
        </a:solidFill>
        <a:ln>
          <a:solidFill>
            <a:srgbClr val="4BA485"/>
          </a:solidFill>
        </a:ln>
      </dgm:spPr>
      <dgm:t>
        <a:bodyPr/>
        <a:lstStyle/>
        <a:p>
          <a:r>
            <a:rPr lang="nl-NL" sz="1200" dirty="0">
              <a:latin typeface="Open Sans" panose="020B0606030504020204" pitchFamily="34" charset="0"/>
              <a:ea typeface="Open Sans" panose="020B0606030504020204" pitchFamily="34" charset="0"/>
              <a:cs typeface="Open Sans" panose="020B0606030504020204" pitchFamily="34" charset="0"/>
            </a:rPr>
            <a:t>Keuze </a:t>
          </a:r>
          <a:r>
            <a:rPr lang="nl-NL" sz="1200" dirty="0" err="1">
              <a:latin typeface="Open Sans" panose="020B0606030504020204" pitchFamily="34" charset="0"/>
              <a:ea typeface="Open Sans" panose="020B0606030504020204" pitchFamily="34" charset="0"/>
              <a:cs typeface="Open Sans" panose="020B0606030504020204" pitchFamily="34" charset="0"/>
            </a:rPr>
            <a:t>Opt</a:t>
          </a:r>
          <a:r>
            <a:rPr lang="nl-NL" sz="1200" dirty="0">
              <a:latin typeface="Open Sans" panose="020B0606030504020204" pitchFamily="34" charset="0"/>
              <a:ea typeface="Open Sans" panose="020B0606030504020204" pitchFamily="34" charset="0"/>
              <a:cs typeface="Open Sans" panose="020B0606030504020204" pitchFamily="34" charset="0"/>
            </a:rPr>
            <a:t>-out voor gepensioneerden naar verzekeraar</a:t>
          </a:r>
        </a:p>
      </dgm:t>
    </dgm:pt>
    <dgm:pt modelId="{784C0B12-906E-4B5F-ADA0-48F8768D063D}" type="parTrans" cxnId="{38B36459-4E29-4219-9A68-3556D7FC981F}">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C8AA688E-D1E2-44AA-995B-7EF966A25DF2}" type="sibTrans" cxnId="{38B36459-4E29-4219-9A68-3556D7FC981F}">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43C8870B-3084-4D6E-802C-E8659C1D2CEA}">
      <dgm:prSet custT="1"/>
      <dgm:spPr>
        <a:solidFill>
          <a:srgbClr val="4BA485"/>
        </a:solidFill>
        <a:ln>
          <a:solidFill>
            <a:srgbClr val="4BA485"/>
          </a:solidFill>
        </a:ln>
        <a:effectLst>
          <a:outerShdw blurRad="57150" dist="19050" dir="5400000" algn="ctr" rotWithShape="0">
            <a:srgbClr val="000000">
              <a:alpha val="63000"/>
            </a:srgbClr>
          </a:outerShdw>
        </a:effectLst>
      </dgm:spPr>
      <dgm:t>
        <a:bodyPr spcFirstLastPara="0" vert="horz" wrap="square" lIns="7620" tIns="7620" rIns="7620" bIns="7620" numCol="1" spcCol="1270" anchor="ctr" anchorCtr="0"/>
        <a:lstStyle/>
        <a:p>
          <a:pPr marL="0" lvl="0" indent="0" algn="ctr" defTabSz="533400">
            <a:lnSpc>
              <a:spcPct val="90000"/>
            </a:lnSpc>
            <a:spcBef>
              <a:spcPct val="0"/>
            </a:spcBef>
            <a:spcAft>
              <a:spcPct val="35000"/>
            </a:spcAft>
            <a:buNone/>
          </a:pPr>
          <a:r>
            <a:rPr lang="nl-NL"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Verzekering van groepen deelnemers</a:t>
          </a:r>
          <a:endParaRPr lang="da-DK"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dgm:t>
    </dgm:pt>
    <dgm:pt modelId="{57E4CE66-D2FC-4622-B6B2-522F4EE6B2E4}" type="parTrans" cxnId="{D768A3F3-8CF3-40A5-9B8B-7AD434BC324D}">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9C9EFD60-F685-48C7-9325-D7FF78EDE2D0}" type="sibTrans" cxnId="{D768A3F3-8CF3-40A5-9B8B-7AD434BC324D}">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923DE269-5AD1-4A1B-9318-09D47E9EB830}">
      <dgm:prSet custT="1"/>
      <dgm:spPr>
        <a:solidFill>
          <a:srgbClr val="4BA485"/>
        </a:solidFill>
      </dgm:spPr>
      <dgm:t>
        <a:bodyPr/>
        <a:lstStyle/>
        <a:p>
          <a:r>
            <a:rPr lang="da-DK" sz="1200" dirty="0">
              <a:latin typeface="Open Sans" panose="020B0606030504020204" pitchFamily="34" charset="0"/>
              <a:ea typeface="Open Sans" panose="020B0606030504020204" pitchFamily="34" charset="0"/>
              <a:cs typeface="Open Sans" panose="020B0606030504020204" pitchFamily="34" charset="0"/>
            </a:rPr>
            <a:t>Naar een verzekeraar</a:t>
          </a:r>
        </a:p>
      </dgm:t>
    </dgm:pt>
    <dgm:pt modelId="{38465062-F7CC-4FC6-A0E1-CE4FE21C6FEA}" type="parTrans" cxnId="{BB7C572C-0A26-44A4-983F-340A85DD60EA}">
      <dgm:prSet custT="1"/>
      <dgm:spPr>
        <a:ln w="28575">
          <a:solidFill>
            <a:srgbClr val="4BA485"/>
          </a:solidFill>
        </a:ln>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CAF79FA3-6B9C-4484-B53A-E9717E798800}" type="sibTrans" cxnId="{BB7C572C-0A26-44A4-983F-340A85DD60EA}">
      <dgm:prSet/>
      <dgm:spPr/>
      <dgm:t>
        <a:bodyPr/>
        <a:lstStyle/>
        <a:p>
          <a:endParaRPr lang="nl-NL" sz="1100">
            <a:latin typeface="Open Sans" panose="020B0606030504020204" pitchFamily="34" charset="0"/>
            <a:ea typeface="Open Sans" panose="020B0606030504020204" pitchFamily="34" charset="0"/>
            <a:cs typeface="Open Sans" panose="020B0606030504020204" pitchFamily="34" charset="0"/>
          </a:endParaRPr>
        </a:p>
      </dgm:t>
    </dgm:pt>
    <dgm:pt modelId="{14ED2B7F-3A05-4D21-80AC-33207C8D0316}">
      <dgm:prSet custT="1"/>
      <dgm:spPr>
        <a:solidFill>
          <a:srgbClr val="4BA485"/>
        </a:solidFill>
        <a:ln>
          <a:solidFill>
            <a:srgbClr val="4BA485"/>
          </a:solidFill>
        </a:ln>
      </dgm:spPr>
      <dgm:t>
        <a:bodyPr/>
        <a:lstStyle/>
        <a:p>
          <a:r>
            <a:rPr lang="nl-NL" sz="1200" dirty="0">
              <a:latin typeface="Open Sans" panose="020B0606030504020204" pitchFamily="34" charset="0"/>
              <a:ea typeface="Open Sans" panose="020B0606030504020204" pitchFamily="34" charset="0"/>
              <a:cs typeface="Open Sans" panose="020B0606030504020204" pitchFamily="34" charset="0"/>
            </a:rPr>
            <a:t> (Waarde)vast pensioen</a:t>
          </a:r>
          <a:endParaRPr lang="nl-NL" sz="1200" dirty="0"/>
        </a:p>
      </dgm:t>
    </dgm:pt>
    <dgm:pt modelId="{DA55154E-1443-443C-9E0E-1CAFECE4749F}" type="parTrans" cxnId="{E739BEC3-E485-47A3-BD2A-692ADBE46A48}">
      <dgm:prSet custT="1"/>
      <dgm:spPr>
        <a:ln w="28575">
          <a:solidFill>
            <a:srgbClr val="4BA485"/>
          </a:solidFill>
        </a:ln>
      </dgm:spPr>
      <dgm:t>
        <a:bodyPr/>
        <a:lstStyle/>
        <a:p>
          <a:endParaRPr lang="nl-NL" sz="1100"/>
        </a:p>
      </dgm:t>
    </dgm:pt>
    <dgm:pt modelId="{9AB4CACC-735A-4F53-BF12-DBEC1B64F71C}" type="sibTrans" cxnId="{E739BEC3-E485-47A3-BD2A-692ADBE46A48}">
      <dgm:prSet/>
      <dgm:spPr/>
      <dgm:t>
        <a:bodyPr/>
        <a:lstStyle/>
        <a:p>
          <a:endParaRPr lang="nl-NL" sz="1100"/>
        </a:p>
      </dgm:t>
    </dgm:pt>
    <dgm:pt modelId="{19B9D666-791A-4C86-9FDB-DBB9C9719FFA}">
      <dgm:prSet custT="1"/>
      <dgm:spPr>
        <a:solidFill>
          <a:srgbClr val="4BA485"/>
        </a:solidFill>
      </dgm:spPr>
      <dgm:t>
        <a:bodyPr/>
        <a:lstStyle/>
        <a:p>
          <a:r>
            <a:rPr lang="da-DK"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br>
            <a:rPr lang="da-DK"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da-DK"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at door</a:t>
          </a:r>
          <a:endParaRPr lang="nl-NL" sz="1200" dirty="0">
            <a:solidFill>
              <a:schemeClr val="bg1"/>
            </a:solidFill>
          </a:endParaRPr>
        </a:p>
      </dgm:t>
    </dgm:pt>
    <dgm:pt modelId="{1FDDF5C1-123D-42D7-B126-3DFD35664F1E}" type="parTrans" cxnId="{F45EA011-376F-4CF9-AEEA-BD5F4C4643F1}">
      <dgm:prSet custT="1"/>
      <dgm:spPr>
        <a:ln w="28575">
          <a:solidFill>
            <a:srgbClr val="4BA485"/>
          </a:solidFill>
        </a:ln>
      </dgm:spPr>
      <dgm:t>
        <a:bodyPr/>
        <a:lstStyle/>
        <a:p>
          <a:endParaRPr lang="nl-NL" sz="1100"/>
        </a:p>
      </dgm:t>
    </dgm:pt>
    <dgm:pt modelId="{819A3D2F-202D-4195-BDDB-B1B661B83954}" type="sibTrans" cxnId="{F45EA011-376F-4CF9-AEEA-BD5F4C4643F1}">
      <dgm:prSet/>
      <dgm:spPr/>
      <dgm:t>
        <a:bodyPr/>
        <a:lstStyle/>
        <a:p>
          <a:endParaRPr lang="nl-NL" sz="1100"/>
        </a:p>
      </dgm:t>
    </dgm:pt>
    <dgm:pt modelId="{021C5964-898F-4430-BAB9-D02C638C9F3C}">
      <dgm:prSet custT="1"/>
      <dgm:spPr>
        <a:solidFill>
          <a:srgbClr val="4BA485"/>
        </a:solidFill>
      </dgm:spPr>
      <dgm:t>
        <a:bodyPr/>
        <a:lstStyle/>
        <a:p>
          <a:r>
            <a:rPr lang="nl-NL"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Eventuele </a:t>
          </a:r>
          <a:r>
            <a:rPr lang="nl-NL"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pt</a:t>
          </a:r>
          <a:r>
            <a:rPr lang="nl-NL"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out voor actieve deelnemers naar nieuwe uitvoerder</a:t>
          </a:r>
          <a:endParaRPr lang="nl-NL" sz="1200" dirty="0">
            <a:solidFill>
              <a:schemeClr val="bg1"/>
            </a:solidFill>
          </a:endParaRPr>
        </a:p>
      </dgm:t>
    </dgm:pt>
    <dgm:pt modelId="{3AE2F4A6-B4AE-4133-885C-75A51649089B}" type="parTrans" cxnId="{5479BA7F-3AB7-455F-9AB3-3AB5828123F1}">
      <dgm:prSet custT="1"/>
      <dgm:spPr/>
      <dgm:t>
        <a:bodyPr/>
        <a:lstStyle/>
        <a:p>
          <a:endParaRPr lang="nl-NL" sz="1100"/>
        </a:p>
      </dgm:t>
    </dgm:pt>
    <dgm:pt modelId="{1C640B7E-8605-450E-9887-C354E950B2DB}" type="sibTrans" cxnId="{5479BA7F-3AB7-455F-9AB3-3AB5828123F1}">
      <dgm:prSet/>
      <dgm:spPr/>
      <dgm:t>
        <a:bodyPr/>
        <a:lstStyle/>
        <a:p>
          <a:endParaRPr lang="nl-NL" sz="1100"/>
        </a:p>
      </dgm:t>
    </dgm:pt>
    <dgm:pt modelId="{43FA40DE-85DA-44A1-93D4-31542D12A641}" type="pres">
      <dgm:prSet presAssocID="{10675915-6EC4-4F63-BB72-A25330338731}" presName="diagram" presStyleCnt="0">
        <dgm:presLayoutVars>
          <dgm:chPref val="1"/>
          <dgm:dir/>
          <dgm:animOne val="branch"/>
          <dgm:animLvl val="lvl"/>
          <dgm:resizeHandles val="exact"/>
        </dgm:presLayoutVars>
      </dgm:prSet>
      <dgm:spPr/>
      <dgm:t>
        <a:bodyPr/>
        <a:lstStyle/>
        <a:p>
          <a:endParaRPr lang="nl-NL"/>
        </a:p>
      </dgm:t>
    </dgm:pt>
    <dgm:pt modelId="{94C1C3D0-3C9D-439D-8DED-BE04B141F92A}" type="pres">
      <dgm:prSet presAssocID="{3CB4E4D1-485A-4CEA-9315-F09BD2020DD3}" presName="root1" presStyleCnt="0"/>
      <dgm:spPr/>
    </dgm:pt>
    <dgm:pt modelId="{70779920-459F-4C7B-ABB2-7EA5A310E576}" type="pres">
      <dgm:prSet presAssocID="{3CB4E4D1-485A-4CEA-9315-F09BD2020DD3}" presName="LevelOneTextNode" presStyleLbl="node0" presStyleIdx="0" presStyleCnt="1" custScaleX="131627" custScaleY="198058">
        <dgm:presLayoutVars>
          <dgm:chPref val="3"/>
        </dgm:presLayoutVars>
      </dgm:prSet>
      <dgm:spPr>
        <a:xfrm>
          <a:off x="251201" y="2511402"/>
          <a:ext cx="1220274" cy="918068"/>
        </a:xfrm>
        <a:prstGeom prst="roundRect">
          <a:avLst>
            <a:gd name="adj" fmla="val 10000"/>
          </a:avLst>
        </a:prstGeom>
      </dgm:spPr>
      <dgm:t>
        <a:bodyPr/>
        <a:lstStyle/>
        <a:p>
          <a:endParaRPr lang="nl-NL"/>
        </a:p>
      </dgm:t>
    </dgm:pt>
    <dgm:pt modelId="{B4C8A095-93C5-4420-86AC-5057BA0E54F8}" type="pres">
      <dgm:prSet presAssocID="{3CB4E4D1-485A-4CEA-9315-F09BD2020DD3}" presName="level2hierChild" presStyleCnt="0"/>
      <dgm:spPr/>
    </dgm:pt>
    <dgm:pt modelId="{8A39741E-7C08-4901-8265-1CADB3D59101}" type="pres">
      <dgm:prSet presAssocID="{1FDDF5C1-123D-42D7-B126-3DFD35664F1E}" presName="conn2-1" presStyleLbl="parChTrans1D2" presStyleIdx="0" presStyleCnt="4"/>
      <dgm:spPr/>
      <dgm:t>
        <a:bodyPr/>
        <a:lstStyle/>
        <a:p>
          <a:endParaRPr lang="nl-NL"/>
        </a:p>
      </dgm:t>
    </dgm:pt>
    <dgm:pt modelId="{DFBD830D-C4CD-4558-80A6-F178C4AAB1D7}" type="pres">
      <dgm:prSet presAssocID="{1FDDF5C1-123D-42D7-B126-3DFD35664F1E}" presName="connTx" presStyleLbl="parChTrans1D2" presStyleIdx="0" presStyleCnt="4"/>
      <dgm:spPr/>
      <dgm:t>
        <a:bodyPr/>
        <a:lstStyle/>
        <a:p>
          <a:endParaRPr lang="nl-NL"/>
        </a:p>
      </dgm:t>
    </dgm:pt>
    <dgm:pt modelId="{A10E9A6E-01D4-4238-A1A8-509E47860998}" type="pres">
      <dgm:prSet presAssocID="{19B9D666-791A-4C86-9FDB-DBB9C9719FFA}" presName="root2" presStyleCnt="0"/>
      <dgm:spPr/>
    </dgm:pt>
    <dgm:pt modelId="{AC1D65A5-768B-4E2E-8E92-E330A84DB47B}" type="pres">
      <dgm:prSet presAssocID="{19B9D666-791A-4C86-9FDB-DBB9C9719FFA}" presName="LevelTwoTextNode" presStyleLbl="node2" presStyleIdx="0" presStyleCnt="4" custScaleX="174744" custScaleY="201664" custLinFactNeighborX="3853" custLinFactNeighborY="-2549">
        <dgm:presLayoutVars>
          <dgm:chPref val="3"/>
        </dgm:presLayoutVars>
      </dgm:prSet>
      <dgm:spPr/>
      <dgm:t>
        <a:bodyPr/>
        <a:lstStyle/>
        <a:p>
          <a:endParaRPr lang="nl-NL"/>
        </a:p>
      </dgm:t>
    </dgm:pt>
    <dgm:pt modelId="{6D5FD618-B8FB-4CDD-A9DC-617A17A0B4C3}" type="pres">
      <dgm:prSet presAssocID="{19B9D666-791A-4C86-9FDB-DBB9C9719FFA}" presName="level3hierChild" presStyleCnt="0"/>
      <dgm:spPr/>
    </dgm:pt>
    <dgm:pt modelId="{1160787F-8A74-4A6E-936C-73A71478E8B1}" type="pres">
      <dgm:prSet presAssocID="{57E4CE66-D2FC-4622-B6B2-522F4EE6B2E4}" presName="conn2-1" presStyleLbl="parChTrans1D3" presStyleIdx="0" presStyleCnt="4"/>
      <dgm:spPr/>
      <dgm:t>
        <a:bodyPr/>
        <a:lstStyle/>
        <a:p>
          <a:endParaRPr lang="nl-NL"/>
        </a:p>
      </dgm:t>
    </dgm:pt>
    <dgm:pt modelId="{F4CF6E08-4024-4490-94E2-981C01739270}" type="pres">
      <dgm:prSet presAssocID="{57E4CE66-D2FC-4622-B6B2-522F4EE6B2E4}" presName="connTx" presStyleLbl="parChTrans1D3" presStyleIdx="0" presStyleCnt="4"/>
      <dgm:spPr/>
      <dgm:t>
        <a:bodyPr/>
        <a:lstStyle/>
        <a:p>
          <a:endParaRPr lang="nl-NL"/>
        </a:p>
      </dgm:t>
    </dgm:pt>
    <dgm:pt modelId="{98AA6B80-60C1-40ED-B941-FC5157BD5B21}" type="pres">
      <dgm:prSet presAssocID="{43C8870B-3084-4D6E-802C-E8659C1D2CEA}" presName="root2" presStyleCnt="0"/>
      <dgm:spPr/>
    </dgm:pt>
    <dgm:pt modelId="{B8E5483D-4B2E-40A6-B93C-7E96727B7AF2}" type="pres">
      <dgm:prSet presAssocID="{43C8870B-3084-4D6E-802C-E8659C1D2CEA}" presName="LevelTwoTextNode" presStyleLbl="node3" presStyleIdx="0" presStyleCnt="4" custScaleX="174744" custScaleY="189956" custLinFactNeighborX="3853" custLinFactNeighborY="-2549">
        <dgm:presLayoutVars>
          <dgm:chPref val="3"/>
        </dgm:presLayoutVars>
      </dgm:prSet>
      <dgm:spPr>
        <a:xfrm>
          <a:off x="3868851" y="1011894"/>
          <a:ext cx="1619999" cy="880512"/>
        </a:xfrm>
        <a:prstGeom prst="roundRect">
          <a:avLst>
            <a:gd name="adj" fmla="val 10000"/>
          </a:avLst>
        </a:prstGeom>
      </dgm:spPr>
      <dgm:t>
        <a:bodyPr/>
        <a:lstStyle/>
        <a:p>
          <a:endParaRPr lang="nl-NL"/>
        </a:p>
      </dgm:t>
    </dgm:pt>
    <dgm:pt modelId="{C233E242-B27B-4DA8-87C8-233FE464C70C}" type="pres">
      <dgm:prSet presAssocID="{43C8870B-3084-4D6E-802C-E8659C1D2CEA}" presName="level3hierChild" presStyleCnt="0"/>
      <dgm:spPr/>
    </dgm:pt>
    <dgm:pt modelId="{3EE35210-EFA8-4161-B29C-9DC2C88BF6C9}" type="pres">
      <dgm:prSet presAssocID="{A497E396-AC0E-4339-9E05-CA7EAEE01049}" presName="conn2-1" presStyleLbl="parChTrans1D2" presStyleIdx="1" presStyleCnt="4"/>
      <dgm:spPr/>
      <dgm:t>
        <a:bodyPr/>
        <a:lstStyle/>
        <a:p>
          <a:endParaRPr lang="nl-NL"/>
        </a:p>
      </dgm:t>
    </dgm:pt>
    <dgm:pt modelId="{F77B7AA9-DADE-4F35-85FC-AE79125228EB}" type="pres">
      <dgm:prSet presAssocID="{A497E396-AC0E-4339-9E05-CA7EAEE01049}" presName="connTx" presStyleLbl="parChTrans1D2" presStyleIdx="1" presStyleCnt="4"/>
      <dgm:spPr/>
      <dgm:t>
        <a:bodyPr/>
        <a:lstStyle/>
        <a:p>
          <a:endParaRPr lang="nl-NL"/>
        </a:p>
      </dgm:t>
    </dgm:pt>
    <dgm:pt modelId="{23BE52A4-D010-4164-B519-30333013E427}" type="pres">
      <dgm:prSet presAssocID="{223574CA-B469-46B6-A308-6B9943987EEA}" presName="root2" presStyleCnt="0"/>
      <dgm:spPr/>
    </dgm:pt>
    <dgm:pt modelId="{2C4E11B7-7219-40E0-8831-C1D3C6A447B8}" type="pres">
      <dgm:prSet presAssocID="{223574CA-B469-46B6-A308-6B9943987EEA}" presName="LevelTwoTextNode" presStyleLbl="node2" presStyleIdx="1" presStyleCnt="4" custScaleX="174744" custScaleY="201664" custLinFactNeighborX="3853" custLinFactNeighborY="-2959">
        <dgm:presLayoutVars>
          <dgm:chPref val="3"/>
        </dgm:presLayoutVars>
      </dgm:prSet>
      <dgm:spPr/>
      <dgm:t>
        <a:bodyPr/>
        <a:lstStyle/>
        <a:p>
          <a:endParaRPr lang="nl-NL"/>
        </a:p>
      </dgm:t>
    </dgm:pt>
    <dgm:pt modelId="{43BAD6F1-21F0-4C83-84EE-2E394973EC1B}" type="pres">
      <dgm:prSet presAssocID="{223574CA-B469-46B6-A308-6B9943987EEA}" presName="level3hierChild" presStyleCnt="0"/>
      <dgm:spPr/>
    </dgm:pt>
    <dgm:pt modelId="{2C28A49E-5BAB-4350-999F-AFB6A6E33B6C}" type="pres">
      <dgm:prSet presAssocID="{591F1ADF-B138-40C7-890F-02521C3A5BB9}" presName="conn2-1" presStyleLbl="parChTrans1D3" presStyleIdx="1" presStyleCnt="4"/>
      <dgm:spPr/>
      <dgm:t>
        <a:bodyPr/>
        <a:lstStyle/>
        <a:p>
          <a:endParaRPr lang="nl-NL"/>
        </a:p>
      </dgm:t>
    </dgm:pt>
    <dgm:pt modelId="{FDAAEDB9-BE21-4BCF-BA47-03558B613FB1}" type="pres">
      <dgm:prSet presAssocID="{591F1ADF-B138-40C7-890F-02521C3A5BB9}" presName="connTx" presStyleLbl="parChTrans1D3" presStyleIdx="1" presStyleCnt="4"/>
      <dgm:spPr/>
      <dgm:t>
        <a:bodyPr/>
        <a:lstStyle/>
        <a:p>
          <a:endParaRPr lang="nl-NL"/>
        </a:p>
      </dgm:t>
    </dgm:pt>
    <dgm:pt modelId="{9BEB2696-14C5-4EBD-95B3-BAB4D6C37900}" type="pres">
      <dgm:prSet presAssocID="{5F23F643-FFB1-4E97-ABD4-6A139D15BFD7}" presName="root2" presStyleCnt="0"/>
      <dgm:spPr/>
    </dgm:pt>
    <dgm:pt modelId="{BED0DA98-6F09-4C27-8D40-1F6F82042840}" type="pres">
      <dgm:prSet presAssocID="{5F23F643-FFB1-4E97-ABD4-6A139D15BFD7}" presName="LevelTwoTextNode" presStyleLbl="node3" presStyleIdx="1" presStyleCnt="4" custScaleX="174744" custScaleY="201664" custLinFactNeighborX="3853" custLinFactNeighborY="-2959">
        <dgm:presLayoutVars>
          <dgm:chPref val="3"/>
        </dgm:presLayoutVars>
      </dgm:prSet>
      <dgm:spPr/>
      <dgm:t>
        <a:bodyPr/>
        <a:lstStyle/>
        <a:p>
          <a:endParaRPr lang="nl-NL"/>
        </a:p>
      </dgm:t>
    </dgm:pt>
    <dgm:pt modelId="{D7A0295A-3687-4E29-9E4C-DB6D688801BE}" type="pres">
      <dgm:prSet presAssocID="{5F23F643-FFB1-4E97-ABD4-6A139D15BFD7}" presName="level3hierChild" presStyleCnt="0"/>
      <dgm:spPr/>
    </dgm:pt>
    <dgm:pt modelId="{A07E0BA9-A85D-4C4A-B933-B2C7348AC368}" type="pres">
      <dgm:prSet presAssocID="{9414715E-EBFE-49BA-BAE1-CA6E6A1341CE}" presName="conn2-1" presStyleLbl="parChTrans1D2" presStyleIdx="2" presStyleCnt="4"/>
      <dgm:spPr/>
      <dgm:t>
        <a:bodyPr/>
        <a:lstStyle/>
        <a:p>
          <a:endParaRPr lang="nl-NL"/>
        </a:p>
      </dgm:t>
    </dgm:pt>
    <dgm:pt modelId="{FBB07691-33E4-4D7C-A937-A22D60C12031}" type="pres">
      <dgm:prSet presAssocID="{9414715E-EBFE-49BA-BAE1-CA6E6A1341CE}" presName="connTx" presStyleLbl="parChTrans1D2" presStyleIdx="2" presStyleCnt="4"/>
      <dgm:spPr/>
      <dgm:t>
        <a:bodyPr/>
        <a:lstStyle/>
        <a:p>
          <a:endParaRPr lang="nl-NL"/>
        </a:p>
      </dgm:t>
    </dgm:pt>
    <dgm:pt modelId="{7D6AA80E-7CBF-4EE6-AA17-C07CBD41C6AA}" type="pres">
      <dgm:prSet presAssocID="{FEB699FC-E5FA-4C6F-89F3-24BED27E2767}" presName="root2" presStyleCnt="0"/>
      <dgm:spPr/>
    </dgm:pt>
    <dgm:pt modelId="{7248CDB8-8D27-4305-AC3F-77E9C7B4455F}" type="pres">
      <dgm:prSet presAssocID="{FEB699FC-E5FA-4C6F-89F3-24BED27E2767}" presName="LevelTwoTextNode" presStyleLbl="node2" presStyleIdx="2" presStyleCnt="4" custScaleX="174744" custScaleY="201664" custLinFactNeighborX="3853" custLinFactNeighborY="-2959">
        <dgm:presLayoutVars>
          <dgm:chPref val="3"/>
        </dgm:presLayoutVars>
      </dgm:prSet>
      <dgm:spPr/>
      <dgm:t>
        <a:bodyPr/>
        <a:lstStyle/>
        <a:p>
          <a:endParaRPr lang="nl-NL"/>
        </a:p>
      </dgm:t>
    </dgm:pt>
    <dgm:pt modelId="{2E3D9068-A25E-4022-A6EF-71D6CC4E1F4A}" type="pres">
      <dgm:prSet presAssocID="{FEB699FC-E5FA-4C6F-89F3-24BED27E2767}" presName="level3hierChild" presStyleCnt="0"/>
      <dgm:spPr/>
    </dgm:pt>
    <dgm:pt modelId="{C7E99121-8A95-4A6C-AF6B-7156325E8455}" type="pres">
      <dgm:prSet presAssocID="{784C0B12-906E-4B5F-ADA0-48F8768D063D}" presName="conn2-1" presStyleLbl="parChTrans1D3" presStyleIdx="2" presStyleCnt="4"/>
      <dgm:spPr/>
      <dgm:t>
        <a:bodyPr/>
        <a:lstStyle/>
        <a:p>
          <a:endParaRPr lang="nl-NL"/>
        </a:p>
      </dgm:t>
    </dgm:pt>
    <dgm:pt modelId="{5670425B-B0D3-4968-9D88-03F241833784}" type="pres">
      <dgm:prSet presAssocID="{784C0B12-906E-4B5F-ADA0-48F8768D063D}" presName="connTx" presStyleLbl="parChTrans1D3" presStyleIdx="2" presStyleCnt="4"/>
      <dgm:spPr/>
      <dgm:t>
        <a:bodyPr/>
        <a:lstStyle/>
        <a:p>
          <a:endParaRPr lang="nl-NL"/>
        </a:p>
      </dgm:t>
    </dgm:pt>
    <dgm:pt modelId="{946A65F2-047F-454B-9C09-884EF1424A35}" type="pres">
      <dgm:prSet presAssocID="{15EAE18F-8116-4000-8B2F-F634EC363E99}" presName="root2" presStyleCnt="0"/>
      <dgm:spPr/>
    </dgm:pt>
    <dgm:pt modelId="{35848290-1963-4846-A7F6-F6C2649D0D26}" type="pres">
      <dgm:prSet presAssocID="{15EAE18F-8116-4000-8B2F-F634EC363E99}" presName="LevelTwoTextNode" presStyleLbl="node3" presStyleIdx="2" presStyleCnt="4" custScaleX="174744" custScaleY="201664" custLinFactNeighborX="3853" custLinFactNeighborY="-2959">
        <dgm:presLayoutVars>
          <dgm:chPref val="3"/>
        </dgm:presLayoutVars>
      </dgm:prSet>
      <dgm:spPr/>
      <dgm:t>
        <a:bodyPr/>
        <a:lstStyle/>
        <a:p>
          <a:endParaRPr lang="nl-NL"/>
        </a:p>
      </dgm:t>
    </dgm:pt>
    <dgm:pt modelId="{A16646E3-EF7D-4DD9-8273-59F708942BBE}" type="pres">
      <dgm:prSet presAssocID="{15EAE18F-8116-4000-8B2F-F634EC363E99}" presName="level3hierChild" presStyleCnt="0"/>
      <dgm:spPr/>
    </dgm:pt>
    <dgm:pt modelId="{F54A8CC8-9933-4DA2-A0E8-20CBBF6B27C9}" type="pres">
      <dgm:prSet presAssocID="{38465062-F7CC-4FC6-A0E1-CE4FE21C6FEA}" presName="conn2-1" presStyleLbl="parChTrans1D2" presStyleIdx="3" presStyleCnt="4"/>
      <dgm:spPr/>
      <dgm:t>
        <a:bodyPr/>
        <a:lstStyle/>
        <a:p>
          <a:endParaRPr lang="nl-NL"/>
        </a:p>
      </dgm:t>
    </dgm:pt>
    <dgm:pt modelId="{6BE9BA4D-946C-4F0D-857A-CB4B6DC1BEBE}" type="pres">
      <dgm:prSet presAssocID="{38465062-F7CC-4FC6-A0E1-CE4FE21C6FEA}" presName="connTx" presStyleLbl="parChTrans1D2" presStyleIdx="3" presStyleCnt="4"/>
      <dgm:spPr/>
      <dgm:t>
        <a:bodyPr/>
        <a:lstStyle/>
        <a:p>
          <a:endParaRPr lang="nl-NL"/>
        </a:p>
      </dgm:t>
    </dgm:pt>
    <dgm:pt modelId="{4F301CAF-6277-4A9A-A9B0-021B7FBE65F7}" type="pres">
      <dgm:prSet presAssocID="{923DE269-5AD1-4A1B-9318-09D47E9EB830}" presName="root2" presStyleCnt="0"/>
      <dgm:spPr/>
    </dgm:pt>
    <dgm:pt modelId="{387036C8-4FE6-4E4D-94FD-693E2966505A}" type="pres">
      <dgm:prSet presAssocID="{923DE269-5AD1-4A1B-9318-09D47E9EB830}" presName="LevelTwoTextNode" presStyleLbl="node2" presStyleIdx="3" presStyleCnt="4" custScaleX="174744" custScaleY="201664" custLinFactNeighborX="3853">
        <dgm:presLayoutVars>
          <dgm:chPref val="3"/>
        </dgm:presLayoutVars>
      </dgm:prSet>
      <dgm:spPr/>
      <dgm:t>
        <a:bodyPr/>
        <a:lstStyle/>
        <a:p>
          <a:endParaRPr lang="nl-NL"/>
        </a:p>
      </dgm:t>
    </dgm:pt>
    <dgm:pt modelId="{92EA81CF-8825-4875-9138-4BB8BFADCC84}" type="pres">
      <dgm:prSet presAssocID="{923DE269-5AD1-4A1B-9318-09D47E9EB830}" presName="level3hierChild" presStyleCnt="0"/>
      <dgm:spPr/>
    </dgm:pt>
    <dgm:pt modelId="{2551E84C-BB4B-422C-99FF-67B4B8B1DE6B}" type="pres">
      <dgm:prSet presAssocID="{DA55154E-1443-443C-9E0E-1CAFECE4749F}" presName="conn2-1" presStyleLbl="parChTrans1D3" presStyleIdx="3" presStyleCnt="4"/>
      <dgm:spPr/>
      <dgm:t>
        <a:bodyPr/>
        <a:lstStyle/>
        <a:p>
          <a:endParaRPr lang="nl-NL"/>
        </a:p>
      </dgm:t>
    </dgm:pt>
    <dgm:pt modelId="{04E593F7-DD51-4D9D-8AE5-D30B9FC200AE}" type="pres">
      <dgm:prSet presAssocID="{DA55154E-1443-443C-9E0E-1CAFECE4749F}" presName="connTx" presStyleLbl="parChTrans1D3" presStyleIdx="3" presStyleCnt="4"/>
      <dgm:spPr/>
      <dgm:t>
        <a:bodyPr/>
        <a:lstStyle/>
        <a:p>
          <a:endParaRPr lang="nl-NL"/>
        </a:p>
      </dgm:t>
    </dgm:pt>
    <dgm:pt modelId="{C7668596-80AF-4FE2-89AE-4FFED33728DD}" type="pres">
      <dgm:prSet presAssocID="{14ED2B7F-3A05-4D21-80AC-33207C8D0316}" presName="root2" presStyleCnt="0"/>
      <dgm:spPr/>
    </dgm:pt>
    <dgm:pt modelId="{BCC9B3DD-F67A-413E-9F40-27BAF0DA5829}" type="pres">
      <dgm:prSet presAssocID="{14ED2B7F-3A05-4D21-80AC-33207C8D0316}" presName="LevelTwoTextNode" presStyleLbl="node3" presStyleIdx="3" presStyleCnt="4" custScaleX="180918" custScaleY="201664">
        <dgm:presLayoutVars>
          <dgm:chPref val="3"/>
        </dgm:presLayoutVars>
      </dgm:prSet>
      <dgm:spPr/>
      <dgm:t>
        <a:bodyPr/>
        <a:lstStyle/>
        <a:p>
          <a:endParaRPr lang="nl-NL"/>
        </a:p>
      </dgm:t>
    </dgm:pt>
    <dgm:pt modelId="{F78580DF-6C0A-43FA-AD9E-9BBAB347A9CD}" type="pres">
      <dgm:prSet presAssocID="{14ED2B7F-3A05-4D21-80AC-33207C8D0316}" presName="level3hierChild" presStyleCnt="0"/>
      <dgm:spPr/>
    </dgm:pt>
    <dgm:pt modelId="{99A3CE25-3A55-44A0-BF2C-105E467D33CD}" type="pres">
      <dgm:prSet presAssocID="{3AE2F4A6-B4AE-4133-885C-75A51649089B}" presName="conn2-1" presStyleLbl="parChTrans1D4" presStyleIdx="0" presStyleCnt="1"/>
      <dgm:spPr/>
      <dgm:t>
        <a:bodyPr/>
        <a:lstStyle/>
        <a:p>
          <a:endParaRPr lang="nl-NL"/>
        </a:p>
      </dgm:t>
    </dgm:pt>
    <dgm:pt modelId="{1EB13F99-889C-4967-BE3F-61E2D9763736}" type="pres">
      <dgm:prSet presAssocID="{3AE2F4A6-B4AE-4133-885C-75A51649089B}" presName="connTx" presStyleLbl="parChTrans1D4" presStyleIdx="0" presStyleCnt="1"/>
      <dgm:spPr/>
      <dgm:t>
        <a:bodyPr/>
        <a:lstStyle/>
        <a:p>
          <a:endParaRPr lang="nl-NL"/>
        </a:p>
      </dgm:t>
    </dgm:pt>
    <dgm:pt modelId="{D9543555-D6B1-4BC0-B524-E945FF3AB0C3}" type="pres">
      <dgm:prSet presAssocID="{021C5964-898F-4430-BAB9-D02C638C9F3C}" presName="root2" presStyleCnt="0"/>
      <dgm:spPr/>
    </dgm:pt>
    <dgm:pt modelId="{FF7D7F05-02BB-485A-BBB6-D17B48DE4C1C}" type="pres">
      <dgm:prSet presAssocID="{021C5964-898F-4430-BAB9-D02C638C9F3C}" presName="LevelTwoTextNode" presStyleLbl="node4" presStyleIdx="0" presStyleCnt="1" custScaleX="174744" custScaleY="201664">
        <dgm:presLayoutVars>
          <dgm:chPref val="3"/>
        </dgm:presLayoutVars>
      </dgm:prSet>
      <dgm:spPr/>
      <dgm:t>
        <a:bodyPr/>
        <a:lstStyle/>
        <a:p>
          <a:endParaRPr lang="nl-NL"/>
        </a:p>
      </dgm:t>
    </dgm:pt>
    <dgm:pt modelId="{4010C470-8AFA-4CF6-A078-1664EE479155}" type="pres">
      <dgm:prSet presAssocID="{021C5964-898F-4430-BAB9-D02C638C9F3C}" presName="level3hierChild" presStyleCnt="0"/>
      <dgm:spPr/>
    </dgm:pt>
  </dgm:ptLst>
  <dgm:cxnLst>
    <dgm:cxn modelId="{4E233F15-1D26-46C4-98C1-375B9B9E06E0}" type="presOf" srcId="{1FDDF5C1-123D-42D7-B126-3DFD35664F1E}" destId="{8A39741E-7C08-4901-8265-1CADB3D59101}" srcOrd="0" destOrd="0" presId="urn:microsoft.com/office/officeart/2005/8/layout/hierarchy2"/>
    <dgm:cxn modelId="{D59C3129-9872-4B33-B3A4-4B8D0DD3D408}" type="presOf" srcId="{784C0B12-906E-4B5F-ADA0-48F8768D063D}" destId="{C7E99121-8A95-4A6C-AF6B-7156325E8455}" srcOrd="0" destOrd="0" presId="urn:microsoft.com/office/officeart/2005/8/layout/hierarchy2"/>
    <dgm:cxn modelId="{B18FF5A9-DBB8-4F91-AEA1-68FAF46FF236}" type="presOf" srcId="{DA55154E-1443-443C-9E0E-1CAFECE4749F}" destId="{2551E84C-BB4B-422C-99FF-67B4B8B1DE6B}" srcOrd="0" destOrd="0" presId="urn:microsoft.com/office/officeart/2005/8/layout/hierarchy2"/>
    <dgm:cxn modelId="{E739BEC3-E485-47A3-BD2A-692ADBE46A48}" srcId="{923DE269-5AD1-4A1B-9318-09D47E9EB830}" destId="{14ED2B7F-3A05-4D21-80AC-33207C8D0316}" srcOrd="0" destOrd="0" parTransId="{DA55154E-1443-443C-9E0E-1CAFECE4749F}" sibTransId="{9AB4CACC-735A-4F53-BF12-DBEC1B64F71C}"/>
    <dgm:cxn modelId="{38B36459-4E29-4219-9A68-3556D7FC981F}" srcId="{FEB699FC-E5FA-4C6F-89F3-24BED27E2767}" destId="{15EAE18F-8116-4000-8B2F-F634EC363E99}" srcOrd="0" destOrd="0" parTransId="{784C0B12-906E-4B5F-ADA0-48F8768D063D}" sibTransId="{C8AA688E-D1E2-44AA-995B-7EF966A25DF2}"/>
    <dgm:cxn modelId="{CF301100-6C56-45BD-A6A6-CBD8F55F87E0}" type="presOf" srcId="{38465062-F7CC-4FC6-A0E1-CE4FE21C6FEA}" destId="{6BE9BA4D-946C-4F0D-857A-CB4B6DC1BEBE}" srcOrd="1" destOrd="0" presId="urn:microsoft.com/office/officeart/2005/8/layout/hierarchy2"/>
    <dgm:cxn modelId="{68E52753-E389-48C0-8102-D2F702112C27}" type="presOf" srcId="{FEB699FC-E5FA-4C6F-89F3-24BED27E2767}" destId="{7248CDB8-8D27-4305-AC3F-77E9C7B4455F}" srcOrd="0" destOrd="0" presId="urn:microsoft.com/office/officeart/2005/8/layout/hierarchy2"/>
    <dgm:cxn modelId="{D768A3F3-8CF3-40A5-9B8B-7AD434BC324D}" srcId="{19B9D666-791A-4C86-9FDB-DBB9C9719FFA}" destId="{43C8870B-3084-4D6E-802C-E8659C1D2CEA}" srcOrd="0" destOrd="0" parTransId="{57E4CE66-D2FC-4622-B6B2-522F4EE6B2E4}" sibTransId="{9C9EFD60-F685-48C7-9325-D7FF78EDE2D0}"/>
    <dgm:cxn modelId="{535D9454-841C-4EA6-8464-FF7A7180AD97}" type="presOf" srcId="{3CB4E4D1-485A-4CEA-9315-F09BD2020DD3}" destId="{70779920-459F-4C7B-ABB2-7EA5A310E576}" srcOrd="0" destOrd="0" presId="urn:microsoft.com/office/officeart/2005/8/layout/hierarchy2"/>
    <dgm:cxn modelId="{DF51D8FE-39F6-4EC4-94C2-2BE88ED32AEC}" type="presOf" srcId="{57E4CE66-D2FC-4622-B6B2-522F4EE6B2E4}" destId="{F4CF6E08-4024-4490-94E2-981C01739270}" srcOrd="1" destOrd="0" presId="urn:microsoft.com/office/officeart/2005/8/layout/hierarchy2"/>
    <dgm:cxn modelId="{F602D107-CF62-40D1-A147-49C70479EAEB}" type="presOf" srcId="{021C5964-898F-4430-BAB9-D02C638C9F3C}" destId="{FF7D7F05-02BB-485A-BBB6-D17B48DE4C1C}" srcOrd="0" destOrd="0" presId="urn:microsoft.com/office/officeart/2005/8/layout/hierarchy2"/>
    <dgm:cxn modelId="{93AD7697-4AA3-4711-9B88-6385CF8AFD49}" type="presOf" srcId="{9414715E-EBFE-49BA-BAE1-CA6E6A1341CE}" destId="{FBB07691-33E4-4D7C-A937-A22D60C12031}" srcOrd="1" destOrd="0" presId="urn:microsoft.com/office/officeart/2005/8/layout/hierarchy2"/>
    <dgm:cxn modelId="{395C18B5-F16D-47AE-8236-2E96AFBC0583}" type="presOf" srcId="{A497E396-AC0E-4339-9E05-CA7EAEE01049}" destId="{F77B7AA9-DADE-4F35-85FC-AE79125228EB}" srcOrd="1" destOrd="0" presId="urn:microsoft.com/office/officeart/2005/8/layout/hierarchy2"/>
    <dgm:cxn modelId="{87363839-0086-456A-99B2-0376F5BA509E}" type="presOf" srcId="{1FDDF5C1-123D-42D7-B126-3DFD35664F1E}" destId="{DFBD830D-C4CD-4558-80A6-F178C4AAB1D7}" srcOrd="1" destOrd="0" presId="urn:microsoft.com/office/officeart/2005/8/layout/hierarchy2"/>
    <dgm:cxn modelId="{47ACFEC1-E1DB-40D5-9245-1F2563E1B721}" type="presOf" srcId="{5F23F643-FFB1-4E97-ABD4-6A139D15BFD7}" destId="{BED0DA98-6F09-4C27-8D40-1F6F82042840}" srcOrd="0" destOrd="0" presId="urn:microsoft.com/office/officeart/2005/8/layout/hierarchy2"/>
    <dgm:cxn modelId="{B1D8318E-1279-4562-8554-E61C5A30F02C}" srcId="{223574CA-B469-46B6-A308-6B9943987EEA}" destId="{5F23F643-FFB1-4E97-ABD4-6A139D15BFD7}" srcOrd="0" destOrd="0" parTransId="{591F1ADF-B138-40C7-890F-02521C3A5BB9}" sibTransId="{CDEC695A-BDE7-4DA7-B0C4-FFE85CBB7E06}"/>
    <dgm:cxn modelId="{048F4080-B382-4EA8-B13F-7F65BF6E1167}" type="presOf" srcId="{57E4CE66-D2FC-4622-B6B2-522F4EE6B2E4}" destId="{1160787F-8A74-4A6E-936C-73A71478E8B1}" srcOrd="0" destOrd="0" presId="urn:microsoft.com/office/officeart/2005/8/layout/hierarchy2"/>
    <dgm:cxn modelId="{7AB3DABA-FE29-4C9A-A948-1B3C72EC357C}" type="presOf" srcId="{A497E396-AC0E-4339-9E05-CA7EAEE01049}" destId="{3EE35210-EFA8-4161-B29C-9DC2C88BF6C9}" srcOrd="0" destOrd="0" presId="urn:microsoft.com/office/officeart/2005/8/layout/hierarchy2"/>
    <dgm:cxn modelId="{635E56F9-CD98-40D8-82B6-0A180F06C18C}" type="presOf" srcId="{223574CA-B469-46B6-A308-6B9943987EEA}" destId="{2C4E11B7-7219-40E0-8831-C1D3C6A447B8}" srcOrd="0" destOrd="0" presId="urn:microsoft.com/office/officeart/2005/8/layout/hierarchy2"/>
    <dgm:cxn modelId="{46F80EB8-DCB3-4C8D-8A44-BA967E42EE0E}" type="presOf" srcId="{19B9D666-791A-4C86-9FDB-DBB9C9719FFA}" destId="{AC1D65A5-768B-4E2E-8E92-E330A84DB47B}" srcOrd="0" destOrd="0" presId="urn:microsoft.com/office/officeart/2005/8/layout/hierarchy2"/>
    <dgm:cxn modelId="{5479BA7F-3AB7-455F-9AB3-3AB5828123F1}" srcId="{14ED2B7F-3A05-4D21-80AC-33207C8D0316}" destId="{021C5964-898F-4430-BAB9-D02C638C9F3C}" srcOrd="0" destOrd="0" parTransId="{3AE2F4A6-B4AE-4133-885C-75A51649089B}" sibTransId="{1C640B7E-8605-450E-9887-C354E950B2DB}"/>
    <dgm:cxn modelId="{7111EC84-8590-4F7E-BAE0-3B7278C03501}" type="presOf" srcId="{591F1ADF-B138-40C7-890F-02521C3A5BB9}" destId="{FDAAEDB9-BE21-4BCF-BA47-03558B613FB1}" srcOrd="1" destOrd="0" presId="urn:microsoft.com/office/officeart/2005/8/layout/hierarchy2"/>
    <dgm:cxn modelId="{FAB44DE9-13E8-4DBA-B735-E19767EED671}" type="presOf" srcId="{15EAE18F-8116-4000-8B2F-F634EC363E99}" destId="{35848290-1963-4846-A7F6-F6C2649D0D26}" srcOrd="0" destOrd="0" presId="urn:microsoft.com/office/officeart/2005/8/layout/hierarchy2"/>
    <dgm:cxn modelId="{BB7C572C-0A26-44A4-983F-340A85DD60EA}" srcId="{3CB4E4D1-485A-4CEA-9315-F09BD2020DD3}" destId="{923DE269-5AD1-4A1B-9318-09D47E9EB830}" srcOrd="3" destOrd="0" parTransId="{38465062-F7CC-4FC6-A0E1-CE4FE21C6FEA}" sibTransId="{CAF79FA3-6B9C-4484-B53A-E9717E798800}"/>
    <dgm:cxn modelId="{1FC63DC3-7BE6-4190-BF2A-9845918350FD}" type="presOf" srcId="{3AE2F4A6-B4AE-4133-885C-75A51649089B}" destId="{99A3CE25-3A55-44A0-BF2C-105E467D33CD}" srcOrd="0" destOrd="0" presId="urn:microsoft.com/office/officeart/2005/8/layout/hierarchy2"/>
    <dgm:cxn modelId="{E00C6079-ED21-4A26-8A21-948AAE13B191}" srcId="{3CB4E4D1-485A-4CEA-9315-F09BD2020DD3}" destId="{223574CA-B469-46B6-A308-6B9943987EEA}" srcOrd="1" destOrd="0" parTransId="{A497E396-AC0E-4339-9E05-CA7EAEE01049}" sibTransId="{B7D14DC2-4273-4A29-86AD-63BFCA25AECC}"/>
    <dgm:cxn modelId="{4789D815-CDE1-4067-99B1-843C5D9E4BF6}" type="presOf" srcId="{591F1ADF-B138-40C7-890F-02521C3A5BB9}" destId="{2C28A49E-5BAB-4350-999F-AFB6A6E33B6C}" srcOrd="0" destOrd="0" presId="urn:microsoft.com/office/officeart/2005/8/layout/hierarchy2"/>
    <dgm:cxn modelId="{421F5B5F-1447-43AC-915B-77733FB51446}" type="presOf" srcId="{10675915-6EC4-4F63-BB72-A25330338731}" destId="{43FA40DE-85DA-44A1-93D4-31542D12A641}" srcOrd="0" destOrd="0" presId="urn:microsoft.com/office/officeart/2005/8/layout/hierarchy2"/>
    <dgm:cxn modelId="{1EF8582D-88FA-4790-B443-CF68408D4A1A}" type="presOf" srcId="{14ED2B7F-3A05-4D21-80AC-33207C8D0316}" destId="{BCC9B3DD-F67A-413E-9F40-27BAF0DA5829}" srcOrd="0" destOrd="0" presId="urn:microsoft.com/office/officeart/2005/8/layout/hierarchy2"/>
    <dgm:cxn modelId="{D9631FF8-D8E8-4D8F-AB07-B6E4B7B21184}" type="presOf" srcId="{43C8870B-3084-4D6E-802C-E8659C1D2CEA}" destId="{B8E5483D-4B2E-40A6-B93C-7E96727B7AF2}" srcOrd="0" destOrd="0" presId="urn:microsoft.com/office/officeart/2005/8/layout/hierarchy2"/>
    <dgm:cxn modelId="{876020E3-8AAB-4EE3-BC1E-A2472CAF2C9F}" type="presOf" srcId="{38465062-F7CC-4FC6-A0E1-CE4FE21C6FEA}" destId="{F54A8CC8-9933-4DA2-A0E8-20CBBF6B27C9}" srcOrd="0" destOrd="0" presId="urn:microsoft.com/office/officeart/2005/8/layout/hierarchy2"/>
    <dgm:cxn modelId="{67906347-07C8-4A95-8108-571E1575D704}" type="presOf" srcId="{9414715E-EBFE-49BA-BAE1-CA6E6A1341CE}" destId="{A07E0BA9-A85D-4C4A-B933-B2C7348AC368}" srcOrd="0" destOrd="0" presId="urn:microsoft.com/office/officeart/2005/8/layout/hierarchy2"/>
    <dgm:cxn modelId="{41A66C07-E654-4227-9A1B-F4B3A4776F1E}" type="presOf" srcId="{923DE269-5AD1-4A1B-9318-09D47E9EB830}" destId="{387036C8-4FE6-4E4D-94FD-693E2966505A}" srcOrd="0" destOrd="0" presId="urn:microsoft.com/office/officeart/2005/8/layout/hierarchy2"/>
    <dgm:cxn modelId="{28395529-AFD3-479A-8C85-7D1088C263C0}" type="presOf" srcId="{3AE2F4A6-B4AE-4133-885C-75A51649089B}" destId="{1EB13F99-889C-4967-BE3F-61E2D9763736}" srcOrd="1" destOrd="0" presId="urn:microsoft.com/office/officeart/2005/8/layout/hierarchy2"/>
    <dgm:cxn modelId="{244099D0-D3DC-4A93-9ACE-C95B6963A625}" type="presOf" srcId="{DA55154E-1443-443C-9E0E-1CAFECE4749F}" destId="{04E593F7-DD51-4D9D-8AE5-D30B9FC200AE}" srcOrd="1" destOrd="0" presId="urn:microsoft.com/office/officeart/2005/8/layout/hierarchy2"/>
    <dgm:cxn modelId="{C5B68F24-0CB1-4648-A83C-84A54422C78C}" srcId="{3CB4E4D1-485A-4CEA-9315-F09BD2020DD3}" destId="{FEB699FC-E5FA-4C6F-89F3-24BED27E2767}" srcOrd="2" destOrd="0" parTransId="{9414715E-EBFE-49BA-BAE1-CA6E6A1341CE}" sibTransId="{0043ECA1-01FF-4566-8E69-2FF51B09A6D2}"/>
    <dgm:cxn modelId="{56810D53-A82B-4FB0-BB0E-9F2A49529094}" srcId="{10675915-6EC4-4F63-BB72-A25330338731}" destId="{3CB4E4D1-485A-4CEA-9315-F09BD2020DD3}" srcOrd="0" destOrd="0" parTransId="{346C58AC-14AA-4E8E-9BF9-4E3C9BDE5E7C}" sibTransId="{30236DF7-2BBE-4230-AF4B-C3FAFDD70A98}"/>
    <dgm:cxn modelId="{F85138B0-CB6F-418F-847A-9167FBBE424B}" type="presOf" srcId="{784C0B12-906E-4B5F-ADA0-48F8768D063D}" destId="{5670425B-B0D3-4968-9D88-03F241833784}" srcOrd="1" destOrd="0" presId="urn:microsoft.com/office/officeart/2005/8/layout/hierarchy2"/>
    <dgm:cxn modelId="{F45EA011-376F-4CF9-AEEA-BD5F4C4643F1}" srcId="{3CB4E4D1-485A-4CEA-9315-F09BD2020DD3}" destId="{19B9D666-791A-4C86-9FDB-DBB9C9719FFA}" srcOrd="0" destOrd="0" parTransId="{1FDDF5C1-123D-42D7-B126-3DFD35664F1E}" sibTransId="{819A3D2F-202D-4195-BDDB-B1B661B83954}"/>
    <dgm:cxn modelId="{E1073171-1ACC-4522-A440-AB3B5CD05AD8}" type="presParOf" srcId="{43FA40DE-85DA-44A1-93D4-31542D12A641}" destId="{94C1C3D0-3C9D-439D-8DED-BE04B141F92A}" srcOrd="0" destOrd="0" presId="urn:microsoft.com/office/officeart/2005/8/layout/hierarchy2"/>
    <dgm:cxn modelId="{1FECAB5E-DA9C-44A5-8010-E806DD887191}" type="presParOf" srcId="{94C1C3D0-3C9D-439D-8DED-BE04B141F92A}" destId="{70779920-459F-4C7B-ABB2-7EA5A310E576}" srcOrd="0" destOrd="0" presId="urn:microsoft.com/office/officeart/2005/8/layout/hierarchy2"/>
    <dgm:cxn modelId="{A9D6A5EC-C697-4020-88E8-70FFBD860BBE}" type="presParOf" srcId="{94C1C3D0-3C9D-439D-8DED-BE04B141F92A}" destId="{B4C8A095-93C5-4420-86AC-5057BA0E54F8}" srcOrd="1" destOrd="0" presId="urn:microsoft.com/office/officeart/2005/8/layout/hierarchy2"/>
    <dgm:cxn modelId="{E69CAA4E-CF8F-4902-A43A-88913A9D03EB}" type="presParOf" srcId="{B4C8A095-93C5-4420-86AC-5057BA0E54F8}" destId="{8A39741E-7C08-4901-8265-1CADB3D59101}" srcOrd="0" destOrd="0" presId="urn:microsoft.com/office/officeart/2005/8/layout/hierarchy2"/>
    <dgm:cxn modelId="{DCA9E460-A7A4-4288-BF52-15EBC03BB0D3}" type="presParOf" srcId="{8A39741E-7C08-4901-8265-1CADB3D59101}" destId="{DFBD830D-C4CD-4558-80A6-F178C4AAB1D7}" srcOrd="0" destOrd="0" presId="urn:microsoft.com/office/officeart/2005/8/layout/hierarchy2"/>
    <dgm:cxn modelId="{C9D8CDF3-0692-492B-80F5-6E2143AF3EB7}" type="presParOf" srcId="{B4C8A095-93C5-4420-86AC-5057BA0E54F8}" destId="{A10E9A6E-01D4-4238-A1A8-509E47860998}" srcOrd="1" destOrd="0" presId="urn:microsoft.com/office/officeart/2005/8/layout/hierarchy2"/>
    <dgm:cxn modelId="{D89A2412-61C6-453D-99D5-E2D388C82611}" type="presParOf" srcId="{A10E9A6E-01D4-4238-A1A8-509E47860998}" destId="{AC1D65A5-768B-4E2E-8E92-E330A84DB47B}" srcOrd="0" destOrd="0" presId="urn:microsoft.com/office/officeart/2005/8/layout/hierarchy2"/>
    <dgm:cxn modelId="{78A4AD06-6E06-4CE5-BCA0-5A52296CDBF8}" type="presParOf" srcId="{A10E9A6E-01D4-4238-A1A8-509E47860998}" destId="{6D5FD618-B8FB-4CDD-A9DC-617A17A0B4C3}" srcOrd="1" destOrd="0" presId="urn:microsoft.com/office/officeart/2005/8/layout/hierarchy2"/>
    <dgm:cxn modelId="{F785B5AF-0E99-4A11-9155-D72891587B89}" type="presParOf" srcId="{6D5FD618-B8FB-4CDD-A9DC-617A17A0B4C3}" destId="{1160787F-8A74-4A6E-936C-73A71478E8B1}" srcOrd="0" destOrd="0" presId="urn:microsoft.com/office/officeart/2005/8/layout/hierarchy2"/>
    <dgm:cxn modelId="{B2DF6B98-73C2-4E79-BE55-23E4865B91A9}" type="presParOf" srcId="{1160787F-8A74-4A6E-936C-73A71478E8B1}" destId="{F4CF6E08-4024-4490-94E2-981C01739270}" srcOrd="0" destOrd="0" presId="urn:microsoft.com/office/officeart/2005/8/layout/hierarchy2"/>
    <dgm:cxn modelId="{0F5BDD75-5806-491E-B66F-749DBB7773C1}" type="presParOf" srcId="{6D5FD618-B8FB-4CDD-A9DC-617A17A0B4C3}" destId="{98AA6B80-60C1-40ED-B941-FC5157BD5B21}" srcOrd="1" destOrd="0" presId="urn:microsoft.com/office/officeart/2005/8/layout/hierarchy2"/>
    <dgm:cxn modelId="{58215995-92DF-4FA1-837C-59D893438B89}" type="presParOf" srcId="{98AA6B80-60C1-40ED-B941-FC5157BD5B21}" destId="{B8E5483D-4B2E-40A6-B93C-7E96727B7AF2}" srcOrd="0" destOrd="0" presId="urn:microsoft.com/office/officeart/2005/8/layout/hierarchy2"/>
    <dgm:cxn modelId="{CBAB3579-235A-4B3B-875C-54FE7E4C9406}" type="presParOf" srcId="{98AA6B80-60C1-40ED-B941-FC5157BD5B21}" destId="{C233E242-B27B-4DA8-87C8-233FE464C70C}" srcOrd="1" destOrd="0" presId="urn:microsoft.com/office/officeart/2005/8/layout/hierarchy2"/>
    <dgm:cxn modelId="{4838F4C7-F6C8-4640-B251-30B5EEB08166}" type="presParOf" srcId="{B4C8A095-93C5-4420-86AC-5057BA0E54F8}" destId="{3EE35210-EFA8-4161-B29C-9DC2C88BF6C9}" srcOrd="2" destOrd="0" presId="urn:microsoft.com/office/officeart/2005/8/layout/hierarchy2"/>
    <dgm:cxn modelId="{4831052B-D123-4858-816E-C55C7E56B34F}" type="presParOf" srcId="{3EE35210-EFA8-4161-B29C-9DC2C88BF6C9}" destId="{F77B7AA9-DADE-4F35-85FC-AE79125228EB}" srcOrd="0" destOrd="0" presId="urn:microsoft.com/office/officeart/2005/8/layout/hierarchy2"/>
    <dgm:cxn modelId="{8D553B8B-F058-4205-8D60-186394F98C22}" type="presParOf" srcId="{B4C8A095-93C5-4420-86AC-5057BA0E54F8}" destId="{23BE52A4-D010-4164-B519-30333013E427}" srcOrd="3" destOrd="0" presId="urn:microsoft.com/office/officeart/2005/8/layout/hierarchy2"/>
    <dgm:cxn modelId="{327AEB7B-BB36-49A3-A232-B1EC4A49BDE4}" type="presParOf" srcId="{23BE52A4-D010-4164-B519-30333013E427}" destId="{2C4E11B7-7219-40E0-8831-C1D3C6A447B8}" srcOrd="0" destOrd="0" presId="urn:microsoft.com/office/officeart/2005/8/layout/hierarchy2"/>
    <dgm:cxn modelId="{E2E61C27-679C-4448-9C19-6D00A7717340}" type="presParOf" srcId="{23BE52A4-D010-4164-B519-30333013E427}" destId="{43BAD6F1-21F0-4C83-84EE-2E394973EC1B}" srcOrd="1" destOrd="0" presId="urn:microsoft.com/office/officeart/2005/8/layout/hierarchy2"/>
    <dgm:cxn modelId="{71E66365-A567-417F-A7B8-9114FBD10DEA}" type="presParOf" srcId="{43BAD6F1-21F0-4C83-84EE-2E394973EC1B}" destId="{2C28A49E-5BAB-4350-999F-AFB6A6E33B6C}" srcOrd="0" destOrd="0" presId="urn:microsoft.com/office/officeart/2005/8/layout/hierarchy2"/>
    <dgm:cxn modelId="{52DD39C5-60E6-48BA-AC37-3B0630A66C63}" type="presParOf" srcId="{2C28A49E-5BAB-4350-999F-AFB6A6E33B6C}" destId="{FDAAEDB9-BE21-4BCF-BA47-03558B613FB1}" srcOrd="0" destOrd="0" presId="urn:microsoft.com/office/officeart/2005/8/layout/hierarchy2"/>
    <dgm:cxn modelId="{4E8D046D-8858-4276-A3E0-8747A867FF6A}" type="presParOf" srcId="{43BAD6F1-21F0-4C83-84EE-2E394973EC1B}" destId="{9BEB2696-14C5-4EBD-95B3-BAB4D6C37900}" srcOrd="1" destOrd="0" presId="urn:microsoft.com/office/officeart/2005/8/layout/hierarchy2"/>
    <dgm:cxn modelId="{8001340E-05CD-4399-899D-3E02F15A1BDF}" type="presParOf" srcId="{9BEB2696-14C5-4EBD-95B3-BAB4D6C37900}" destId="{BED0DA98-6F09-4C27-8D40-1F6F82042840}" srcOrd="0" destOrd="0" presId="urn:microsoft.com/office/officeart/2005/8/layout/hierarchy2"/>
    <dgm:cxn modelId="{1A666AB3-E895-4463-8043-F54A2F1085C2}" type="presParOf" srcId="{9BEB2696-14C5-4EBD-95B3-BAB4D6C37900}" destId="{D7A0295A-3687-4E29-9E4C-DB6D688801BE}" srcOrd="1" destOrd="0" presId="urn:microsoft.com/office/officeart/2005/8/layout/hierarchy2"/>
    <dgm:cxn modelId="{F13F6F9C-C5EA-47B8-81E4-A9973D5C1741}" type="presParOf" srcId="{B4C8A095-93C5-4420-86AC-5057BA0E54F8}" destId="{A07E0BA9-A85D-4C4A-B933-B2C7348AC368}" srcOrd="4" destOrd="0" presId="urn:microsoft.com/office/officeart/2005/8/layout/hierarchy2"/>
    <dgm:cxn modelId="{97C5BAF5-9B90-4D8E-995F-907B9C03D3B2}" type="presParOf" srcId="{A07E0BA9-A85D-4C4A-B933-B2C7348AC368}" destId="{FBB07691-33E4-4D7C-A937-A22D60C12031}" srcOrd="0" destOrd="0" presId="urn:microsoft.com/office/officeart/2005/8/layout/hierarchy2"/>
    <dgm:cxn modelId="{D582493F-0A5D-485C-8679-1508A059E43F}" type="presParOf" srcId="{B4C8A095-93C5-4420-86AC-5057BA0E54F8}" destId="{7D6AA80E-7CBF-4EE6-AA17-C07CBD41C6AA}" srcOrd="5" destOrd="0" presId="urn:microsoft.com/office/officeart/2005/8/layout/hierarchy2"/>
    <dgm:cxn modelId="{7B38ADB1-E98F-43CD-81A1-24DBBE08D449}" type="presParOf" srcId="{7D6AA80E-7CBF-4EE6-AA17-C07CBD41C6AA}" destId="{7248CDB8-8D27-4305-AC3F-77E9C7B4455F}" srcOrd="0" destOrd="0" presId="urn:microsoft.com/office/officeart/2005/8/layout/hierarchy2"/>
    <dgm:cxn modelId="{072D32B9-06FD-4275-A927-7DA72B1EA6E9}" type="presParOf" srcId="{7D6AA80E-7CBF-4EE6-AA17-C07CBD41C6AA}" destId="{2E3D9068-A25E-4022-A6EF-71D6CC4E1F4A}" srcOrd="1" destOrd="0" presId="urn:microsoft.com/office/officeart/2005/8/layout/hierarchy2"/>
    <dgm:cxn modelId="{CF19C560-13E9-443D-A81E-82352557BE4F}" type="presParOf" srcId="{2E3D9068-A25E-4022-A6EF-71D6CC4E1F4A}" destId="{C7E99121-8A95-4A6C-AF6B-7156325E8455}" srcOrd="0" destOrd="0" presId="urn:microsoft.com/office/officeart/2005/8/layout/hierarchy2"/>
    <dgm:cxn modelId="{3CB93DCE-3460-44E9-997C-CEB0947CC47B}" type="presParOf" srcId="{C7E99121-8A95-4A6C-AF6B-7156325E8455}" destId="{5670425B-B0D3-4968-9D88-03F241833784}" srcOrd="0" destOrd="0" presId="urn:microsoft.com/office/officeart/2005/8/layout/hierarchy2"/>
    <dgm:cxn modelId="{5BD3301B-63E9-46E9-9051-364C754AF1E7}" type="presParOf" srcId="{2E3D9068-A25E-4022-A6EF-71D6CC4E1F4A}" destId="{946A65F2-047F-454B-9C09-884EF1424A35}" srcOrd="1" destOrd="0" presId="urn:microsoft.com/office/officeart/2005/8/layout/hierarchy2"/>
    <dgm:cxn modelId="{C5039CAE-18F7-448E-8C7D-B6F46E9DDD27}" type="presParOf" srcId="{946A65F2-047F-454B-9C09-884EF1424A35}" destId="{35848290-1963-4846-A7F6-F6C2649D0D26}" srcOrd="0" destOrd="0" presId="urn:microsoft.com/office/officeart/2005/8/layout/hierarchy2"/>
    <dgm:cxn modelId="{2A681AB8-AE42-4740-88FA-FC85D880F5F2}" type="presParOf" srcId="{946A65F2-047F-454B-9C09-884EF1424A35}" destId="{A16646E3-EF7D-4DD9-8273-59F708942BBE}" srcOrd="1" destOrd="0" presId="urn:microsoft.com/office/officeart/2005/8/layout/hierarchy2"/>
    <dgm:cxn modelId="{4A08C474-8BC3-420B-BED6-10E685EB898C}" type="presParOf" srcId="{B4C8A095-93C5-4420-86AC-5057BA0E54F8}" destId="{F54A8CC8-9933-4DA2-A0E8-20CBBF6B27C9}" srcOrd="6" destOrd="0" presId="urn:microsoft.com/office/officeart/2005/8/layout/hierarchy2"/>
    <dgm:cxn modelId="{C1302770-E8AE-4B59-848E-0F626BB7FAEF}" type="presParOf" srcId="{F54A8CC8-9933-4DA2-A0E8-20CBBF6B27C9}" destId="{6BE9BA4D-946C-4F0D-857A-CB4B6DC1BEBE}" srcOrd="0" destOrd="0" presId="urn:microsoft.com/office/officeart/2005/8/layout/hierarchy2"/>
    <dgm:cxn modelId="{C50FB67F-38E4-4E78-9297-822206FEEDF5}" type="presParOf" srcId="{B4C8A095-93C5-4420-86AC-5057BA0E54F8}" destId="{4F301CAF-6277-4A9A-A9B0-021B7FBE65F7}" srcOrd="7" destOrd="0" presId="urn:microsoft.com/office/officeart/2005/8/layout/hierarchy2"/>
    <dgm:cxn modelId="{63E1AAF0-271B-465E-B5E3-DF1D483ABC45}" type="presParOf" srcId="{4F301CAF-6277-4A9A-A9B0-021B7FBE65F7}" destId="{387036C8-4FE6-4E4D-94FD-693E2966505A}" srcOrd="0" destOrd="0" presId="urn:microsoft.com/office/officeart/2005/8/layout/hierarchy2"/>
    <dgm:cxn modelId="{0997526C-14CB-4743-8D34-637DB49819F5}" type="presParOf" srcId="{4F301CAF-6277-4A9A-A9B0-021B7FBE65F7}" destId="{92EA81CF-8825-4875-9138-4BB8BFADCC84}" srcOrd="1" destOrd="0" presId="urn:microsoft.com/office/officeart/2005/8/layout/hierarchy2"/>
    <dgm:cxn modelId="{D96A5C69-0045-45EB-8516-016D28F3DF01}" type="presParOf" srcId="{92EA81CF-8825-4875-9138-4BB8BFADCC84}" destId="{2551E84C-BB4B-422C-99FF-67B4B8B1DE6B}" srcOrd="0" destOrd="0" presId="urn:microsoft.com/office/officeart/2005/8/layout/hierarchy2"/>
    <dgm:cxn modelId="{64EE46B8-862E-47EB-892B-9A4A4C325FF0}" type="presParOf" srcId="{2551E84C-BB4B-422C-99FF-67B4B8B1DE6B}" destId="{04E593F7-DD51-4D9D-8AE5-D30B9FC200AE}" srcOrd="0" destOrd="0" presId="urn:microsoft.com/office/officeart/2005/8/layout/hierarchy2"/>
    <dgm:cxn modelId="{13C827C7-D836-4FCD-B07B-16C2FFF5BB00}" type="presParOf" srcId="{92EA81CF-8825-4875-9138-4BB8BFADCC84}" destId="{C7668596-80AF-4FE2-89AE-4FFED33728DD}" srcOrd="1" destOrd="0" presId="urn:microsoft.com/office/officeart/2005/8/layout/hierarchy2"/>
    <dgm:cxn modelId="{3647D3A8-98BE-46CD-BCC9-45BCC468201A}" type="presParOf" srcId="{C7668596-80AF-4FE2-89AE-4FFED33728DD}" destId="{BCC9B3DD-F67A-413E-9F40-27BAF0DA5829}" srcOrd="0" destOrd="0" presId="urn:microsoft.com/office/officeart/2005/8/layout/hierarchy2"/>
    <dgm:cxn modelId="{7E301E8C-4EE6-494B-BF70-9DAA15761C55}" type="presParOf" srcId="{C7668596-80AF-4FE2-89AE-4FFED33728DD}" destId="{F78580DF-6C0A-43FA-AD9E-9BBAB347A9CD}" srcOrd="1" destOrd="0" presId="urn:microsoft.com/office/officeart/2005/8/layout/hierarchy2"/>
    <dgm:cxn modelId="{3BDF10F2-43F1-4E9D-9208-31091EAD275B}" type="presParOf" srcId="{F78580DF-6C0A-43FA-AD9E-9BBAB347A9CD}" destId="{99A3CE25-3A55-44A0-BF2C-105E467D33CD}" srcOrd="0" destOrd="0" presId="urn:microsoft.com/office/officeart/2005/8/layout/hierarchy2"/>
    <dgm:cxn modelId="{9F3B4690-EF72-4351-8A90-DDE8A592620A}" type="presParOf" srcId="{99A3CE25-3A55-44A0-BF2C-105E467D33CD}" destId="{1EB13F99-889C-4967-BE3F-61E2D9763736}" srcOrd="0" destOrd="0" presId="urn:microsoft.com/office/officeart/2005/8/layout/hierarchy2"/>
    <dgm:cxn modelId="{0E194B4F-D273-4973-BC74-3205E817BEA2}" type="presParOf" srcId="{F78580DF-6C0A-43FA-AD9E-9BBAB347A9CD}" destId="{D9543555-D6B1-4BC0-B524-E945FF3AB0C3}" srcOrd="1" destOrd="0" presId="urn:microsoft.com/office/officeart/2005/8/layout/hierarchy2"/>
    <dgm:cxn modelId="{0CA353C5-4A0D-48A7-96BB-FD7ED6B1F93A}" type="presParOf" srcId="{D9543555-D6B1-4BC0-B524-E945FF3AB0C3}" destId="{FF7D7F05-02BB-485A-BBB6-D17B48DE4C1C}" srcOrd="0" destOrd="0" presId="urn:microsoft.com/office/officeart/2005/8/layout/hierarchy2"/>
    <dgm:cxn modelId="{BF9B4813-BE56-4EE6-8036-B20BAFA1B2A0}" type="presParOf" srcId="{D9543555-D6B1-4BC0-B524-E945FF3AB0C3}" destId="{4010C470-8AFA-4CF6-A078-1664EE479155}" srcOrd="1" destOrd="0" presId="urn:microsoft.com/office/officeart/2005/8/layout/hierarchy2"/>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10675915-6EC4-4F63-BB72-A25330338731}" type="doc">
      <dgm:prSet loTypeId="urn:microsoft.com/office/officeart/2005/8/layout/hierarchy2" loCatId="hierarchy" qsTypeId="urn:microsoft.com/office/officeart/2005/8/quickstyle/simple5" qsCatId="simple" csTypeId="urn:microsoft.com/office/officeart/2005/8/colors/accent1_2" csCatId="accent1" phldr="1"/>
      <dgm:spPr/>
      <dgm:t>
        <a:bodyPr/>
        <a:lstStyle/>
        <a:p>
          <a:endParaRPr lang="nl-NL"/>
        </a:p>
      </dgm:t>
    </dgm:pt>
    <dgm:pt modelId="{C708D649-E24D-4EDD-B691-AAE46AE15142}">
      <dgm:prSet phldrT="[Tekst]" custT="1"/>
      <dgm:spPr>
        <a:solidFill>
          <a:srgbClr val="BFB1A4"/>
        </a:solidFill>
      </dgm:spPr>
      <dgm:t>
        <a:bodyPr/>
        <a:lstStyle/>
        <a:p>
          <a:r>
            <a:rPr lang="da-DK"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FTK</a:t>
          </a:r>
          <a:endPar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gm:t>
    </dgm:pt>
    <dgm:pt modelId="{2ADCE89A-9A36-4DE1-A9A8-3A13EEE1A505}" type="parTrans" cxnId="{9EEF5497-932E-453A-BCF4-6FFCBB7090CD}">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48959493-EAEE-4619-B13D-3D0A41CAAD8A}" type="sibTrans" cxnId="{9EEF5497-932E-453A-BCF4-6FFCBB7090CD}">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6B3A1EC7-EC9E-4030-9EF6-D5D971590504}">
      <dgm:prSet phldrT="[Tekst]" custT="1"/>
      <dgm:spPr>
        <a:solidFill>
          <a:srgbClr val="BFB1A4"/>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Verzekering van groepen deelnemers</a:t>
          </a:r>
        </a:p>
      </dgm:t>
    </dgm:pt>
    <dgm:pt modelId="{6D62F4C6-2298-4F17-9A9C-02567C6F40C3}" type="parTrans" cxnId="{67BE9F87-B5F6-4D8A-B36D-DA6915796FC3}">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6B91392C-F150-4B9F-862A-60F6AE9CE646}" type="sibTrans" cxnId="{67BE9F87-B5F6-4D8A-B36D-DA6915796FC3}">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FEDD3AD6-842B-463C-BF55-B492FE2930A6}">
      <dgm:prSet custT="1"/>
      <dgm:spPr>
        <a:solidFill>
          <a:srgbClr val="BFB1A4"/>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1960D1DA-B828-4B8F-BC60-D1464C743012}" type="parTrans" cxnId="{724E5794-6F1D-4C29-8FA6-7AFB760C838D}">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AA512B67-241B-44C5-B225-7102F56C5118}" type="sibTrans" cxnId="{724E5794-6F1D-4C29-8FA6-7AFB760C838D}">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9B2056A8-2C0A-40D6-91D7-FB729E01C6B2}">
      <dgm:prSet custT="1"/>
      <dgm:spPr>
        <a:solidFill>
          <a:srgbClr val="E5E0DB"/>
        </a:solidFill>
      </dgm:spPr>
      <dgm:t>
        <a:bodyPr/>
        <a:lstStyle/>
        <a:p>
          <a:r>
            <a:rPr lang="da-DK"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Flexibele regeling</a:t>
          </a:r>
        </a:p>
      </dgm:t>
    </dgm:pt>
    <dgm:pt modelId="{4F92D41F-E332-47B7-AB32-DE5D05BD081C}" type="parTrans" cxnId="{2E3FDAD8-2137-4D04-81E7-A4859EB80E54}">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A25FBE58-2B11-4307-8B6B-6FB15718E8AE}" type="sibTrans" cxnId="{2E3FDAD8-2137-4D04-81E7-A4859EB80E54}">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5B9213CC-50A0-4424-9AAC-EDB387B4F9F3}">
      <dgm:prSet custT="1"/>
      <dgm:spPr>
        <a:solidFill>
          <a:srgbClr val="BFB1A4"/>
        </a:solidFill>
      </dgm:spPr>
      <dgm:t>
        <a:bodyPr/>
        <a:lstStyle/>
        <a:p>
          <a:r>
            <a:rPr lang="da-DK"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Solidaire regeling</a:t>
          </a:r>
          <a:endPar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gm:t>
    </dgm:pt>
    <dgm:pt modelId="{BA59E171-32DF-4DFC-8AA8-4AA76CCAF7DA}" type="parTrans" cxnId="{5C6BB6E2-49A6-4C5C-8255-835EDFDEA194}">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127B7F24-503A-4EBF-AAE5-A1C4B81134A8}" type="sibTrans" cxnId="{5C6BB6E2-49A6-4C5C-8255-835EDFDEA194}">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3730F20C-23B2-4C37-AFDC-21F310E9145B}">
      <dgm:prSet custT="1"/>
      <dgm:spPr>
        <a:solidFill>
          <a:srgbClr val="E5E0DB"/>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20C63641-C9AC-4510-BB39-9FBDDF724FC5}" type="parTrans" cxnId="{196A7D76-9A15-4A92-BBB5-683AD61CEB62}">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043D7DE4-6093-4F88-8F39-411705AC04FA}" type="sibTrans" cxnId="{196A7D76-9A15-4A92-BBB5-683AD61CEB62}">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979CC5CE-13DD-4D72-948D-A8036E933509}">
      <dgm:prSet custT="1"/>
      <dgm:spPr>
        <a:solidFill>
          <a:srgbClr val="BFB1A4"/>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gm:t>
    </dgm:pt>
    <dgm:pt modelId="{74019E75-12DF-4C95-9977-2F6EC218FFA9}" type="parTrans" cxnId="{6F481E20-2AC8-4B22-9068-229EDC25E2DA}">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AFD228F1-FEF6-47A2-AFEA-4A7F6D300A09}" type="sibTrans" cxnId="{6F481E20-2AC8-4B22-9068-229EDC25E2DA}">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0F383DA2-7910-4A4D-8D09-8DE6F71B6F1C}">
      <dgm:prSet custT="1"/>
      <dgm:spPr>
        <a:solidFill>
          <a:srgbClr val="E5E0DB"/>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gm:t>
    </dgm:pt>
    <dgm:pt modelId="{D3D9CD61-1884-4605-A562-9D106AA8F9C4}" type="sibTrans" cxnId="{2A4887D8-E4F5-484D-9086-7D820B76623D}">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F9C85353-C45A-427C-A4F2-3231F82A97CB}" type="parTrans" cxnId="{2A4887D8-E4F5-484D-9086-7D820B76623D}">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2FFB0482-4941-4DC6-ABAD-1464A17C2B51}">
      <dgm:prSet custT="1"/>
      <dgm:spPr>
        <a:solidFill>
          <a:srgbClr val="BFB1A4"/>
        </a:solidFill>
      </dgm:spPr>
      <dgm:t>
        <a:bodyPr/>
        <a:lstStyle/>
        <a:p>
          <a:r>
            <a:rPr lang="nl-NL" sz="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gm:t>
    </dgm:pt>
    <dgm:pt modelId="{27A555D3-5802-4E6B-AF94-7D71771538CE}" type="sibTrans" cxnId="{7A0D2560-63C4-4330-9D49-B5E8C9624C7A}">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C3BD3A15-8128-4B82-88F7-E4C4E4D606A0}" type="parTrans" cxnId="{7A0D2560-63C4-4330-9D49-B5E8C9624C7A}">
      <dgm:prSet custT="1"/>
      <dgm:spPr>
        <a:ln w="28575">
          <a:solidFill>
            <a:srgbClr val="BFB1A4"/>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43C8870B-3084-4D6E-802C-E8659C1D2CEA}">
      <dgm:prSet custT="1">
        <dgm:style>
          <a:lnRef idx="2">
            <a:schemeClr val="accent1">
              <a:shade val="50000"/>
            </a:schemeClr>
          </a:lnRef>
          <a:fillRef idx="1">
            <a:schemeClr val="accent1"/>
          </a:fillRef>
          <a:effectRef idx="0">
            <a:schemeClr val="accent1"/>
          </a:effectRef>
          <a:fontRef idx="minor">
            <a:schemeClr val="lt1"/>
          </a:fontRef>
        </dgm:style>
      </dgm:prSet>
      <dgm:spPr>
        <a:solidFill>
          <a:srgbClr val="306A55"/>
        </a:solidFill>
        <a:ln/>
      </dgm:spPr>
      <dgm:t>
        <a:bodyPr spcFirstLastPara="0" vert="horz" wrap="square" lIns="7620" tIns="7620" rIns="7620" bIns="7620" numCol="1" spcCol="1270" rtlCol="0" anchor="ctr" anchorCtr="0"/>
        <a:lstStyle/>
        <a:p>
          <a:pPr marL="0" lvl="0" indent="0" algn="ctr" defTabSz="914400" rtl="0" eaLnBrk="1" latinLnBrk="0" hangingPunct="1">
            <a:lnSpc>
              <a:spcPct val="90000"/>
            </a:lnSpc>
            <a:spcBef>
              <a:spcPct val="0"/>
            </a:spcBef>
            <a:spcAft>
              <a:spcPct val="35000"/>
            </a:spcAft>
            <a:buNone/>
          </a:pPr>
          <a:r>
            <a:rPr lang="nl-NL"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Pensioenfonds</a:t>
          </a:r>
        </a:p>
      </dgm:t>
    </dgm:pt>
    <dgm:pt modelId="{9C9EFD60-F685-48C7-9325-D7FF78EDE2D0}" type="sibTrans" cxnId="{D768A3F3-8CF3-40A5-9B8B-7AD434BC324D}">
      <dgm:prSet/>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57E4CE66-D2FC-4622-B6B2-522F4EE6B2E4}" type="parTrans" cxnId="{D768A3F3-8CF3-40A5-9B8B-7AD434BC324D}">
      <dgm:prSet custT="1"/>
      <dgm:spPr>
        <a:ln w="28575">
          <a:solidFill>
            <a:srgbClr val="4BA485"/>
          </a:solidFill>
        </a:ln>
      </dgm:spPr>
      <dgm:t>
        <a:bodyPr/>
        <a:lstStyle/>
        <a:p>
          <a:endParaRPr lang="nl-NL" sz="1000">
            <a:latin typeface="Open Sans" panose="020B0606030504020204" pitchFamily="34" charset="0"/>
            <a:ea typeface="Open Sans" panose="020B0606030504020204" pitchFamily="34" charset="0"/>
            <a:cs typeface="Open Sans" panose="020B0606030504020204" pitchFamily="34" charset="0"/>
          </a:endParaRPr>
        </a:p>
      </dgm:t>
    </dgm:pt>
    <dgm:pt modelId="{43FA40DE-85DA-44A1-93D4-31542D12A641}" type="pres">
      <dgm:prSet presAssocID="{10675915-6EC4-4F63-BB72-A25330338731}" presName="diagram" presStyleCnt="0">
        <dgm:presLayoutVars>
          <dgm:chPref val="1"/>
          <dgm:dir/>
          <dgm:animOne val="branch"/>
          <dgm:animLvl val="lvl"/>
          <dgm:resizeHandles val="exact"/>
        </dgm:presLayoutVars>
      </dgm:prSet>
      <dgm:spPr/>
      <dgm:t>
        <a:bodyPr/>
        <a:lstStyle/>
        <a:p>
          <a:endParaRPr lang="nl-NL"/>
        </a:p>
      </dgm:t>
    </dgm:pt>
    <dgm:pt modelId="{821D78C7-BCB0-48F1-B91A-A1DE94819694}" type="pres">
      <dgm:prSet presAssocID="{43C8870B-3084-4D6E-802C-E8659C1D2CEA}" presName="root1" presStyleCnt="0"/>
      <dgm:spPr/>
    </dgm:pt>
    <dgm:pt modelId="{69E2C242-9349-43BE-8A48-5EE97DED7ADE}" type="pres">
      <dgm:prSet presAssocID="{43C8870B-3084-4D6E-802C-E8659C1D2CEA}" presName="LevelOneTextNode" presStyleLbl="node0" presStyleIdx="0" presStyleCnt="1" custScaleX="140236" custScaleY="225905">
        <dgm:presLayoutVars>
          <dgm:chPref val="3"/>
        </dgm:presLayoutVars>
      </dgm:prSet>
      <dgm:spPr/>
      <dgm:t>
        <a:bodyPr/>
        <a:lstStyle/>
        <a:p>
          <a:endParaRPr lang="nl-NL"/>
        </a:p>
      </dgm:t>
    </dgm:pt>
    <dgm:pt modelId="{19545916-C880-45B7-9CBE-A44A35C3F21F}" type="pres">
      <dgm:prSet presAssocID="{43C8870B-3084-4D6E-802C-E8659C1D2CEA}" presName="level2hierChild" presStyleCnt="0"/>
      <dgm:spPr/>
    </dgm:pt>
    <dgm:pt modelId="{4FFCD822-998B-4783-8991-D15AC70BA337}" type="pres">
      <dgm:prSet presAssocID="{2ADCE89A-9A36-4DE1-A9A8-3A13EEE1A505}" presName="conn2-1" presStyleLbl="parChTrans1D2" presStyleIdx="0" presStyleCnt="3"/>
      <dgm:spPr/>
      <dgm:t>
        <a:bodyPr/>
        <a:lstStyle/>
        <a:p>
          <a:endParaRPr lang="nl-NL"/>
        </a:p>
      </dgm:t>
    </dgm:pt>
    <dgm:pt modelId="{95ED207B-53ED-4327-8E8D-FF5FF27BEE61}" type="pres">
      <dgm:prSet presAssocID="{2ADCE89A-9A36-4DE1-A9A8-3A13EEE1A505}" presName="connTx" presStyleLbl="parChTrans1D2" presStyleIdx="0" presStyleCnt="3"/>
      <dgm:spPr/>
      <dgm:t>
        <a:bodyPr/>
        <a:lstStyle/>
        <a:p>
          <a:endParaRPr lang="nl-NL"/>
        </a:p>
      </dgm:t>
    </dgm:pt>
    <dgm:pt modelId="{FA8BBF47-2E49-40FD-AACE-CB6919A73F64}" type="pres">
      <dgm:prSet presAssocID="{C708D649-E24D-4EDD-B691-AAE46AE15142}" presName="root2" presStyleCnt="0"/>
      <dgm:spPr/>
    </dgm:pt>
    <dgm:pt modelId="{E6EDF9BA-0972-4591-A810-A06E051B92E9}" type="pres">
      <dgm:prSet presAssocID="{C708D649-E24D-4EDD-B691-AAE46AE15142}" presName="LevelTwoTextNode" presStyleLbl="node2" presStyleIdx="0" presStyleCnt="3" custScaleX="172943" custScaleY="199845" custLinFactNeighborY="-2959">
        <dgm:presLayoutVars>
          <dgm:chPref val="3"/>
        </dgm:presLayoutVars>
      </dgm:prSet>
      <dgm:spPr/>
      <dgm:t>
        <a:bodyPr/>
        <a:lstStyle/>
        <a:p>
          <a:endParaRPr lang="nl-NL"/>
        </a:p>
      </dgm:t>
    </dgm:pt>
    <dgm:pt modelId="{940346AC-4903-4BD1-9E85-76A75515EC46}" type="pres">
      <dgm:prSet presAssocID="{C708D649-E24D-4EDD-B691-AAE46AE15142}" presName="level3hierChild" presStyleCnt="0"/>
      <dgm:spPr/>
    </dgm:pt>
    <dgm:pt modelId="{5586BE20-D037-4BCF-949C-2F45ADB0A3DB}" type="pres">
      <dgm:prSet presAssocID="{6D62F4C6-2298-4F17-9A9C-02567C6F40C3}" presName="conn2-1" presStyleLbl="parChTrans1D3" presStyleIdx="0" presStyleCnt="3"/>
      <dgm:spPr/>
      <dgm:t>
        <a:bodyPr/>
        <a:lstStyle/>
        <a:p>
          <a:endParaRPr lang="nl-NL"/>
        </a:p>
      </dgm:t>
    </dgm:pt>
    <dgm:pt modelId="{76AD0FFF-97D8-4DAD-8E15-F65143A7D7E2}" type="pres">
      <dgm:prSet presAssocID="{6D62F4C6-2298-4F17-9A9C-02567C6F40C3}" presName="connTx" presStyleLbl="parChTrans1D3" presStyleIdx="0" presStyleCnt="3"/>
      <dgm:spPr/>
      <dgm:t>
        <a:bodyPr/>
        <a:lstStyle/>
        <a:p>
          <a:endParaRPr lang="nl-NL"/>
        </a:p>
      </dgm:t>
    </dgm:pt>
    <dgm:pt modelId="{3D875189-5F08-44B8-A545-8C482CD57894}" type="pres">
      <dgm:prSet presAssocID="{6B3A1EC7-EC9E-4030-9EF6-D5D971590504}" presName="root2" presStyleCnt="0"/>
      <dgm:spPr/>
    </dgm:pt>
    <dgm:pt modelId="{B373D5D3-3897-470E-A191-32D0E5083731}" type="pres">
      <dgm:prSet presAssocID="{6B3A1EC7-EC9E-4030-9EF6-D5D971590504}" presName="LevelTwoTextNode" presStyleLbl="node3" presStyleIdx="0" presStyleCnt="3" custScaleX="172943" custScaleY="199845" custLinFactNeighborY="-2959">
        <dgm:presLayoutVars>
          <dgm:chPref val="3"/>
        </dgm:presLayoutVars>
      </dgm:prSet>
      <dgm:spPr/>
      <dgm:t>
        <a:bodyPr/>
        <a:lstStyle/>
        <a:p>
          <a:endParaRPr lang="nl-NL"/>
        </a:p>
      </dgm:t>
    </dgm:pt>
    <dgm:pt modelId="{195F801C-C7A0-40AA-83D3-68E272C381FF}" type="pres">
      <dgm:prSet presAssocID="{6B3A1EC7-EC9E-4030-9EF6-D5D971590504}" presName="level3hierChild" presStyleCnt="0"/>
      <dgm:spPr/>
    </dgm:pt>
    <dgm:pt modelId="{3628B605-EE70-4903-BE9C-86CB9F41EEE4}" type="pres">
      <dgm:prSet presAssocID="{1960D1DA-B828-4B8F-BC60-D1464C743012}" presName="conn2-1" presStyleLbl="parChTrans1D4" presStyleIdx="0" presStyleCnt="3"/>
      <dgm:spPr/>
      <dgm:t>
        <a:bodyPr/>
        <a:lstStyle/>
        <a:p>
          <a:endParaRPr lang="nl-NL"/>
        </a:p>
      </dgm:t>
    </dgm:pt>
    <dgm:pt modelId="{9D81FE90-074E-4DCD-B191-153F618D8AAC}" type="pres">
      <dgm:prSet presAssocID="{1960D1DA-B828-4B8F-BC60-D1464C743012}" presName="connTx" presStyleLbl="parChTrans1D4" presStyleIdx="0" presStyleCnt="3"/>
      <dgm:spPr/>
      <dgm:t>
        <a:bodyPr/>
        <a:lstStyle/>
        <a:p>
          <a:endParaRPr lang="nl-NL"/>
        </a:p>
      </dgm:t>
    </dgm:pt>
    <dgm:pt modelId="{445BDAE7-92CE-44A5-A8FA-5A75127C0E9A}" type="pres">
      <dgm:prSet presAssocID="{FEDD3AD6-842B-463C-BF55-B492FE2930A6}" presName="root2" presStyleCnt="0"/>
      <dgm:spPr/>
    </dgm:pt>
    <dgm:pt modelId="{33AD4ABC-DFE1-4AF6-991F-F7ECBA3ACEAA}" type="pres">
      <dgm:prSet presAssocID="{FEDD3AD6-842B-463C-BF55-B492FE2930A6}" presName="LevelTwoTextNode" presStyleLbl="node4" presStyleIdx="0" presStyleCnt="3" custScaleX="172943" custScaleY="199845" custLinFactNeighborY="-2959">
        <dgm:presLayoutVars>
          <dgm:chPref val="3"/>
        </dgm:presLayoutVars>
      </dgm:prSet>
      <dgm:spPr/>
      <dgm:t>
        <a:bodyPr/>
        <a:lstStyle/>
        <a:p>
          <a:endParaRPr lang="nl-NL"/>
        </a:p>
      </dgm:t>
    </dgm:pt>
    <dgm:pt modelId="{64A48561-0BD0-4B3E-8C7B-794726A5FC69}" type="pres">
      <dgm:prSet presAssocID="{FEDD3AD6-842B-463C-BF55-B492FE2930A6}" presName="level3hierChild" presStyleCnt="0"/>
      <dgm:spPr/>
    </dgm:pt>
    <dgm:pt modelId="{B3C018BD-8378-4D50-9DE7-111C0CFCD9E9}" type="pres">
      <dgm:prSet presAssocID="{4F92D41F-E332-47B7-AB32-DE5D05BD081C}" presName="conn2-1" presStyleLbl="parChTrans1D2" presStyleIdx="1" presStyleCnt="3"/>
      <dgm:spPr/>
      <dgm:t>
        <a:bodyPr/>
        <a:lstStyle/>
        <a:p>
          <a:endParaRPr lang="nl-NL"/>
        </a:p>
      </dgm:t>
    </dgm:pt>
    <dgm:pt modelId="{73C0DCC8-6560-4E83-ADA0-68F0C087CB64}" type="pres">
      <dgm:prSet presAssocID="{4F92D41F-E332-47B7-AB32-DE5D05BD081C}" presName="connTx" presStyleLbl="parChTrans1D2" presStyleIdx="1" presStyleCnt="3"/>
      <dgm:spPr/>
      <dgm:t>
        <a:bodyPr/>
        <a:lstStyle/>
        <a:p>
          <a:endParaRPr lang="nl-NL"/>
        </a:p>
      </dgm:t>
    </dgm:pt>
    <dgm:pt modelId="{92249A65-E4BC-45F0-8BEC-E9690542375B}" type="pres">
      <dgm:prSet presAssocID="{9B2056A8-2C0A-40D6-91D7-FB729E01C6B2}" presName="root2" presStyleCnt="0"/>
      <dgm:spPr/>
    </dgm:pt>
    <dgm:pt modelId="{F298295D-B5F1-40F4-8188-198915F292B3}" type="pres">
      <dgm:prSet presAssocID="{9B2056A8-2C0A-40D6-91D7-FB729E01C6B2}" presName="LevelTwoTextNode" presStyleLbl="node2" presStyleIdx="1" presStyleCnt="3" custScaleX="172943" custScaleY="199845">
        <dgm:presLayoutVars>
          <dgm:chPref val="3"/>
        </dgm:presLayoutVars>
      </dgm:prSet>
      <dgm:spPr/>
      <dgm:t>
        <a:bodyPr/>
        <a:lstStyle/>
        <a:p>
          <a:endParaRPr lang="nl-NL"/>
        </a:p>
      </dgm:t>
    </dgm:pt>
    <dgm:pt modelId="{84F6E371-4CA8-467E-AA3A-88CE98F8E41C}" type="pres">
      <dgm:prSet presAssocID="{9B2056A8-2C0A-40D6-91D7-FB729E01C6B2}" presName="level3hierChild" presStyleCnt="0"/>
      <dgm:spPr/>
    </dgm:pt>
    <dgm:pt modelId="{CB6F51A5-ADF5-4E43-90EE-34D6ABAD366B}" type="pres">
      <dgm:prSet presAssocID="{F9C85353-C45A-427C-A4F2-3231F82A97CB}" presName="conn2-1" presStyleLbl="parChTrans1D3" presStyleIdx="1" presStyleCnt="3"/>
      <dgm:spPr/>
      <dgm:t>
        <a:bodyPr/>
        <a:lstStyle/>
        <a:p>
          <a:endParaRPr lang="nl-NL"/>
        </a:p>
      </dgm:t>
    </dgm:pt>
    <dgm:pt modelId="{DAAA3967-3D4C-4207-A5B6-C10B412D9351}" type="pres">
      <dgm:prSet presAssocID="{F9C85353-C45A-427C-A4F2-3231F82A97CB}" presName="connTx" presStyleLbl="parChTrans1D3" presStyleIdx="1" presStyleCnt="3"/>
      <dgm:spPr/>
      <dgm:t>
        <a:bodyPr/>
        <a:lstStyle/>
        <a:p>
          <a:endParaRPr lang="nl-NL"/>
        </a:p>
      </dgm:t>
    </dgm:pt>
    <dgm:pt modelId="{8CD6EF49-F4A3-4DE4-A26E-9C708202CB4C}" type="pres">
      <dgm:prSet presAssocID="{0F383DA2-7910-4A4D-8D09-8DE6F71B6F1C}" presName="root2" presStyleCnt="0"/>
      <dgm:spPr/>
    </dgm:pt>
    <dgm:pt modelId="{574884EC-FE99-4C51-9308-935E8F5C70AF}" type="pres">
      <dgm:prSet presAssocID="{0F383DA2-7910-4A4D-8D09-8DE6F71B6F1C}" presName="LevelTwoTextNode" presStyleLbl="node3" presStyleIdx="1" presStyleCnt="3" custScaleX="172943" custScaleY="199845">
        <dgm:presLayoutVars>
          <dgm:chPref val="3"/>
        </dgm:presLayoutVars>
      </dgm:prSet>
      <dgm:spPr/>
      <dgm:t>
        <a:bodyPr/>
        <a:lstStyle/>
        <a:p>
          <a:endParaRPr lang="nl-NL"/>
        </a:p>
      </dgm:t>
    </dgm:pt>
    <dgm:pt modelId="{A6595B05-7209-4FC1-9021-FDA4EC18B76E}" type="pres">
      <dgm:prSet presAssocID="{0F383DA2-7910-4A4D-8D09-8DE6F71B6F1C}" presName="level3hierChild" presStyleCnt="0"/>
      <dgm:spPr/>
    </dgm:pt>
    <dgm:pt modelId="{CCE1F522-EDC0-4BBB-9F23-D7E87C3A26BD}" type="pres">
      <dgm:prSet presAssocID="{20C63641-C9AC-4510-BB39-9FBDDF724FC5}" presName="conn2-1" presStyleLbl="parChTrans1D4" presStyleIdx="1" presStyleCnt="3"/>
      <dgm:spPr/>
      <dgm:t>
        <a:bodyPr/>
        <a:lstStyle/>
        <a:p>
          <a:endParaRPr lang="nl-NL"/>
        </a:p>
      </dgm:t>
    </dgm:pt>
    <dgm:pt modelId="{208AE90A-252B-4B0F-A899-F62D87466758}" type="pres">
      <dgm:prSet presAssocID="{20C63641-C9AC-4510-BB39-9FBDDF724FC5}" presName="connTx" presStyleLbl="parChTrans1D4" presStyleIdx="1" presStyleCnt="3"/>
      <dgm:spPr/>
      <dgm:t>
        <a:bodyPr/>
        <a:lstStyle/>
        <a:p>
          <a:endParaRPr lang="nl-NL"/>
        </a:p>
      </dgm:t>
    </dgm:pt>
    <dgm:pt modelId="{B1DBED53-4BA2-4EA8-91C9-A7185CC77FBA}" type="pres">
      <dgm:prSet presAssocID="{3730F20C-23B2-4C37-AFDC-21F310E9145B}" presName="root2" presStyleCnt="0"/>
      <dgm:spPr/>
    </dgm:pt>
    <dgm:pt modelId="{4300FE2C-FD3F-4707-A548-B9F2B38C7EA9}" type="pres">
      <dgm:prSet presAssocID="{3730F20C-23B2-4C37-AFDC-21F310E9145B}" presName="LevelTwoTextNode" presStyleLbl="node4" presStyleIdx="1" presStyleCnt="3" custScaleX="172943" custScaleY="199845">
        <dgm:presLayoutVars>
          <dgm:chPref val="3"/>
        </dgm:presLayoutVars>
      </dgm:prSet>
      <dgm:spPr/>
      <dgm:t>
        <a:bodyPr/>
        <a:lstStyle/>
        <a:p>
          <a:endParaRPr lang="nl-NL"/>
        </a:p>
      </dgm:t>
    </dgm:pt>
    <dgm:pt modelId="{4B4FA40B-547C-4086-AFFC-4F8EEE9D2454}" type="pres">
      <dgm:prSet presAssocID="{3730F20C-23B2-4C37-AFDC-21F310E9145B}" presName="level3hierChild" presStyleCnt="0"/>
      <dgm:spPr/>
    </dgm:pt>
    <dgm:pt modelId="{47334A7C-D400-4806-8E27-D20D5F35850E}" type="pres">
      <dgm:prSet presAssocID="{BA59E171-32DF-4DFC-8AA8-4AA76CCAF7DA}" presName="conn2-1" presStyleLbl="parChTrans1D2" presStyleIdx="2" presStyleCnt="3"/>
      <dgm:spPr/>
      <dgm:t>
        <a:bodyPr/>
        <a:lstStyle/>
        <a:p>
          <a:endParaRPr lang="nl-NL"/>
        </a:p>
      </dgm:t>
    </dgm:pt>
    <dgm:pt modelId="{362C3FB7-744E-4EA3-87F4-B84303901425}" type="pres">
      <dgm:prSet presAssocID="{BA59E171-32DF-4DFC-8AA8-4AA76CCAF7DA}" presName="connTx" presStyleLbl="parChTrans1D2" presStyleIdx="2" presStyleCnt="3"/>
      <dgm:spPr/>
      <dgm:t>
        <a:bodyPr/>
        <a:lstStyle/>
        <a:p>
          <a:endParaRPr lang="nl-NL"/>
        </a:p>
      </dgm:t>
    </dgm:pt>
    <dgm:pt modelId="{2E34D342-50A3-4229-A7B1-16D7B2AAD9F4}" type="pres">
      <dgm:prSet presAssocID="{5B9213CC-50A0-4424-9AAC-EDB387B4F9F3}" presName="root2" presStyleCnt="0"/>
      <dgm:spPr/>
    </dgm:pt>
    <dgm:pt modelId="{3B6A86F8-3D3F-48D8-ACE1-62C4FC5F55DA}" type="pres">
      <dgm:prSet presAssocID="{5B9213CC-50A0-4424-9AAC-EDB387B4F9F3}" presName="LevelTwoTextNode" presStyleLbl="node2" presStyleIdx="2" presStyleCnt="3" custScaleX="172943" custScaleY="199845">
        <dgm:presLayoutVars>
          <dgm:chPref val="3"/>
        </dgm:presLayoutVars>
      </dgm:prSet>
      <dgm:spPr/>
      <dgm:t>
        <a:bodyPr/>
        <a:lstStyle/>
        <a:p>
          <a:endParaRPr lang="nl-NL"/>
        </a:p>
      </dgm:t>
    </dgm:pt>
    <dgm:pt modelId="{72FCCCBF-52E2-4811-A5ED-D7D55641C9EE}" type="pres">
      <dgm:prSet presAssocID="{5B9213CC-50A0-4424-9AAC-EDB387B4F9F3}" presName="level3hierChild" presStyleCnt="0"/>
      <dgm:spPr/>
    </dgm:pt>
    <dgm:pt modelId="{8F9B8AD0-4A36-49B2-B6B3-E2FCE04754F1}" type="pres">
      <dgm:prSet presAssocID="{C3BD3A15-8128-4B82-88F7-E4C4E4D606A0}" presName="conn2-1" presStyleLbl="parChTrans1D3" presStyleIdx="2" presStyleCnt="3"/>
      <dgm:spPr/>
      <dgm:t>
        <a:bodyPr/>
        <a:lstStyle/>
        <a:p>
          <a:endParaRPr lang="nl-NL"/>
        </a:p>
      </dgm:t>
    </dgm:pt>
    <dgm:pt modelId="{2F59CD9F-81AA-4161-8366-CE4DCFC64EF6}" type="pres">
      <dgm:prSet presAssocID="{C3BD3A15-8128-4B82-88F7-E4C4E4D606A0}" presName="connTx" presStyleLbl="parChTrans1D3" presStyleIdx="2" presStyleCnt="3"/>
      <dgm:spPr/>
      <dgm:t>
        <a:bodyPr/>
        <a:lstStyle/>
        <a:p>
          <a:endParaRPr lang="nl-NL"/>
        </a:p>
      </dgm:t>
    </dgm:pt>
    <dgm:pt modelId="{341D02AC-EE2F-4697-B620-07ED6683DDE9}" type="pres">
      <dgm:prSet presAssocID="{2FFB0482-4941-4DC6-ABAD-1464A17C2B51}" presName="root2" presStyleCnt="0"/>
      <dgm:spPr/>
    </dgm:pt>
    <dgm:pt modelId="{E9C4F763-8FC3-45A0-A574-439296161C58}" type="pres">
      <dgm:prSet presAssocID="{2FFB0482-4941-4DC6-ABAD-1464A17C2B51}" presName="LevelTwoTextNode" presStyleLbl="node3" presStyleIdx="2" presStyleCnt="3" custScaleX="172943" custScaleY="199845">
        <dgm:presLayoutVars>
          <dgm:chPref val="3"/>
        </dgm:presLayoutVars>
      </dgm:prSet>
      <dgm:spPr/>
      <dgm:t>
        <a:bodyPr/>
        <a:lstStyle/>
        <a:p>
          <a:endParaRPr lang="nl-NL"/>
        </a:p>
      </dgm:t>
    </dgm:pt>
    <dgm:pt modelId="{437C2ACC-AA67-4FBF-9600-15FAA6CE13EF}" type="pres">
      <dgm:prSet presAssocID="{2FFB0482-4941-4DC6-ABAD-1464A17C2B51}" presName="level3hierChild" presStyleCnt="0"/>
      <dgm:spPr/>
    </dgm:pt>
    <dgm:pt modelId="{E7B84A15-4EDC-47ED-935A-5A26BE5B9DD9}" type="pres">
      <dgm:prSet presAssocID="{74019E75-12DF-4C95-9977-2F6EC218FFA9}" presName="conn2-1" presStyleLbl="parChTrans1D4" presStyleIdx="2" presStyleCnt="3"/>
      <dgm:spPr/>
      <dgm:t>
        <a:bodyPr/>
        <a:lstStyle/>
        <a:p>
          <a:endParaRPr lang="nl-NL"/>
        </a:p>
      </dgm:t>
    </dgm:pt>
    <dgm:pt modelId="{57709A1F-18FA-4DD6-99B7-DB35DE9AAA98}" type="pres">
      <dgm:prSet presAssocID="{74019E75-12DF-4C95-9977-2F6EC218FFA9}" presName="connTx" presStyleLbl="parChTrans1D4" presStyleIdx="2" presStyleCnt="3"/>
      <dgm:spPr/>
      <dgm:t>
        <a:bodyPr/>
        <a:lstStyle/>
        <a:p>
          <a:endParaRPr lang="nl-NL"/>
        </a:p>
      </dgm:t>
    </dgm:pt>
    <dgm:pt modelId="{43224558-CFB6-4F57-989F-71443FE0555B}" type="pres">
      <dgm:prSet presAssocID="{979CC5CE-13DD-4D72-948D-A8036E933509}" presName="root2" presStyleCnt="0"/>
      <dgm:spPr/>
    </dgm:pt>
    <dgm:pt modelId="{9533FB9A-4C7C-402C-93EE-9DEEA41E120B}" type="pres">
      <dgm:prSet presAssocID="{979CC5CE-13DD-4D72-948D-A8036E933509}" presName="LevelTwoTextNode" presStyleLbl="node4" presStyleIdx="2" presStyleCnt="3" custScaleX="172943" custScaleY="199845">
        <dgm:presLayoutVars>
          <dgm:chPref val="3"/>
        </dgm:presLayoutVars>
      </dgm:prSet>
      <dgm:spPr/>
      <dgm:t>
        <a:bodyPr/>
        <a:lstStyle/>
        <a:p>
          <a:endParaRPr lang="nl-NL"/>
        </a:p>
      </dgm:t>
    </dgm:pt>
    <dgm:pt modelId="{427DABDC-37A9-49EA-A308-AEF70C4771D6}" type="pres">
      <dgm:prSet presAssocID="{979CC5CE-13DD-4D72-948D-A8036E933509}" presName="level3hierChild" presStyleCnt="0"/>
      <dgm:spPr/>
    </dgm:pt>
  </dgm:ptLst>
  <dgm:cxnLst>
    <dgm:cxn modelId="{86FF82D2-0451-4EBF-9789-8A206C4BEBDD}" type="presOf" srcId="{74019E75-12DF-4C95-9977-2F6EC218FFA9}" destId="{57709A1F-18FA-4DD6-99B7-DB35DE9AAA98}" srcOrd="1" destOrd="0" presId="urn:microsoft.com/office/officeart/2005/8/layout/hierarchy2"/>
    <dgm:cxn modelId="{1B4A4574-D14A-4D7F-8CEA-2BBA13A83826}" type="presOf" srcId="{6B3A1EC7-EC9E-4030-9EF6-D5D971590504}" destId="{B373D5D3-3897-470E-A191-32D0E5083731}" srcOrd="0" destOrd="0" presId="urn:microsoft.com/office/officeart/2005/8/layout/hierarchy2"/>
    <dgm:cxn modelId="{625A64CC-1093-4D6F-9CC9-73BC637FB223}" type="presOf" srcId="{C708D649-E24D-4EDD-B691-AAE46AE15142}" destId="{E6EDF9BA-0972-4591-A810-A06E051B92E9}" srcOrd="0" destOrd="0" presId="urn:microsoft.com/office/officeart/2005/8/layout/hierarchy2"/>
    <dgm:cxn modelId="{64C8CC8A-18B3-4B26-9C07-E0A53247F37B}" type="presOf" srcId="{4F92D41F-E332-47B7-AB32-DE5D05BD081C}" destId="{B3C018BD-8378-4D50-9DE7-111C0CFCD9E9}" srcOrd="0" destOrd="0" presId="urn:microsoft.com/office/officeart/2005/8/layout/hierarchy2"/>
    <dgm:cxn modelId="{BC5F4EA0-1161-4EB5-A131-7F030BD0F6C3}" type="presOf" srcId="{4F92D41F-E332-47B7-AB32-DE5D05BD081C}" destId="{73C0DCC8-6560-4E83-ADA0-68F0C087CB64}" srcOrd="1" destOrd="0" presId="urn:microsoft.com/office/officeart/2005/8/layout/hierarchy2"/>
    <dgm:cxn modelId="{4D2B53A9-44A6-4121-AAEC-DACB934D7DA1}" type="presOf" srcId="{FEDD3AD6-842B-463C-BF55-B492FE2930A6}" destId="{33AD4ABC-DFE1-4AF6-991F-F7ECBA3ACEAA}" srcOrd="0" destOrd="0" presId="urn:microsoft.com/office/officeart/2005/8/layout/hierarchy2"/>
    <dgm:cxn modelId="{BB0F54E9-D7EB-4DD6-B25B-AB191D72BFC8}" type="presOf" srcId="{BA59E171-32DF-4DFC-8AA8-4AA76CCAF7DA}" destId="{362C3FB7-744E-4EA3-87F4-B84303901425}" srcOrd="1" destOrd="0" presId="urn:microsoft.com/office/officeart/2005/8/layout/hierarchy2"/>
    <dgm:cxn modelId="{34598E6C-0874-4F61-A6A1-D9F1070C0F7D}" type="presOf" srcId="{0F383DA2-7910-4A4D-8D09-8DE6F71B6F1C}" destId="{574884EC-FE99-4C51-9308-935E8F5C70AF}" srcOrd="0" destOrd="0" presId="urn:microsoft.com/office/officeart/2005/8/layout/hierarchy2"/>
    <dgm:cxn modelId="{67BE9F87-B5F6-4D8A-B36D-DA6915796FC3}" srcId="{C708D649-E24D-4EDD-B691-AAE46AE15142}" destId="{6B3A1EC7-EC9E-4030-9EF6-D5D971590504}" srcOrd="0" destOrd="0" parTransId="{6D62F4C6-2298-4F17-9A9C-02567C6F40C3}" sibTransId="{6B91392C-F150-4B9F-862A-60F6AE9CE646}"/>
    <dgm:cxn modelId="{7CB99F98-28BC-4847-ACA3-3C2D70D2EBC9}" type="presOf" srcId="{1960D1DA-B828-4B8F-BC60-D1464C743012}" destId="{3628B605-EE70-4903-BE9C-86CB9F41EEE4}" srcOrd="0" destOrd="0" presId="urn:microsoft.com/office/officeart/2005/8/layout/hierarchy2"/>
    <dgm:cxn modelId="{1A9ABBCB-1DFC-44F4-879F-16C223F05038}" type="presOf" srcId="{F9C85353-C45A-427C-A4F2-3231F82A97CB}" destId="{CB6F51A5-ADF5-4E43-90EE-34D6ABAD366B}" srcOrd="0" destOrd="0" presId="urn:microsoft.com/office/officeart/2005/8/layout/hierarchy2"/>
    <dgm:cxn modelId="{9EEF5497-932E-453A-BCF4-6FFCBB7090CD}" srcId="{43C8870B-3084-4D6E-802C-E8659C1D2CEA}" destId="{C708D649-E24D-4EDD-B691-AAE46AE15142}" srcOrd="0" destOrd="0" parTransId="{2ADCE89A-9A36-4DE1-A9A8-3A13EEE1A505}" sibTransId="{48959493-EAEE-4619-B13D-3D0A41CAAD8A}"/>
    <dgm:cxn modelId="{D768A3F3-8CF3-40A5-9B8B-7AD434BC324D}" srcId="{10675915-6EC4-4F63-BB72-A25330338731}" destId="{43C8870B-3084-4D6E-802C-E8659C1D2CEA}" srcOrd="0" destOrd="0" parTransId="{57E4CE66-D2FC-4622-B6B2-522F4EE6B2E4}" sibTransId="{9C9EFD60-F685-48C7-9325-D7FF78EDE2D0}"/>
    <dgm:cxn modelId="{DC3DAE76-64FA-457A-8B41-828C98BB6178}" type="presOf" srcId="{2ADCE89A-9A36-4DE1-A9A8-3A13EEE1A505}" destId="{95ED207B-53ED-4327-8E8D-FF5FF27BEE61}" srcOrd="1" destOrd="0" presId="urn:microsoft.com/office/officeart/2005/8/layout/hierarchy2"/>
    <dgm:cxn modelId="{800AE9D4-431D-4DD0-A88D-6CDF459AE4ED}" type="presOf" srcId="{20C63641-C9AC-4510-BB39-9FBDDF724FC5}" destId="{CCE1F522-EDC0-4BBB-9F23-D7E87C3A26BD}" srcOrd="0" destOrd="0" presId="urn:microsoft.com/office/officeart/2005/8/layout/hierarchy2"/>
    <dgm:cxn modelId="{DC0FDB37-89F7-4514-95DA-DE0A2C017E32}" type="presOf" srcId="{2FFB0482-4941-4DC6-ABAD-1464A17C2B51}" destId="{E9C4F763-8FC3-45A0-A574-439296161C58}" srcOrd="0" destOrd="0" presId="urn:microsoft.com/office/officeart/2005/8/layout/hierarchy2"/>
    <dgm:cxn modelId="{B5D5B670-5087-419C-B701-8B3A7C61D38B}" type="presOf" srcId="{BA59E171-32DF-4DFC-8AA8-4AA76CCAF7DA}" destId="{47334A7C-D400-4806-8E27-D20D5F35850E}" srcOrd="0" destOrd="0" presId="urn:microsoft.com/office/officeart/2005/8/layout/hierarchy2"/>
    <dgm:cxn modelId="{F2CF8C52-0FF4-40C9-B545-86D948BCB8D8}" type="presOf" srcId="{2ADCE89A-9A36-4DE1-A9A8-3A13EEE1A505}" destId="{4FFCD822-998B-4783-8991-D15AC70BA337}" srcOrd="0" destOrd="0" presId="urn:microsoft.com/office/officeart/2005/8/layout/hierarchy2"/>
    <dgm:cxn modelId="{724E5794-6F1D-4C29-8FA6-7AFB760C838D}" srcId="{6B3A1EC7-EC9E-4030-9EF6-D5D971590504}" destId="{FEDD3AD6-842B-463C-BF55-B492FE2930A6}" srcOrd="0" destOrd="0" parTransId="{1960D1DA-B828-4B8F-BC60-D1464C743012}" sibTransId="{AA512B67-241B-44C5-B225-7102F56C5118}"/>
    <dgm:cxn modelId="{1FE19B25-9D2E-4339-B691-78E3024D4E38}" type="presOf" srcId="{979CC5CE-13DD-4D72-948D-A8036E933509}" destId="{9533FB9A-4C7C-402C-93EE-9DEEA41E120B}" srcOrd="0" destOrd="0" presId="urn:microsoft.com/office/officeart/2005/8/layout/hierarchy2"/>
    <dgm:cxn modelId="{7D03206C-D4AF-4ED6-A496-D8FC49C56F1E}" type="presOf" srcId="{3730F20C-23B2-4C37-AFDC-21F310E9145B}" destId="{4300FE2C-FD3F-4707-A548-B9F2B38C7EA9}" srcOrd="0" destOrd="0" presId="urn:microsoft.com/office/officeart/2005/8/layout/hierarchy2"/>
    <dgm:cxn modelId="{2A4887D8-E4F5-484D-9086-7D820B76623D}" srcId="{9B2056A8-2C0A-40D6-91D7-FB729E01C6B2}" destId="{0F383DA2-7910-4A4D-8D09-8DE6F71B6F1C}" srcOrd="0" destOrd="0" parTransId="{F9C85353-C45A-427C-A4F2-3231F82A97CB}" sibTransId="{D3D9CD61-1884-4605-A562-9D106AA8F9C4}"/>
    <dgm:cxn modelId="{D8613B56-D7B1-407E-9116-9BE8BFECDBF2}" type="presOf" srcId="{1960D1DA-B828-4B8F-BC60-D1464C743012}" destId="{9D81FE90-074E-4DCD-B191-153F618D8AAC}" srcOrd="1" destOrd="0" presId="urn:microsoft.com/office/officeart/2005/8/layout/hierarchy2"/>
    <dgm:cxn modelId="{B2CF74FA-435A-40E0-B43A-AD7AB6F9B7CF}" type="presOf" srcId="{6D62F4C6-2298-4F17-9A9C-02567C6F40C3}" destId="{5586BE20-D037-4BCF-949C-2F45ADB0A3DB}" srcOrd="0" destOrd="0" presId="urn:microsoft.com/office/officeart/2005/8/layout/hierarchy2"/>
    <dgm:cxn modelId="{7A0D2560-63C4-4330-9D49-B5E8C9624C7A}" srcId="{5B9213CC-50A0-4424-9AAC-EDB387B4F9F3}" destId="{2FFB0482-4941-4DC6-ABAD-1464A17C2B51}" srcOrd="0" destOrd="0" parTransId="{C3BD3A15-8128-4B82-88F7-E4C4E4D606A0}" sibTransId="{27A555D3-5802-4E6B-AF94-7D71771538CE}"/>
    <dgm:cxn modelId="{7163DB79-2DE6-427C-9A41-A8F1253EDF49}" type="presOf" srcId="{20C63641-C9AC-4510-BB39-9FBDDF724FC5}" destId="{208AE90A-252B-4B0F-A899-F62D87466758}" srcOrd="1" destOrd="0" presId="urn:microsoft.com/office/officeart/2005/8/layout/hierarchy2"/>
    <dgm:cxn modelId="{2E3FDAD8-2137-4D04-81E7-A4859EB80E54}" srcId="{43C8870B-3084-4D6E-802C-E8659C1D2CEA}" destId="{9B2056A8-2C0A-40D6-91D7-FB729E01C6B2}" srcOrd="1" destOrd="0" parTransId="{4F92D41F-E332-47B7-AB32-DE5D05BD081C}" sibTransId="{A25FBE58-2B11-4307-8B6B-6FB15718E8AE}"/>
    <dgm:cxn modelId="{6BE51645-4370-4148-898A-5D299AC30BBA}" type="presOf" srcId="{5B9213CC-50A0-4424-9AAC-EDB387B4F9F3}" destId="{3B6A86F8-3D3F-48D8-ACE1-62C4FC5F55DA}" srcOrd="0" destOrd="0" presId="urn:microsoft.com/office/officeart/2005/8/layout/hierarchy2"/>
    <dgm:cxn modelId="{C4C93C78-9D9B-46B7-BFAB-0557A16650FF}" type="presOf" srcId="{9B2056A8-2C0A-40D6-91D7-FB729E01C6B2}" destId="{F298295D-B5F1-40F4-8188-198915F292B3}" srcOrd="0" destOrd="0" presId="urn:microsoft.com/office/officeart/2005/8/layout/hierarchy2"/>
    <dgm:cxn modelId="{A0707C4F-82BD-4B59-BE37-0073A8A8E707}" type="presOf" srcId="{6D62F4C6-2298-4F17-9A9C-02567C6F40C3}" destId="{76AD0FFF-97D8-4DAD-8E15-F65143A7D7E2}" srcOrd="1" destOrd="0" presId="urn:microsoft.com/office/officeart/2005/8/layout/hierarchy2"/>
    <dgm:cxn modelId="{248F9144-523D-47D1-87BD-D0FD83BACB0E}" type="presOf" srcId="{F9C85353-C45A-427C-A4F2-3231F82A97CB}" destId="{DAAA3967-3D4C-4207-A5B6-C10B412D9351}" srcOrd="1" destOrd="0" presId="urn:microsoft.com/office/officeart/2005/8/layout/hierarchy2"/>
    <dgm:cxn modelId="{421F5B5F-1447-43AC-915B-77733FB51446}" type="presOf" srcId="{10675915-6EC4-4F63-BB72-A25330338731}" destId="{43FA40DE-85DA-44A1-93D4-31542D12A641}" srcOrd="0" destOrd="0" presId="urn:microsoft.com/office/officeart/2005/8/layout/hierarchy2"/>
    <dgm:cxn modelId="{6F481E20-2AC8-4B22-9068-229EDC25E2DA}" srcId="{2FFB0482-4941-4DC6-ABAD-1464A17C2B51}" destId="{979CC5CE-13DD-4D72-948D-A8036E933509}" srcOrd="0" destOrd="0" parTransId="{74019E75-12DF-4C95-9977-2F6EC218FFA9}" sibTransId="{AFD228F1-FEF6-47A2-AFEA-4A7F6D300A09}"/>
    <dgm:cxn modelId="{5C6BB6E2-49A6-4C5C-8255-835EDFDEA194}" srcId="{43C8870B-3084-4D6E-802C-E8659C1D2CEA}" destId="{5B9213CC-50A0-4424-9AAC-EDB387B4F9F3}" srcOrd="2" destOrd="0" parTransId="{BA59E171-32DF-4DFC-8AA8-4AA76CCAF7DA}" sibTransId="{127B7F24-503A-4EBF-AAE5-A1C4B81134A8}"/>
    <dgm:cxn modelId="{E4FF8F09-E5A6-48B1-A316-29BEE2225142}" type="presOf" srcId="{43C8870B-3084-4D6E-802C-E8659C1D2CEA}" destId="{69E2C242-9349-43BE-8A48-5EE97DED7ADE}" srcOrd="0" destOrd="0" presId="urn:microsoft.com/office/officeart/2005/8/layout/hierarchy2"/>
    <dgm:cxn modelId="{088B888C-1686-45CD-9E8D-6E121E1A54BC}" type="presOf" srcId="{C3BD3A15-8128-4B82-88F7-E4C4E4D606A0}" destId="{2F59CD9F-81AA-4161-8366-CE4DCFC64EF6}" srcOrd="1" destOrd="0" presId="urn:microsoft.com/office/officeart/2005/8/layout/hierarchy2"/>
    <dgm:cxn modelId="{BD1ACADA-7736-411F-A0CC-02C4D29C7956}" type="presOf" srcId="{74019E75-12DF-4C95-9977-2F6EC218FFA9}" destId="{E7B84A15-4EDC-47ED-935A-5A26BE5B9DD9}" srcOrd="0" destOrd="0" presId="urn:microsoft.com/office/officeart/2005/8/layout/hierarchy2"/>
    <dgm:cxn modelId="{196A7D76-9A15-4A92-BBB5-683AD61CEB62}" srcId="{0F383DA2-7910-4A4D-8D09-8DE6F71B6F1C}" destId="{3730F20C-23B2-4C37-AFDC-21F310E9145B}" srcOrd="0" destOrd="0" parTransId="{20C63641-C9AC-4510-BB39-9FBDDF724FC5}" sibTransId="{043D7DE4-6093-4F88-8F39-411705AC04FA}"/>
    <dgm:cxn modelId="{4634E130-2052-4F3C-8415-6EFFC6833B39}" type="presOf" srcId="{C3BD3A15-8128-4B82-88F7-E4C4E4D606A0}" destId="{8F9B8AD0-4A36-49B2-B6B3-E2FCE04754F1}" srcOrd="0" destOrd="0" presId="urn:microsoft.com/office/officeart/2005/8/layout/hierarchy2"/>
    <dgm:cxn modelId="{D5F9A442-74BF-4945-B626-692EA5868B2F}" type="presParOf" srcId="{43FA40DE-85DA-44A1-93D4-31542D12A641}" destId="{821D78C7-BCB0-48F1-B91A-A1DE94819694}" srcOrd="0" destOrd="0" presId="urn:microsoft.com/office/officeart/2005/8/layout/hierarchy2"/>
    <dgm:cxn modelId="{ACD92F8A-2964-4BCF-A578-11515758AB53}" type="presParOf" srcId="{821D78C7-BCB0-48F1-B91A-A1DE94819694}" destId="{69E2C242-9349-43BE-8A48-5EE97DED7ADE}" srcOrd="0" destOrd="0" presId="urn:microsoft.com/office/officeart/2005/8/layout/hierarchy2"/>
    <dgm:cxn modelId="{CA3B2A9B-DBF7-40D6-9A99-DC413ECF2A87}" type="presParOf" srcId="{821D78C7-BCB0-48F1-B91A-A1DE94819694}" destId="{19545916-C880-45B7-9CBE-A44A35C3F21F}" srcOrd="1" destOrd="0" presId="urn:microsoft.com/office/officeart/2005/8/layout/hierarchy2"/>
    <dgm:cxn modelId="{708B4872-F35D-4E13-8D19-A680F54C9128}" type="presParOf" srcId="{19545916-C880-45B7-9CBE-A44A35C3F21F}" destId="{4FFCD822-998B-4783-8991-D15AC70BA337}" srcOrd="0" destOrd="0" presId="urn:microsoft.com/office/officeart/2005/8/layout/hierarchy2"/>
    <dgm:cxn modelId="{74A3C1B3-8662-4A3D-9D5B-3E08EC806C3F}" type="presParOf" srcId="{4FFCD822-998B-4783-8991-D15AC70BA337}" destId="{95ED207B-53ED-4327-8E8D-FF5FF27BEE61}" srcOrd="0" destOrd="0" presId="urn:microsoft.com/office/officeart/2005/8/layout/hierarchy2"/>
    <dgm:cxn modelId="{F8FEAEF0-8098-4790-8B07-510229BB9154}" type="presParOf" srcId="{19545916-C880-45B7-9CBE-A44A35C3F21F}" destId="{FA8BBF47-2E49-40FD-AACE-CB6919A73F64}" srcOrd="1" destOrd="0" presId="urn:microsoft.com/office/officeart/2005/8/layout/hierarchy2"/>
    <dgm:cxn modelId="{6D28A186-CCF3-4756-AA59-1C9EAC75B5C7}" type="presParOf" srcId="{FA8BBF47-2E49-40FD-AACE-CB6919A73F64}" destId="{E6EDF9BA-0972-4591-A810-A06E051B92E9}" srcOrd="0" destOrd="0" presId="urn:microsoft.com/office/officeart/2005/8/layout/hierarchy2"/>
    <dgm:cxn modelId="{FE492E5A-FA10-422D-BB8A-E2E3E442881A}" type="presParOf" srcId="{FA8BBF47-2E49-40FD-AACE-CB6919A73F64}" destId="{940346AC-4903-4BD1-9E85-76A75515EC46}" srcOrd="1" destOrd="0" presId="urn:microsoft.com/office/officeart/2005/8/layout/hierarchy2"/>
    <dgm:cxn modelId="{FA1EF525-4BD8-41C9-A1FF-79305D58364B}" type="presParOf" srcId="{940346AC-4903-4BD1-9E85-76A75515EC46}" destId="{5586BE20-D037-4BCF-949C-2F45ADB0A3DB}" srcOrd="0" destOrd="0" presId="urn:microsoft.com/office/officeart/2005/8/layout/hierarchy2"/>
    <dgm:cxn modelId="{7DD7EB52-70DD-4D45-93BF-67E770BB95FD}" type="presParOf" srcId="{5586BE20-D037-4BCF-949C-2F45ADB0A3DB}" destId="{76AD0FFF-97D8-4DAD-8E15-F65143A7D7E2}" srcOrd="0" destOrd="0" presId="urn:microsoft.com/office/officeart/2005/8/layout/hierarchy2"/>
    <dgm:cxn modelId="{1D1C964B-3DD3-452C-A978-38F0AF52DDC7}" type="presParOf" srcId="{940346AC-4903-4BD1-9E85-76A75515EC46}" destId="{3D875189-5F08-44B8-A545-8C482CD57894}" srcOrd="1" destOrd="0" presId="urn:microsoft.com/office/officeart/2005/8/layout/hierarchy2"/>
    <dgm:cxn modelId="{FF9E3147-DEC8-4951-A70A-E255C281DE61}" type="presParOf" srcId="{3D875189-5F08-44B8-A545-8C482CD57894}" destId="{B373D5D3-3897-470E-A191-32D0E5083731}" srcOrd="0" destOrd="0" presId="urn:microsoft.com/office/officeart/2005/8/layout/hierarchy2"/>
    <dgm:cxn modelId="{B1234AA7-E6BB-49DC-84B8-11E608564EF4}" type="presParOf" srcId="{3D875189-5F08-44B8-A545-8C482CD57894}" destId="{195F801C-C7A0-40AA-83D3-68E272C381FF}" srcOrd="1" destOrd="0" presId="urn:microsoft.com/office/officeart/2005/8/layout/hierarchy2"/>
    <dgm:cxn modelId="{2151FC84-F032-45F8-A618-2CE7729796B4}" type="presParOf" srcId="{195F801C-C7A0-40AA-83D3-68E272C381FF}" destId="{3628B605-EE70-4903-BE9C-86CB9F41EEE4}" srcOrd="0" destOrd="0" presId="urn:microsoft.com/office/officeart/2005/8/layout/hierarchy2"/>
    <dgm:cxn modelId="{908C0BEC-5302-45C4-98B5-5FF1A5223480}" type="presParOf" srcId="{3628B605-EE70-4903-BE9C-86CB9F41EEE4}" destId="{9D81FE90-074E-4DCD-B191-153F618D8AAC}" srcOrd="0" destOrd="0" presId="urn:microsoft.com/office/officeart/2005/8/layout/hierarchy2"/>
    <dgm:cxn modelId="{3232A377-13FA-45B9-B202-D4591AD1EB12}" type="presParOf" srcId="{195F801C-C7A0-40AA-83D3-68E272C381FF}" destId="{445BDAE7-92CE-44A5-A8FA-5A75127C0E9A}" srcOrd="1" destOrd="0" presId="urn:microsoft.com/office/officeart/2005/8/layout/hierarchy2"/>
    <dgm:cxn modelId="{ED4AD65A-8C8C-4DAC-94CA-D6FDCD6A8FED}" type="presParOf" srcId="{445BDAE7-92CE-44A5-A8FA-5A75127C0E9A}" destId="{33AD4ABC-DFE1-4AF6-991F-F7ECBA3ACEAA}" srcOrd="0" destOrd="0" presId="urn:microsoft.com/office/officeart/2005/8/layout/hierarchy2"/>
    <dgm:cxn modelId="{98EE737D-3B4C-4C7E-AABC-9C25D3021BE8}" type="presParOf" srcId="{445BDAE7-92CE-44A5-A8FA-5A75127C0E9A}" destId="{64A48561-0BD0-4B3E-8C7B-794726A5FC69}" srcOrd="1" destOrd="0" presId="urn:microsoft.com/office/officeart/2005/8/layout/hierarchy2"/>
    <dgm:cxn modelId="{9D35ADE5-5ED0-4F80-84C1-8D98E10ED51F}" type="presParOf" srcId="{19545916-C880-45B7-9CBE-A44A35C3F21F}" destId="{B3C018BD-8378-4D50-9DE7-111C0CFCD9E9}" srcOrd="2" destOrd="0" presId="urn:microsoft.com/office/officeart/2005/8/layout/hierarchy2"/>
    <dgm:cxn modelId="{E1A5D20F-24B7-4DE2-9B46-8379393980A6}" type="presParOf" srcId="{B3C018BD-8378-4D50-9DE7-111C0CFCD9E9}" destId="{73C0DCC8-6560-4E83-ADA0-68F0C087CB64}" srcOrd="0" destOrd="0" presId="urn:microsoft.com/office/officeart/2005/8/layout/hierarchy2"/>
    <dgm:cxn modelId="{028530F8-AC6D-4C49-892C-76D7C40FF8AE}" type="presParOf" srcId="{19545916-C880-45B7-9CBE-A44A35C3F21F}" destId="{92249A65-E4BC-45F0-8BEC-E9690542375B}" srcOrd="3" destOrd="0" presId="urn:microsoft.com/office/officeart/2005/8/layout/hierarchy2"/>
    <dgm:cxn modelId="{98053A4F-9004-4FE4-A972-6D408FA427B4}" type="presParOf" srcId="{92249A65-E4BC-45F0-8BEC-E9690542375B}" destId="{F298295D-B5F1-40F4-8188-198915F292B3}" srcOrd="0" destOrd="0" presId="urn:microsoft.com/office/officeart/2005/8/layout/hierarchy2"/>
    <dgm:cxn modelId="{A3E99407-A4E9-4370-BC22-9633A8441914}" type="presParOf" srcId="{92249A65-E4BC-45F0-8BEC-E9690542375B}" destId="{84F6E371-4CA8-467E-AA3A-88CE98F8E41C}" srcOrd="1" destOrd="0" presId="urn:microsoft.com/office/officeart/2005/8/layout/hierarchy2"/>
    <dgm:cxn modelId="{456E15DC-6B07-4601-AD74-6445E0624C6D}" type="presParOf" srcId="{84F6E371-4CA8-467E-AA3A-88CE98F8E41C}" destId="{CB6F51A5-ADF5-4E43-90EE-34D6ABAD366B}" srcOrd="0" destOrd="0" presId="urn:microsoft.com/office/officeart/2005/8/layout/hierarchy2"/>
    <dgm:cxn modelId="{86FFFFA2-AD04-4C2A-BCA4-3E62FD932F4B}" type="presParOf" srcId="{CB6F51A5-ADF5-4E43-90EE-34D6ABAD366B}" destId="{DAAA3967-3D4C-4207-A5B6-C10B412D9351}" srcOrd="0" destOrd="0" presId="urn:microsoft.com/office/officeart/2005/8/layout/hierarchy2"/>
    <dgm:cxn modelId="{F0BA7952-83F2-4FA6-BEFB-59B0D37DBB73}" type="presParOf" srcId="{84F6E371-4CA8-467E-AA3A-88CE98F8E41C}" destId="{8CD6EF49-F4A3-4DE4-A26E-9C708202CB4C}" srcOrd="1" destOrd="0" presId="urn:microsoft.com/office/officeart/2005/8/layout/hierarchy2"/>
    <dgm:cxn modelId="{E09C13E1-5AD4-4862-99A3-54D7F8894C59}" type="presParOf" srcId="{8CD6EF49-F4A3-4DE4-A26E-9C708202CB4C}" destId="{574884EC-FE99-4C51-9308-935E8F5C70AF}" srcOrd="0" destOrd="0" presId="urn:microsoft.com/office/officeart/2005/8/layout/hierarchy2"/>
    <dgm:cxn modelId="{3AE5AAD2-3D78-40D7-B953-D4E1CB561BEA}" type="presParOf" srcId="{8CD6EF49-F4A3-4DE4-A26E-9C708202CB4C}" destId="{A6595B05-7209-4FC1-9021-FDA4EC18B76E}" srcOrd="1" destOrd="0" presId="urn:microsoft.com/office/officeart/2005/8/layout/hierarchy2"/>
    <dgm:cxn modelId="{32FAA23D-F3CB-42C4-A516-0CB7319B5599}" type="presParOf" srcId="{A6595B05-7209-4FC1-9021-FDA4EC18B76E}" destId="{CCE1F522-EDC0-4BBB-9F23-D7E87C3A26BD}" srcOrd="0" destOrd="0" presId="urn:microsoft.com/office/officeart/2005/8/layout/hierarchy2"/>
    <dgm:cxn modelId="{93FDE511-D274-45A6-BFEA-D533566A7E2B}" type="presParOf" srcId="{CCE1F522-EDC0-4BBB-9F23-D7E87C3A26BD}" destId="{208AE90A-252B-4B0F-A899-F62D87466758}" srcOrd="0" destOrd="0" presId="urn:microsoft.com/office/officeart/2005/8/layout/hierarchy2"/>
    <dgm:cxn modelId="{E9BC5497-AA6B-4A46-BED8-F08F02F6ED8D}" type="presParOf" srcId="{A6595B05-7209-4FC1-9021-FDA4EC18B76E}" destId="{B1DBED53-4BA2-4EA8-91C9-A7185CC77FBA}" srcOrd="1" destOrd="0" presId="urn:microsoft.com/office/officeart/2005/8/layout/hierarchy2"/>
    <dgm:cxn modelId="{F0E61A20-531A-487B-A550-0FD3B813950C}" type="presParOf" srcId="{B1DBED53-4BA2-4EA8-91C9-A7185CC77FBA}" destId="{4300FE2C-FD3F-4707-A548-B9F2B38C7EA9}" srcOrd="0" destOrd="0" presId="urn:microsoft.com/office/officeart/2005/8/layout/hierarchy2"/>
    <dgm:cxn modelId="{299E6E5E-A4F5-453A-9825-390DF5CC0534}" type="presParOf" srcId="{B1DBED53-4BA2-4EA8-91C9-A7185CC77FBA}" destId="{4B4FA40B-547C-4086-AFFC-4F8EEE9D2454}" srcOrd="1" destOrd="0" presId="urn:microsoft.com/office/officeart/2005/8/layout/hierarchy2"/>
    <dgm:cxn modelId="{4C9F7217-C850-4CAF-A891-FBB7A008FEF0}" type="presParOf" srcId="{19545916-C880-45B7-9CBE-A44A35C3F21F}" destId="{47334A7C-D400-4806-8E27-D20D5F35850E}" srcOrd="4" destOrd="0" presId="urn:microsoft.com/office/officeart/2005/8/layout/hierarchy2"/>
    <dgm:cxn modelId="{7FBF51F2-93B4-4BCC-91F4-AE80617E77A9}" type="presParOf" srcId="{47334A7C-D400-4806-8E27-D20D5F35850E}" destId="{362C3FB7-744E-4EA3-87F4-B84303901425}" srcOrd="0" destOrd="0" presId="urn:microsoft.com/office/officeart/2005/8/layout/hierarchy2"/>
    <dgm:cxn modelId="{36366F43-8593-443C-88C3-13CC4F3942C9}" type="presParOf" srcId="{19545916-C880-45B7-9CBE-A44A35C3F21F}" destId="{2E34D342-50A3-4229-A7B1-16D7B2AAD9F4}" srcOrd="5" destOrd="0" presId="urn:microsoft.com/office/officeart/2005/8/layout/hierarchy2"/>
    <dgm:cxn modelId="{E45ED57F-C07F-4797-89D5-68FCCBE9A89D}" type="presParOf" srcId="{2E34D342-50A3-4229-A7B1-16D7B2AAD9F4}" destId="{3B6A86F8-3D3F-48D8-ACE1-62C4FC5F55DA}" srcOrd="0" destOrd="0" presId="urn:microsoft.com/office/officeart/2005/8/layout/hierarchy2"/>
    <dgm:cxn modelId="{47A0C150-3B7D-405A-921E-30C24BF53A5C}" type="presParOf" srcId="{2E34D342-50A3-4229-A7B1-16D7B2AAD9F4}" destId="{72FCCCBF-52E2-4811-A5ED-D7D55641C9EE}" srcOrd="1" destOrd="0" presId="urn:microsoft.com/office/officeart/2005/8/layout/hierarchy2"/>
    <dgm:cxn modelId="{D8374A35-2F3B-46F6-B4A0-FA1B52799592}" type="presParOf" srcId="{72FCCCBF-52E2-4811-A5ED-D7D55641C9EE}" destId="{8F9B8AD0-4A36-49B2-B6B3-E2FCE04754F1}" srcOrd="0" destOrd="0" presId="urn:microsoft.com/office/officeart/2005/8/layout/hierarchy2"/>
    <dgm:cxn modelId="{D3D6D792-05B1-4980-B4C9-B398D0A81420}" type="presParOf" srcId="{8F9B8AD0-4A36-49B2-B6B3-E2FCE04754F1}" destId="{2F59CD9F-81AA-4161-8366-CE4DCFC64EF6}" srcOrd="0" destOrd="0" presId="urn:microsoft.com/office/officeart/2005/8/layout/hierarchy2"/>
    <dgm:cxn modelId="{8558DAC7-7BA5-4DC3-98BB-3F6DE0F546BB}" type="presParOf" srcId="{72FCCCBF-52E2-4811-A5ED-D7D55641C9EE}" destId="{341D02AC-EE2F-4697-B620-07ED6683DDE9}" srcOrd="1" destOrd="0" presId="urn:microsoft.com/office/officeart/2005/8/layout/hierarchy2"/>
    <dgm:cxn modelId="{9762166A-7A5A-4AB3-9A9D-D47DF07F25F0}" type="presParOf" srcId="{341D02AC-EE2F-4697-B620-07ED6683DDE9}" destId="{E9C4F763-8FC3-45A0-A574-439296161C58}" srcOrd="0" destOrd="0" presId="urn:microsoft.com/office/officeart/2005/8/layout/hierarchy2"/>
    <dgm:cxn modelId="{E8C259E2-9D9C-42D0-BCB7-E8CBE913433C}" type="presParOf" srcId="{341D02AC-EE2F-4697-B620-07ED6683DDE9}" destId="{437C2ACC-AA67-4FBF-9600-15FAA6CE13EF}" srcOrd="1" destOrd="0" presId="urn:microsoft.com/office/officeart/2005/8/layout/hierarchy2"/>
    <dgm:cxn modelId="{F2ABA780-6739-4A68-8F93-0B7300227452}" type="presParOf" srcId="{437C2ACC-AA67-4FBF-9600-15FAA6CE13EF}" destId="{E7B84A15-4EDC-47ED-935A-5A26BE5B9DD9}" srcOrd="0" destOrd="0" presId="urn:microsoft.com/office/officeart/2005/8/layout/hierarchy2"/>
    <dgm:cxn modelId="{EF17DF9C-606A-405C-AF0B-4AA9B9AF3D13}" type="presParOf" srcId="{E7B84A15-4EDC-47ED-935A-5A26BE5B9DD9}" destId="{57709A1F-18FA-4DD6-99B7-DB35DE9AAA98}" srcOrd="0" destOrd="0" presId="urn:microsoft.com/office/officeart/2005/8/layout/hierarchy2"/>
    <dgm:cxn modelId="{1AA4CF86-6EBF-49FB-8043-2107B410962B}" type="presParOf" srcId="{437C2ACC-AA67-4FBF-9600-15FAA6CE13EF}" destId="{43224558-CFB6-4F57-989F-71443FE0555B}" srcOrd="1" destOrd="0" presId="urn:microsoft.com/office/officeart/2005/8/layout/hierarchy2"/>
    <dgm:cxn modelId="{E1A74D14-3715-4D77-9BA8-8B69392310B5}" type="presParOf" srcId="{43224558-CFB6-4F57-989F-71443FE0555B}" destId="{9533FB9A-4C7C-402C-93EE-9DEEA41E120B}" srcOrd="0" destOrd="0" presId="urn:microsoft.com/office/officeart/2005/8/layout/hierarchy2"/>
    <dgm:cxn modelId="{761B1CF4-A2EE-44E3-A0B1-A66B3B8D0EA9}" type="presParOf" srcId="{43224558-CFB6-4F57-989F-71443FE0555B}" destId="{427DABDC-37A9-49EA-A308-AEF70C4771D6}" srcOrd="1" destOrd="0" presId="urn:microsoft.com/office/officeart/2005/8/layout/hierarchy2"/>
  </dgm:cxnLst>
  <dgm:bg>
    <a:noFill/>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79920-459F-4C7B-ABB2-7EA5A310E576}">
      <dsp:nvSpPr>
        <dsp:cNvPr id="0" name=""/>
        <dsp:cNvSpPr/>
      </dsp:nvSpPr>
      <dsp:spPr>
        <a:xfrm>
          <a:off x="475802" y="2093562"/>
          <a:ext cx="1017248" cy="765322"/>
        </a:xfrm>
        <a:prstGeom prst="roundRect">
          <a:avLst>
            <a:gd name="adj" fmla="val 10000"/>
          </a:avLst>
        </a:prstGeom>
        <a:solidFill>
          <a:srgbClr val="306A55"/>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6985" tIns="6985" rIns="6985" bIns="6985" numCol="1" spcCol="1270" rtlCol="0" anchor="ctr" anchorCtr="0">
          <a:noAutofit/>
        </a:bodyPr>
        <a:lstStyle/>
        <a:p>
          <a:pPr marL="0" lvl="0" algn="ctr" defTabSz="914400" rtl="0" eaLnBrk="1" latinLnBrk="0" hangingPunct="1">
            <a:lnSpc>
              <a:spcPct val="90000"/>
            </a:lnSpc>
            <a:spcBef>
              <a:spcPct val="0"/>
            </a:spcBef>
            <a:spcAft>
              <a:spcPct val="35000"/>
            </a:spcAft>
          </a:pPr>
          <a:r>
            <a:rPr lang="da-DK"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endParaRPr lang="nl-NL"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sp:txBody>
      <dsp:txXfrm>
        <a:off x="498218" y="2115978"/>
        <a:ext cx="972416" cy="720490"/>
      </dsp:txXfrm>
    </dsp:sp>
    <dsp:sp modelId="{8A39741E-7C08-4901-8265-1CADB3D59101}">
      <dsp:nvSpPr>
        <dsp:cNvPr id="0" name=""/>
        <dsp:cNvSpPr/>
      </dsp:nvSpPr>
      <dsp:spPr>
        <a:xfrm rot="17099418">
          <a:off x="1007371" y="1834955"/>
          <a:ext cx="1310266" cy="16858"/>
        </a:xfrm>
        <a:custGeom>
          <a:avLst/>
          <a:gdLst/>
          <a:ahLst/>
          <a:cxnLst/>
          <a:rect l="0" t="0" r="0" b="0"/>
          <a:pathLst>
            <a:path>
              <a:moveTo>
                <a:pt x="0" y="8429"/>
              </a:moveTo>
              <a:lnTo>
                <a:pt x="1310266"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33350">
            <a:lnSpc>
              <a:spcPct val="90000"/>
            </a:lnSpc>
            <a:spcBef>
              <a:spcPct val="0"/>
            </a:spcBef>
            <a:spcAft>
              <a:spcPct val="35000"/>
            </a:spcAft>
          </a:pPr>
          <a:endParaRPr lang="nl-NL" sz="300" kern="1200"/>
        </a:p>
      </dsp:txBody>
      <dsp:txXfrm>
        <a:off x="1629748" y="1810628"/>
        <a:ext cx="65513" cy="65513"/>
      </dsp:txXfrm>
    </dsp:sp>
    <dsp:sp modelId="{AC1D65A5-768B-4E2E-8E92-E330A84DB47B}">
      <dsp:nvSpPr>
        <dsp:cNvPr id="0" name=""/>
        <dsp:cNvSpPr/>
      </dsp:nvSpPr>
      <dsp:spPr>
        <a:xfrm>
          <a:off x="1831959" y="820917"/>
          <a:ext cx="1350468" cy="779256"/>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br>
            <a:rPr lang="da-DK"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da-DK" sz="105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at door</a:t>
          </a:r>
          <a:endParaRPr lang="nl-NL" sz="1050" kern="1200" dirty="0">
            <a:solidFill>
              <a:schemeClr val="bg1"/>
            </a:solidFill>
          </a:endParaRPr>
        </a:p>
      </dsp:txBody>
      <dsp:txXfrm>
        <a:off x="1854783" y="843741"/>
        <a:ext cx="1304820" cy="733608"/>
      </dsp:txXfrm>
    </dsp:sp>
    <dsp:sp modelId="{1160787F-8A74-4A6E-936C-73A71478E8B1}">
      <dsp:nvSpPr>
        <dsp:cNvPr id="0" name=""/>
        <dsp:cNvSpPr/>
      </dsp:nvSpPr>
      <dsp:spPr>
        <a:xfrm>
          <a:off x="3182427" y="1202116"/>
          <a:ext cx="309130" cy="16858"/>
        </a:xfrm>
        <a:custGeom>
          <a:avLst/>
          <a:gdLst/>
          <a:ahLst/>
          <a:cxnLst/>
          <a:rect l="0" t="0" r="0" b="0"/>
          <a:pathLst>
            <a:path>
              <a:moveTo>
                <a:pt x="0" y="8429"/>
              </a:moveTo>
              <a:lnTo>
                <a:pt x="309130"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3329264" y="1202817"/>
        <a:ext cx="15456" cy="15456"/>
      </dsp:txXfrm>
    </dsp:sp>
    <dsp:sp modelId="{B8E5483D-4B2E-40A6-B93C-7E96727B7AF2}">
      <dsp:nvSpPr>
        <dsp:cNvPr id="0" name=""/>
        <dsp:cNvSpPr/>
      </dsp:nvSpPr>
      <dsp:spPr>
        <a:xfrm>
          <a:off x="3491558" y="843538"/>
          <a:ext cx="1350468" cy="734015"/>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l-NL" sz="105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Verzekering van groepen deelnemers</a:t>
          </a:r>
          <a:endParaRPr lang="da-DK" sz="1050" kern="12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dsp:txBody>
      <dsp:txXfrm>
        <a:off x="3513057" y="865037"/>
        <a:ext cx="1307470" cy="691017"/>
      </dsp:txXfrm>
    </dsp:sp>
    <dsp:sp modelId="{4FFCD822-998B-4783-8991-D15AC70BA337}">
      <dsp:nvSpPr>
        <dsp:cNvPr id="0" name=""/>
        <dsp:cNvSpPr/>
      </dsp:nvSpPr>
      <dsp:spPr>
        <a:xfrm rot="17323118">
          <a:off x="4546466" y="789900"/>
          <a:ext cx="870474" cy="16858"/>
        </a:xfrm>
        <a:custGeom>
          <a:avLst/>
          <a:gdLst/>
          <a:ahLst/>
          <a:cxnLst/>
          <a:rect l="0" t="0" r="0" b="0"/>
          <a:pathLst>
            <a:path>
              <a:moveTo>
                <a:pt x="0" y="8429"/>
              </a:moveTo>
              <a:lnTo>
                <a:pt x="870474"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4959941" y="776568"/>
        <a:ext cx="43523" cy="43523"/>
      </dsp:txXfrm>
    </dsp:sp>
    <dsp:sp modelId="{E6EDF9BA-0972-4591-A810-A06E051B92E9}">
      <dsp:nvSpPr>
        <dsp:cNvPr id="0" name=""/>
        <dsp:cNvSpPr/>
      </dsp:nvSpPr>
      <dsp:spPr>
        <a:xfrm>
          <a:off x="5121380" y="0"/>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FTK</a:t>
          </a:r>
          <a:endPar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sp:txBody>
      <dsp:txXfrm>
        <a:off x="5143998" y="22618"/>
        <a:ext cx="1291313" cy="726991"/>
      </dsp:txXfrm>
    </dsp:sp>
    <dsp:sp modelId="{5586BE20-D037-4BCF-949C-2F45ADB0A3DB}">
      <dsp:nvSpPr>
        <dsp:cNvPr id="0" name=""/>
        <dsp:cNvSpPr/>
      </dsp:nvSpPr>
      <dsp:spPr>
        <a:xfrm>
          <a:off x="6457930" y="377684"/>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6604767" y="378385"/>
        <a:ext cx="15456" cy="15456"/>
      </dsp:txXfrm>
    </dsp:sp>
    <dsp:sp modelId="{B373D5D3-3897-470E-A191-32D0E5083731}">
      <dsp:nvSpPr>
        <dsp:cNvPr id="0" name=""/>
        <dsp:cNvSpPr/>
      </dsp:nvSpPr>
      <dsp:spPr>
        <a:xfrm>
          <a:off x="6767060" y="0"/>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Verzekering van groepen deelnemers</a:t>
          </a:r>
        </a:p>
      </dsp:txBody>
      <dsp:txXfrm>
        <a:off x="6789678" y="22618"/>
        <a:ext cx="1291313" cy="726991"/>
      </dsp:txXfrm>
    </dsp:sp>
    <dsp:sp modelId="{3628B605-EE70-4903-BE9C-86CB9F41EEE4}">
      <dsp:nvSpPr>
        <dsp:cNvPr id="0" name=""/>
        <dsp:cNvSpPr/>
      </dsp:nvSpPr>
      <dsp:spPr>
        <a:xfrm>
          <a:off x="8103610" y="377684"/>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8250447" y="378385"/>
        <a:ext cx="15456" cy="15456"/>
      </dsp:txXfrm>
    </dsp:sp>
    <dsp:sp modelId="{33AD4ABC-DFE1-4AF6-991F-F7ECBA3ACEAA}">
      <dsp:nvSpPr>
        <dsp:cNvPr id="0" name=""/>
        <dsp:cNvSpPr/>
      </dsp:nvSpPr>
      <dsp:spPr>
        <a:xfrm>
          <a:off x="8412741" y="0"/>
          <a:ext cx="1336549" cy="772227"/>
        </a:xfrm>
        <a:prstGeom prst="roundRect">
          <a:avLst>
            <a:gd name="adj" fmla="val 10000"/>
          </a:avLst>
        </a:prstGeom>
        <a:solidFill>
          <a:srgbClr val="CEC4BA"/>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8435359" y="22618"/>
        <a:ext cx="1291313" cy="726991"/>
      </dsp:txXfrm>
    </dsp:sp>
    <dsp:sp modelId="{B3C018BD-8378-4D50-9DE7-111C0CFCD9E9}">
      <dsp:nvSpPr>
        <dsp:cNvPr id="0" name=""/>
        <dsp:cNvSpPr/>
      </dsp:nvSpPr>
      <dsp:spPr>
        <a:xfrm rot="121161">
          <a:off x="4841939" y="1207041"/>
          <a:ext cx="279527" cy="16858"/>
        </a:xfrm>
        <a:custGeom>
          <a:avLst/>
          <a:gdLst/>
          <a:ahLst/>
          <a:cxnLst/>
          <a:rect l="0" t="0" r="0" b="0"/>
          <a:pathLst>
            <a:path>
              <a:moveTo>
                <a:pt x="0" y="8429"/>
              </a:moveTo>
              <a:lnTo>
                <a:pt x="279527"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4974715" y="1208482"/>
        <a:ext cx="13976" cy="13976"/>
      </dsp:txXfrm>
    </dsp:sp>
    <dsp:sp modelId="{F298295D-B5F1-40F4-8188-198915F292B3}">
      <dsp:nvSpPr>
        <dsp:cNvPr id="0" name=""/>
        <dsp:cNvSpPr/>
      </dsp:nvSpPr>
      <dsp:spPr>
        <a:xfrm>
          <a:off x="5121380" y="834281"/>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a:solidFill>
                <a:srgbClr val="002060"/>
              </a:solidFill>
              <a:latin typeface="Open Sans" panose="020B0606030504020204" pitchFamily="34" charset="0"/>
              <a:ea typeface="Open Sans" panose="020B0606030504020204" pitchFamily="34" charset="0"/>
              <a:cs typeface="Open Sans" panose="020B0606030504020204" pitchFamily="34" charset="0"/>
            </a:rPr>
            <a:t>Flexibele regeling</a:t>
          </a:r>
          <a:endParaRPr lang="da-DK"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sp:txBody>
      <dsp:txXfrm>
        <a:off x="5143998" y="856899"/>
        <a:ext cx="1291313" cy="726991"/>
      </dsp:txXfrm>
    </dsp:sp>
    <dsp:sp modelId="{CB6F51A5-ADF5-4E43-90EE-34D6ABAD366B}">
      <dsp:nvSpPr>
        <dsp:cNvPr id="0" name=""/>
        <dsp:cNvSpPr/>
      </dsp:nvSpPr>
      <dsp:spPr>
        <a:xfrm>
          <a:off x="6457930" y="1211966"/>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6604767" y="1212667"/>
        <a:ext cx="15456" cy="15456"/>
      </dsp:txXfrm>
    </dsp:sp>
    <dsp:sp modelId="{574884EC-FE99-4C51-9308-935E8F5C70AF}">
      <dsp:nvSpPr>
        <dsp:cNvPr id="0" name=""/>
        <dsp:cNvSpPr/>
      </dsp:nvSpPr>
      <dsp:spPr>
        <a:xfrm>
          <a:off x="6767060" y="834281"/>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sp:txBody>
      <dsp:txXfrm>
        <a:off x="6789678" y="856899"/>
        <a:ext cx="1291313" cy="726991"/>
      </dsp:txXfrm>
    </dsp:sp>
    <dsp:sp modelId="{CCE1F522-EDC0-4BBB-9F23-D7E87C3A26BD}">
      <dsp:nvSpPr>
        <dsp:cNvPr id="0" name=""/>
        <dsp:cNvSpPr/>
      </dsp:nvSpPr>
      <dsp:spPr>
        <a:xfrm>
          <a:off x="8103610" y="1211966"/>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8250447" y="1212667"/>
        <a:ext cx="15456" cy="15456"/>
      </dsp:txXfrm>
    </dsp:sp>
    <dsp:sp modelId="{4300FE2C-FD3F-4707-A548-B9F2B38C7EA9}">
      <dsp:nvSpPr>
        <dsp:cNvPr id="0" name=""/>
        <dsp:cNvSpPr/>
      </dsp:nvSpPr>
      <dsp:spPr>
        <a:xfrm>
          <a:off x="8412741" y="834281"/>
          <a:ext cx="1336549" cy="772227"/>
        </a:xfrm>
        <a:prstGeom prst="roundRect">
          <a:avLst>
            <a:gd name="adj" fmla="val 10000"/>
          </a:avLst>
        </a:prstGeom>
        <a:solidFill>
          <a:srgbClr val="CEC4BA"/>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8435359" y="856899"/>
        <a:ext cx="1291313" cy="726991"/>
      </dsp:txXfrm>
    </dsp:sp>
    <dsp:sp modelId="{47334A7C-D400-4806-8E27-D20D5F35850E}">
      <dsp:nvSpPr>
        <dsp:cNvPr id="0" name=""/>
        <dsp:cNvSpPr/>
      </dsp:nvSpPr>
      <dsp:spPr>
        <a:xfrm rot="4296333">
          <a:off x="4539068" y="1622136"/>
          <a:ext cx="885271" cy="16858"/>
        </a:xfrm>
        <a:custGeom>
          <a:avLst/>
          <a:gdLst/>
          <a:ahLst/>
          <a:cxnLst/>
          <a:rect l="0" t="0" r="0" b="0"/>
          <a:pathLst>
            <a:path>
              <a:moveTo>
                <a:pt x="0" y="8429"/>
              </a:moveTo>
              <a:lnTo>
                <a:pt x="885271"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4959571" y="1608433"/>
        <a:ext cx="44263" cy="44263"/>
      </dsp:txXfrm>
    </dsp:sp>
    <dsp:sp modelId="{3B6A86F8-3D3F-48D8-ACE1-62C4FC5F55DA}">
      <dsp:nvSpPr>
        <dsp:cNvPr id="0" name=""/>
        <dsp:cNvSpPr/>
      </dsp:nvSpPr>
      <dsp:spPr>
        <a:xfrm>
          <a:off x="5121380" y="1664471"/>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Solidaire regeling</a:t>
          </a:r>
          <a:endPar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sp:txBody>
      <dsp:txXfrm>
        <a:off x="5143998" y="1687089"/>
        <a:ext cx="1291313" cy="726991"/>
      </dsp:txXfrm>
    </dsp:sp>
    <dsp:sp modelId="{8F9B8AD0-4A36-49B2-B6B3-E2FCE04754F1}">
      <dsp:nvSpPr>
        <dsp:cNvPr id="0" name=""/>
        <dsp:cNvSpPr/>
      </dsp:nvSpPr>
      <dsp:spPr>
        <a:xfrm>
          <a:off x="6457930" y="2042156"/>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6604767" y="2042857"/>
        <a:ext cx="15456" cy="15456"/>
      </dsp:txXfrm>
    </dsp:sp>
    <dsp:sp modelId="{E9C4F763-8FC3-45A0-A574-439296161C58}">
      <dsp:nvSpPr>
        <dsp:cNvPr id="0" name=""/>
        <dsp:cNvSpPr/>
      </dsp:nvSpPr>
      <dsp:spPr>
        <a:xfrm>
          <a:off x="6767060" y="1664471"/>
          <a:ext cx="1336549" cy="772227"/>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sp:txBody>
      <dsp:txXfrm>
        <a:off x="6789678" y="1687089"/>
        <a:ext cx="1291313" cy="726991"/>
      </dsp:txXfrm>
    </dsp:sp>
    <dsp:sp modelId="{E7B84A15-4EDC-47ED-935A-5A26BE5B9DD9}">
      <dsp:nvSpPr>
        <dsp:cNvPr id="0" name=""/>
        <dsp:cNvSpPr/>
      </dsp:nvSpPr>
      <dsp:spPr>
        <a:xfrm>
          <a:off x="8103610" y="2042156"/>
          <a:ext cx="309130" cy="16858"/>
        </a:xfrm>
        <a:custGeom>
          <a:avLst/>
          <a:gdLst/>
          <a:ahLst/>
          <a:cxnLst/>
          <a:rect l="0" t="0" r="0" b="0"/>
          <a:pathLst>
            <a:path>
              <a:moveTo>
                <a:pt x="0" y="8429"/>
              </a:moveTo>
              <a:lnTo>
                <a:pt x="309130" y="8429"/>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8250447" y="2042857"/>
        <a:ext cx="15456" cy="15456"/>
      </dsp:txXfrm>
    </dsp:sp>
    <dsp:sp modelId="{9533FB9A-4C7C-402C-93EE-9DEEA41E120B}">
      <dsp:nvSpPr>
        <dsp:cNvPr id="0" name=""/>
        <dsp:cNvSpPr/>
      </dsp:nvSpPr>
      <dsp:spPr>
        <a:xfrm>
          <a:off x="8412741" y="1664471"/>
          <a:ext cx="1336549" cy="772227"/>
        </a:xfrm>
        <a:prstGeom prst="roundRect">
          <a:avLst>
            <a:gd name="adj" fmla="val 10000"/>
          </a:avLst>
        </a:prstGeom>
        <a:solidFill>
          <a:srgbClr val="CEC4BA"/>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8435359" y="1687089"/>
        <a:ext cx="1291313" cy="726991"/>
      </dsp:txXfrm>
    </dsp:sp>
    <dsp:sp modelId="{3EE35210-EFA8-4161-B29C-9DC2C88BF6C9}">
      <dsp:nvSpPr>
        <dsp:cNvPr id="0" name=""/>
        <dsp:cNvSpPr/>
      </dsp:nvSpPr>
      <dsp:spPr>
        <a:xfrm rot="18494452">
          <a:off x="1388737" y="2252772"/>
          <a:ext cx="547536" cy="16858"/>
        </a:xfrm>
        <a:custGeom>
          <a:avLst/>
          <a:gdLst/>
          <a:ahLst/>
          <a:cxnLst/>
          <a:rect l="0" t="0" r="0" b="0"/>
          <a:pathLst>
            <a:path>
              <a:moveTo>
                <a:pt x="0" y="8429"/>
              </a:moveTo>
              <a:lnTo>
                <a:pt x="547536"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1648816" y="2247513"/>
        <a:ext cx="27376" cy="27376"/>
      </dsp:txXfrm>
    </dsp:sp>
    <dsp:sp modelId="{2C4E11B7-7219-40E0-8831-C1D3C6A447B8}">
      <dsp:nvSpPr>
        <dsp:cNvPr id="0" name=""/>
        <dsp:cNvSpPr/>
      </dsp:nvSpPr>
      <dsp:spPr>
        <a:xfrm>
          <a:off x="1831959" y="1656552"/>
          <a:ext cx="1350468" cy="779256"/>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latin typeface="Open Sans" panose="020B0606030504020204" pitchFamily="34" charset="0"/>
              <a:ea typeface="Open Sans" panose="020B0606030504020204" pitchFamily="34" charset="0"/>
              <a:cs typeface="Open Sans" panose="020B0606030504020204" pitchFamily="34" charset="0"/>
            </a:rPr>
            <a:t>Naar een APF</a:t>
          </a:r>
        </a:p>
      </dsp:txBody>
      <dsp:txXfrm>
        <a:off x="1854783" y="1679376"/>
        <a:ext cx="1304820" cy="733608"/>
      </dsp:txXfrm>
    </dsp:sp>
    <dsp:sp modelId="{2C28A49E-5BAB-4350-999F-AFB6A6E33B6C}">
      <dsp:nvSpPr>
        <dsp:cNvPr id="0" name=""/>
        <dsp:cNvSpPr/>
      </dsp:nvSpPr>
      <dsp:spPr>
        <a:xfrm>
          <a:off x="3182427" y="2037751"/>
          <a:ext cx="309130" cy="16858"/>
        </a:xfrm>
        <a:custGeom>
          <a:avLst/>
          <a:gdLst/>
          <a:ahLst/>
          <a:cxnLst/>
          <a:rect l="0" t="0" r="0" b="0"/>
          <a:pathLst>
            <a:path>
              <a:moveTo>
                <a:pt x="0" y="8429"/>
              </a:moveTo>
              <a:lnTo>
                <a:pt x="309130"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3329264" y="2038452"/>
        <a:ext cx="15456" cy="15456"/>
      </dsp:txXfrm>
    </dsp:sp>
    <dsp:sp modelId="{BED0DA98-6F09-4C27-8D40-1F6F82042840}">
      <dsp:nvSpPr>
        <dsp:cNvPr id="0" name=""/>
        <dsp:cNvSpPr/>
      </dsp:nvSpPr>
      <dsp:spPr>
        <a:xfrm>
          <a:off x="3491558" y="1656552"/>
          <a:ext cx="1350468" cy="779256"/>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latin typeface="Open Sans" panose="020B0606030504020204" pitchFamily="34" charset="0"/>
              <a:ea typeface="Open Sans" panose="020B0606030504020204" pitchFamily="34" charset="0"/>
              <a:cs typeface="Open Sans" panose="020B0606030504020204" pitchFamily="34" charset="0"/>
            </a:rPr>
            <a:t>Keuze (waarde)vast pensioen via verzekering van deel van de kring</a:t>
          </a:r>
        </a:p>
      </dsp:txBody>
      <dsp:txXfrm>
        <a:off x="3514382" y="1679376"/>
        <a:ext cx="1304820" cy="733608"/>
      </dsp:txXfrm>
    </dsp:sp>
    <dsp:sp modelId="{A07E0BA9-A85D-4C4A-B933-B2C7348AC368}">
      <dsp:nvSpPr>
        <dsp:cNvPr id="0" name=""/>
        <dsp:cNvSpPr/>
      </dsp:nvSpPr>
      <dsp:spPr>
        <a:xfrm rot="3013685">
          <a:off x="1397623" y="2671382"/>
          <a:ext cx="529764" cy="16858"/>
        </a:xfrm>
        <a:custGeom>
          <a:avLst/>
          <a:gdLst/>
          <a:ahLst/>
          <a:cxnLst/>
          <a:rect l="0" t="0" r="0" b="0"/>
          <a:pathLst>
            <a:path>
              <a:moveTo>
                <a:pt x="0" y="8429"/>
              </a:moveTo>
              <a:lnTo>
                <a:pt x="529764"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1649261" y="2666567"/>
        <a:ext cx="26488" cy="26488"/>
      </dsp:txXfrm>
    </dsp:sp>
    <dsp:sp modelId="{7248CDB8-8D27-4305-AC3F-77E9C7B4455F}">
      <dsp:nvSpPr>
        <dsp:cNvPr id="0" name=""/>
        <dsp:cNvSpPr/>
      </dsp:nvSpPr>
      <dsp:spPr>
        <a:xfrm>
          <a:off x="1831959" y="2493770"/>
          <a:ext cx="1350468" cy="779256"/>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latin typeface="Open Sans" panose="020B0606030504020204" pitchFamily="34" charset="0"/>
              <a:ea typeface="Open Sans" panose="020B0606030504020204" pitchFamily="34" charset="0"/>
              <a:cs typeface="Open Sans" panose="020B0606030504020204" pitchFamily="34" charset="0"/>
            </a:rPr>
            <a:t>Naar een BPF</a:t>
          </a:r>
          <a:endParaRPr lang="nl-NL" sz="1050" kern="1200" dirty="0">
            <a:latin typeface="Open Sans" panose="020B0606030504020204" pitchFamily="34" charset="0"/>
            <a:ea typeface="Open Sans" panose="020B0606030504020204" pitchFamily="34" charset="0"/>
            <a:cs typeface="Open Sans" panose="020B0606030504020204" pitchFamily="34" charset="0"/>
          </a:endParaRPr>
        </a:p>
      </dsp:txBody>
      <dsp:txXfrm>
        <a:off x="1854783" y="2516594"/>
        <a:ext cx="1304820" cy="733608"/>
      </dsp:txXfrm>
    </dsp:sp>
    <dsp:sp modelId="{C7E99121-8A95-4A6C-AF6B-7156325E8455}">
      <dsp:nvSpPr>
        <dsp:cNvPr id="0" name=""/>
        <dsp:cNvSpPr/>
      </dsp:nvSpPr>
      <dsp:spPr>
        <a:xfrm>
          <a:off x="3182427" y="2874969"/>
          <a:ext cx="309130" cy="16858"/>
        </a:xfrm>
        <a:custGeom>
          <a:avLst/>
          <a:gdLst/>
          <a:ahLst/>
          <a:cxnLst/>
          <a:rect l="0" t="0" r="0" b="0"/>
          <a:pathLst>
            <a:path>
              <a:moveTo>
                <a:pt x="0" y="8429"/>
              </a:moveTo>
              <a:lnTo>
                <a:pt x="309130"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3329264" y="2875670"/>
        <a:ext cx="15456" cy="15456"/>
      </dsp:txXfrm>
    </dsp:sp>
    <dsp:sp modelId="{35848290-1963-4846-A7F6-F6C2649D0D26}">
      <dsp:nvSpPr>
        <dsp:cNvPr id="0" name=""/>
        <dsp:cNvSpPr/>
      </dsp:nvSpPr>
      <dsp:spPr>
        <a:xfrm>
          <a:off x="3491558" y="2493770"/>
          <a:ext cx="1350468" cy="779256"/>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latin typeface="Open Sans" panose="020B0606030504020204" pitchFamily="34" charset="0"/>
              <a:ea typeface="Open Sans" panose="020B0606030504020204" pitchFamily="34" charset="0"/>
              <a:cs typeface="Open Sans" panose="020B0606030504020204" pitchFamily="34" charset="0"/>
            </a:rPr>
            <a:t>Keuze </a:t>
          </a:r>
          <a:r>
            <a:rPr lang="nl-NL" sz="1050" kern="1200" dirty="0" err="1">
              <a:latin typeface="Open Sans" panose="020B0606030504020204" pitchFamily="34" charset="0"/>
              <a:ea typeface="Open Sans" panose="020B0606030504020204" pitchFamily="34" charset="0"/>
              <a:cs typeface="Open Sans" panose="020B0606030504020204" pitchFamily="34" charset="0"/>
            </a:rPr>
            <a:t>Opt</a:t>
          </a:r>
          <a:r>
            <a:rPr lang="nl-NL" sz="1050" kern="1200" dirty="0">
              <a:latin typeface="Open Sans" panose="020B0606030504020204" pitchFamily="34" charset="0"/>
              <a:ea typeface="Open Sans" panose="020B0606030504020204" pitchFamily="34" charset="0"/>
              <a:cs typeface="Open Sans" panose="020B0606030504020204" pitchFamily="34" charset="0"/>
            </a:rPr>
            <a:t>-out voor gepensioneerden naar verzekeraar</a:t>
          </a:r>
        </a:p>
      </dsp:txBody>
      <dsp:txXfrm>
        <a:off x="3514382" y="2516594"/>
        <a:ext cx="1304820" cy="733608"/>
      </dsp:txXfrm>
    </dsp:sp>
    <dsp:sp modelId="{F54A8CC8-9933-4DA2-A0E8-20CBBF6B27C9}">
      <dsp:nvSpPr>
        <dsp:cNvPr id="0" name=""/>
        <dsp:cNvSpPr/>
      </dsp:nvSpPr>
      <dsp:spPr>
        <a:xfrm rot="4493849">
          <a:off x="1012127" y="3095708"/>
          <a:ext cx="1300754" cy="16858"/>
        </a:xfrm>
        <a:custGeom>
          <a:avLst/>
          <a:gdLst/>
          <a:ahLst/>
          <a:cxnLst/>
          <a:rect l="0" t="0" r="0" b="0"/>
          <a:pathLst>
            <a:path>
              <a:moveTo>
                <a:pt x="0" y="8429"/>
              </a:moveTo>
              <a:lnTo>
                <a:pt x="1300754"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355600">
            <a:lnSpc>
              <a:spcPct val="90000"/>
            </a:lnSpc>
            <a:spcBef>
              <a:spcPct val="0"/>
            </a:spcBef>
            <a:spcAft>
              <a:spcPct val="35000"/>
            </a:spcAft>
          </a:pPr>
          <a:endParaRPr lang="nl-NL" sz="800" kern="1200">
            <a:latin typeface="Open Sans" panose="020B0606030504020204" pitchFamily="34" charset="0"/>
            <a:ea typeface="Open Sans" panose="020B0606030504020204" pitchFamily="34" charset="0"/>
            <a:cs typeface="Open Sans" panose="020B0606030504020204" pitchFamily="34" charset="0"/>
          </a:endParaRPr>
        </a:p>
      </dsp:txBody>
      <dsp:txXfrm>
        <a:off x="1629986" y="3071618"/>
        <a:ext cx="65037" cy="65037"/>
      </dsp:txXfrm>
    </dsp:sp>
    <dsp:sp modelId="{387036C8-4FE6-4E4D-94FD-693E2966505A}">
      <dsp:nvSpPr>
        <dsp:cNvPr id="0" name=""/>
        <dsp:cNvSpPr/>
      </dsp:nvSpPr>
      <dsp:spPr>
        <a:xfrm>
          <a:off x="1831959" y="3342423"/>
          <a:ext cx="1350468" cy="779256"/>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da-DK" sz="1050" kern="1200" dirty="0">
              <a:latin typeface="Open Sans" panose="020B0606030504020204" pitchFamily="34" charset="0"/>
              <a:ea typeface="Open Sans" panose="020B0606030504020204" pitchFamily="34" charset="0"/>
              <a:cs typeface="Open Sans" panose="020B0606030504020204" pitchFamily="34" charset="0"/>
            </a:rPr>
            <a:t>Naar een verzekeraar</a:t>
          </a:r>
        </a:p>
      </dsp:txBody>
      <dsp:txXfrm>
        <a:off x="1854783" y="3365247"/>
        <a:ext cx="1304820" cy="733608"/>
      </dsp:txXfrm>
    </dsp:sp>
    <dsp:sp modelId="{2551E84C-BB4B-422C-99FF-67B4B8B1DE6B}">
      <dsp:nvSpPr>
        <dsp:cNvPr id="0" name=""/>
        <dsp:cNvSpPr/>
      </dsp:nvSpPr>
      <dsp:spPr>
        <a:xfrm>
          <a:off x="3182427" y="3723622"/>
          <a:ext cx="279353" cy="16858"/>
        </a:xfrm>
        <a:custGeom>
          <a:avLst/>
          <a:gdLst/>
          <a:ahLst/>
          <a:cxnLst/>
          <a:rect l="0" t="0" r="0" b="0"/>
          <a:pathLst>
            <a:path>
              <a:moveTo>
                <a:pt x="0" y="8429"/>
              </a:moveTo>
              <a:lnTo>
                <a:pt x="279353" y="8429"/>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33350">
            <a:lnSpc>
              <a:spcPct val="90000"/>
            </a:lnSpc>
            <a:spcBef>
              <a:spcPct val="0"/>
            </a:spcBef>
            <a:spcAft>
              <a:spcPct val="35000"/>
            </a:spcAft>
          </a:pPr>
          <a:endParaRPr lang="nl-NL" sz="300" kern="1200"/>
        </a:p>
      </dsp:txBody>
      <dsp:txXfrm>
        <a:off x="3315120" y="3725067"/>
        <a:ext cx="13967" cy="13967"/>
      </dsp:txXfrm>
    </dsp:sp>
    <dsp:sp modelId="{BCC9B3DD-F67A-413E-9F40-27BAF0DA5829}">
      <dsp:nvSpPr>
        <dsp:cNvPr id="0" name=""/>
        <dsp:cNvSpPr/>
      </dsp:nvSpPr>
      <dsp:spPr>
        <a:xfrm>
          <a:off x="3461781" y="3342423"/>
          <a:ext cx="1398182" cy="779256"/>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latin typeface="Open Sans" panose="020B0606030504020204" pitchFamily="34" charset="0"/>
              <a:ea typeface="Open Sans" panose="020B0606030504020204" pitchFamily="34" charset="0"/>
              <a:cs typeface="Open Sans" panose="020B0606030504020204" pitchFamily="34" charset="0"/>
            </a:rPr>
            <a:t> (Waarde)vast pensioen</a:t>
          </a:r>
          <a:endParaRPr lang="nl-NL" sz="1050" kern="1200" dirty="0"/>
        </a:p>
      </dsp:txBody>
      <dsp:txXfrm>
        <a:off x="3484605" y="3365247"/>
        <a:ext cx="1352534" cy="733608"/>
      </dsp:txXfrm>
    </dsp:sp>
    <dsp:sp modelId="{99A3CE25-3A55-44A0-BF2C-105E467D33CD}">
      <dsp:nvSpPr>
        <dsp:cNvPr id="0" name=""/>
        <dsp:cNvSpPr/>
      </dsp:nvSpPr>
      <dsp:spPr>
        <a:xfrm>
          <a:off x="4859964" y="3723622"/>
          <a:ext cx="309130" cy="16858"/>
        </a:xfrm>
        <a:custGeom>
          <a:avLst/>
          <a:gdLst/>
          <a:ahLst/>
          <a:cxnLst/>
          <a:rect l="0" t="0" r="0" b="0"/>
          <a:pathLst>
            <a:path>
              <a:moveTo>
                <a:pt x="0" y="8429"/>
              </a:moveTo>
              <a:lnTo>
                <a:pt x="309130" y="8429"/>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133350">
            <a:lnSpc>
              <a:spcPct val="90000"/>
            </a:lnSpc>
            <a:spcBef>
              <a:spcPct val="0"/>
            </a:spcBef>
            <a:spcAft>
              <a:spcPct val="35000"/>
            </a:spcAft>
          </a:pPr>
          <a:endParaRPr lang="nl-NL" sz="300" kern="1200"/>
        </a:p>
      </dsp:txBody>
      <dsp:txXfrm>
        <a:off x="5006801" y="3724323"/>
        <a:ext cx="15456" cy="15456"/>
      </dsp:txXfrm>
    </dsp:sp>
    <dsp:sp modelId="{FF7D7F05-02BB-485A-BBB6-D17B48DE4C1C}">
      <dsp:nvSpPr>
        <dsp:cNvPr id="0" name=""/>
        <dsp:cNvSpPr/>
      </dsp:nvSpPr>
      <dsp:spPr>
        <a:xfrm>
          <a:off x="5169094" y="3342423"/>
          <a:ext cx="1350468" cy="779256"/>
        </a:xfrm>
        <a:prstGeom prst="roundRect">
          <a:avLst>
            <a:gd name="adj" fmla="val 10000"/>
          </a:avLst>
        </a:prstGeom>
        <a:solidFill>
          <a:srgbClr val="B2E2A7"/>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6985" tIns="6985" rIns="6985" bIns="6985" numCol="1" spcCol="1270" anchor="ctr" anchorCtr="0">
          <a:noAutofit/>
        </a:bodyPr>
        <a:lstStyle/>
        <a:p>
          <a:pPr lvl="0" algn="ctr" defTabSz="466725">
            <a:lnSpc>
              <a:spcPct val="90000"/>
            </a:lnSpc>
            <a:spcBef>
              <a:spcPct val="0"/>
            </a:spcBef>
            <a:spcAft>
              <a:spcPct val="35000"/>
            </a:spcAft>
          </a:pP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Eventuele </a:t>
          </a:r>
          <a:r>
            <a:rPr lang="nl-NL" sz="1050" kern="1200" dirty="0" err="1">
              <a:solidFill>
                <a:srgbClr val="002060"/>
              </a:solidFill>
              <a:latin typeface="Open Sans" panose="020B0606030504020204" pitchFamily="34" charset="0"/>
              <a:ea typeface="Open Sans" panose="020B0606030504020204" pitchFamily="34" charset="0"/>
              <a:cs typeface="Open Sans" panose="020B0606030504020204" pitchFamily="34" charset="0"/>
            </a:rPr>
            <a:t>Opt</a:t>
          </a:r>
          <a:r>
            <a:rPr lang="nl-NL" sz="105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out voor actieve deelnemers naar nieuwe uitvoerder</a:t>
          </a:r>
          <a:endParaRPr lang="nl-NL" sz="1050" kern="1200" dirty="0">
            <a:solidFill>
              <a:srgbClr val="002060"/>
            </a:solidFill>
          </a:endParaRPr>
        </a:p>
      </dsp:txBody>
      <dsp:txXfrm>
        <a:off x="5191918" y="3365247"/>
        <a:ext cx="1304820" cy="73360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79920-459F-4C7B-ABB2-7EA5A310E576}">
      <dsp:nvSpPr>
        <dsp:cNvPr id="0" name=""/>
        <dsp:cNvSpPr/>
      </dsp:nvSpPr>
      <dsp:spPr>
        <a:xfrm>
          <a:off x="3835" y="1523635"/>
          <a:ext cx="1120241" cy="842809"/>
        </a:xfrm>
        <a:prstGeom prst="roundRect">
          <a:avLst>
            <a:gd name="adj" fmla="val 10000"/>
          </a:avLst>
        </a:prstGeom>
        <a:solidFill>
          <a:srgbClr val="306A55"/>
        </a:solidFill>
        <a:ln w="12700" cap="flat" cmpd="sng" algn="ctr">
          <a:noFill/>
          <a:prstDash val="solid"/>
          <a:miter lim="800000"/>
        </a:ln>
        <a:effectLst>
          <a:outerShdw blurRad="44450" dist="27940" dir="5400000" algn="ctr" rotWithShape="0">
            <a:srgbClr val="000000">
              <a:alpha val="32000"/>
            </a:srgbClr>
          </a:outerShdw>
        </a:effectLst>
        <a:scene3d>
          <a:camera prst="orthographicFront">
            <a:rot lat="0" lon="0" rev="0"/>
          </a:camera>
          <a:lightRig rig="balanced" dir="t">
            <a:rot lat="0" lon="0" rev="8700000"/>
          </a:lightRig>
        </a:scene3d>
        <a:sp3d/>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7620" tIns="7620" rIns="7620" bIns="7620" numCol="1" spcCol="1270" rtlCol="0" anchor="ctr" anchorCtr="0">
          <a:noAutofit/>
        </a:bodyPr>
        <a:lstStyle/>
        <a:p>
          <a:pPr marL="0" lvl="0" algn="ctr" defTabSz="914400" rtl="0" eaLnBrk="1" latinLnBrk="0" hangingPunct="1">
            <a:lnSpc>
              <a:spcPct val="90000"/>
            </a:lnSpc>
            <a:spcBef>
              <a:spcPct val="0"/>
            </a:spcBef>
            <a:spcAft>
              <a:spcPct val="35000"/>
            </a:spcAft>
          </a:pPr>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a:t>
          </a:r>
        </a:p>
        <a:p>
          <a:pPr marL="0" lvl="0" algn="ctr" defTabSz="914400" rtl="0" eaLnBrk="1" latinLnBrk="0" hangingPunct="1">
            <a:lnSpc>
              <a:spcPct val="90000"/>
            </a:lnSpc>
            <a:spcBef>
              <a:spcPct val="0"/>
            </a:spcBef>
            <a:spcAft>
              <a:spcPct val="35000"/>
            </a:spcAft>
          </a:pPr>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fonds</a:t>
          </a:r>
          <a:endParaRPr lang="nl-NL"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dsp:txBody>
      <dsp:txXfrm>
        <a:off x="28520" y="1548320"/>
        <a:ext cx="1070871" cy="793439"/>
      </dsp:txXfrm>
    </dsp:sp>
    <dsp:sp modelId="{8A39741E-7C08-4901-8265-1CADB3D59101}">
      <dsp:nvSpPr>
        <dsp:cNvPr id="0" name=""/>
        <dsp:cNvSpPr/>
      </dsp:nvSpPr>
      <dsp:spPr>
        <a:xfrm rot="17099418">
          <a:off x="589224" y="1238283"/>
          <a:ext cx="1442926" cy="19690"/>
        </a:xfrm>
        <a:custGeom>
          <a:avLst/>
          <a:gdLst/>
          <a:ahLst/>
          <a:cxnLst/>
          <a:rect l="0" t="0" r="0" b="0"/>
          <a:pathLst>
            <a:path>
              <a:moveTo>
                <a:pt x="0" y="9845"/>
              </a:moveTo>
              <a:lnTo>
                <a:pt x="1442926"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p>
      </dsp:txBody>
      <dsp:txXfrm>
        <a:off x="1274614" y="1212055"/>
        <a:ext cx="72146" cy="72146"/>
      </dsp:txXfrm>
    </dsp:sp>
    <dsp:sp modelId="{AC1D65A5-768B-4E2E-8E92-E330A84DB47B}">
      <dsp:nvSpPr>
        <dsp:cNvPr id="0" name=""/>
        <dsp:cNvSpPr/>
      </dsp:nvSpPr>
      <dsp:spPr>
        <a:xfrm>
          <a:off x="1497298" y="122139"/>
          <a:ext cx="1487199" cy="858153"/>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Pensioenfonds</a:t>
          </a:r>
          <a:b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da-DK"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gaat door</a:t>
          </a:r>
          <a:endParaRPr lang="nl-NL" sz="1200" kern="1200" dirty="0">
            <a:solidFill>
              <a:schemeClr val="bg1"/>
            </a:solidFill>
          </a:endParaRPr>
        </a:p>
      </dsp:txBody>
      <dsp:txXfrm>
        <a:off x="1522432" y="147273"/>
        <a:ext cx="1436931" cy="807885"/>
      </dsp:txXfrm>
    </dsp:sp>
    <dsp:sp modelId="{1160787F-8A74-4A6E-936C-73A71478E8B1}">
      <dsp:nvSpPr>
        <dsp:cNvPr id="0" name=""/>
        <dsp:cNvSpPr/>
      </dsp:nvSpPr>
      <dsp:spPr>
        <a:xfrm>
          <a:off x="2984497" y="541371"/>
          <a:ext cx="340429" cy="19690"/>
        </a:xfrm>
        <a:custGeom>
          <a:avLst/>
          <a:gdLst/>
          <a:ahLst/>
          <a:cxnLst/>
          <a:rect l="0" t="0" r="0" b="0"/>
          <a:pathLst>
            <a:path>
              <a:moveTo>
                <a:pt x="0" y="9845"/>
              </a:moveTo>
              <a:lnTo>
                <a:pt x="340429"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3146201" y="542706"/>
        <a:ext cx="17021" cy="17021"/>
      </dsp:txXfrm>
    </dsp:sp>
    <dsp:sp modelId="{B8E5483D-4B2E-40A6-B93C-7E96727B7AF2}">
      <dsp:nvSpPr>
        <dsp:cNvPr id="0" name=""/>
        <dsp:cNvSpPr/>
      </dsp:nvSpPr>
      <dsp:spPr>
        <a:xfrm>
          <a:off x="3324926" y="147050"/>
          <a:ext cx="1487199" cy="808332"/>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nl-NL"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Verzekering van groepen deelnemers</a:t>
          </a:r>
          <a:endParaRPr lang="da-DK"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endParaRPr>
        </a:p>
      </dsp:txBody>
      <dsp:txXfrm>
        <a:off x="3348601" y="170725"/>
        <a:ext cx="1439849" cy="760982"/>
      </dsp:txXfrm>
    </dsp:sp>
    <dsp:sp modelId="{3EE35210-EFA8-4161-B29C-9DC2C88BF6C9}">
      <dsp:nvSpPr>
        <dsp:cNvPr id="0" name=""/>
        <dsp:cNvSpPr/>
      </dsp:nvSpPr>
      <dsp:spPr>
        <a:xfrm rot="18494452">
          <a:off x="1009201" y="1698403"/>
          <a:ext cx="602972" cy="19690"/>
        </a:xfrm>
        <a:custGeom>
          <a:avLst/>
          <a:gdLst/>
          <a:ahLst/>
          <a:cxnLst/>
          <a:rect l="0" t="0" r="0" b="0"/>
          <a:pathLst>
            <a:path>
              <a:moveTo>
                <a:pt x="0" y="9845"/>
              </a:moveTo>
              <a:lnTo>
                <a:pt x="602972"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1295613" y="1693174"/>
        <a:ext cx="30148" cy="30148"/>
      </dsp:txXfrm>
    </dsp:sp>
    <dsp:sp modelId="{2C4E11B7-7219-40E0-8831-C1D3C6A447B8}">
      <dsp:nvSpPr>
        <dsp:cNvPr id="0" name=""/>
        <dsp:cNvSpPr/>
      </dsp:nvSpPr>
      <dsp:spPr>
        <a:xfrm>
          <a:off x="1497298" y="1042379"/>
          <a:ext cx="1487199" cy="858153"/>
        </a:xfrm>
        <a:prstGeom prst="roundRect">
          <a:avLst>
            <a:gd name="adj" fmla="val 10000"/>
          </a:avLst>
        </a:prstGeom>
        <a:solidFill>
          <a:srgbClr val="B2E2A7"/>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Naar een APF</a:t>
          </a:r>
        </a:p>
      </dsp:txBody>
      <dsp:txXfrm>
        <a:off x="1522432" y="1067513"/>
        <a:ext cx="1436931" cy="807885"/>
      </dsp:txXfrm>
    </dsp:sp>
    <dsp:sp modelId="{2C28A49E-5BAB-4350-999F-AFB6A6E33B6C}">
      <dsp:nvSpPr>
        <dsp:cNvPr id="0" name=""/>
        <dsp:cNvSpPr/>
      </dsp:nvSpPr>
      <dsp:spPr>
        <a:xfrm>
          <a:off x="2984497" y="1461611"/>
          <a:ext cx="340429" cy="19690"/>
        </a:xfrm>
        <a:custGeom>
          <a:avLst/>
          <a:gdLst/>
          <a:ahLst/>
          <a:cxnLst/>
          <a:rect l="0" t="0" r="0" b="0"/>
          <a:pathLst>
            <a:path>
              <a:moveTo>
                <a:pt x="0" y="9845"/>
              </a:moveTo>
              <a:lnTo>
                <a:pt x="340429"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3146201" y="1462945"/>
        <a:ext cx="17021" cy="17021"/>
      </dsp:txXfrm>
    </dsp:sp>
    <dsp:sp modelId="{BED0DA98-6F09-4C27-8D40-1F6F82042840}">
      <dsp:nvSpPr>
        <dsp:cNvPr id="0" name=""/>
        <dsp:cNvSpPr/>
      </dsp:nvSpPr>
      <dsp:spPr>
        <a:xfrm>
          <a:off x="3324926" y="1042379"/>
          <a:ext cx="1487199" cy="858153"/>
        </a:xfrm>
        <a:prstGeom prst="roundRect">
          <a:avLst>
            <a:gd name="adj" fmla="val 10000"/>
          </a:avLst>
        </a:prstGeom>
        <a:solidFill>
          <a:srgbClr val="B2E2A7"/>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via verzekering van deel van de kring</a:t>
          </a:r>
        </a:p>
      </dsp:txBody>
      <dsp:txXfrm>
        <a:off x="3350060" y="1067513"/>
        <a:ext cx="1436931" cy="807885"/>
      </dsp:txXfrm>
    </dsp:sp>
    <dsp:sp modelId="{A07E0BA9-A85D-4C4A-B933-B2C7348AC368}">
      <dsp:nvSpPr>
        <dsp:cNvPr id="0" name=""/>
        <dsp:cNvSpPr/>
      </dsp:nvSpPr>
      <dsp:spPr>
        <a:xfrm rot="3013685">
          <a:off x="1018987" y="2159395"/>
          <a:ext cx="583401" cy="19690"/>
        </a:xfrm>
        <a:custGeom>
          <a:avLst/>
          <a:gdLst/>
          <a:ahLst/>
          <a:cxnLst/>
          <a:rect l="0" t="0" r="0" b="0"/>
          <a:pathLst>
            <a:path>
              <a:moveTo>
                <a:pt x="0" y="9845"/>
              </a:moveTo>
              <a:lnTo>
                <a:pt x="583401"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1296102" y="2154655"/>
        <a:ext cx="29170" cy="29170"/>
      </dsp:txXfrm>
    </dsp:sp>
    <dsp:sp modelId="{7248CDB8-8D27-4305-AC3F-77E9C7B4455F}">
      <dsp:nvSpPr>
        <dsp:cNvPr id="0" name=""/>
        <dsp:cNvSpPr/>
      </dsp:nvSpPr>
      <dsp:spPr>
        <a:xfrm>
          <a:off x="1497298" y="1964364"/>
          <a:ext cx="1487199" cy="858153"/>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latin typeface="Open Sans" panose="020B0606030504020204" pitchFamily="34" charset="0"/>
              <a:ea typeface="Open Sans" panose="020B0606030504020204" pitchFamily="34" charset="0"/>
              <a:cs typeface="Open Sans" panose="020B0606030504020204" pitchFamily="34" charset="0"/>
            </a:rPr>
            <a:t>Naar een BPF</a:t>
          </a:r>
          <a:endParaRPr lang="nl-NL" sz="12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522432" y="1989498"/>
        <a:ext cx="1436931" cy="807885"/>
      </dsp:txXfrm>
    </dsp:sp>
    <dsp:sp modelId="{C7E99121-8A95-4A6C-AF6B-7156325E8455}">
      <dsp:nvSpPr>
        <dsp:cNvPr id="0" name=""/>
        <dsp:cNvSpPr/>
      </dsp:nvSpPr>
      <dsp:spPr>
        <a:xfrm>
          <a:off x="2984497" y="2383595"/>
          <a:ext cx="340429" cy="19690"/>
        </a:xfrm>
        <a:custGeom>
          <a:avLst/>
          <a:gdLst/>
          <a:ahLst/>
          <a:cxnLst/>
          <a:rect l="0" t="0" r="0" b="0"/>
          <a:pathLst>
            <a:path>
              <a:moveTo>
                <a:pt x="0" y="9845"/>
              </a:moveTo>
              <a:lnTo>
                <a:pt x="340429"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3146201" y="2384930"/>
        <a:ext cx="17021" cy="17021"/>
      </dsp:txXfrm>
    </dsp:sp>
    <dsp:sp modelId="{35848290-1963-4846-A7F6-F6C2649D0D26}">
      <dsp:nvSpPr>
        <dsp:cNvPr id="0" name=""/>
        <dsp:cNvSpPr/>
      </dsp:nvSpPr>
      <dsp:spPr>
        <a:xfrm>
          <a:off x="3324926" y="1964364"/>
          <a:ext cx="1487199" cy="858153"/>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latin typeface="Open Sans" panose="020B0606030504020204" pitchFamily="34" charset="0"/>
              <a:ea typeface="Open Sans" panose="020B0606030504020204" pitchFamily="34" charset="0"/>
              <a:cs typeface="Open Sans" panose="020B0606030504020204" pitchFamily="34" charset="0"/>
            </a:rPr>
            <a:t>Keuze </a:t>
          </a:r>
          <a:r>
            <a:rPr lang="nl-NL" sz="1200" kern="1200" dirty="0" err="1">
              <a:latin typeface="Open Sans" panose="020B0606030504020204" pitchFamily="34" charset="0"/>
              <a:ea typeface="Open Sans" panose="020B0606030504020204" pitchFamily="34" charset="0"/>
              <a:cs typeface="Open Sans" panose="020B0606030504020204" pitchFamily="34" charset="0"/>
            </a:rPr>
            <a:t>Opt</a:t>
          </a:r>
          <a:r>
            <a:rPr lang="nl-NL" sz="1200" kern="1200" dirty="0">
              <a:latin typeface="Open Sans" panose="020B0606030504020204" pitchFamily="34" charset="0"/>
              <a:ea typeface="Open Sans" panose="020B0606030504020204" pitchFamily="34" charset="0"/>
              <a:cs typeface="Open Sans" panose="020B0606030504020204" pitchFamily="34" charset="0"/>
            </a:rPr>
            <a:t>-out voor gepensioneerden naar verzekeraar</a:t>
          </a:r>
        </a:p>
      </dsp:txBody>
      <dsp:txXfrm>
        <a:off x="3350060" y="1989498"/>
        <a:ext cx="1436931" cy="807885"/>
      </dsp:txXfrm>
    </dsp:sp>
    <dsp:sp modelId="{F54A8CC8-9933-4DA2-A0E8-20CBBF6B27C9}">
      <dsp:nvSpPr>
        <dsp:cNvPr id="0" name=""/>
        <dsp:cNvSpPr/>
      </dsp:nvSpPr>
      <dsp:spPr>
        <a:xfrm rot="4493849">
          <a:off x="594462" y="2626683"/>
          <a:ext cx="1432451" cy="19690"/>
        </a:xfrm>
        <a:custGeom>
          <a:avLst/>
          <a:gdLst/>
          <a:ahLst/>
          <a:cxnLst/>
          <a:rect l="0" t="0" r="0" b="0"/>
          <a:pathLst>
            <a:path>
              <a:moveTo>
                <a:pt x="0" y="9845"/>
              </a:moveTo>
              <a:lnTo>
                <a:pt x="1432451"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latin typeface="Open Sans" panose="020B0606030504020204" pitchFamily="34" charset="0"/>
            <a:ea typeface="Open Sans" panose="020B0606030504020204" pitchFamily="34" charset="0"/>
            <a:cs typeface="Open Sans" panose="020B0606030504020204" pitchFamily="34" charset="0"/>
          </a:endParaRPr>
        </a:p>
      </dsp:txBody>
      <dsp:txXfrm>
        <a:off x="1274876" y="2600717"/>
        <a:ext cx="71622" cy="71622"/>
      </dsp:txXfrm>
    </dsp:sp>
    <dsp:sp modelId="{387036C8-4FE6-4E4D-94FD-693E2966505A}">
      <dsp:nvSpPr>
        <dsp:cNvPr id="0" name=""/>
        <dsp:cNvSpPr/>
      </dsp:nvSpPr>
      <dsp:spPr>
        <a:xfrm>
          <a:off x="1497298" y="2898940"/>
          <a:ext cx="1487199" cy="858153"/>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latin typeface="Open Sans" panose="020B0606030504020204" pitchFamily="34" charset="0"/>
              <a:ea typeface="Open Sans" panose="020B0606030504020204" pitchFamily="34" charset="0"/>
              <a:cs typeface="Open Sans" panose="020B0606030504020204" pitchFamily="34" charset="0"/>
            </a:rPr>
            <a:t>Naar een verzekeraar</a:t>
          </a:r>
        </a:p>
      </dsp:txBody>
      <dsp:txXfrm>
        <a:off x="1522432" y="2924074"/>
        <a:ext cx="1436931" cy="807885"/>
      </dsp:txXfrm>
    </dsp:sp>
    <dsp:sp modelId="{2551E84C-BB4B-422C-99FF-67B4B8B1DE6B}">
      <dsp:nvSpPr>
        <dsp:cNvPr id="0" name=""/>
        <dsp:cNvSpPr/>
      </dsp:nvSpPr>
      <dsp:spPr>
        <a:xfrm>
          <a:off x="2984497" y="3318172"/>
          <a:ext cx="307637" cy="19690"/>
        </a:xfrm>
        <a:custGeom>
          <a:avLst/>
          <a:gdLst/>
          <a:ahLst/>
          <a:cxnLst/>
          <a:rect l="0" t="0" r="0" b="0"/>
          <a:pathLst>
            <a:path>
              <a:moveTo>
                <a:pt x="0" y="9845"/>
              </a:moveTo>
              <a:lnTo>
                <a:pt x="307637" y="9845"/>
              </a:lnTo>
            </a:path>
          </a:pathLst>
        </a:custGeom>
        <a:noFill/>
        <a:ln w="28575" cap="flat" cmpd="sng" algn="ctr">
          <a:solidFill>
            <a:srgbClr val="4BA485"/>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p>
      </dsp:txBody>
      <dsp:txXfrm>
        <a:off x="3130625" y="3320326"/>
        <a:ext cx="15381" cy="15381"/>
      </dsp:txXfrm>
    </dsp:sp>
    <dsp:sp modelId="{BCC9B3DD-F67A-413E-9F40-27BAF0DA5829}">
      <dsp:nvSpPr>
        <dsp:cNvPr id="0" name=""/>
        <dsp:cNvSpPr/>
      </dsp:nvSpPr>
      <dsp:spPr>
        <a:xfrm>
          <a:off x="3292134" y="2898940"/>
          <a:ext cx="1539744" cy="858153"/>
        </a:xfrm>
        <a:prstGeom prst="roundRect">
          <a:avLst>
            <a:gd name="adj" fmla="val 10000"/>
          </a:avLst>
        </a:prstGeom>
        <a:solidFill>
          <a:srgbClr val="4BA485"/>
        </a:solidFill>
        <a:ln>
          <a:solidFill>
            <a:srgbClr val="4BA485"/>
          </a:solid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latin typeface="Open Sans" panose="020B0606030504020204" pitchFamily="34" charset="0"/>
              <a:ea typeface="Open Sans" panose="020B0606030504020204" pitchFamily="34" charset="0"/>
              <a:cs typeface="Open Sans" panose="020B0606030504020204" pitchFamily="34" charset="0"/>
            </a:rPr>
            <a:t> (Waarde)vast pensioen</a:t>
          </a:r>
          <a:endParaRPr lang="nl-NL" sz="1200" kern="1200" dirty="0"/>
        </a:p>
      </dsp:txBody>
      <dsp:txXfrm>
        <a:off x="3317268" y="2924074"/>
        <a:ext cx="1489476" cy="807885"/>
      </dsp:txXfrm>
    </dsp:sp>
    <dsp:sp modelId="{99A3CE25-3A55-44A0-BF2C-105E467D33CD}">
      <dsp:nvSpPr>
        <dsp:cNvPr id="0" name=""/>
        <dsp:cNvSpPr/>
      </dsp:nvSpPr>
      <dsp:spPr>
        <a:xfrm>
          <a:off x="4831879" y="3318172"/>
          <a:ext cx="340429" cy="19690"/>
        </a:xfrm>
        <a:custGeom>
          <a:avLst/>
          <a:gdLst/>
          <a:ahLst/>
          <a:cxnLst/>
          <a:rect l="0" t="0" r="0" b="0"/>
          <a:pathLst>
            <a:path>
              <a:moveTo>
                <a:pt x="0" y="9845"/>
              </a:moveTo>
              <a:lnTo>
                <a:pt x="340429" y="9845"/>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88950">
            <a:lnSpc>
              <a:spcPct val="90000"/>
            </a:lnSpc>
            <a:spcBef>
              <a:spcPct val="0"/>
            </a:spcBef>
            <a:spcAft>
              <a:spcPct val="35000"/>
            </a:spcAft>
          </a:pPr>
          <a:endParaRPr lang="nl-NL" sz="1100" kern="1200"/>
        </a:p>
      </dsp:txBody>
      <dsp:txXfrm>
        <a:off x="4993583" y="3319506"/>
        <a:ext cx="17021" cy="17021"/>
      </dsp:txXfrm>
    </dsp:sp>
    <dsp:sp modelId="{FF7D7F05-02BB-485A-BBB6-D17B48DE4C1C}">
      <dsp:nvSpPr>
        <dsp:cNvPr id="0" name=""/>
        <dsp:cNvSpPr/>
      </dsp:nvSpPr>
      <dsp:spPr>
        <a:xfrm>
          <a:off x="5172308" y="2898940"/>
          <a:ext cx="1487199" cy="858153"/>
        </a:xfrm>
        <a:prstGeom prst="roundRect">
          <a:avLst>
            <a:gd name="adj" fmla="val 10000"/>
          </a:avLst>
        </a:prstGeom>
        <a:solidFill>
          <a:srgbClr val="4BA485"/>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Eventuele </a:t>
          </a:r>
          <a:r>
            <a:rPr lang="nl-NL" sz="1200" kern="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Opt</a:t>
          </a:r>
          <a:r>
            <a:rPr lang="nl-NL" sz="1200"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out voor actieve deelnemers naar nieuwe uitvoerder</a:t>
          </a:r>
          <a:endParaRPr lang="nl-NL" sz="1200" kern="1200" dirty="0">
            <a:solidFill>
              <a:schemeClr val="bg1"/>
            </a:solidFill>
          </a:endParaRPr>
        </a:p>
      </dsp:txBody>
      <dsp:txXfrm>
        <a:off x="5197442" y="2924074"/>
        <a:ext cx="1436931" cy="80788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E2C242-9349-43BE-8A48-5EE97DED7ADE}">
      <dsp:nvSpPr>
        <dsp:cNvPr id="0" name=""/>
        <dsp:cNvSpPr/>
      </dsp:nvSpPr>
      <dsp:spPr>
        <a:xfrm>
          <a:off x="4379" y="1525930"/>
          <a:ext cx="1277038" cy="1028585"/>
        </a:xfrm>
        <a:prstGeom prst="roundRect">
          <a:avLst>
            <a:gd name="adj" fmla="val 10000"/>
          </a:avLst>
        </a:prstGeom>
        <a:solidFill>
          <a:srgbClr val="306A55"/>
        </a:solidFill>
        <a:ln w="12700" cap="flat" cmpd="sng" algn="ctr">
          <a:solidFill>
            <a:schemeClr val="accent1">
              <a:shade val="50000"/>
            </a:schemeClr>
          </a:solidFill>
          <a:prstDash val="solid"/>
          <a:miter lim="800000"/>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7620" tIns="7620" rIns="7620" bIns="7620" numCol="1" spcCol="1270" rtlCol="0" anchor="ctr" anchorCtr="0">
          <a:noAutofit/>
        </a:bodyPr>
        <a:lstStyle/>
        <a:p>
          <a:pPr marL="0" lvl="0" indent="0" algn="ctr" defTabSz="914400" rtl="0" eaLnBrk="1" latinLnBrk="0" hangingPunct="1">
            <a:lnSpc>
              <a:spcPct val="90000"/>
            </a:lnSpc>
            <a:spcBef>
              <a:spcPct val="0"/>
            </a:spcBef>
            <a:spcAft>
              <a:spcPct val="35000"/>
            </a:spcAft>
            <a:buNone/>
          </a:pPr>
          <a:r>
            <a:rPr lang="nl-NL" sz="1200" kern="1200" dirty="0">
              <a:solidFill>
                <a:prstClr val="white"/>
              </a:solidFill>
              <a:latin typeface="Open Sans" panose="020B0606030504020204" pitchFamily="34" charset="0"/>
              <a:ea typeface="Open Sans" panose="020B0606030504020204" pitchFamily="34" charset="0"/>
              <a:cs typeface="Open Sans" panose="020B0606030504020204" pitchFamily="34" charset="0"/>
            </a:rPr>
            <a:t>Pensioenfonds</a:t>
          </a:r>
        </a:p>
      </dsp:txBody>
      <dsp:txXfrm>
        <a:off x="34505" y="1556056"/>
        <a:ext cx="1216786" cy="968333"/>
      </dsp:txXfrm>
    </dsp:sp>
    <dsp:sp modelId="{4FFCD822-998B-4783-8991-D15AC70BA337}">
      <dsp:nvSpPr>
        <dsp:cNvPr id="0" name=""/>
        <dsp:cNvSpPr/>
      </dsp:nvSpPr>
      <dsp:spPr>
        <a:xfrm rot="17410105">
          <a:off x="935305" y="1534330"/>
          <a:ext cx="1056480" cy="20085"/>
        </a:xfrm>
        <a:custGeom>
          <a:avLst/>
          <a:gdLst/>
          <a:ahLst/>
          <a:cxnLst/>
          <a:rect l="0" t="0" r="0" b="0"/>
          <a:pathLst>
            <a:path>
              <a:moveTo>
                <a:pt x="0" y="10042"/>
              </a:moveTo>
              <a:lnTo>
                <a:pt x="1056480"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1437133" y="1517961"/>
        <a:ext cx="52824" cy="52824"/>
      </dsp:txXfrm>
    </dsp:sp>
    <dsp:sp modelId="{E6EDF9BA-0972-4591-A810-A06E051B92E9}">
      <dsp:nvSpPr>
        <dsp:cNvPr id="0" name=""/>
        <dsp:cNvSpPr/>
      </dsp:nvSpPr>
      <dsp:spPr>
        <a:xfrm>
          <a:off x="1645672" y="593558"/>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FTK</a:t>
          </a:r>
          <a:endPar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sp:txBody>
      <dsp:txXfrm>
        <a:off x="1672323" y="620209"/>
        <a:ext cx="1521578" cy="856627"/>
      </dsp:txXfrm>
    </dsp:sp>
    <dsp:sp modelId="{5586BE20-D037-4BCF-949C-2F45ADB0A3DB}">
      <dsp:nvSpPr>
        <dsp:cNvPr id="0" name=""/>
        <dsp:cNvSpPr/>
      </dsp:nvSpPr>
      <dsp:spPr>
        <a:xfrm>
          <a:off x="3220552" y="1038480"/>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3393573" y="1039416"/>
        <a:ext cx="18212" cy="18212"/>
      </dsp:txXfrm>
    </dsp:sp>
    <dsp:sp modelId="{B373D5D3-3897-470E-A191-32D0E5083731}">
      <dsp:nvSpPr>
        <dsp:cNvPr id="0" name=""/>
        <dsp:cNvSpPr/>
      </dsp:nvSpPr>
      <dsp:spPr>
        <a:xfrm>
          <a:off x="3584806" y="593558"/>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Verzekering van groepen deelnemers</a:t>
          </a:r>
        </a:p>
      </dsp:txBody>
      <dsp:txXfrm>
        <a:off x="3611457" y="620209"/>
        <a:ext cx="1521578" cy="856627"/>
      </dsp:txXfrm>
    </dsp:sp>
    <dsp:sp modelId="{3628B605-EE70-4903-BE9C-86CB9F41EEE4}">
      <dsp:nvSpPr>
        <dsp:cNvPr id="0" name=""/>
        <dsp:cNvSpPr/>
      </dsp:nvSpPr>
      <dsp:spPr>
        <a:xfrm>
          <a:off x="5159687" y="1038480"/>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5332707" y="1039416"/>
        <a:ext cx="18212" cy="18212"/>
      </dsp:txXfrm>
    </dsp:sp>
    <dsp:sp modelId="{33AD4ABC-DFE1-4AF6-991F-F7ECBA3ACEAA}">
      <dsp:nvSpPr>
        <dsp:cNvPr id="0" name=""/>
        <dsp:cNvSpPr/>
      </dsp:nvSpPr>
      <dsp:spPr>
        <a:xfrm>
          <a:off x="5523941" y="593558"/>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5550592" y="620209"/>
        <a:ext cx="1521578" cy="856627"/>
      </dsp:txXfrm>
    </dsp:sp>
    <dsp:sp modelId="{B3C018BD-8378-4D50-9DE7-111C0CFCD9E9}">
      <dsp:nvSpPr>
        <dsp:cNvPr id="0" name=""/>
        <dsp:cNvSpPr/>
      </dsp:nvSpPr>
      <dsp:spPr>
        <a:xfrm>
          <a:off x="1281418" y="2030180"/>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1454438" y="2031117"/>
        <a:ext cx="18212" cy="18212"/>
      </dsp:txXfrm>
    </dsp:sp>
    <dsp:sp modelId="{F298295D-B5F1-40F4-8188-198915F292B3}">
      <dsp:nvSpPr>
        <dsp:cNvPr id="0" name=""/>
        <dsp:cNvSpPr/>
      </dsp:nvSpPr>
      <dsp:spPr>
        <a:xfrm>
          <a:off x="1645672" y="1585258"/>
          <a:ext cx="1574880" cy="909929"/>
        </a:xfrm>
        <a:prstGeom prst="roundRect">
          <a:avLst>
            <a:gd name="adj" fmla="val 10000"/>
          </a:avLst>
        </a:prstGeom>
        <a:solidFill>
          <a:srgbClr val="E5E0D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Flexibele regeling</a:t>
          </a:r>
        </a:p>
      </dsp:txBody>
      <dsp:txXfrm>
        <a:off x="1672323" y="1611909"/>
        <a:ext cx="1521578" cy="856627"/>
      </dsp:txXfrm>
    </dsp:sp>
    <dsp:sp modelId="{CB6F51A5-ADF5-4E43-90EE-34D6ABAD366B}">
      <dsp:nvSpPr>
        <dsp:cNvPr id="0" name=""/>
        <dsp:cNvSpPr/>
      </dsp:nvSpPr>
      <dsp:spPr>
        <a:xfrm>
          <a:off x="3220552" y="2030180"/>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3393573" y="2031117"/>
        <a:ext cx="18212" cy="18212"/>
      </dsp:txXfrm>
    </dsp:sp>
    <dsp:sp modelId="{574884EC-FE99-4C51-9308-935E8F5C70AF}">
      <dsp:nvSpPr>
        <dsp:cNvPr id="0" name=""/>
        <dsp:cNvSpPr/>
      </dsp:nvSpPr>
      <dsp:spPr>
        <a:xfrm>
          <a:off x="3584806" y="1585258"/>
          <a:ext cx="1574880" cy="909929"/>
        </a:xfrm>
        <a:prstGeom prst="roundRect">
          <a:avLst>
            <a:gd name="adj" fmla="val 10000"/>
          </a:avLst>
        </a:prstGeom>
        <a:solidFill>
          <a:srgbClr val="E5E0D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sp:txBody>
      <dsp:txXfrm>
        <a:off x="3611457" y="1611909"/>
        <a:ext cx="1521578" cy="856627"/>
      </dsp:txXfrm>
    </dsp:sp>
    <dsp:sp modelId="{CCE1F522-EDC0-4BBB-9F23-D7E87C3A26BD}">
      <dsp:nvSpPr>
        <dsp:cNvPr id="0" name=""/>
        <dsp:cNvSpPr/>
      </dsp:nvSpPr>
      <dsp:spPr>
        <a:xfrm>
          <a:off x="5159687" y="2030180"/>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5332707" y="2031117"/>
        <a:ext cx="18212" cy="18212"/>
      </dsp:txXfrm>
    </dsp:sp>
    <dsp:sp modelId="{4300FE2C-FD3F-4707-A548-B9F2B38C7EA9}">
      <dsp:nvSpPr>
        <dsp:cNvPr id="0" name=""/>
        <dsp:cNvSpPr/>
      </dsp:nvSpPr>
      <dsp:spPr>
        <a:xfrm>
          <a:off x="5523941" y="1585258"/>
          <a:ext cx="1574880" cy="909929"/>
        </a:xfrm>
        <a:prstGeom prst="roundRect">
          <a:avLst>
            <a:gd name="adj" fmla="val 10000"/>
          </a:avLst>
        </a:prstGeom>
        <a:solidFill>
          <a:srgbClr val="E5E0DB"/>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5550592" y="1611909"/>
        <a:ext cx="1521578" cy="856627"/>
      </dsp:txXfrm>
    </dsp:sp>
    <dsp:sp modelId="{47334A7C-D400-4806-8E27-D20D5F35850E}">
      <dsp:nvSpPr>
        <dsp:cNvPr id="0" name=""/>
        <dsp:cNvSpPr/>
      </dsp:nvSpPr>
      <dsp:spPr>
        <a:xfrm rot="4174596">
          <a:off x="941623" y="2519294"/>
          <a:ext cx="1043843" cy="20085"/>
        </a:xfrm>
        <a:custGeom>
          <a:avLst/>
          <a:gdLst/>
          <a:ahLst/>
          <a:cxnLst/>
          <a:rect l="0" t="0" r="0" b="0"/>
          <a:pathLst>
            <a:path>
              <a:moveTo>
                <a:pt x="0" y="10042"/>
              </a:moveTo>
              <a:lnTo>
                <a:pt x="1043843"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1437449" y="2503241"/>
        <a:ext cx="52192" cy="52192"/>
      </dsp:txXfrm>
    </dsp:sp>
    <dsp:sp modelId="{3B6A86F8-3D3F-48D8-ACE1-62C4FC5F55DA}">
      <dsp:nvSpPr>
        <dsp:cNvPr id="0" name=""/>
        <dsp:cNvSpPr/>
      </dsp:nvSpPr>
      <dsp:spPr>
        <a:xfrm>
          <a:off x="1645672" y="2563486"/>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da-DK"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Solidaire regeling</a:t>
          </a:r>
          <a:endPar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endParaRPr>
        </a:p>
      </dsp:txBody>
      <dsp:txXfrm>
        <a:off x="1672323" y="2590137"/>
        <a:ext cx="1521578" cy="856627"/>
      </dsp:txXfrm>
    </dsp:sp>
    <dsp:sp modelId="{8F9B8AD0-4A36-49B2-B6B3-E2FCE04754F1}">
      <dsp:nvSpPr>
        <dsp:cNvPr id="0" name=""/>
        <dsp:cNvSpPr/>
      </dsp:nvSpPr>
      <dsp:spPr>
        <a:xfrm>
          <a:off x="3220552" y="3008408"/>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3393573" y="3009344"/>
        <a:ext cx="18212" cy="18212"/>
      </dsp:txXfrm>
    </dsp:sp>
    <dsp:sp modelId="{E9C4F763-8FC3-45A0-A574-439296161C58}">
      <dsp:nvSpPr>
        <dsp:cNvPr id="0" name=""/>
        <dsp:cNvSpPr/>
      </dsp:nvSpPr>
      <dsp:spPr>
        <a:xfrm>
          <a:off x="3584806" y="2563486"/>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Keuze (waarde)vast pensioen groepen deelnemers via verzekering</a:t>
          </a:r>
        </a:p>
      </dsp:txBody>
      <dsp:txXfrm>
        <a:off x="3611457" y="2590137"/>
        <a:ext cx="1521578" cy="856627"/>
      </dsp:txXfrm>
    </dsp:sp>
    <dsp:sp modelId="{E7B84A15-4EDC-47ED-935A-5A26BE5B9DD9}">
      <dsp:nvSpPr>
        <dsp:cNvPr id="0" name=""/>
        <dsp:cNvSpPr/>
      </dsp:nvSpPr>
      <dsp:spPr>
        <a:xfrm>
          <a:off x="5159687" y="3008408"/>
          <a:ext cx="364254" cy="20085"/>
        </a:xfrm>
        <a:custGeom>
          <a:avLst/>
          <a:gdLst/>
          <a:ahLst/>
          <a:cxnLst/>
          <a:rect l="0" t="0" r="0" b="0"/>
          <a:pathLst>
            <a:path>
              <a:moveTo>
                <a:pt x="0" y="10042"/>
              </a:moveTo>
              <a:lnTo>
                <a:pt x="364254" y="10042"/>
              </a:lnTo>
            </a:path>
          </a:pathLst>
        </a:custGeom>
        <a:noFill/>
        <a:ln w="28575" cap="flat" cmpd="sng" algn="ctr">
          <a:solidFill>
            <a:srgbClr val="BFB1A4"/>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444500">
            <a:lnSpc>
              <a:spcPct val="90000"/>
            </a:lnSpc>
            <a:spcBef>
              <a:spcPct val="0"/>
            </a:spcBef>
            <a:spcAft>
              <a:spcPct val="35000"/>
            </a:spcAft>
          </a:pPr>
          <a:endParaRPr lang="nl-NL" sz="1000" kern="1200">
            <a:latin typeface="Open Sans" panose="020B0606030504020204" pitchFamily="34" charset="0"/>
            <a:ea typeface="Open Sans" panose="020B0606030504020204" pitchFamily="34" charset="0"/>
            <a:cs typeface="Open Sans" panose="020B0606030504020204" pitchFamily="34" charset="0"/>
          </a:endParaRPr>
        </a:p>
      </dsp:txBody>
      <dsp:txXfrm>
        <a:off x="5332707" y="3009344"/>
        <a:ext cx="18212" cy="18212"/>
      </dsp:txXfrm>
    </dsp:sp>
    <dsp:sp modelId="{9533FB9A-4C7C-402C-93EE-9DEEA41E120B}">
      <dsp:nvSpPr>
        <dsp:cNvPr id="0" name=""/>
        <dsp:cNvSpPr/>
      </dsp:nvSpPr>
      <dsp:spPr>
        <a:xfrm>
          <a:off x="5523941" y="2563486"/>
          <a:ext cx="1574880" cy="909929"/>
        </a:xfrm>
        <a:prstGeom prst="roundRect">
          <a:avLst>
            <a:gd name="adj" fmla="val 10000"/>
          </a:avLst>
        </a:prstGeom>
        <a:solidFill>
          <a:srgbClr val="BFB1A4"/>
        </a:soli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nl-NL" sz="1200" kern="1200" dirty="0">
              <a:solidFill>
                <a:srgbClr val="002060"/>
              </a:solidFill>
              <a:latin typeface="Open Sans" panose="020B0606030504020204" pitchFamily="34" charset="0"/>
              <a:ea typeface="Open Sans" panose="020B0606030504020204" pitchFamily="34" charset="0"/>
              <a:cs typeface="Open Sans" panose="020B0606030504020204" pitchFamily="34" charset="0"/>
            </a:rPr>
            <a:t>Toekomstige gepensioneerden keuze (waarde)vast pensioen</a:t>
          </a:r>
        </a:p>
      </dsp:txBody>
      <dsp:txXfrm>
        <a:off x="5550592" y="2590137"/>
        <a:ext cx="1521578" cy="856627"/>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9D3B118-21BD-4244-B70B-27CE2974C47F}" type="datetimeFigureOut">
              <a:rPr lang="nl-NL" smtClean="0"/>
              <a:t>31-3-2022</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nl-NL"/>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C80A5B-DA76-4690-BEF4-D5A1B0FAE34C}" type="slidenum">
              <a:rPr lang="nl-NL" smtClean="0"/>
              <a:t>‹nr.›</a:t>
            </a:fld>
            <a:endParaRPr lang="nl-NL"/>
          </a:p>
        </p:txBody>
      </p:sp>
    </p:spTree>
    <p:extLst>
      <p:ext uri="{BB962C8B-B14F-4D97-AF65-F5344CB8AC3E}">
        <p14:creationId xmlns:p14="http://schemas.microsoft.com/office/powerpoint/2010/main" val="8118649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416797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4D5D1A-292D-4BD8-978C-EE3E5112BDF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93598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55</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261191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58</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483835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59</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89723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250" y="742950"/>
            <a:ext cx="6604000" cy="3714750"/>
          </a:xfrm>
        </p:spPr>
      </p:sp>
      <p:sp>
        <p:nvSpPr>
          <p:cNvPr id="3" name="Notes Placeholder 2"/>
          <p:cNvSpPr>
            <a:spLocks noGrp="1"/>
          </p:cNvSpPr>
          <p:nvPr>
            <p:ph type="body" idx="1"/>
          </p:nvPr>
        </p:nvSpPr>
        <p:spPr/>
        <p:txBody>
          <a:bodyPr/>
          <a:lstStyle/>
          <a:p>
            <a:endParaRPr lang="en-US"/>
          </a:p>
        </p:txBody>
      </p:sp>
      <p:sp>
        <p:nvSpPr>
          <p:cNvPr id="4" name="Header Placeholder 3" hidden="1"/>
          <p:cNvSpPr>
            <a:spLocks noGrp="1"/>
          </p:cNvSpPr>
          <p:nvPr>
            <p:ph type="hdr" sz="quarter" idx="10"/>
          </p:nvPr>
        </p:nvSpPr>
        <p:spPr>
          <a:xfrm>
            <a:off x="1" y="0"/>
            <a:ext cx="6794500" cy="4953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en-US"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hidden="1"/>
          <p:cNvSpPr>
            <a:spLocks noGrp="1"/>
          </p:cNvSpPr>
          <p:nvPr>
            <p:ph type="ftr" sz="quarter" idx="11"/>
          </p:nvPr>
        </p:nvSpPr>
        <p:spPr>
          <a:xfrm>
            <a:off x="1" y="9408982"/>
            <a:ext cx="6794500" cy="4953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2EE671A0-AF46-4C0E-A100-97301C1ECB60}"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60</a:t>
            </a:fld>
            <a:endParaRPr kumimoji="0" lang="de-DE" sz="1300" b="0" i="0" u="none" strike="noStrike" kern="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8105558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7413"/>
          </a:xfrm>
        </p:spPr>
      </p:sp>
      <p:sp>
        <p:nvSpPr>
          <p:cNvPr id="3" name="Notes Placeholder 2"/>
          <p:cNvSpPr>
            <a:spLocks noGrp="1"/>
          </p:cNvSpPr>
          <p:nvPr>
            <p:ph type="body" idx="1"/>
          </p:nvPr>
        </p:nvSpPr>
        <p:spPr/>
        <p:txBody>
          <a:bodyPr/>
          <a:lstStyle/>
          <a:p>
            <a:endParaRPr lang="en-US"/>
          </a:p>
        </p:txBody>
      </p:sp>
      <p:sp>
        <p:nvSpPr>
          <p:cNvPr id="4" name="Header Placeholder 3" hidden="1"/>
          <p:cNvSpPr>
            <a:spLocks noGrp="1"/>
          </p:cNvSpPr>
          <p:nvPr>
            <p:ph type="hdr" sz="quarter" idx="10"/>
          </p:nvPr>
        </p:nvSpPr>
        <p:spPr>
          <a:xfrm>
            <a:off x="3" y="0"/>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hidden="1"/>
          <p:cNvSpPr>
            <a:spLocks noGrp="1"/>
          </p:cNvSpPr>
          <p:nvPr>
            <p:ph type="ftr" sz="quarter" idx="11"/>
          </p:nvPr>
        </p:nvSpPr>
        <p:spPr>
          <a:xfrm>
            <a:off x="3" y="8685214"/>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64</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55338049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7413"/>
          </a:xfrm>
        </p:spPr>
      </p:sp>
      <p:sp>
        <p:nvSpPr>
          <p:cNvPr id="3" name="Notes Placeholder 2"/>
          <p:cNvSpPr>
            <a:spLocks noGrp="1"/>
          </p:cNvSpPr>
          <p:nvPr>
            <p:ph type="body" idx="1"/>
          </p:nvPr>
        </p:nvSpPr>
        <p:spPr/>
        <p:txBody>
          <a:bodyPr/>
          <a:lstStyle/>
          <a:p>
            <a:endParaRPr lang="en-US"/>
          </a:p>
        </p:txBody>
      </p:sp>
      <p:sp>
        <p:nvSpPr>
          <p:cNvPr id="4" name="Header Placeholder 3" hidden="1"/>
          <p:cNvSpPr>
            <a:spLocks noGrp="1"/>
          </p:cNvSpPr>
          <p:nvPr>
            <p:ph type="hdr" sz="quarter" idx="10"/>
          </p:nvPr>
        </p:nvSpPr>
        <p:spPr>
          <a:xfrm>
            <a:off x="3" y="0"/>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hidden="1"/>
          <p:cNvSpPr>
            <a:spLocks noGrp="1"/>
          </p:cNvSpPr>
          <p:nvPr>
            <p:ph type="ftr" sz="quarter" idx="11"/>
          </p:nvPr>
        </p:nvSpPr>
        <p:spPr>
          <a:xfrm>
            <a:off x="3" y="8685214"/>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65</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725887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54088" y="685800"/>
            <a:ext cx="4949825" cy="3427413"/>
          </a:xfrm>
        </p:spPr>
      </p:sp>
      <p:sp>
        <p:nvSpPr>
          <p:cNvPr id="3" name="Notes Placeholder 2"/>
          <p:cNvSpPr>
            <a:spLocks noGrp="1"/>
          </p:cNvSpPr>
          <p:nvPr>
            <p:ph type="body" idx="1"/>
          </p:nvPr>
        </p:nvSpPr>
        <p:spPr/>
        <p:txBody>
          <a:bodyPr/>
          <a:lstStyle/>
          <a:p>
            <a:endParaRPr lang="en-US"/>
          </a:p>
        </p:txBody>
      </p:sp>
      <p:sp>
        <p:nvSpPr>
          <p:cNvPr id="4" name="Header Placeholder 3" hidden="1"/>
          <p:cNvSpPr>
            <a:spLocks noGrp="1"/>
          </p:cNvSpPr>
          <p:nvPr>
            <p:ph type="hdr" sz="quarter" idx="10"/>
          </p:nvPr>
        </p:nvSpPr>
        <p:spPr>
          <a:xfrm>
            <a:off x="3" y="0"/>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hidden="1"/>
          <p:cNvSpPr>
            <a:spLocks noGrp="1"/>
          </p:cNvSpPr>
          <p:nvPr>
            <p:ph type="ftr" sz="quarter" idx="11"/>
          </p:nvPr>
        </p:nvSpPr>
        <p:spPr>
          <a:xfrm>
            <a:off x="3" y="8685214"/>
            <a:ext cx="6858000" cy="457200"/>
          </a:xfrm>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66</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374188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a:p>
        </p:txBody>
      </p:sp>
      <p:sp>
        <p:nvSpPr>
          <p:cNvPr id="4" name="Header Placeholder 3"/>
          <p:cNvSpPr>
            <a:spLocks noGrp="1"/>
          </p:cNvSpPr>
          <p:nvPr>
            <p:ph type="hdr" sz="quarter" idx="10"/>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fld id="{49E5F622-1CE2-435F-88EA-A86CC7D456A4}" type="slidenum">
              <a:rPr kumimoji="0" lang="de-DE" sz="1300" b="0" i="0" u="none" strike="noStrike" kern="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ts val="360"/>
                </a:spcBef>
                <a:spcAft>
                  <a:spcPts val="360"/>
                </a:spcAft>
                <a:buClr>
                  <a:srgbClr val="1F497D"/>
                </a:buClr>
                <a:buSzTx/>
                <a:buFont typeface="Wingdings" panose="05000000000000000000" pitchFamily="2" charset="2"/>
                <a:buNone/>
                <a:tabLst>
                  <a:tab pos="179388" algn="l"/>
                </a:tabLst>
                <a:defRPr/>
              </a:pPr>
              <a:t>69</a:t>
            </a:fld>
            <a:endParaRPr kumimoji="0" lang="de-DE" sz="1300" b="0" i="0" u="none" strike="noStrike" kern="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3092790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80723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59030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5654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68419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56962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8639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E932DAB-C70E-4A46-B009-D6417F5FA22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7676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ea typeface="Calibri"/>
              <a:cs typeface="Calibri"/>
            </a:endParaRPr>
          </a:p>
        </p:txBody>
      </p:sp>
      <p:sp>
        <p:nvSpPr>
          <p:cNvPr id="4" name="Tijdelijke aanduiding voor dia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4D5D1A-292D-4BD8-978C-EE3E5112BDF7}"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52234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4.xml"/><Relationship Id="rId1" Type="http://schemas.openxmlformats.org/officeDocument/2006/relationships/vmlDrawing" Target="../drawings/vmlDrawing5.vml"/><Relationship Id="rId5" Type="http://schemas.openxmlformats.org/officeDocument/2006/relationships/image" Target="../media/image14.emf"/><Relationship Id="rId4" Type="http://schemas.openxmlformats.org/officeDocument/2006/relationships/oleObject" Target="../embeddings/oleObject5.bin"/></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image" Target="../media/image14.emf"/><Relationship Id="rId4" Type="http://schemas.openxmlformats.org/officeDocument/2006/relationships/oleObject" Target="../embeddings/oleObject6.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6.xml"/><Relationship Id="rId1" Type="http://schemas.openxmlformats.org/officeDocument/2006/relationships/vmlDrawing" Target="../drawings/vmlDrawing7.vml"/><Relationship Id="rId6" Type="http://schemas.openxmlformats.org/officeDocument/2006/relationships/image" Target="../media/image16.jpeg"/><Relationship Id="rId5" Type="http://schemas.openxmlformats.org/officeDocument/2006/relationships/image" Target="../media/image14.emf"/><Relationship Id="rId4" Type="http://schemas.openxmlformats.org/officeDocument/2006/relationships/oleObject" Target="../embeddings/oleObject7.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9.xml"/><Relationship Id="rId7" Type="http://schemas.openxmlformats.org/officeDocument/2006/relationships/image" Target="../media/image14.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8.jpeg"/><Relationship Id="rId4"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oleObject" Target="../embeddings/oleObject12.bin"/><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oleObject" Target="../embeddings/oleObject14.bin"/><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4.emf"/><Relationship Id="rId5" Type="http://schemas.openxmlformats.org/officeDocument/2006/relationships/oleObject" Target="../embeddings/oleObject13.bin"/><Relationship Id="rId4"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oleObject" Target="../embeddings/oleObject16.bin"/><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4.emf"/><Relationship Id="rId5" Type="http://schemas.openxmlformats.org/officeDocument/2006/relationships/oleObject" Target="../embeddings/oleObject15.bin"/><Relationship Id="rId4"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oleObject" Target="../embeddings/oleObject18.bin"/><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4.emf"/><Relationship Id="rId5" Type="http://schemas.openxmlformats.org/officeDocument/2006/relationships/oleObject" Target="../embeddings/oleObject17.bin"/><Relationship Id="rId4"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oleObject" Target="../embeddings/oleObject20.bin"/><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4.emf"/><Relationship Id="rId5" Type="http://schemas.openxmlformats.org/officeDocument/2006/relationships/oleObject" Target="../embeddings/oleObject19.bin"/><Relationship Id="rId4"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31.xml"/><Relationship Id="rId7" Type="http://schemas.openxmlformats.org/officeDocument/2006/relationships/image" Target="../media/image16.jpeg"/><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4.emf"/><Relationship Id="rId5" Type="http://schemas.openxmlformats.org/officeDocument/2006/relationships/oleObject" Target="../embeddings/oleObject21.bin"/><Relationship Id="rId4"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4.emf"/><Relationship Id="rId5" Type="http://schemas.openxmlformats.org/officeDocument/2006/relationships/oleObject" Target="../embeddings/oleObject24.bin"/><Relationship Id="rId4" Type="http://schemas.openxmlformats.org/officeDocument/2006/relationships/image" Target="../media/image19.jpeg"/></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4.xml"/><Relationship Id="rId1" Type="http://schemas.openxmlformats.org/officeDocument/2006/relationships/vmlDrawing" Target="../drawings/vmlDrawing18.vml"/><Relationship Id="rId5" Type="http://schemas.openxmlformats.org/officeDocument/2006/relationships/image" Target="../media/image14.emf"/><Relationship Id="rId4" Type="http://schemas.openxmlformats.org/officeDocument/2006/relationships/oleObject" Target="../embeddings/oleObject25.bin"/></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5.xml"/><Relationship Id="rId1" Type="http://schemas.openxmlformats.org/officeDocument/2006/relationships/vmlDrawing" Target="../drawings/vmlDrawing19.vml"/><Relationship Id="rId5" Type="http://schemas.openxmlformats.org/officeDocument/2006/relationships/image" Target="../media/image14.emf"/><Relationship Id="rId4" Type="http://schemas.openxmlformats.org/officeDocument/2006/relationships/oleObject" Target="../embeddings/oleObject26.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6.xml"/><Relationship Id="rId1" Type="http://schemas.openxmlformats.org/officeDocument/2006/relationships/vmlDrawing" Target="../drawings/vmlDrawing20.vml"/><Relationship Id="rId5" Type="http://schemas.openxmlformats.org/officeDocument/2006/relationships/image" Target="../media/image14.emf"/><Relationship Id="rId4" Type="http://schemas.openxmlformats.org/officeDocument/2006/relationships/oleObject" Target="../embeddings/oleObject27.bin"/></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8.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21.vml"/><Relationship Id="rId5" Type="http://schemas.openxmlformats.org/officeDocument/2006/relationships/image" Target="../media/image14.emf"/><Relationship Id="rId4" Type="http://schemas.openxmlformats.org/officeDocument/2006/relationships/oleObject" Target="../embeddings/oleObject28.bin"/></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22.vml"/><Relationship Id="rId5" Type="http://schemas.openxmlformats.org/officeDocument/2006/relationships/image" Target="../media/image14.emf"/><Relationship Id="rId4" Type="http://schemas.openxmlformats.org/officeDocument/2006/relationships/oleObject" Target="../embeddings/oleObject29.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23.vml"/><Relationship Id="rId6" Type="http://schemas.openxmlformats.org/officeDocument/2006/relationships/image" Target="../media/image16.jpeg"/><Relationship Id="rId5" Type="http://schemas.openxmlformats.org/officeDocument/2006/relationships/image" Target="../media/image14.emf"/><Relationship Id="rId4" Type="http://schemas.openxmlformats.org/officeDocument/2006/relationships/oleObject" Target="../embeddings/oleObject30.bin"/></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1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xml"/><Relationship Id="rId7" Type="http://schemas.openxmlformats.org/officeDocument/2006/relationships/image" Target="../media/image6.emf"/><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slideMaster" Target="../slideMasters/slideMaster1.xml"/><Relationship Id="rId10" Type="http://schemas.openxmlformats.org/officeDocument/2006/relationships/image" Target="../media/image9.png"/><Relationship Id="rId4" Type="http://schemas.openxmlformats.org/officeDocument/2006/relationships/tags" Target="../tags/tag4.xml"/><Relationship Id="rId9"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2.png"/></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5.png"/><Relationship Id="rId5" Type="http://schemas.openxmlformats.org/officeDocument/2006/relationships/slideMaster" Target="../slideMasters/slideMaster3.xml"/><Relationship Id="rId10" Type="http://schemas.openxmlformats.org/officeDocument/2006/relationships/image" Target="../media/image9.png"/><Relationship Id="rId4" Type="http://schemas.openxmlformats.org/officeDocument/2006/relationships/tags" Target="../tags/tag8.xml"/><Relationship Id="rId9" Type="http://schemas.openxmlformats.org/officeDocument/2006/relationships/image" Target="../media/image8.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xml"/><Relationship Id="rId1" Type="http://schemas.openxmlformats.org/officeDocument/2006/relationships/themeOverride" Target="../theme/themeOverride1.xml"/><Relationship Id="rId4" Type="http://schemas.openxmlformats.org/officeDocument/2006/relationships/image" Target="../media/image13.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1.xml"/><Relationship Id="rId1" Type="http://schemas.openxmlformats.org/officeDocument/2006/relationships/vmlDrawing" Target="../drawings/vmlDrawing2.vml"/><Relationship Id="rId5" Type="http://schemas.openxmlformats.org/officeDocument/2006/relationships/image" Target="../media/image14.emf"/><Relationship Id="rId4" Type="http://schemas.openxmlformats.org/officeDocument/2006/relationships/oleObject" Target="../embeddings/oleObject2.bin"/></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2.xml"/><Relationship Id="rId1" Type="http://schemas.openxmlformats.org/officeDocument/2006/relationships/vmlDrawing" Target="../drawings/vmlDrawing3.v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3.xml"/><Relationship Id="rId1" Type="http://schemas.openxmlformats.org/officeDocument/2006/relationships/vmlDrawing" Target="../drawings/vmlDrawing4.vml"/><Relationship Id="rId5" Type="http://schemas.openxmlformats.org/officeDocument/2006/relationships/image" Target="../media/image14.emf"/><Relationship Id="rId4" Type="http://schemas.openxmlformats.org/officeDocument/2006/relationships/oleObject" Target="../embeddings/oleObject4.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eldia met visual - lic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BE2E5C7-E2A8-477C-BEAA-BB6E91787399}"/>
              </a:ext>
            </a:extLst>
          </p:cNvPr>
          <p:cNvSpPr>
            <a:spLocks noGrp="1"/>
          </p:cNvSpPr>
          <p:nvPr>
            <p:ph type="pic" sz="quarter" idx="11"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2" name="Title 1"/>
          <p:cNvSpPr>
            <a:spLocks noGrp="1"/>
          </p:cNvSpPr>
          <p:nvPr>
            <p:ph type="ctrTitle" hasCustomPrompt="1"/>
          </p:nvPr>
        </p:nvSpPr>
        <p:spPr>
          <a:xfrm>
            <a:off x="4066420" y="4746614"/>
            <a:ext cx="7310664" cy="453457"/>
          </a:xfrm>
          <a:prstGeom prst="rect">
            <a:avLst/>
          </a:prstGeom>
        </p:spPr>
        <p:txBody>
          <a:bodyPr wrap="square" anchor="b">
            <a:spAutoFit/>
          </a:bodyPr>
          <a:lstStyle>
            <a:lvl1pPr algn="l">
              <a:lnSpc>
                <a:spcPct val="85000"/>
              </a:lnSpc>
              <a:defRPr sz="3467"/>
            </a:lvl1pPr>
          </a:lstStyle>
          <a:p>
            <a:r>
              <a:rPr lang="nl-NL" dirty="0"/>
              <a:t>Titel van de presentatie</a:t>
            </a:r>
          </a:p>
        </p:txBody>
      </p:sp>
      <p:sp>
        <p:nvSpPr>
          <p:cNvPr id="3" name="Subtitle 2"/>
          <p:cNvSpPr>
            <a:spLocks noGrp="1"/>
          </p:cNvSpPr>
          <p:nvPr>
            <p:ph type="subTitle" idx="1" hasCustomPrompt="1"/>
          </p:nvPr>
        </p:nvSpPr>
        <p:spPr>
          <a:xfrm>
            <a:off x="4066420" y="5292146"/>
            <a:ext cx="7310664" cy="378052"/>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sp>
        <p:nvSpPr>
          <p:cNvPr id="11" name="Text Placeholder 10">
            <a:extLst>
              <a:ext uri="{FF2B5EF4-FFF2-40B4-BE49-F238E27FC236}">
                <a16:creationId xmlns:a16="http://schemas.microsoft.com/office/drawing/2014/main" id="{85DA0B01-6242-4284-8948-B741BFFB1C30}"/>
              </a:ext>
            </a:extLst>
          </p:cNvPr>
          <p:cNvSpPr>
            <a:spLocks noGrp="1"/>
          </p:cNvSpPr>
          <p:nvPr>
            <p:ph type="body" sz="quarter" idx="10" hasCustomPrompt="1"/>
          </p:nvPr>
        </p:nvSpPr>
        <p:spPr>
          <a:xfrm>
            <a:off x="1" y="0"/>
            <a:ext cx="3415113" cy="6858000"/>
          </a:xfrm>
          <a:custGeom>
            <a:avLst/>
            <a:gdLst>
              <a:gd name="connsiteX0" fmla="*/ 0 w 2561335"/>
              <a:gd name="connsiteY0" fmla="*/ 0 h 5143500"/>
              <a:gd name="connsiteX1" fmla="*/ 2561335 w 2561335"/>
              <a:gd name="connsiteY1" fmla="*/ 5143500 h 5143500"/>
              <a:gd name="connsiteX2" fmla="*/ 0 w 2561335"/>
              <a:gd name="connsiteY2" fmla="*/ 5143500 h 5143500"/>
            </a:gdLst>
            <a:ahLst/>
            <a:cxnLst>
              <a:cxn ang="0">
                <a:pos x="connsiteX0" y="connsiteY0"/>
              </a:cxn>
              <a:cxn ang="0">
                <a:pos x="connsiteX1" y="connsiteY1"/>
              </a:cxn>
              <a:cxn ang="0">
                <a:pos x="connsiteX2" y="connsiteY2"/>
              </a:cxn>
            </a:cxnLst>
            <a:rect l="l" t="t" r="r" b="b"/>
            <a:pathLst>
              <a:path w="2561335" h="5143500">
                <a:moveTo>
                  <a:pt x="0" y="0"/>
                </a:moveTo>
                <a:lnTo>
                  <a:pt x="2561335" y="5143500"/>
                </a:lnTo>
                <a:lnTo>
                  <a:pt x="0" y="5143500"/>
                </a:lnTo>
                <a:close/>
              </a:path>
            </a:pathLst>
          </a:custGeom>
          <a:solidFill>
            <a:schemeClr val="accent3">
              <a:alpha val="55000"/>
            </a:schemeClr>
          </a:solidFill>
        </p:spPr>
        <p:txBody>
          <a:bodyPr wrap="square">
            <a:noAutofit/>
          </a:bodyPr>
          <a:lstStyle>
            <a:lvl1pPr marL="0" indent="0">
              <a:buNone/>
              <a:defRPr/>
            </a:lvl1pPr>
          </a:lstStyle>
          <a:p>
            <a:pPr lvl="0"/>
            <a:r>
              <a:rPr lang="nl-NL" dirty="0"/>
              <a:t> </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srcRect l="8924" t="8924" r="8924" b="11794"/>
          <a:stretch/>
        </p:blipFill>
        <p:spPr>
          <a:xfrm>
            <a:off x="4066420" y="6115943"/>
            <a:ext cx="1329669" cy="484820"/>
          </a:xfrm>
          <a:prstGeom prst="rect">
            <a:avLst/>
          </a:prstGeom>
        </p:spPr>
      </p:pic>
    </p:spTree>
    <p:extLst>
      <p:ext uri="{BB962C8B-B14F-4D97-AF65-F5344CB8AC3E}">
        <p14:creationId xmlns:p14="http://schemas.microsoft.com/office/powerpoint/2010/main" val="33011775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kst en afbeelding (klein)">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8862646" y="0"/>
            <a:ext cx="3329353"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503768" y="1365251"/>
            <a:ext cx="7423149"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2" name="Titel 1">
            <a:extLst>
              <a:ext uri="{FF2B5EF4-FFF2-40B4-BE49-F238E27FC236}">
                <a16:creationId xmlns:a16="http://schemas.microsoft.com/office/drawing/2014/main" id="{86BC2544-58B9-492E-A768-2E58AD5AC514}"/>
              </a:ext>
            </a:extLst>
          </p:cNvPr>
          <p:cNvSpPr>
            <a:spLocks noGrp="1"/>
          </p:cNvSpPr>
          <p:nvPr>
            <p:ph type="title"/>
          </p:nvPr>
        </p:nvSpPr>
        <p:spPr>
          <a:xfrm>
            <a:off x="503768" y="1"/>
            <a:ext cx="7423149" cy="876940"/>
          </a:xfrm>
        </p:spPr>
        <p:txBody>
          <a:bodyPr/>
          <a:lstStyle/>
          <a:p>
            <a:r>
              <a:rPr lang="nl-NL" smtClean="0"/>
              <a:t>Klik om de stijl te bewerken</a:t>
            </a:r>
            <a:endParaRPr lang="nl-NL"/>
          </a:p>
        </p:txBody>
      </p:sp>
      <p:sp>
        <p:nvSpPr>
          <p:cNvPr id="8" name="Tijdelijke aanduiding voor tekst 7">
            <a:extLst>
              <a:ext uri="{FF2B5EF4-FFF2-40B4-BE49-F238E27FC236}">
                <a16:creationId xmlns:a16="http://schemas.microsoft.com/office/drawing/2014/main" id="{5342D7B7-6AB2-42FA-BCCB-644C8B074F97}"/>
              </a:ext>
            </a:extLst>
          </p:cNvPr>
          <p:cNvSpPr>
            <a:spLocks noGrp="1"/>
          </p:cNvSpPr>
          <p:nvPr>
            <p:ph type="body" sz="quarter" idx="17"/>
          </p:nvPr>
        </p:nvSpPr>
        <p:spPr>
          <a:xfrm>
            <a:off x="503768" y="899462"/>
            <a:ext cx="74231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1" name="Tijdelijke aanduiding voor tekst 2">
            <a:extLst>
              <a:ext uri="{FF2B5EF4-FFF2-40B4-BE49-F238E27FC236}">
                <a16:creationId xmlns:a16="http://schemas.microsoft.com/office/drawing/2014/main" id="{A3FB4007-FBF2-4D8F-91A0-52AEE27A7B86}"/>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C907614A-D012-4020-BCE9-71CB19AC7AE0}"/>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Tree>
    <p:extLst>
      <p:ext uri="{BB962C8B-B14F-4D97-AF65-F5344CB8AC3E}">
        <p14:creationId xmlns:p14="http://schemas.microsoft.com/office/powerpoint/2010/main" val="372935835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7187"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hteck 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69733935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Disclaimer)">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Tree>
    <p:extLst>
      <p:ext uri="{BB962C8B-B14F-4D97-AF65-F5344CB8AC3E}">
        <p14:creationId xmlns:p14="http://schemas.microsoft.com/office/powerpoint/2010/main" val="403535360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Tree>
    <p:extLst>
      <p:ext uri="{BB962C8B-B14F-4D97-AF65-F5344CB8AC3E}">
        <p14:creationId xmlns:p14="http://schemas.microsoft.com/office/powerpoint/2010/main" val="4731851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with subheading (Disclaimer)">
    <p:spTree>
      <p:nvGrpSpPr>
        <p:cNvPr id="1" name=""/>
        <p:cNvGrpSpPr/>
        <p:nvPr/>
      </p:nvGrpSpPr>
      <p:grpSpPr>
        <a:xfrm>
          <a:off x="0" y="0"/>
          <a:ext cx="0" cy="0"/>
          <a:chOff x="0" y="0"/>
          <a:chExt cx="0" cy="0"/>
        </a:xfrm>
      </p:grpSpPr>
      <p:sp>
        <p:nvSpPr>
          <p:cNvPr id="8" name="Rechteck 7"/>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Text Placeholder 3"/>
          <p:cNvSpPr>
            <a:spLocks noGrp="1"/>
          </p:cNvSpPr>
          <p:nvPr>
            <p:ph type="body" sz="quarter" idx="10"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7"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46975379"/>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hteck 2"/>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9538399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with Notepad">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7" name="Inhaltsplatzhalter 3"/>
          <p:cNvSpPr>
            <a:spLocks noGrp="1"/>
          </p:cNvSpPr>
          <p:nvPr>
            <p:ph sz="quarter" idx="25" hasCustomPrompt="1"/>
          </p:nvPr>
        </p:nvSpPr>
        <p:spPr bwMode="gray">
          <a:xfrm>
            <a:off x="398770" y="2368800"/>
            <a:ext cx="8453908"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1"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Titel 3"/>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54335308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11369354" cy="37944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Text Placeholder 19"/>
          <p:cNvSpPr>
            <a:spLocks noGrp="1"/>
          </p:cNvSpPr>
          <p:nvPr>
            <p:ph type="body" sz="quarter" idx="24"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5"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39598494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images with text">
    <p:spTree>
      <p:nvGrpSpPr>
        <p:cNvPr id="1" name=""/>
        <p:cNvGrpSpPr/>
        <p:nvPr/>
      </p:nvGrpSpPr>
      <p:grpSpPr>
        <a:xfrm>
          <a:off x="0" y="0"/>
          <a:ext cx="0" cy="0"/>
          <a:chOff x="0" y="0"/>
          <a:chExt cx="0" cy="0"/>
        </a:xfrm>
      </p:grpSpPr>
      <p:sp>
        <p:nvSpPr>
          <p:cNvPr id="12" name="Rechteck 11"/>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Inhaltsplatzhalter 3"/>
          <p:cNvSpPr>
            <a:spLocks noGrp="1"/>
          </p:cNvSpPr>
          <p:nvPr>
            <p:ph sz="quarter" idx="29" hasCustomPrompt="1"/>
          </p:nvPr>
        </p:nvSpPr>
        <p:spPr bwMode="gray">
          <a:xfrm>
            <a:off x="398769" y="5369303"/>
            <a:ext cx="11369354" cy="790199"/>
          </a:xfrm>
        </p:spPr>
        <p:txBody>
          <a:bodyPr/>
          <a:lstStyle/>
          <a:p>
            <a:pPr lvl="0"/>
            <a:r>
              <a:rPr lang="en-GB" noProof="0" dirty="0"/>
              <a:t>1st Level (12pt)</a:t>
            </a:r>
          </a:p>
          <a:p>
            <a:pPr lvl="1"/>
            <a:r>
              <a:rPr lang="en-GB" noProof="0" dirty="0"/>
              <a:t>2nd Level</a:t>
            </a: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7" name="Bildplatzhalter 3"/>
          <p:cNvSpPr>
            <a:spLocks noGrp="1"/>
          </p:cNvSpPr>
          <p:nvPr>
            <p:ph type="pic" sz="quarter" idx="24" hasCustomPrompt="1"/>
          </p:nvPr>
        </p:nvSpPr>
        <p:spPr bwMode="gray">
          <a:xfrm>
            <a:off x="6203463"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9"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127114183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4359011"/>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Bildplatzhalter 3"/>
          <p:cNvSpPr>
            <a:spLocks noGrp="1"/>
          </p:cNvSpPr>
          <p:nvPr>
            <p:ph type="pic" sz="quarter" idx="23" hasCustomPrompt="1"/>
          </p:nvPr>
        </p:nvSpPr>
        <p:spPr bwMode="gray">
          <a:xfrm>
            <a:off x="398769" y="2368800"/>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9" name="Inhaltsplatzhalter 3"/>
          <p:cNvSpPr>
            <a:spLocks noGrp="1"/>
          </p:cNvSpPr>
          <p:nvPr>
            <p:ph sz="quarter" idx="25" hasCustomPrompt="1"/>
          </p:nvPr>
        </p:nvSpPr>
        <p:spPr bwMode="gray">
          <a:xfrm>
            <a:off x="3323078" y="2368800"/>
            <a:ext cx="8445046"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4"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5"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20930212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781190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el en 2 objecten">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3767" y="1365251"/>
            <a:ext cx="5543551" cy="4796367"/>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6"/>
          <p:cNvSpPr>
            <a:spLocks noGrp="1"/>
          </p:cNvSpPr>
          <p:nvPr>
            <p:ph type="sldNum" sz="quarter" idx="12"/>
          </p:nvPr>
        </p:nvSpPr>
        <p:spPr/>
        <p:txBody>
          <a:bodyPr/>
          <a:lstStyle/>
          <a:p>
            <a:fld id="{FFDD6BF4-F398-43E8-ACFA-0A2EC6044D72}" type="slidenum">
              <a:rPr lang="nl-NL" smtClean="0"/>
              <a:t>‹nr.›</a:t>
            </a:fld>
            <a:endParaRPr lang="nl-NL"/>
          </a:p>
        </p:txBody>
      </p:sp>
      <p:sp>
        <p:nvSpPr>
          <p:cNvPr id="9" name="Content Placeholder 2">
            <a:extLst>
              <a:ext uri="{FF2B5EF4-FFF2-40B4-BE49-F238E27FC236}">
                <a16:creationId xmlns:a16="http://schemas.microsoft.com/office/drawing/2014/main" id="{16CF08B7-C4DF-4AB3-B25B-00CED4250528}"/>
              </a:ext>
            </a:extLst>
          </p:cNvPr>
          <p:cNvSpPr>
            <a:spLocks noGrp="1"/>
          </p:cNvSpPr>
          <p:nvPr>
            <p:ph sz="half" idx="13" hasCustomPrompt="1"/>
          </p:nvPr>
        </p:nvSpPr>
        <p:spPr>
          <a:xfrm>
            <a:off x="6142566" y="1365251"/>
            <a:ext cx="5543551" cy="4796367"/>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7D5913EE-E7B2-436E-93E1-4EF0B7B83918}"/>
              </a:ext>
            </a:extLst>
          </p:cNvPr>
          <p:cNvSpPr>
            <a:spLocks noGrp="1"/>
          </p:cNvSpPr>
          <p:nvPr>
            <p:ph type="title"/>
          </p:nvPr>
        </p:nvSpPr>
        <p:spPr/>
        <p:txBody>
          <a:bodyPr/>
          <a:lstStyle/>
          <a:p>
            <a:r>
              <a:rPr lang="nl-NL" smtClean="0"/>
              <a:t>Klik om de stijl te bewerken</a:t>
            </a:r>
            <a:endParaRPr lang="nl-NL" dirty="0"/>
          </a:p>
        </p:txBody>
      </p:sp>
      <p:sp>
        <p:nvSpPr>
          <p:cNvPr id="10" name="Tijdelijke aanduiding voor tekst 7">
            <a:extLst>
              <a:ext uri="{FF2B5EF4-FFF2-40B4-BE49-F238E27FC236}">
                <a16:creationId xmlns:a16="http://schemas.microsoft.com/office/drawing/2014/main" id="{7DCBCD82-F9C9-428A-B77A-0BCDB78CA010}"/>
              </a:ext>
            </a:extLst>
          </p:cNvPr>
          <p:cNvSpPr>
            <a:spLocks noGrp="1"/>
          </p:cNvSpPr>
          <p:nvPr>
            <p:ph type="body" sz="quarter" idx="14"/>
          </p:nvPr>
        </p:nvSpPr>
        <p:spPr>
          <a:xfrm>
            <a:off x="503767"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8" name="Tijdelijke aanduiding voor tekst 2">
            <a:extLst>
              <a:ext uri="{FF2B5EF4-FFF2-40B4-BE49-F238E27FC236}">
                <a16:creationId xmlns:a16="http://schemas.microsoft.com/office/drawing/2014/main" id="{7E4BE1AE-4A3E-4648-8851-50981A5640C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4" name="Tijdelijke aanduiding voor voettekst 3">
            <a:extLst>
              <a:ext uri="{FF2B5EF4-FFF2-40B4-BE49-F238E27FC236}">
                <a16:creationId xmlns:a16="http://schemas.microsoft.com/office/drawing/2014/main" id="{97D51496-6A8A-41F1-BAFD-F4B4C3F6EE0F}"/>
              </a:ext>
            </a:extLst>
          </p:cNvPr>
          <p:cNvSpPr>
            <a:spLocks noGrp="1"/>
          </p:cNvSpPr>
          <p:nvPr>
            <p:ph type="ftr" sz="quarter" idx="17"/>
          </p:nvPr>
        </p:nvSpPr>
        <p:spPr/>
        <p:txBody>
          <a:bodyPr/>
          <a:lstStyle/>
          <a:p>
            <a:r>
              <a:rPr lang="nl-NL" smtClean="0"/>
              <a:t>Beleidsopties Wet Toekomst Pensioenen</a:t>
            </a:r>
            <a:endParaRPr lang="nl-NL"/>
          </a:p>
        </p:txBody>
      </p:sp>
    </p:spTree>
    <p:extLst>
      <p:ext uri="{BB962C8B-B14F-4D97-AF65-F5344CB8AC3E}">
        <p14:creationId xmlns:p14="http://schemas.microsoft.com/office/powerpoint/2010/main" val="411922151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ontent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Tree>
    <p:extLst>
      <p:ext uri="{BB962C8B-B14F-4D97-AF65-F5344CB8AC3E}">
        <p14:creationId xmlns:p14="http://schemas.microsoft.com/office/powerpoint/2010/main" val="22839019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ontent with subheading (Disclaimer)">
    <p:spTree>
      <p:nvGrpSpPr>
        <p:cNvPr id="1" name=""/>
        <p:cNvGrpSpPr/>
        <p:nvPr/>
      </p:nvGrpSpPr>
      <p:grpSpPr>
        <a:xfrm>
          <a:off x="0" y="0"/>
          <a:ext cx="0" cy="0"/>
          <a:chOff x="0" y="0"/>
          <a:chExt cx="0" cy="0"/>
        </a:xfrm>
      </p:grpSpPr>
      <p:sp>
        <p:nvSpPr>
          <p:cNvPr id="11" name="Rechteck 10"/>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9"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312964789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wo Content with subheading and description">
    <p:spTree>
      <p:nvGrpSpPr>
        <p:cNvPr id="1" name=""/>
        <p:cNvGrpSpPr/>
        <p:nvPr/>
      </p:nvGrpSpPr>
      <p:grpSpPr>
        <a:xfrm>
          <a:off x="0" y="0"/>
          <a:ext cx="0" cy="0"/>
          <a:chOff x="0" y="0"/>
          <a:chExt cx="0" cy="0"/>
        </a:xfrm>
      </p:grpSpPr>
      <p:sp>
        <p:nvSpPr>
          <p:cNvPr id="11" name="Rechteck 10"/>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2" name="Inhaltsplatzhalter 3"/>
          <p:cNvSpPr>
            <a:spLocks noGrp="1"/>
          </p:cNvSpPr>
          <p:nvPr>
            <p:ph sz="quarter" idx="26" hasCustomPrompt="1"/>
          </p:nvPr>
        </p:nvSpPr>
        <p:spPr bwMode="gray">
          <a:xfrm>
            <a:off x="398769"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3" name="Inhaltsplatzhalter 3"/>
          <p:cNvSpPr>
            <a:spLocks noGrp="1"/>
          </p:cNvSpPr>
          <p:nvPr>
            <p:ph sz="quarter" idx="27" hasCustomPrompt="1"/>
          </p:nvPr>
        </p:nvSpPr>
        <p:spPr bwMode="gray">
          <a:xfrm>
            <a:off x="6203078"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6"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52" name="Text Placeholder 51"/>
          <p:cNvSpPr>
            <a:spLocks noGrp="1"/>
          </p:cNvSpPr>
          <p:nvPr>
            <p:ph type="body" sz="quarter" idx="48" hasCustomPrompt="1"/>
          </p:nvPr>
        </p:nvSpPr>
        <p:spPr bwMode="gray">
          <a:xfrm>
            <a:off x="398771" y="5947200"/>
            <a:ext cx="5565046"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54" name="Text Placeholder 53"/>
          <p:cNvSpPr>
            <a:spLocks noGrp="1"/>
          </p:cNvSpPr>
          <p:nvPr>
            <p:ph type="body" sz="quarter" idx="49" hasCustomPrompt="1"/>
          </p:nvPr>
        </p:nvSpPr>
        <p:spPr bwMode="gray">
          <a:xfrm>
            <a:off x="6203078" y="5947200"/>
            <a:ext cx="5569477"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14"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5" name="Text Placeholder 21"/>
          <p:cNvSpPr>
            <a:spLocks noGrp="1"/>
          </p:cNvSpPr>
          <p:nvPr>
            <p:ph type="body" sz="quarter" idx="24" hasCustomPrompt="1"/>
          </p:nvPr>
        </p:nvSpPr>
        <p:spPr bwMode="gray">
          <a:xfrm>
            <a:off x="398769" y="1842087"/>
            <a:ext cx="11368062"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107707925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ubhead, Two Content with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988590"/>
            <a:ext cx="7488000" cy="244800"/>
          </a:xfrm>
        </p:spPr>
        <p:txBody>
          <a:bodyPr/>
          <a:lstStyle>
            <a:lvl1pPr marL="0" indent="0">
              <a:spcBef>
                <a:spcPts val="1800"/>
              </a:spcBef>
              <a:spcAft>
                <a:spcPts val="1200"/>
              </a:spcAft>
              <a:buFontTx/>
              <a:buNone/>
              <a:defRPr sz="1400" b="0">
                <a:solidFill>
                  <a:schemeClr val="tx2"/>
                </a:solidFill>
              </a:defRPr>
            </a:lvl1pPr>
          </a:lstStyle>
          <a:p>
            <a:pPr>
              <a:spcBef>
                <a:spcPts val="1800"/>
              </a:spcBef>
              <a:spcAft>
                <a:spcPts val="1200"/>
              </a:spcAft>
              <a:buFontTx/>
            </a:pPr>
            <a:r>
              <a:rPr lang="en-GB" sz="1400" noProof="0" dirty="0"/>
              <a:t>Subhead appears here (14 </a:t>
            </a:r>
            <a:r>
              <a:rPr lang="en-GB" sz="1400" noProof="0" dirty="0" err="1"/>
              <a:t>pt</a:t>
            </a:r>
            <a:r>
              <a:rPr lang="en-GB" sz="1400" noProof="0" dirty="0"/>
              <a:t>)</a:t>
            </a:r>
          </a:p>
        </p:txBody>
      </p:sp>
      <p:sp>
        <p:nvSpPr>
          <p:cNvPr id="6" name="Text Placeholder 19"/>
          <p:cNvSpPr>
            <a:spLocks noGrp="1"/>
          </p:cNvSpPr>
          <p:nvPr>
            <p:ph type="body" sz="quarter" idx="24" hasCustomPrompt="1"/>
          </p:nvPr>
        </p:nvSpPr>
        <p:spPr bwMode="gray">
          <a:xfrm>
            <a:off x="398772"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8" name="Text Placeholder 17"/>
          <p:cNvSpPr>
            <a:spLocks noGrp="1"/>
          </p:cNvSpPr>
          <p:nvPr>
            <p:ph type="body" sz="quarter" idx="25" hasCustomPrompt="1"/>
          </p:nvPr>
        </p:nvSpPr>
        <p:spPr bwMode="gray">
          <a:xfrm>
            <a:off x="398772"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9" name="Content Placeholder 12"/>
          <p:cNvSpPr>
            <a:spLocks noGrp="1"/>
          </p:cNvSpPr>
          <p:nvPr>
            <p:ph sz="quarter" idx="26" hasCustomPrompt="1"/>
          </p:nvPr>
        </p:nvSpPr>
        <p:spPr bwMode="gray">
          <a:xfrm>
            <a:off x="6196940"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11" name="Text Placeholder 17"/>
          <p:cNvSpPr>
            <a:spLocks noGrp="1"/>
          </p:cNvSpPr>
          <p:nvPr>
            <p:ph type="body" sz="quarter" idx="28" hasCustomPrompt="1"/>
          </p:nvPr>
        </p:nvSpPr>
        <p:spPr bwMode="gray">
          <a:xfrm>
            <a:off x="6207556"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2" name="Titel 1"/>
          <p:cNvSpPr>
            <a:spLocks noGrp="1"/>
          </p:cNvSpPr>
          <p:nvPr>
            <p:ph type="title" hasCustomPrompt="1"/>
          </p:nvPr>
        </p:nvSpPr>
        <p:spPr>
          <a:xfrm>
            <a:off x="398769" y="660014"/>
            <a:ext cx="7488000" cy="307777"/>
          </a:xfrm>
        </p:spPr>
        <p:txBody>
          <a:bodyPr>
            <a:spAutoFit/>
          </a:bodyPr>
          <a:lstStyle/>
          <a:p>
            <a:r>
              <a:rPr lang="en-GB" noProof="0" dirty="0"/>
              <a:t>Main slide heading appears here (20pt)</a:t>
            </a:r>
            <a:endParaRPr lang="en-GB" dirty="0"/>
          </a:p>
        </p:txBody>
      </p:sp>
    </p:spTree>
    <p:extLst>
      <p:ext uri="{BB962C8B-B14F-4D97-AF65-F5344CB8AC3E}">
        <p14:creationId xmlns:p14="http://schemas.microsoft.com/office/powerpoint/2010/main" val="24240232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wo Content with subheading &amp;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6196940"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411671120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ree Content with subheading &amp;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813489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813489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1" name="Content Placeholder 12"/>
          <p:cNvSpPr>
            <a:spLocks noGrp="1"/>
          </p:cNvSpPr>
          <p:nvPr>
            <p:ph sz="quarter" idx="28" hasCustomPrompt="1"/>
          </p:nvPr>
        </p:nvSpPr>
        <p:spPr bwMode="gray">
          <a:xfrm>
            <a:off x="4266833"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5" name="Text Placeholder 19"/>
          <p:cNvSpPr>
            <a:spLocks noGrp="1"/>
          </p:cNvSpPr>
          <p:nvPr>
            <p:ph type="body" sz="quarter" idx="29" hasCustomPrompt="1"/>
          </p:nvPr>
        </p:nvSpPr>
        <p:spPr bwMode="gray">
          <a:xfrm>
            <a:off x="4266833"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6" name="Content Placeholder 12"/>
          <p:cNvSpPr>
            <a:spLocks noGrp="1"/>
          </p:cNvSpPr>
          <p:nvPr>
            <p:ph sz="quarter" idx="30" hasCustomPrompt="1"/>
          </p:nvPr>
        </p:nvSpPr>
        <p:spPr bwMode="gray">
          <a:xfrm>
            <a:off x="39877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7" name="Content Placeholder 12"/>
          <p:cNvSpPr>
            <a:spLocks noGrp="1"/>
          </p:cNvSpPr>
          <p:nvPr>
            <p:ph sz="quarter" idx="31" hasCustomPrompt="1"/>
          </p:nvPr>
        </p:nvSpPr>
        <p:spPr bwMode="gray">
          <a:xfrm>
            <a:off x="813489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9" name="Content Placeholder 12"/>
          <p:cNvSpPr>
            <a:spLocks noGrp="1"/>
          </p:cNvSpPr>
          <p:nvPr>
            <p:ph sz="quarter" idx="32" hasCustomPrompt="1"/>
          </p:nvPr>
        </p:nvSpPr>
        <p:spPr bwMode="gray">
          <a:xfrm>
            <a:off x="4266833"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122087909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ntent with video">
    <p:spTree>
      <p:nvGrpSpPr>
        <p:cNvPr id="1" name=""/>
        <p:cNvGrpSpPr/>
        <p:nvPr/>
      </p:nvGrpSpPr>
      <p:grpSpPr>
        <a:xfrm>
          <a:off x="0" y="0"/>
          <a:ext cx="0" cy="0"/>
          <a:chOff x="0" y="0"/>
          <a:chExt cx="0" cy="0"/>
        </a:xfrm>
      </p:grpSpPr>
      <p:sp>
        <p:nvSpPr>
          <p:cNvPr id="12" name="Rechteck 11"/>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9" name="Medienplatzhalter 8"/>
          <p:cNvSpPr>
            <a:spLocks noGrp="1"/>
          </p:cNvSpPr>
          <p:nvPr>
            <p:ph type="media" sz="quarter" idx="23" hasCustomPrompt="1"/>
          </p:nvPr>
        </p:nvSpPr>
        <p:spPr bwMode="gray">
          <a:xfrm>
            <a:off x="3323078" y="2368800"/>
            <a:ext cx="8445046" cy="3794400"/>
          </a:xfrm>
        </p:spPr>
        <p:txBody>
          <a:bodyPr/>
          <a:lstStyle>
            <a:lvl1pPr marL="0" indent="0">
              <a:buNone/>
              <a:defRPr sz="800">
                <a:latin typeface="Arial" panose="020B0604020202020204" pitchFamily="34" charset="0"/>
              </a:defRPr>
            </a:lvl1pPr>
          </a:lstStyle>
          <a:p>
            <a:r>
              <a:rPr lang="en-GB" noProof="0" dirty="0"/>
              <a:t>Click the video button below to insert a video (only this action guarantees correct view)</a:t>
            </a:r>
            <a:br>
              <a:rPr lang="en-GB" noProof="0" dirty="0"/>
            </a:br>
            <a:r>
              <a:rPr lang="en-GB" noProof="0" dirty="0"/>
              <a:t>Note: All photography and video must comply with AllianzGI guidelines.</a:t>
            </a:r>
            <a:br>
              <a:rPr lang="en-GB" noProof="0" dirty="0"/>
            </a:br>
            <a:r>
              <a:rPr lang="en-GB" noProof="0" dirty="0"/>
              <a:t>Imagery is an expression of our brand personality and needs to reflect</a:t>
            </a:r>
            <a:br>
              <a:rPr lang="en-GB" noProof="0" dirty="0"/>
            </a:br>
            <a:r>
              <a:rPr lang="en-GB" noProof="0" dirty="0"/>
              <a:t>the business we are in. Our imagery needs to be thoughtful and serious,</a:t>
            </a:r>
            <a:br>
              <a:rPr lang="en-GB" noProof="0" dirty="0"/>
            </a:br>
            <a:r>
              <a:rPr lang="en-GB" noProof="0" dirty="0"/>
              <a:t>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Inhaltsplatzhalter 3"/>
          <p:cNvSpPr>
            <a:spLocks noGrp="1"/>
          </p:cNvSpPr>
          <p:nvPr>
            <p:ph sz="quarter" idx="25" hasCustomPrompt="1"/>
          </p:nvPr>
        </p:nvSpPr>
        <p:spPr bwMode="gray">
          <a:xfrm>
            <a:off x="398769" y="2368800"/>
            <a:ext cx="26717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6"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289061597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mbination of elements">
    <p:spTree>
      <p:nvGrpSpPr>
        <p:cNvPr id="1" name=""/>
        <p:cNvGrpSpPr/>
        <p:nvPr/>
      </p:nvGrpSpPr>
      <p:grpSpPr>
        <a:xfrm>
          <a:off x="0" y="0"/>
          <a:ext cx="0" cy="0"/>
          <a:chOff x="0" y="0"/>
          <a:chExt cx="0" cy="0"/>
        </a:xfrm>
      </p:grpSpPr>
      <p:sp>
        <p:nvSpPr>
          <p:cNvPr id="35" name="Rechteck 34"/>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2368551"/>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7" name="Rechteck 6"/>
          <p:cNvSpPr/>
          <p:nvPr userDrawn="1"/>
        </p:nvSpPr>
        <p:spPr bwMode="gray">
          <a:xfrm>
            <a:off x="2250724" y="2373043"/>
            <a:ext cx="9526153"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8" name="Flussdiagramm: Prozess 18"/>
          <p:cNvSpPr/>
          <p:nvPr userDrawn="1"/>
        </p:nvSpPr>
        <p:spPr bwMode="gray">
          <a:xfrm>
            <a:off x="1878647" y="237304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7" name="Bildplatzhalter 3"/>
          <p:cNvSpPr>
            <a:spLocks noGrp="1"/>
          </p:cNvSpPr>
          <p:nvPr>
            <p:ph type="pic" sz="quarter" idx="29" hasCustomPrompt="1"/>
          </p:nvPr>
        </p:nvSpPr>
        <p:spPr bwMode="gray">
          <a:xfrm>
            <a:off x="398769" y="3366000"/>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28" name="Rechteck 27"/>
          <p:cNvSpPr/>
          <p:nvPr userDrawn="1"/>
        </p:nvSpPr>
        <p:spPr bwMode="gray">
          <a:xfrm>
            <a:off x="2250724" y="3367113"/>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9" name="Flussdiagramm: Prozess 18"/>
          <p:cNvSpPr/>
          <p:nvPr userDrawn="1"/>
        </p:nvSpPr>
        <p:spPr bwMode="gray">
          <a:xfrm>
            <a:off x="1878648" y="336711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2" name="Bildplatzhalter 3"/>
          <p:cNvSpPr>
            <a:spLocks noGrp="1"/>
          </p:cNvSpPr>
          <p:nvPr>
            <p:ph type="pic" sz="quarter" idx="32" hasCustomPrompt="1"/>
          </p:nvPr>
        </p:nvSpPr>
        <p:spPr bwMode="gray">
          <a:xfrm>
            <a:off x="398769" y="4345853"/>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3" name="Rechteck 32"/>
          <p:cNvSpPr/>
          <p:nvPr userDrawn="1"/>
        </p:nvSpPr>
        <p:spPr bwMode="gray">
          <a:xfrm>
            <a:off x="2259584" y="4345200"/>
            <a:ext cx="9517292"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4" name="Flussdiagramm: Prozess 18"/>
          <p:cNvSpPr/>
          <p:nvPr userDrawn="1"/>
        </p:nvSpPr>
        <p:spPr bwMode="gray">
          <a:xfrm>
            <a:off x="1878648" y="434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7" name="Bildplatzhalter 3"/>
          <p:cNvSpPr>
            <a:spLocks noGrp="1"/>
          </p:cNvSpPr>
          <p:nvPr>
            <p:ph type="pic" sz="quarter" idx="35" hasCustomPrompt="1"/>
          </p:nvPr>
        </p:nvSpPr>
        <p:spPr bwMode="gray">
          <a:xfrm>
            <a:off x="398769" y="5334505"/>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8" name="Rechteck 37"/>
          <p:cNvSpPr/>
          <p:nvPr userDrawn="1"/>
        </p:nvSpPr>
        <p:spPr bwMode="gray">
          <a:xfrm>
            <a:off x="2259584" y="5335200"/>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9" name="Flussdiagramm: Prozess 18"/>
          <p:cNvSpPr/>
          <p:nvPr userDrawn="1"/>
        </p:nvSpPr>
        <p:spPr bwMode="gray">
          <a:xfrm>
            <a:off x="1878648" y="533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1" name="Text Placeholder 10"/>
          <p:cNvSpPr>
            <a:spLocks noGrp="1"/>
          </p:cNvSpPr>
          <p:nvPr>
            <p:ph type="body" sz="quarter" idx="47" hasCustomPrompt="1"/>
          </p:nvPr>
        </p:nvSpPr>
        <p:spPr bwMode="gray">
          <a:xfrm>
            <a:off x="1878647" y="236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3" name="Text Placeholder 12"/>
          <p:cNvSpPr>
            <a:spLocks noGrp="1"/>
          </p:cNvSpPr>
          <p:nvPr>
            <p:ph type="body" sz="quarter" idx="48" hasCustomPrompt="1"/>
          </p:nvPr>
        </p:nvSpPr>
        <p:spPr bwMode="gray">
          <a:xfrm>
            <a:off x="5975540" y="23688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15" name="Text Placeholder 14"/>
          <p:cNvSpPr>
            <a:spLocks noGrp="1"/>
          </p:cNvSpPr>
          <p:nvPr>
            <p:ph type="body" sz="quarter" idx="49" hasCustomPrompt="1"/>
          </p:nvPr>
        </p:nvSpPr>
        <p:spPr bwMode="gray">
          <a:xfrm>
            <a:off x="1878647" y="335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7" name="Text Placeholder 16"/>
          <p:cNvSpPr>
            <a:spLocks noGrp="1"/>
          </p:cNvSpPr>
          <p:nvPr>
            <p:ph type="body" sz="quarter" idx="50" hasCustomPrompt="1"/>
          </p:nvPr>
        </p:nvSpPr>
        <p:spPr bwMode="gray">
          <a:xfrm>
            <a:off x="5975540" y="33588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19" name="Text Placeholder 18"/>
          <p:cNvSpPr>
            <a:spLocks noGrp="1"/>
          </p:cNvSpPr>
          <p:nvPr>
            <p:ph type="body" sz="quarter" idx="51" hasCustomPrompt="1"/>
          </p:nvPr>
        </p:nvSpPr>
        <p:spPr bwMode="gray">
          <a:xfrm>
            <a:off x="1878647" y="434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1" name="Text Placeholder 20"/>
          <p:cNvSpPr>
            <a:spLocks noGrp="1"/>
          </p:cNvSpPr>
          <p:nvPr>
            <p:ph type="body" sz="quarter" idx="52" hasCustomPrompt="1"/>
          </p:nvPr>
        </p:nvSpPr>
        <p:spPr bwMode="gray">
          <a:xfrm>
            <a:off x="5975540" y="43452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23" name="Text Placeholder 22"/>
          <p:cNvSpPr>
            <a:spLocks noGrp="1"/>
          </p:cNvSpPr>
          <p:nvPr>
            <p:ph type="body" sz="quarter" idx="53" hasCustomPrompt="1"/>
          </p:nvPr>
        </p:nvSpPr>
        <p:spPr bwMode="gray">
          <a:xfrm>
            <a:off x="1878647" y="533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5" name="Text Placeholder 24"/>
          <p:cNvSpPr>
            <a:spLocks noGrp="1"/>
          </p:cNvSpPr>
          <p:nvPr>
            <p:ph type="body" sz="quarter" idx="54" hasCustomPrompt="1"/>
          </p:nvPr>
        </p:nvSpPr>
        <p:spPr bwMode="gray">
          <a:xfrm>
            <a:off x="5975540" y="53352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2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3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7356981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ackground Visual with Content">
    <p:bg>
      <p:bgRef idx="1001">
        <a:schemeClr val="bg1"/>
      </p:bgRef>
    </p:bg>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3"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9"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5" name="Textfeld 14"/>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4" name="Bildplatzhalter 3"/>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3166055001"/>
      </p:ext>
    </p:extLst>
  </p:cSld>
  <p:clrMapOvr>
    <a:overrideClrMapping bg1="lt1" tx1="dk1" bg2="lt2" tx2="dk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ackground Visual">
    <p:bg>
      <p:bgRef idx="1001">
        <a:schemeClr val="bg1"/>
      </p:bgRef>
    </p:bg>
    <p:spTree>
      <p:nvGrpSpPr>
        <p:cNvPr id="1" name=""/>
        <p:cNvGrpSpPr/>
        <p:nvPr/>
      </p:nvGrpSpPr>
      <p:grpSpPr>
        <a:xfrm>
          <a:off x="0" y="0"/>
          <a:ext cx="0" cy="0"/>
          <a:chOff x="0" y="0"/>
          <a:chExt cx="0" cy="0"/>
        </a:xfrm>
      </p:grpSpPr>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8"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7" name="Textfeld 6"/>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3" name="Bildplatzhalter 2"/>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137904012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Vergelijking 2 kolomm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8" y="1380857"/>
            <a:ext cx="5543549" cy="285377"/>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5" name="Text Placeholder 4"/>
          <p:cNvSpPr>
            <a:spLocks noGrp="1"/>
          </p:cNvSpPr>
          <p:nvPr>
            <p:ph type="body" sz="quarter" idx="3" hasCustomPrompt="1"/>
          </p:nvPr>
        </p:nvSpPr>
        <p:spPr>
          <a:xfrm>
            <a:off x="6142566" y="1380857"/>
            <a:ext cx="5543549" cy="285377"/>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7" y="1863168"/>
            <a:ext cx="5543548" cy="4298449"/>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Content Placeholder 2">
            <a:extLst>
              <a:ext uri="{FF2B5EF4-FFF2-40B4-BE49-F238E27FC236}">
                <a16:creationId xmlns:a16="http://schemas.microsoft.com/office/drawing/2014/main" id="{82C224E4-9138-4446-990E-F54482F43A60}"/>
              </a:ext>
            </a:extLst>
          </p:cNvPr>
          <p:cNvSpPr>
            <a:spLocks noGrp="1"/>
          </p:cNvSpPr>
          <p:nvPr>
            <p:ph sz="half" idx="14" hasCustomPrompt="1"/>
          </p:nvPr>
        </p:nvSpPr>
        <p:spPr>
          <a:xfrm>
            <a:off x="6140729" y="1863168"/>
            <a:ext cx="5543548" cy="4298449"/>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dirty="0"/>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tekst 2">
            <a:extLst>
              <a:ext uri="{FF2B5EF4-FFF2-40B4-BE49-F238E27FC236}">
                <a16:creationId xmlns:a16="http://schemas.microsoft.com/office/drawing/2014/main" id="{4E47B5D6-5449-46F8-B512-D0D224EC210D}"/>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24701958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ackground Visual - 2">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8211"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9" name="Rechteck 8"/>
          <p:cNvSpPr/>
          <p:nvPr userDrawn="1"/>
        </p:nvSpPr>
        <p:spPr bwMode="gray">
          <a:xfrm>
            <a:off x="6642160" y="1592264"/>
            <a:ext cx="5549842" cy="4573587"/>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Bildplatzhalter 10"/>
          <p:cNvSpPr>
            <a:spLocks noGrp="1"/>
          </p:cNvSpPr>
          <p:nvPr>
            <p:ph type="pic" sz="quarter" idx="31" hasCustomPrompt="1"/>
          </p:nvPr>
        </p:nvSpPr>
        <p:spPr bwMode="gray">
          <a:xfrm>
            <a:off x="2" y="1"/>
            <a:ext cx="6642158" cy="5303373"/>
          </a:xfrm>
          <a:prstGeom prst="rect">
            <a:avLst/>
          </a:prstGeom>
          <a:solidFill>
            <a:srgbClr val="B2B2B2"/>
          </a:solidFill>
        </p:spPr>
        <p:txBody>
          <a:bodyPr anchor="ctr"/>
          <a:lstStyle>
            <a:lvl1pPr marL="0" indent="0" algn="ctr">
              <a:buNone/>
              <a:defRPr sz="1300"/>
            </a:lvl1pPr>
          </a:lstStyle>
          <a:p>
            <a:r>
              <a:rPr lang="en-GB" noProof="0" dirty="0"/>
              <a:t>New Picture</a:t>
            </a:r>
          </a:p>
        </p:txBody>
      </p:sp>
      <p:sp>
        <p:nvSpPr>
          <p:cNvPr id="35" name="Textplatzhalter 20"/>
          <p:cNvSpPr>
            <a:spLocks noGrp="1"/>
          </p:cNvSpPr>
          <p:nvPr>
            <p:ph type="body" sz="quarter" idx="12" hasCustomPrompt="1"/>
          </p:nvPr>
        </p:nvSpPr>
        <p:spPr bwMode="gray">
          <a:xfrm>
            <a:off x="6203462" y="2092326"/>
            <a:ext cx="5564555" cy="675891"/>
          </a:xfrm>
        </p:spPr>
        <p:txBody>
          <a:bodyPr lIns="0" tIns="0" rIns="0" bIns="0"/>
          <a:lstStyle>
            <a:lvl1pPr marL="0" indent="0">
              <a:spcBef>
                <a:spcPts val="0"/>
              </a:spcBef>
              <a:spcAft>
                <a:spcPts val="0"/>
              </a:spcAft>
              <a:buNone/>
              <a:defRPr sz="20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20pt)</a:t>
            </a:r>
          </a:p>
        </p:txBody>
      </p:sp>
      <p:sp>
        <p:nvSpPr>
          <p:cNvPr id="8" name="Text Placeholder 7"/>
          <p:cNvSpPr>
            <a:spLocks noGrp="1"/>
          </p:cNvSpPr>
          <p:nvPr>
            <p:ph type="body" sz="quarter" idx="30" hasCustomPrompt="1"/>
          </p:nvPr>
        </p:nvSpPr>
        <p:spPr bwMode="gray">
          <a:xfrm>
            <a:off x="412263" y="239714"/>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8" name="Textplatzhalter 20"/>
          <p:cNvSpPr>
            <a:spLocks noGrp="1"/>
          </p:cNvSpPr>
          <p:nvPr>
            <p:ph type="body" sz="quarter" idx="32" hasCustomPrompt="1"/>
          </p:nvPr>
        </p:nvSpPr>
        <p:spPr bwMode="gray">
          <a:xfrm>
            <a:off x="7063080" y="2866827"/>
            <a:ext cx="4704937" cy="879788"/>
          </a:xfrm>
        </p:spPr>
        <p:txBody>
          <a:bodyPr lIns="0" tIns="0" rIns="0" bIns="0"/>
          <a:lstStyle>
            <a:lvl1pPr marL="0" indent="0">
              <a:spcBef>
                <a:spcPts val="0"/>
              </a:spcBef>
              <a:spcAft>
                <a:spcPts val="0"/>
              </a:spcAft>
              <a:buNone/>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12pt)</a:t>
            </a:r>
          </a:p>
        </p:txBody>
      </p:sp>
    </p:spTree>
    <p:extLst>
      <p:ext uri="{BB962C8B-B14F-4D97-AF65-F5344CB8AC3E}">
        <p14:creationId xmlns:p14="http://schemas.microsoft.com/office/powerpoint/2010/main" val="2569716313"/>
      </p:ext>
    </p:extLst>
  </p:cSld>
  <p:clrMapOvr>
    <a:overrideClrMapping bg1="lt1" tx1="dk1" bg2="lt2" tx2="dk2" accent1="accent1" accent2="accent2" accent3="accent3" accent4="accent4" accent5="accent5" accent6="accent6" hlink="hlink" folHlink="folHlink"/>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ackground Visual - 3">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9235"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16" name="Rechteck 15"/>
          <p:cNvSpPr/>
          <p:nvPr userDrawn="1"/>
        </p:nvSpPr>
        <p:spPr bwMode="gray">
          <a:xfrm>
            <a:off x="4368742" y="1592264"/>
            <a:ext cx="7823260" cy="4573587"/>
          </a:xfrm>
          <a:prstGeom prst="rect">
            <a:avLst/>
          </a:prstGeom>
          <a:blipFill dpi="0" rotWithShape="1">
            <a:blip r:embed="rId6" cstate="print">
              <a:extLst>
                <a:ext uri="{28A0092B-C50C-407E-A947-70E740481C1C}">
                  <a14:useLocalDpi xmlns:a14="http://schemas.microsoft.com/office/drawing/2010/main"/>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Rechteck 11"/>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8" name="Textplatzhalter 20"/>
          <p:cNvSpPr>
            <a:spLocks noGrp="1"/>
          </p:cNvSpPr>
          <p:nvPr>
            <p:ph type="body" sz="quarter" idx="32" hasCustomPrompt="1"/>
          </p:nvPr>
        </p:nvSpPr>
        <p:spPr bwMode="gray">
          <a:xfrm>
            <a:off x="389506" y="2842101"/>
            <a:ext cx="3626684" cy="879788"/>
          </a:xfrm>
        </p:spPr>
        <p:txBody>
          <a:bodyPr lIns="0" tIns="0" rIns="0" bIns="0"/>
          <a:lstStyle>
            <a:lvl1pPr marL="0" marR="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marL="0" marR="0" lvl="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a:pPr>
            <a:r>
              <a:rPr lang="en-GB" noProof="0" dirty="0"/>
              <a:t>Subtitle of the presentation (12pt)</a:t>
            </a:r>
          </a:p>
        </p:txBody>
      </p:sp>
      <p:grpSp>
        <p:nvGrpSpPr>
          <p:cNvPr id="5" name="Gruppieren 4"/>
          <p:cNvGrpSpPr/>
          <p:nvPr userDrawn="1"/>
        </p:nvGrpSpPr>
        <p:grpSpPr bwMode="gray">
          <a:xfrm>
            <a:off x="2" y="762003"/>
            <a:ext cx="12192001" cy="5638801"/>
            <a:chOff x="0" y="762000"/>
            <a:chExt cx="9906001" cy="5638801"/>
          </a:xfrm>
        </p:grpSpPr>
        <p:sp>
          <p:nvSpPr>
            <p:cNvPr id="3" name="Rechteck 2"/>
            <p:cNvSpPr/>
            <p:nvPr userDrawn="1"/>
          </p:nvSpPr>
          <p:spPr bwMode="gray">
            <a:xfrm>
              <a:off x="0" y="4845600"/>
              <a:ext cx="3549601" cy="1555201"/>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Rechteck 12"/>
            <p:cNvSpPr/>
            <p:nvPr userDrawn="1"/>
          </p:nvSpPr>
          <p:spPr bwMode="gray">
            <a:xfrm>
              <a:off x="3549601" y="6175375"/>
              <a:ext cx="6356400" cy="225426"/>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userDrawn="1"/>
          </p:nvSpPr>
          <p:spPr bwMode="gray">
            <a:xfrm>
              <a:off x="3549601" y="762000"/>
              <a:ext cx="6356400" cy="839788"/>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sp>
        <p:nvSpPr>
          <p:cNvPr id="4" name="Textplatzhalter 3"/>
          <p:cNvSpPr>
            <a:spLocks noGrp="1"/>
          </p:cNvSpPr>
          <p:nvPr>
            <p:ph type="body" sz="quarter" idx="33" hasCustomPrompt="1"/>
          </p:nvPr>
        </p:nvSpPr>
        <p:spPr bwMode="gray">
          <a:xfrm>
            <a:off x="388816" y="993802"/>
            <a:ext cx="9409723" cy="1076325"/>
          </a:xfrm>
        </p:spPr>
        <p:txBody>
          <a:bodyPr/>
          <a:lstStyle>
            <a:lvl1pPr marL="0" indent="0">
              <a:buNone/>
              <a:tabLst/>
              <a:defRPr sz="3600" b="1">
                <a:solidFill>
                  <a:schemeClr val="tx2"/>
                </a:solidFill>
              </a:defRPr>
            </a:lvl1pPr>
            <a:lvl5pPr>
              <a:defRPr/>
            </a:lvl5pPr>
          </a:lstStyle>
          <a:p>
            <a:pPr lvl="0"/>
            <a:r>
              <a:rPr lang="en-GB" noProof="0" dirty="0"/>
              <a:t>Headline (36pt) max. two lines</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L-Form 20"/>
          <p:cNvSpPr/>
          <p:nvPr userDrawn="1"/>
        </p:nvSpPr>
        <p:spPr bwMode="auto">
          <a:xfrm>
            <a:off x="4367262" y="1601788"/>
            <a:ext cx="7824738" cy="4564060"/>
          </a:xfrm>
          <a:prstGeom prst="corner">
            <a:avLst>
              <a:gd name="adj1" fmla="val 35487"/>
              <a:gd name="adj2" fmla="val 32594"/>
            </a:avLst>
          </a:prstGeom>
          <a:solidFill>
            <a:schemeClr val="bg2">
              <a:alpha val="4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Tree>
    <p:extLst>
      <p:ext uri="{BB962C8B-B14F-4D97-AF65-F5344CB8AC3E}">
        <p14:creationId xmlns:p14="http://schemas.microsoft.com/office/powerpoint/2010/main" val="1147584281"/>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Key Point">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 Placeholder 3"/>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5"/>
          <p:cNvSpPr>
            <a:spLocks noGrp="1"/>
          </p:cNvSpPr>
          <p:nvPr>
            <p:ph type="body" sz="quarter" idx="23"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12" name="Text Placeholder 11"/>
          <p:cNvSpPr>
            <a:spLocks noGrp="1"/>
          </p:cNvSpPr>
          <p:nvPr>
            <p:ph type="body" sz="quarter" idx="24"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Tree>
    <p:extLst>
      <p:ext uri="{BB962C8B-B14F-4D97-AF65-F5344CB8AC3E}">
        <p14:creationId xmlns:p14="http://schemas.microsoft.com/office/powerpoint/2010/main" val="390323293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Key Point with Background">
    <p:bg>
      <p:bgRef idx="1001">
        <a:schemeClr val="bg1"/>
      </p:bgRef>
    </p:bg>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Titel 1"/>
          <p:cNvSpPr>
            <a:spLocks noGrp="1"/>
          </p:cNvSpPr>
          <p:nvPr>
            <p:ph type="title" hasCustomPrompt="1"/>
          </p:nvPr>
        </p:nvSpPr>
        <p:spPr bwMode="gray">
          <a:xfrm>
            <a:off x="398769" y="660011"/>
            <a:ext cx="9459692" cy="607190"/>
          </a:xfrm>
        </p:spPr>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 name="Text Placeholder 2"/>
          <p:cNvSpPr>
            <a:spLocks noGrp="1"/>
          </p:cNvSpPr>
          <p:nvPr>
            <p:ph type="body" sz="quarter" idx="30"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5" name="Text Placeholder 4"/>
          <p:cNvSpPr>
            <a:spLocks noGrp="1"/>
          </p:cNvSpPr>
          <p:nvPr>
            <p:ph type="body" sz="quarter" idx="31"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
        <p:nvSpPr>
          <p:cNvPr id="7" name="Text Placeholder 7"/>
          <p:cNvSpPr>
            <a:spLocks noGrp="1"/>
          </p:cNvSpPr>
          <p:nvPr>
            <p:ph type="body" sz="quarter" idx="32"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1" name="Textfeld 10"/>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Bildplatzhalter 7"/>
          <p:cNvSpPr>
            <a:spLocks noGrp="1"/>
          </p:cNvSpPr>
          <p:nvPr>
            <p:ph type="pic" sz="quarter" idx="33"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3480926751"/>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reaking Slide">
    <p:bg>
      <p:bgRef idx="1001">
        <a:schemeClr val="bg1"/>
      </p:bgRef>
    </p:bg>
    <p:spTree>
      <p:nvGrpSpPr>
        <p:cNvPr id="1" name=""/>
        <p:cNvGrpSpPr/>
        <p:nvPr/>
      </p:nvGrpSpPr>
      <p:grpSpPr>
        <a:xfrm>
          <a:off x="0" y="0"/>
          <a:ext cx="0" cy="0"/>
          <a:chOff x="0" y="0"/>
          <a:chExt cx="0" cy="0"/>
        </a:xfrm>
      </p:grpSpPr>
      <p:sp>
        <p:nvSpPr>
          <p:cNvPr id="43" name="Freeform 614"/>
          <p:cNvSpPr>
            <a:spLocks noEditPoints="1"/>
          </p:cNvSpPr>
          <p:nvPr userDrawn="1"/>
        </p:nvSpPr>
        <p:spPr bwMode="gray">
          <a:xfrm>
            <a:off x="2344617" y="2306638"/>
            <a:ext cx="7502769" cy="2251913"/>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4207540610"/>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losing page">
    <p:spTree>
      <p:nvGrpSpPr>
        <p:cNvPr id="1" name=""/>
        <p:cNvGrpSpPr/>
        <p:nvPr/>
      </p:nvGrpSpPr>
      <p:grpSpPr>
        <a:xfrm>
          <a:off x="0" y="0"/>
          <a:ext cx="0" cy="0"/>
          <a:chOff x="0" y="0"/>
          <a:chExt cx="0" cy="0"/>
        </a:xfrm>
      </p:grpSpPr>
      <p:sp>
        <p:nvSpPr>
          <p:cNvPr id="7" name="Rechteck 6"/>
          <p:cNvSpPr/>
          <p:nvPr userDrawn="1"/>
        </p:nvSpPr>
        <p:spPr bwMode="gray">
          <a:xfrm>
            <a:off x="1008184" y="3507366"/>
            <a:ext cx="11183817" cy="198946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Freeform 614"/>
          <p:cNvSpPr>
            <a:spLocks noEditPoints="1"/>
          </p:cNvSpPr>
          <p:nvPr userDrawn="1"/>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
        <p:nvSpPr>
          <p:cNvPr id="6" name="Rechteck 5"/>
          <p:cNvSpPr/>
          <p:nvPr userDrawn="1"/>
        </p:nvSpPr>
        <p:spPr bwMode="gray">
          <a:xfrm>
            <a:off x="0" y="2174214"/>
            <a:ext cx="6432522" cy="1333155"/>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Rectangle 1"/>
          <p:cNvSpPr/>
          <p:nvPr userDrawn="1"/>
        </p:nvSpPr>
        <p:spPr bwMode="gray">
          <a:xfrm>
            <a:off x="1376436" y="2642712"/>
            <a:ext cx="7232749" cy="1723549"/>
          </a:xfrm>
          <a:prstGeom prst="rect">
            <a:avLst/>
          </a:prstGeom>
        </p:spPr>
        <p:txBody>
          <a:bodyPr wrap="none" lIns="0" tIns="0" rIns="0" bIns="0" anchor="ctr" anchorCtr="0">
            <a:spAutoFit/>
          </a:bodyPr>
          <a:lstStyle/>
          <a:p>
            <a:r>
              <a:rPr lang="en-GB" sz="5800" b="1" noProof="0" dirty="0">
                <a:solidFill>
                  <a:schemeClr val="tx2"/>
                </a:solidFill>
              </a:rPr>
              <a:t>Active is:</a:t>
            </a:r>
            <a:r>
              <a:rPr lang="en-GB" sz="5800" b="1" noProof="0" dirty="0">
                <a:solidFill>
                  <a:schemeClr val="bg1"/>
                </a:solidFill>
              </a:rPr>
              <a:t> </a:t>
            </a:r>
          </a:p>
          <a:p>
            <a:r>
              <a:rPr lang="en-GB" sz="5400" noProof="0" dirty="0">
                <a:solidFill>
                  <a:srgbClr val="326295"/>
                </a:solidFill>
              </a:rPr>
              <a:t>Allianz Global Investors</a:t>
            </a:r>
          </a:p>
        </p:txBody>
      </p:sp>
    </p:spTree>
    <p:extLst>
      <p:ext uri="{BB962C8B-B14F-4D97-AF65-F5344CB8AC3E}">
        <p14:creationId xmlns:p14="http://schemas.microsoft.com/office/powerpoint/2010/main" val="109031282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4" name="Rechteck 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charset="0"/>
            </a:endParaRPr>
          </a:p>
        </p:txBody>
      </p:sp>
      <p:sp>
        <p:nvSpPr>
          <p:cNvPr id="242" name="Rechteck 241"/>
          <p:cNvSpPr/>
          <p:nvPr userDrawn="1"/>
        </p:nvSpPr>
        <p:spPr bwMode="gray">
          <a:xfrm>
            <a:off x="1873783" y="1587600"/>
            <a:ext cx="292431" cy="4860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a:spcBef>
                <a:spcPct val="50000"/>
              </a:spcBef>
              <a:spcAft>
                <a:spcPct val="25000"/>
              </a:spcAft>
              <a:tabLst/>
            </a:pPr>
            <a:endParaRPr kumimoji="0" lang="en-US" sz="2400" b="0" i="0" u="none" strike="noStrike" kern="1200" cap="none" normalizeH="0" noProof="0" dirty="0">
              <a:ln>
                <a:noFill/>
              </a:ln>
              <a:solidFill>
                <a:schemeClr val="bg1"/>
              </a:solidFill>
              <a:effectLst/>
            </a:endParaRPr>
          </a:p>
        </p:txBody>
      </p:sp>
      <p:sp>
        <p:nvSpPr>
          <p:cNvPr id="132" name="Textfeld 131"/>
          <p:cNvSpPr txBox="1"/>
          <p:nvPr userDrawn="1"/>
        </p:nvSpPr>
        <p:spPr bwMode="gray">
          <a:xfrm>
            <a:off x="691201" y="1587600"/>
            <a:ext cx="982139"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Allianz</a:t>
            </a:r>
            <a:r>
              <a:rPr lang="en-US" sz="700" b="1" baseline="0" noProof="0" dirty="0">
                <a:solidFill>
                  <a:sysClr val="windowText" lastClr="000000"/>
                </a:solidFill>
                <a:latin typeface="Arial" panose="020B0604020202020204" pitchFamily="34" charset="0"/>
                <a:ea typeface="Allianz Sans" pitchFamily="50" charset="0"/>
              </a:rPr>
              <a:t>GI </a:t>
            </a:r>
            <a:r>
              <a:rPr lang="en-US" sz="700" b="1" noProof="0" dirty="0">
                <a:solidFill>
                  <a:sysClr val="windowText" lastClr="000000"/>
                </a:solidFill>
                <a:latin typeface="Arial" panose="020B0604020202020204" pitchFamily="34" charset="0"/>
                <a:ea typeface="Allianz Sans" pitchFamily="50" charset="0"/>
              </a:rPr>
              <a:t>Blue</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0 / 55 / 129</a:t>
            </a:r>
          </a:p>
        </p:txBody>
      </p:sp>
      <p:sp>
        <p:nvSpPr>
          <p:cNvPr id="3" name="Rechteck 2"/>
          <p:cNvSpPr/>
          <p:nvPr userDrawn="1"/>
        </p:nvSpPr>
        <p:spPr bwMode="gray">
          <a:xfrm>
            <a:off x="9366548" y="2525382"/>
            <a:ext cx="2414700" cy="579768"/>
          </a:xfrm>
          <a:prstGeom prst="rect">
            <a:avLst/>
          </a:prstGeom>
          <a:solidFill>
            <a:srgbClr val="FDDFD5"/>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400" b="0" i="0" u="none" strike="noStrike" cap="none" normalizeH="0" baseline="0" noProof="0" dirty="0">
              <a:ln>
                <a:noFill/>
              </a:ln>
              <a:solidFill>
                <a:schemeClr val="tx1"/>
              </a:solidFill>
              <a:effectLst/>
              <a:latin typeface="Arial" panose="020B0604020202020204" pitchFamily="34" charset="0"/>
            </a:endParaRPr>
          </a:p>
        </p:txBody>
      </p:sp>
      <p:sp>
        <p:nvSpPr>
          <p:cNvPr id="6" name="Textfeld 5"/>
          <p:cNvSpPr txBox="1"/>
          <p:nvPr userDrawn="1"/>
        </p:nvSpPr>
        <p:spPr bwMode="gray">
          <a:xfrm>
            <a:off x="9445634" y="1588644"/>
            <a:ext cx="2320713" cy="1922462"/>
          </a:xfrm>
          <a:prstGeom prst="rect">
            <a:avLst/>
          </a:prstGeom>
          <a:noFill/>
        </p:spPr>
        <p:txBody>
          <a:bodyPr wrap="square" lIns="0" tIns="0" rIns="0" bIns="0" rtlCol="0">
            <a:noAutofit/>
          </a:bodyPr>
          <a:lstStyle/>
          <a:p>
            <a:r>
              <a:rPr lang="en-US" sz="800" kern="1200" baseline="0" noProof="0" dirty="0">
                <a:solidFill>
                  <a:srgbClr val="DD0031"/>
                </a:solidFill>
                <a:latin typeface="Arial" panose="020B0604020202020204" pitchFamily="34" charset="0"/>
                <a:ea typeface="Allianz Sans" pitchFamily="50" charset="0"/>
                <a:cs typeface="+mn-cs"/>
              </a:rPr>
              <a:t>Headlines must always have the full tone; for boxes, tables and graphics all shades of colors can be used (see AllianzGI color guidelines for WCAG standards)</a:t>
            </a: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For color usage in tables and graphics different shades of colors can be used.</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b="1" i="0" kern="1200" baseline="0" noProof="0" dirty="0">
                <a:solidFill>
                  <a:schemeClr val="tx2"/>
                </a:solidFill>
                <a:latin typeface="Arial" panose="020B0604020202020204" pitchFamily="34" charset="0"/>
                <a:ea typeface="Allianz Sans" pitchFamily="50" charset="0"/>
                <a:cs typeface="+mn-cs"/>
              </a:rPr>
              <a:t>Note</a:t>
            </a: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Please do not use this slide in your presentation. See color recommendation for use in the guidelines</a:t>
            </a:r>
          </a:p>
        </p:txBody>
      </p:sp>
      <p:sp>
        <p:nvSpPr>
          <p:cNvPr id="7" name="Textfeld 6"/>
          <p:cNvSpPr txBox="1"/>
          <p:nvPr userDrawn="1"/>
        </p:nvSpPr>
        <p:spPr bwMode="gray">
          <a:xfrm>
            <a:off x="398770" y="1299133"/>
            <a:ext cx="1138773"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Primary colors</a:t>
            </a:r>
          </a:p>
        </p:txBody>
      </p:sp>
      <p:sp>
        <p:nvSpPr>
          <p:cNvPr id="8" name="Textfeld 7"/>
          <p:cNvSpPr txBox="1"/>
          <p:nvPr userDrawn="1"/>
        </p:nvSpPr>
        <p:spPr bwMode="gray">
          <a:xfrm>
            <a:off x="398771" y="3373204"/>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Richer/muted</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21" name="Textfeld 20"/>
          <p:cNvSpPr txBox="1"/>
          <p:nvPr userDrawn="1"/>
        </p:nvSpPr>
        <p:spPr bwMode="gray">
          <a:xfrm>
            <a:off x="2177562"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hit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55 / 255 / 255</a:t>
            </a:r>
          </a:p>
        </p:txBody>
      </p:sp>
      <p:sp>
        <p:nvSpPr>
          <p:cNvPr id="22" name="Textfeld 21"/>
          <p:cNvSpPr txBox="1"/>
          <p:nvPr userDrawn="1"/>
        </p:nvSpPr>
        <p:spPr bwMode="gray">
          <a:xfrm>
            <a:off x="5068801"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Red</a:t>
            </a:r>
            <a:br>
              <a:rPr lang="en-US" sz="700" b="1" baseline="0"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21 / 0 / 49</a:t>
            </a:r>
          </a:p>
        </p:txBody>
      </p:sp>
      <p:sp>
        <p:nvSpPr>
          <p:cNvPr id="23" name="Textfeld 22"/>
          <p:cNvSpPr txBox="1"/>
          <p:nvPr userDrawn="1"/>
        </p:nvSpPr>
        <p:spPr bwMode="gray">
          <a:xfrm>
            <a:off x="21710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utterscotch</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08 / 130 / 47</a:t>
            </a:r>
          </a:p>
        </p:txBody>
      </p:sp>
      <p:sp>
        <p:nvSpPr>
          <p:cNvPr id="24" name="Textfeld 23"/>
          <p:cNvSpPr txBox="1"/>
          <p:nvPr userDrawn="1"/>
        </p:nvSpPr>
        <p:spPr bwMode="gray">
          <a:xfrm>
            <a:off x="3659814"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err="1">
                <a:solidFill>
                  <a:sysClr val="windowText" lastClr="000000"/>
                </a:solidFill>
                <a:latin typeface="Arial" panose="020B0604020202020204" pitchFamily="34" charset="0"/>
                <a:ea typeface="Allianz Sans" pitchFamily="50" charset="0"/>
              </a:rPr>
              <a:t>Maro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58 / 83 / 48</a:t>
            </a:r>
          </a:p>
        </p:txBody>
      </p:sp>
      <p:sp>
        <p:nvSpPr>
          <p:cNvPr id="25" name="Textfeld 24"/>
          <p:cNvSpPr txBox="1"/>
          <p:nvPr userDrawn="1"/>
        </p:nvSpPr>
        <p:spPr bwMode="gray">
          <a:xfrm>
            <a:off x="5121968"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ine</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50 / 70 / 97</a:t>
            </a:r>
            <a:endParaRPr lang="en-US" sz="700" noProof="0" dirty="0">
              <a:solidFill>
                <a:sysClr val="windowText" lastClr="000000"/>
              </a:solidFill>
              <a:latin typeface="Arial" panose="020B0604020202020204" pitchFamily="34" charset="0"/>
              <a:ea typeface="Allianz Sans" pitchFamily="50" charset="0"/>
            </a:endParaRPr>
          </a:p>
        </p:txBody>
      </p:sp>
      <p:sp>
        <p:nvSpPr>
          <p:cNvPr id="26" name="Textfeld 25"/>
          <p:cNvSpPr txBox="1"/>
          <p:nvPr userDrawn="1"/>
        </p:nvSpPr>
        <p:spPr bwMode="gray">
          <a:xfrm>
            <a:off x="65486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lum</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26 / 84 / 117</a:t>
            </a:r>
          </a:p>
        </p:txBody>
      </p:sp>
      <p:sp>
        <p:nvSpPr>
          <p:cNvPr id="27" name="Textfeld 26"/>
          <p:cNvSpPr txBox="1"/>
          <p:nvPr userDrawn="1"/>
        </p:nvSpPr>
        <p:spPr bwMode="gray">
          <a:xfrm>
            <a:off x="7997537"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etro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a:t>
            </a:r>
            <a:r>
              <a:rPr lang="en-US" sz="700" baseline="0" noProof="0" dirty="0">
                <a:solidFill>
                  <a:sysClr val="windowText" lastClr="000000"/>
                </a:solidFill>
                <a:latin typeface="Arial" panose="020B0604020202020204" pitchFamily="34" charset="0"/>
                <a:ea typeface="Allianz Sans" pitchFamily="50" charset="0"/>
              </a:rPr>
              <a:t> / 115 / 150</a:t>
            </a:r>
            <a:endParaRPr lang="en-US" sz="700" noProof="0" dirty="0">
              <a:solidFill>
                <a:sysClr val="windowText" lastClr="000000"/>
              </a:solidFill>
              <a:latin typeface="Arial" panose="020B0604020202020204" pitchFamily="34" charset="0"/>
              <a:ea typeface="Allianz Sans" pitchFamily="50" charset="0"/>
            </a:endParaRPr>
          </a:p>
        </p:txBody>
      </p:sp>
      <p:sp>
        <p:nvSpPr>
          <p:cNvPr id="28" name="Textfeld 27"/>
          <p:cNvSpPr txBox="1"/>
          <p:nvPr userDrawn="1"/>
        </p:nvSpPr>
        <p:spPr bwMode="gray">
          <a:xfrm>
            <a:off x="9468553"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ce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42 / 91 / 108</a:t>
            </a:r>
          </a:p>
        </p:txBody>
      </p:sp>
      <p:sp>
        <p:nvSpPr>
          <p:cNvPr id="29" name="Textfeld 28"/>
          <p:cNvSpPr txBox="1"/>
          <p:nvPr userDrawn="1"/>
        </p:nvSpPr>
        <p:spPr bwMode="gray">
          <a:xfrm>
            <a:off x="10921845"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Dark Gree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39 / 93 / 56</a:t>
            </a:r>
          </a:p>
        </p:txBody>
      </p:sp>
      <p:sp>
        <p:nvSpPr>
          <p:cNvPr id="39" name="Textfeld 38"/>
          <p:cNvSpPr txBox="1"/>
          <p:nvPr userDrawn="1"/>
        </p:nvSpPr>
        <p:spPr bwMode="gray">
          <a:xfrm>
            <a:off x="21710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Yellow</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47 / 169 / 25</a:t>
            </a:r>
          </a:p>
        </p:txBody>
      </p:sp>
      <p:sp>
        <p:nvSpPr>
          <p:cNvPr id="40" name="Textfeld 39"/>
          <p:cNvSpPr txBox="1"/>
          <p:nvPr userDrawn="1"/>
        </p:nvSpPr>
        <p:spPr bwMode="gray">
          <a:xfrm>
            <a:off x="3659814"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rang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32 / 97 / 12</a:t>
            </a:r>
          </a:p>
        </p:txBody>
      </p:sp>
      <p:sp>
        <p:nvSpPr>
          <p:cNvPr id="41" name="Textfeld 40"/>
          <p:cNvSpPr txBox="1"/>
          <p:nvPr userDrawn="1"/>
        </p:nvSpPr>
        <p:spPr bwMode="gray">
          <a:xfrm>
            <a:off x="5121968"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erry</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34 / 31 / 65</a:t>
            </a:r>
            <a:endParaRPr lang="en-US" sz="700" noProof="0" dirty="0">
              <a:solidFill>
                <a:sysClr val="windowText" lastClr="000000"/>
              </a:solidFill>
              <a:latin typeface="Arial" panose="020B0604020202020204" pitchFamily="34" charset="0"/>
              <a:ea typeface="Allianz Sans" pitchFamily="50" charset="0"/>
            </a:endParaRPr>
          </a:p>
        </p:txBody>
      </p:sp>
      <p:sp>
        <p:nvSpPr>
          <p:cNvPr id="42" name="Textfeld 41"/>
          <p:cNvSpPr txBox="1"/>
          <p:nvPr userDrawn="1"/>
        </p:nvSpPr>
        <p:spPr bwMode="gray">
          <a:xfrm>
            <a:off x="65486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urpl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6 / 42 / 91</a:t>
            </a:r>
          </a:p>
        </p:txBody>
      </p:sp>
      <p:sp>
        <p:nvSpPr>
          <p:cNvPr id="43" name="Textfeld 42"/>
          <p:cNvSpPr txBox="1"/>
          <p:nvPr userDrawn="1"/>
        </p:nvSpPr>
        <p:spPr bwMode="gray">
          <a:xfrm>
            <a:off x="7997537"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Cy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47 /</a:t>
            </a:r>
            <a:r>
              <a:rPr lang="en-US" sz="700" baseline="0" noProof="0" dirty="0">
                <a:solidFill>
                  <a:sysClr val="windowText" lastClr="000000"/>
                </a:solidFill>
                <a:latin typeface="Arial" panose="020B0604020202020204" pitchFamily="34" charset="0"/>
                <a:ea typeface="Allianz Sans" pitchFamily="50" charset="0"/>
              </a:rPr>
              <a:t> 178</a:t>
            </a:r>
            <a:endParaRPr lang="en-US" sz="700" noProof="0" dirty="0">
              <a:solidFill>
                <a:sysClr val="windowText" lastClr="000000"/>
              </a:solidFill>
              <a:latin typeface="Arial" panose="020B0604020202020204" pitchFamily="34" charset="0"/>
              <a:ea typeface="Allianz Sans" pitchFamily="50" charset="0"/>
            </a:endParaRPr>
          </a:p>
        </p:txBody>
      </p:sp>
      <p:sp>
        <p:nvSpPr>
          <p:cNvPr id="44" name="Textfeld 43"/>
          <p:cNvSpPr txBox="1"/>
          <p:nvPr userDrawn="1"/>
        </p:nvSpPr>
        <p:spPr bwMode="gray">
          <a:xfrm>
            <a:off x="9468553"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Stee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7 / 143 / 156</a:t>
            </a:r>
          </a:p>
        </p:txBody>
      </p:sp>
      <p:sp>
        <p:nvSpPr>
          <p:cNvPr id="45" name="Textfeld 44"/>
          <p:cNvSpPr txBox="1"/>
          <p:nvPr userDrawn="1"/>
        </p:nvSpPr>
        <p:spPr bwMode="gray">
          <a:xfrm>
            <a:off x="10921845"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a:t>
            </a:r>
            <a:r>
              <a:rPr lang="en-US" sz="700" b="1" baseline="0" noProof="0" dirty="0">
                <a:solidFill>
                  <a:sysClr val="windowText" lastClr="000000"/>
                </a:solidFill>
                <a:latin typeface="Arial" panose="020B0604020202020204" pitchFamily="34" charset="0"/>
                <a:ea typeface="Allianz Sans" pitchFamily="50" charset="0"/>
              </a:rPr>
              <a:t> Gree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22 / 51</a:t>
            </a:r>
          </a:p>
        </p:txBody>
      </p:sp>
      <p:sp>
        <p:nvSpPr>
          <p:cNvPr id="53" name="Textfeld 48"/>
          <p:cNvSpPr txBox="1"/>
          <p:nvPr userDrawn="1"/>
        </p:nvSpPr>
        <p:spPr bwMode="gray">
          <a:xfrm>
            <a:off x="21710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2 / 168 / 109</a:t>
            </a:r>
          </a:p>
        </p:txBody>
      </p:sp>
      <p:sp>
        <p:nvSpPr>
          <p:cNvPr id="54" name="Textfeld 49"/>
          <p:cNvSpPr txBox="1"/>
          <p:nvPr userDrawn="1"/>
        </p:nvSpPr>
        <p:spPr bwMode="gray">
          <a:xfrm>
            <a:off x="3659814"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7 / 135 / 110</a:t>
            </a:r>
          </a:p>
        </p:txBody>
      </p:sp>
      <p:sp>
        <p:nvSpPr>
          <p:cNvPr id="55" name="Textfeld 50"/>
          <p:cNvSpPr txBox="1"/>
          <p:nvPr userDrawn="1"/>
        </p:nvSpPr>
        <p:spPr bwMode="gray">
          <a:xfrm>
            <a:off x="5121968"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81 / 125 / 144</a:t>
            </a:r>
            <a:endParaRPr lang="en-US" sz="700" noProof="0" dirty="0">
              <a:solidFill>
                <a:schemeClr val="tx1"/>
              </a:solidFill>
              <a:latin typeface="Arial" panose="020B0604020202020204" pitchFamily="34" charset="0"/>
              <a:ea typeface="Allianz Sans" pitchFamily="50" charset="0"/>
            </a:endParaRPr>
          </a:p>
        </p:txBody>
      </p:sp>
      <p:sp>
        <p:nvSpPr>
          <p:cNvPr id="56" name="Textfeld 51"/>
          <p:cNvSpPr txBox="1"/>
          <p:nvPr userDrawn="1"/>
        </p:nvSpPr>
        <p:spPr bwMode="gray">
          <a:xfrm>
            <a:off x="65486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65 / 135 / 158</a:t>
            </a:r>
          </a:p>
        </p:txBody>
      </p:sp>
      <p:sp>
        <p:nvSpPr>
          <p:cNvPr id="57" name="Textfeld 52"/>
          <p:cNvSpPr txBox="1"/>
          <p:nvPr userDrawn="1"/>
        </p:nvSpPr>
        <p:spPr bwMode="gray">
          <a:xfrm>
            <a:off x="7997537"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7 / 157 / 182</a:t>
            </a:r>
          </a:p>
        </p:txBody>
      </p:sp>
      <p:sp>
        <p:nvSpPr>
          <p:cNvPr id="58" name="Textfeld 53"/>
          <p:cNvSpPr txBox="1"/>
          <p:nvPr userDrawn="1"/>
        </p:nvSpPr>
        <p:spPr bwMode="gray">
          <a:xfrm>
            <a:off x="9468553"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6 / 140 /</a:t>
            </a:r>
            <a:r>
              <a:rPr lang="en-US" sz="700" baseline="0" noProof="0" dirty="0">
                <a:solidFill>
                  <a:schemeClr val="tx1"/>
                </a:solidFill>
                <a:latin typeface="Arial" panose="020B0604020202020204" pitchFamily="34" charset="0"/>
                <a:ea typeface="Allianz Sans" pitchFamily="50" charset="0"/>
              </a:rPr>
              <a:t> 152</a:t>
            </a:r>
            <a:endParaRPr lang="en-US" sz="700" noProof="0" dirty="0">
              <a:solidFill>
                <a:schemeClr val="tx1"/>
              </a:solidFill>
              <a:latin typeface="Arial" panose="020B0604020202020204" pitchFamily="34" charset="0"/>
              <a:ea typeface="Allianz Sans" pitchFamily="50" charset="0"/>
            </a:endParaRPr>
          </a:p>
        </p:txBody>
      </p:sp>
      <p:sp>
        <p:nvSpPr>
          <p:cNvPr id="59" name="Textfeld 54"/>
          <p:cNvSpPr txBox="1"/>
          <p:nvPr userDrawn="1"/>
        </p:nvSpPr>
        <p:spPr bwMode="gray">
          <a:xfrm>
            <a:off x="10921845"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4 / 142 / 116</a:t>
            </a:r>
          </a:p>
        </p:txBody>
      </p:sp>
      <p:sp>
        <p:nvSpPr>
          <p:cNvPr id="67" name="Textfeld 48"/>
          <p:cNvSpPr txBox="1"/>
          <p:nvPr userDrawn="1"/>
        </p:nvSpPr>
        <p:spPr bwMode="gray">
          <a:xfrm>
            <a:off x="21710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2 / 193 / 151</a:t>
            </a:r>
          </a:p>
        </p:txBody>
      </p:sp>
      <p:sp>
        <p:nvSpPr>
          <p:cNvPr id="68" name="Textfeld 49"/>
          <p:cNvSpPr txBox="1"/>
          <p:nvPr userDrawn="1"/>
        </p:nvSpPr>
        <p:spPr bwMode="gray">
          <a:xfrm>
            <a:off x="3659814"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6 / 169 / 151</a:t>
            </a:r>
          </a:p>
        </p:txBody>
      </p:sp>
      <p:sp>
        <p:nvSpPr>
          <p:cNvPr id="69" name="Textfeld 50"/>
          <p:cNvSpPr txBox="1"/>
          <p:nvPr userDrawn="1"/>
        </p:nvSpPr>
        <p:spPr bwMode="gray">
          <a:xfrm>
            <a:off x="5121968"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02 / 162 / 176</a:t>
            </a:r>
            <a:endParaRPr lang="en-US" sz="700" noProof="0" dirty="0">
              <a:solidFill>
                <a:schemeClr val="tx1"/>
              </a:solidFill>
              <a:latin typeface="Arial" panose="020B0604020202020204" pitchFamily="34" charset="0"/>
              <a:ea typeface="Allianz Sans" pitchFamily="50" charset="0"/>
            </a:endParaRPr>
          </a:p>
        </p:txBody>
      </p:sp>
      <p:sp>
        <p:nvSpPr>
          <p:cNvPr id="70" name="Textfeld 51"/>
          <p:cNvSpPr txBox="1"/>
          <p:nvPr userDrawn="1"/>
        </p:nvSpPr>
        <p:spPr bwMode="gray">
          <a:xfrm>
            <a:off x="65486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90 / 169 / 186</a:t>
            </a:r>
          </a:p>
        </p:txBody>
      </p:sp>
      <p:sp>
        <p:nvSpPr>
          <p:cNvPr id="71" name="Textfeld 52"/>
          <p:cNvSpPr txBox="1"/>
          <p:nvPr userDrawn="1"/>
        </p:nvSpPr>
        <p:spPr bwMode="gray">
          <a:xfrm>
            <a:off x="7997537"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5 / 203</a:t>
            </a:r>
          </a:p>
        </p:txBody>
      </p:sp>
      <p:sp>
        <p:nvSpPr>
          <p:cNvPr id="72" name="Textfeld 53"/>
          <p:cNvSpPr txBox="1"/>
          <p:nvPr userDrawn="1"/>
        </p:nvSpPr>
        <p:spPr bwMode="gray">
          <a:xfrm>
            <a:off x="9468553"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9 / 173 / 182</a:t>
            </a:r>
          </a:p>
        </p:txBody>
      </p:sp>
      <p:sp>
        <p:nvSpPr>
          <p:cNvPr id="73" name="Textfeld 54"/>
          <p:cNvSpPr txBox="1"/>
          <p:nvPr userDrawn="1"/>
        </p:nvSpPr>
        <p:spPr bwMode="gray">
          <a:xfrm>
            <a:off x="10921845"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7 / 174 / 156</a:t>
            </a:r>
          </a:p>
        </p:txBody>
      </p:sp>
      <p:sp>
        <p:nvSpPr>
          <p:cNvPr id="81" name="Textfeld 48"/>
          <p:cNvSpPr txBox="1"/>
          <p:nvPr userDrawn="1"/>
        </p:nvSpPr>
        <p:spPr bwMode="gray">
          <a:xfrm>
            <a:off x="21710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6 / 230 / 213</a:t>
            </a:r>
          </a:p>
        </p:txBody>
      </p:sp>
      <p:sp>
        <p:nvSpPr>
          <p:cNvPr id="82" name="Textfeld 49"/>
          <p:cNvSpPr txBox="1"/>
          <p:nvPr userDrawn="1"/>
        </p:nvSpPr>
        <p:spPr bwMode="gray">
          <a:xfrm>
            <a:off x="3659814"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6 / 221 / 214</a:t>
            </a:r>
          </a:p>
        </p:txBody>
      </p:sp>
      <p:sp>
        <p:nvSpPr>
          <p:cNvPr id="83" name="Textfeld 50"/>
          <p:cNvSpPr txBox="1"/>
          <p:nvPr userDrawn="1"/>
        </p:nvSpPr>
        <p:spPr bwMode="gray">
          <a:xfrm>
            <a:off x="5121968"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43 / 218 / 223</a:t>
            </a:r>
            <a:endParaRPr lang="en-US" sz="700" noProof="0" dirty="0">
              <a:solidFill>
                <a:schemeClr val="tx1"/>
              </a:solidFill>
              <a:latin typeface="Arial" panose="020B0604020202020204" pitchFamily="34" charset="0"/>
              <a:ea typeface="Allianz Sans" pitchFamily="50" charset="0"/>
            </a:endParaRPr>
          </a:p>
        </p:txBody>
      </p:sp>
      <p:sp>
        <p:nvSpPr>
          <p:cNvPr id="84" name="Textfeld 51"/>
          <p:cNvSpPr txBox="1"/>
          <p:nvPr userDrawn="1"/>
        </p:nvSpPr>
        <p:spPr bwMode="gray">
          <a:xfrm>
            <a:off x="65486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9 / 221 / 227</a:t>
            </a:r>
          </a:p>
        </p:txBody>
      </p:sp>
      <p:sp>
        <p:nvSpPr>
          <p:cNvPr id="85" name="Textfeld 52"/>
          <p:cNvSpPr txBox="1"/>
          <p:nvPr userDrawn="1"/>
        </p:nvSpPr>
        <p:spPr bwMode="gray">
          <a:xfrm>
            <a:off x="7997537"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7 / 234</a:t>
            </a:r>
          </a:p>
        </p:txBody>
      </p:sp>
      <p:sp>
        <p:nvSpPr>
          <p:cNvPr id="86" name="Textfeld 53"/>
          <p:cNvSpPr txBox="1"/>
          <p:nvPr userDrawn="1"/>
        </p:nvSpPr>
        <p:spPr bwMode="gray">
          <a:xfrm>
            <a:off x="9468553"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a:t>
            </a:r>
            <a:r>
              <a:rPr lang="en-US" sz="700" baseline="0" noProof="0" dirty="0">
                <a:solidFill>
                  <a:schemeClr val="tx1"/>
                </a:solidFill>
                <a:latin typeface="Arial" panose="020B0604020202020204" pitchFamily="34" charset="0"/>
                <a:ea typeface="Allianz Sans" pitchFamily="50" charset="0"/>
              </a:rPr>
              <a:t> / 222 / 226</a:t>
            </a:r>
            <a:endParaRPr lang="en-US" sz="700" noProof="0" dirty="0">
              <a:solidFill>
                <a:schemeClr val="tx1"/>
              </a:solidFill>
              <a:latin typeface="Arial" panose="020B0604020202020204" pitchFamily="34" charset="0"/>
              <a:ea typeface="Allianz Sans" pitchFamily="50" charset="0"/>
            </a:endParaRPr>
          </a:p>
        </p:txBody>
      </p:sp>
      <p:sp>
        <p:nvSpPr>
          <p:cNvPr id="87" name="Textfeld 54"/>
          <p:cNvSpPr txBox="1"/>
          <p:nvPr userDrawn="1"/>
        </p:nvSpPr>
        <p:spPr bwMode="gray">
          <a:xfrm>
            <a:off x="10921845"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 / 223 / 215</a:t>
            </a:r>
          </a:p>
        </p:txBody>
      </p:sp>
      <p:sp>
        <p:nvSpPr>
          <p:cNvPr id="95" name="Textfeld 48"/>
          <p:cNvSpPr txBox="1"/>
          <p:nvPr userDrawn="1"/>
        </p:nvSpPr>
        <p:spPr bwMode="gray">
          <a:xfrm>
            <a:off x="2171076"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9 / 195 / 94</a:t>
            </a:r>
          </a:p>
        </p:txBody>
      </p:sp>
      <p:sp>
        <p:nvSpPr>
          <p:cNvPr id="96" name="Textfeld 49"/>
          <p:cNvSpPr txBox="1"/>
          <p:nvPr userDrawn="1"/>
        </p:nvSpPr>
        <p:spPr bwMode="gray">
          <a:xfrm>
            <a:off x="3659814"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9 / 144 / 85</a:t>
            </a:r>
          </a:p>
        </p:txBody>
      </p:sp>
      <p:sp>
        <p:nvSpPr>
          <p:cNvPr id="97" name="Textfeld 50"/>
          <p:cNvSpPr txBox="1"/>
          <p:nvPr userDrawn="1"/>
        </p:nvSpPr>
        <p:spPr bwMode="gray">
          <a:xfrm>
            <a:off x="5121968"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70 / 98 / 122</a:t>
            </a:r>
            <a:endParaRPr lang="en-US" sz="700" noProof="0" dirty="0">
              <a:solidFill>
                <a:schemeClr val="tx1"/>
              </a:solidFill>
              <a:latin typeface="Arial" panose="020B0604020202020204" pitchFamily="34" charset="0"/>
              <a:ea typeface="Allianz Sans" pitchFamily="50" charset="0"/>
            </a:endParaRPr>
          </a:p>
        </p:txBody>
      </p:sp>
      <p:sp>
        <p:nvSpPr>
          <p:cNvPr id="98" name="Textfeld 51"/>
          <p:cNvSpPr txBox="1"/>
          <p:nvPr userDrawn="1"/>
        </p:nvSpPr>
        <p:spPr bwMode="gray">
          <a:xfrm>
            <a:off x="6548676"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06 / 140</a:t>
            </a:r>
          </a:p>
        </p:txBody>
      </p:sp>
      <p:sp>
        <p:nvSpPr>
          <p:cNvPr id="99" name="Textfeld 52"/>
          <p:cNvSpPr txBox="1"/>
          <p:nvPr userDrawn="1"/>
        </p:nvSpPr>
        <p:spPr bwMode="gray">
          <a:xfrm>
            <a:off x="7997537"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79 / 201</a:t>
            </a:r>
          </a:p>
        </p:txBody>
      </p:sp>
      <p:sp>
        <p:nvSpPr>
          <p:cNvPr id="100" name="Textfeld 53"/>
          <p:cNvSpPr txBox="1"/>
          <p:nvPr userDrawn="1"/>
        </p:nvSpPr>
        <p:spPr bwMode="gray">
          <a:xfrm>
            <a:off x="9468553"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77 / 186</a:t>
            </a:r>
          </a:p>
        </p:txBody>
      </p:sp>
      <p:sp>
        <p:nvSpPr>
          <p:cNvPr id="101" name="Textfeld 54"/>
          <p:cNvSpPr txBox="1"/>
          <p:nvPr userDrawn="1"/>
        </p:nvSpPr>
        <p:spPr bwMode="gray">
          <a:xfrm>
            <a:off x="10921845"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62 / 112</a:t>
            </a:r>
          </a:p>
        </p:txBody>
      </p:sp>
      <p:sp>
        <p:nvSpPr>
          <p:cNvPr id="109" name="Textfeld 48"/>
          <p:cNvSpPr txBox="1"/>
          <p:nvPr userDrawn="1"/>
        </p:nvSpPr>
        <p:spPr bwMode="gray">
          <a:xfrm>
            <a:off x="2171076"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1 / 212 / 140</a:t>
            </a:r>
          </a:p>
        </p:txBody>
      </p:sp>
      <p:sp>
        <p:nvSpPr>
          <p:cNvPr id="110" name="Textfeld 49"/>
          <p:cNvSpPr txBox="1"/>
          <p:nvPr userDrawn="1"/>
        </p:nvSpPr>
        <p:spPr bwMode="gray">
          <a:xfrm>
            <a:off x="3659814"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3 / 176 / 133</a:t>
            </a:r>
          </a:p>
        </p:txBody>
      </p:sp>
      <p:sp>
        <p:nvSpPr>
          <p:cNvPr id="111" name="Textfeld 50"/>
          <p:cNvSpPr txBox="1"/>
          <p:nvPr userDrawn="1"/>
        </p:nvSpPr>
        <p:spPr bwMode="gray">
          <a:xfrm>
            <a:off x="5121968"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94 / 143 / 160</a:t>
            </a:r>
            <a:endParaRPr lang="en-US" sz="700" noProof="0" dirty="0">
              <a:solidFill>
                <a:schemeClr val="tx1"/>
              </a:solidFill>
              <a:latin typeface="Arial" panose="020B0604020202020204" pitchFamily="34" charset="0"/>
              <a:ea typeface="Allianz Sans" pitchFamily="50" charset="0"/>
            </a:endParaRPr>
          </a:p>
        </p:txBody>
      </p:sp>
      <p:sp>
        <p:nvSpPr>
          <p:cNvPr id="112" name="Textfeld 51"/>
          <p:cNvSpPr txBox="1"/>
          <p:nvPr userDrawn="1"/>
        </p:nvSpPr>
        <p:spPr bwMode="gray">
          <a:xfrm>
            <a:off x="6548676"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48 / 173</a:t>
            </a:r>
          </a:p>
        </p:txBody>
      </p:sp>
      <p:sp>
        <p:nvSpPr>
          <p:cNvPr id="113" name="Textfeld 52"/>
          <p:cNvSpPr txBox="1"/>
          <p:nvPr userDrawn="1"/>
        </p:nvSpPr>
        <p:spPr bwMode="gray">
          <a:xfrm>
            <a:off x="7997537"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201 / 216</a:t>
            </a:r>
          </a:p>
        </p:txBody>
      </p:sp>
      <p:sp>
        <p:nvSpPr>
          <p:cNvPr id="114" name="Textfeld 53"/>
          <p:cNvSpPr txBox="1"/>
          <p:nvPr userDrawn="1"/>
        </p:nvSpPr>
        <p:spPr bwMode="gray">
          <a:xfrm>
            <a:off x="9468553"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99 / 205</a:t>
            </a:r>
          </a:p>
        </p:txBody>
      </p:sp>
      <p:sp>
        <p:nvSpPr>
          <p:cNvPr id="115" name="Textfeld 54"/>
          <p:cNvSpPr txBox="1"/>
          <p:nvPr userDrawn="1"/>
        </p:nvSpPr>
        <p:spPr bwMode="gray">
          <a:xfrm>
            <a:off x="10921845"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8 / 153</a:t>
            </a:r>
          </a:p>
        </p:txBody>
      </p:sp>
      <p:sp>
        <p:nvSpPr>
          <p:cNvPr id="123" name="Textfeld 48"/>
          <p:cNvSpPr txBox="1"/>
          <p:nvPr userDrawn="1"/>
        </p:nvSpPr>
        <p:spPr bwMode="gray">
          <a:xfrm>
            <a:off x="21710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3 / 238 /</a:t>
            </a:r>
            <a:r>
              <a:rPr lang="en-US" sz="700" baseline="0" noProof="0" dirty="0">
                <a:solidFill>
                  <a:schemeClr val="tx1"/>
                </a:solidFill>
                <a:latin typeface="Arial" panose="020B0604020202020204" pitchFamily="34" charset="0"/>
                <a:ea typeface="Allianz Sans" pitchFamily="50" charset="0"/>
              </a:rPr>
              <a:t> 209</a:t>
            </a:r>
            <a:endParaRPr lang="en-US" sz="700" noProof="0" dirty="0">
              <a:solidFill>
                <a:schemeClr val="tx1"/>
              </a:solidFill>
              <a:latin typeface="Arial" panose="020B0604020202020204" pitchFamily="34" charset="0"/>
              <a:ea typeface="Allianz Sans" pitchFamily="50" charset="0"/>
            </a:endParaRPr>
          </a:p>
        </p:txBody>
      </p:sp>
      <p:sp>
        <p:nvSpPr>
          <p:cNvPr id="124" name="Textfeld 49"/>
          <p:cNvSpPr txBox="1"/>
          <p:nvPr userDrawn="1"/>
        </p:nvSpPr>
        <p:spPr bwMode="gray">
          <a:xfrm>
            <a:off x="3659814"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0 / 223 / 206</a:t>
            </a:r>
          </a:p>
        </p:txBody>
      </p:sp>
      <p:sp>
        <p:nvSpPr>
          <p:cNvPr id="125" name="Textfeld 50"/>
          <p:cNvSpPr txBox="1"/>
          <p:nvPr userDrawn="1"/>
        </p:nvSpPr>
        <p:spPr bwMode="gray">
          <a:xfrm>
            <a:off x="5121968"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31 / 210 / 217</a:t>
            </a:r>
            <a:endParaRPr lang="en-US" sz="700" noProof="0" dirty="0">
              <a:solidFill>
                <a:schemeClr val="tx1"/>
              </a:solidFill>
              <a:latin typeface="Arial" panose="020B0604020202020204" pitchFamily="34" charset="0"/>
              <a:ea typeface="Allianz Sans" pitchFamily="50" charset="0"/>
            </a:endParaRPr>
          </a:p>
        </p:txBody>
      </p:sp>
      <p:sp>
        <p:nvSpPr>
          <p:cNvPr id="126" name="Textfeld 51"/>
          <p:cNvSpPr txBox="1"/>
          <p:nvPr userDrawn="1"/>
        </p:nvSpPr>
        <p:spPr bwMode="gray">
          <a:xfrm>
            <a:off x="65486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12 / 222</a:t>
            </a:r>
          </a:p>
        </p:txBody>
      </p:sp>
      <p:sp>
        <p:nvSpPr>
          <p:cNvPr id="127" name="Textfeld 52"/>
          <p:cNvSpPr txBox="1"/>
          <p:nvPr userDrawn="1"/>
        </p:nvSpPr>
        <p:spPr bwMode="gray">
          <a:xfrm>
            <a:off x="7997537"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33 / 240</a:t>
            </a:r>
          </a:p>
        </p:txBody>
      </p:sp>
      <p:sp>
        <p:nvSpPr>
          <p:cNvPr id="128" name="Textfeld 53"/>
          <p:cNvSpPr txBox="1"/>
          <p:nvPr userDrawn="1"/>
        </p:nvSpPr>
        <p:spPr bwMode="gray">
          <a:xfrm>
            <a:off x="9468553"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33 / 235</a:t>
            </a:r>
          </a:p>
        </p:txBody>
      </p:sp>
      <p:sp>
        <p:nvSpPr>
          <p:cNvPr id="129" name="Textfeld 54"/>
          <p:cNvSpPr txBox="1"/>
          <p:nvPr userDrawn="1"/>
        </p:nvSpPr>
        <p:spPr bwMode="gray">
          <a:xfrm>
            <a:off x="10921845"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8 / 214</a:t>
            </a:r>
          </a:p>
        </p:txBody>
      </p:sp>
      <p:sp>
        <p:nvSpPr>
          <p:cNvPr id="142" name="Textfeld 141"/>
          <p:cNvSpPr txBox="1"/>
          <p:nvPr userDrawn="1"/>
        </p:nvSpPr>
        <p:spPr bwMode="gray">
          <a:xfrm>
            <a:off x="3642092" y="1587600"/>
            <a:ext cx="983631"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 Gray</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37 / 237 / 237</a:t>
            </a:r>
          </a:p>
        </p:txBody>
      </p:sp>
      <p:sp>
        <p:nvSpPr>
          <p:cNvPr id="144" name="Textfeld 48"/>
          <p:cNvSpPr txBox="1"/>
          <p:nvPr userDrawn="1"/>
        </p:nvSpPr>
        <p:spPr bwMode="gray">
          <a:xfrm>
            <a:off x="3642092" y="2071044"/>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77 / 77 / 77</a:t>
            </a:r>
          </a:p>
        </p:txBody>
      </p:sp>
      <p:sp>
        <p:nvSpPr>
          <p:cNvPr id="146" name="Textfeld 48"/>
          <p:cNvSpPr txBox="1"/>
          <p:nvPr userDrawn="1"/>
        </p:nvSpPr>
        <p:spPr bwMode="gray">
          <a:xfrm>
            <a:off x="3642092" y="2323266"/>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35 / 135 / 135</a:t>
            </a:r>
          </a:p>
        </p:txBody>
      </p:sp>
      <p:sp>
        <p:nvSpPr>
          <p:cNvPr id="148" name="Textfeld 48"/>
          <p:cNvSpPr txBox="1"/>
          <p:nvPr userDrawn="1"/>
        </p:nvSpPr>
        <p:spPr bwMode="gray">
          <a:xfrm>
            <a:off x="3642092" y="2570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78 / 178 / 178</a:t>
            </a:r>
          </a:p>
        </p:txBody>
      </p:sp>
      <p:sp>
        <p:nvSpPr>
          <p:cNvPr id="150" name="Textfeld 48"/>
          <p:cNvSpPr txBox="1"/>
          <p:nvPr userDrawn="1"/>
        </p:nvSpPr>
        <p:spPr bwMode="gray">
          <a:xfrm>
            <a:off x="3642092" y="2822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18 / 218 / 218</a:t>
            </a:r>
          </a:p>
        </p:txBody>
      </p:sp>
      <p:sp>
        <p:nvSpPr>
          <p:cNvPr id="152" name="Titel 1"/>
          <p:cNvSpPr txBox="1">
            <a:spLocks/>
          </p:cNvSpPr>
          <p:nvPr userDrawn="1"/>
        </p:nvSpPr>
        <p:spPr bwMode="gray">
          <a:xfrm>
            <a:off x="398769" y="658800"/>
            <a:ext cx="9459692"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baseline="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en-US" sz="2000" kern="0" noProof="0" dirty="0">
                <a:latin typeface="Arial" panose="020B0604020202020204" pitchFamily="34" charset="0"/>
              </a:rPr>
              <a:t>PowerPoint color </a:t>
            </a:r>
            <a:r>
              <a:rPr lang="en-US" sz="2000" kern="0" baseline="0" noProof="0" dirty="0">
                <a:solidFill>
                  <a:schemeClr val="tx2"/>
                </a:solidFill>
                <a:latin typeface="Arial" panose="020B0604020202020204" pitchFamily="34" charset="0"/>
                <a:ea typeface="+mj-ea"/>
                <a:cs typeface="+mj-cs"/>
              </a:rPr>
              <a:t>palette (RGB)</a:t>
            </a:r>
          </a:p>
        </p:txBody>
      </p:sp>
      <p:pic>
        <p:nvPicPr>
          <p:cNvPr id="151" name="Picture 8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6220800" y="1587600"/>
            <a:ext cx="297388" cy="237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chteck 1"/>
          <p:cNvSpPr/>
          <p:nvPr userDrawn="1"/>
        </p:nvSpPr>
        <p:spPr bwMode="gray">
          <a:xfrm>
            <a:off x="6517662" y="1587600"/>
            <a:ext cx="1913339" cy="505387"/>
          </a:xfrm>
          <a:prstGeom prst="rect">
            <a:avLst/>
          </a:prstGeom>
        </p:spPr>
        <p:txBody>
          <a:bodyPr wrap="square" lIns="36000" tIns="0" rIns="0" bIns="0">
            <a:noAutofit/>
          </a:bodyPr>
          <a:lstStyle/>
          <a:p>
            <a:pPr marL="0" algn="l" defTabSz="914400" rtl="0" eaLnBrk="1" latinLnBrk="0" hangingPunct="1">
              <a:lnSpc>
                <a:spcPct val="120000"/>
              </a:lnSpc>
              <a:spcBef>
                <a:spcPts val="0"/>
              </a:spcBef>
              <a:spcAft>
                <a:spcPts val="0"/>
              </a:spcAft>
            </a:pPr>
            <a:r>
              <a:rPr lang="en-US" altLang="de-DE" sz="700" kern="1200" noProof="0" dirty="0">
                <a:solidFill>
                  <a:sysClr val="windowText" lastClr="000000"/>
                </a:solidFill>
                <a:latin typeface="Arial" panose="020B0604020202020204" pitchFamily="34" charset="0"/>
                <a:ea typeface="Allianz Sans" pitchFamily="50" charset="0"/>
                <a:cs typeface="+mn-cs"/>
              </a:rPr>
              <a:t>Please use the Format Painter </a:t>
            </a:r>
            <a:br>
              <a:rPr lang="en-US" altLang="de-DE" sz="700" kern="1200" noProof="0" dirty="0">
                <a:solidFill>
                  <a:sysClr val="windowText" lastClr="000000"/>
                </a:solidFill>
                <a:latin typeface="Arial" panose="020B0604020202020204" pitchFamily="34" charset="0"/>
                <a:ea typeface="Allianz Sans" pitchFamily="50" charset="0"/>
                <a:cs typeface="+mn-cs"/>
              </a:rPr>
            </a:br>
            <a:r>
              <a:rPr lang="en-US" altLang="de-DE" sz="700" kern="1200" noProof="0" dirty="0">
                <a:solidFill>
                  <a:sysClr val="windowText" lastClr="000000"/>
                </a:solidFill>
                <a:latin typeface="Arial" panose="020B0604020202020204" pitchFamily="34" charset="0"/>
                <a:ea typeface="Allianz Sans" pitchFamily="50" charset="0"/>
                <a:cs typeface="+mn-cs"/>
              </a:rPr>
              <a:t>to copy the color. </a:t>
            </a:r>
          </a:p>
        </p:txBody>
      </p:sp>
      <p:sp>
        <p:nvSpPr>
          <p:cNvPr id="168" name="Rechteck 167"/>
          <p:cNvSpPr/>
          <p:nvPr userDrawn="1"/>
        </p:nvSpPr>
        <p:spPr bwMode="gray">
          <a:xfrm>
            <a:off x="4776370" y="1587600"/>
            <a:ext cx="292431" cy="475200"/>
          </a:xfrm>
          <a:prstGeom prst="rect">
            <a:avLst/>
          </a:prstGeom>
          <a:solidFill>
            <a:srgbClr val="DD003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9" name="Rechteck 168"/>
          <p:cNvSpPr/>
          <p:nvPr userDrawn="1"/>
        </p:nvSpPr>
        <p:spPr bwMode="gray">
          <a:xfrm>
            <a:off x="1878646" y="3647583"/>
            <a:ext cx="292431" cy="486000"/>
          </a:xfrm>
          <a:prstGeom prst="rect">
            <a:avLst/>
          </a:prstGeom>
          <a:solidFill>
            <a:schemeClr val="accent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0" name="Rechteck 169"/>
          <p:cNvSpPr/>
          <p:nvPr userDrawn="1"/>
        </p:nvSpPr>
        <p:spPr bwMode="gray">
          <a:xfrm>
            <a:off x="3358522" y="3647583"/>
            <a:ext cx="292431" cy="486000"/>
          </a:xfrm>
          <a:prstGeom prst="rect">
            <a:avLst/>
          </a:prstGeom>
          <a:solidFill>
            <a:schemeClr val="bg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1" name="Rechteck 170"/>
          <p:cNvSpPr/>
          <p:nvPr userDrawn="1"/>
        </p:nvSpPr>
        <p:spPr bwMode="gray">
          <a:xfrm>
            <a:off x="4828378" y="3647582"/>
            <a:ext cx="292431" cy="486000"/>
          </a:xfrm>
          <a:prstGeom prst="rect">
            <a:avLst/>
          </a:prstGeom>
          <a:solidFill>
            <a:schemeClr val="accent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2" name="Rechteck 171"/>
          <p:cNvSpPr/>
          <p:nvPr userDrawn="1"/>
        </p:nvSpPr>
        <p:spPr bwMode="gray">
          <a:xfrm>
            <a:off x="6256007" y="3647583"/>
            <a:ext cx="292431" cy="486000"/>
          </a:xfrm>
          <a:prstGeom prst="rect">
            <a:avLst/>
          </a:prstGeom>
          <a:solidFill>
            <a:schemeClr val="accent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3" name="Rechteck 172"/>
          <p:cNvSpPr/>
          <p:nvPr userDrawn="1"/>
        </p:nvSpPr>
        <p:spPr bwMode="gray">
          <a:xfrm>
            <a:off x="10624985" y="3647583"/>
            <a:ext cx="292431" cy="486000"/>
          </a:xfrm>
          <a:prstGeom prst="rect">
            <a:avLst/>
          </a:prstGeom>
          <a:solidFill>
            <a:schemeClr val="accent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4" name="Rechteck 173"/>
          <p:cNvSpPr/>
          <p:nvPr userDrawn="1"/>
        </p:nvSpPr>
        <p:spPr bwMode="gray">
          <a:xfrm>
            <a:off x="1878646" y="5293698"/>
            <a:ext cx="292431" cy="486000"/>
          </a:xfrm>
          <a:prstGeom prst="rect">
            <a:avLst/>
          </a:prstGeom>
          <a:solidFill>
            <a:srgbClr val="F7A91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5" name="Rechteck 174"/>
          <p:cNvSpPr/>
          <p:nvPr userDrawn="1"/>
        </p:nvSpPr>
        <p:spPr bwMode="gray">
          <a:xfrm>
            <a:off x="3358522" y="5293698"/>
            <a:ext cx="292431" cy="486000"/>
          </a:xfrm>
          <a:prstGeom prst="rect">
            <a:avLst/>
          </a:prstGeom>
          <a:solidFill>
            <a:srgbClr val="E8610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6" name="Rechteck 175"/>
          <p:cNvSpPr/>
          <p:nvPr userDrawn="1"/>
        </p:nvSpPr>
        <p:spPr bwMode="gray">
          <a:xfrm>
            <a:off x="4828378" y="5293698"/>
            <a:ext cx="292431" cy="486000"/>
          </a:xfrm>
          <a:prstGeom prst="rect">
            <a:avLst/>
          </a:prstGeom>
          <a:solidFill>
            <a:srgbClr val="861F4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7" name="Rechteck 176"/>
          <p:cNvSpPr/>
          <p:nvPr userDrawn="1"/>
        </p:nvSpPr>
        <p:spPr bwMode="gray">
          <a:xfrm>
            <a:off x="6256007" y="5293698"/>
            <a:ext cx="292431" cy="486000"/>
          </a:xfrm>
          <a:prstGeom prst="rect">
            <a:avLst/>
          </a:prstGeom>
          <a:solidFill>
            <a:srgbClr val="6A2A5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8" name="Rechteck 177"/>
          <p:cNvSpPr/>
          <p:nvPr userDrawn="1"/>
        </p:nvSpPr>
        <p:spPr bwMode="gray">
          <a:xfrm>
            <a:off x="7700996" y="5293698"/>
            <a:ext cx="292431" cy="486000"/>
          </a:xfrm>
          <a:prstGeom prst="rect">
            <a:avLst/>
          </a:prstGeom>
          <a:solidFill>
            <a:srgbClr val="0093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9" name="Rechteck 178"/>
          <p:cNvSpPr/>
          <p:nvPr userDrawn="1"/>
        </p:nvSpPr>
        <p:spPr bwMode="gray">
          <a:xfrm>
            <a:off x="9171337" y="5293698"/>
            <a:ext cx="292431" cy="486000"/>
          </a:xfrm>
          <a:prstGeom prst="rect">
            <a:avLst/>
          </a:prstGeom>
          <a:solidFill>
            <a:srgbClr val="6B8F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0" name="Rechteck 179"/>
          <p:cNvSpPr/>
          <p:nvPr userDrawn="1"/>
        </p:nvSpPr>
        <p:spPr bwMode="gray">
          <a:xfrm>
            <a:off x="10624985" y="5293698"/>
            <a:ext cx="292431" cy="486000"/>
          </a:xfrm>
          <a:prstGeom prst="rect">
            <a:avLst/>
          </a:prstGeom>
          <a:solidFill>
            <a:srgbClr val="007A3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1" name="Rechteck 13"/>
          <p:cNvSpPr/>
          <p:nvPr userDrawn="1"/>
        </p:nvSpPr>
        <p:spPr bwMode="gray">
          <a:xfrm>
            <a:off x="1878646" y="4122896"/>
            <a:ext cx="292431" cy="252000"/>
          </a:xfrm>
          <a:prstGeom prst="rect">
            <a:avLst/>
          </a:prstGeom>
          <a:solidFill>
            <a:srgbClr val="DEA86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2" name="Rechteck 14"/>
          <p:cNvSpPr/>
          <p:nvPr userDrawn="1"/>
        </p:nvSpPr>
        <p:spPr bwMode="gray">
          <a:xfrm>
            <a:off x="3358522" y="4123656"/>
            <a:ext cx="292431" cy="252000"/>
          </a:xfrm>
          <a:prstGeom prst="rect">
            <a:avLst/>
          </a:prstGeom>
          <a:solidFill>
            <a:srgbClr val="BB876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3" name="Rechteck 15"/>
          <p:cNvSpPr/>
          <p:nvPr userDrawn="1"/>
        </p:nvSpPr>
        <p:spPr bwMode="gray">
          <a:xfrm>
            <a:off x="4828378" y="4121462"/>
            <a:ext cx="292431" cy="252000"/>
          </a:xfrm>
          <a:prstGeom prst="rect">
            <a:avLst/>
          </a:prstGeom>
          <a:solidFill>
            <a:srgbClr val="B57D9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4" name="Rechteck 16"/>
          <p:cNvSpPr/>
          <p:nvPr userDrawn="1"/>
        </p:nvSpPr>
        <p:spPr bwMode="gray">
          <a:xfrm>
            <a:off x="6256007" y="4122229"/>
            <a:ext cx="292431" cy="252000"/>
          </a:xfrm>
          <a:prstGeom prst="rect">
            <a:avLst/>
          </a:prstGeom>
          <a:solidFill>
            <a:srgbClr val="A5879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5" name="Rechteck 19"/>
          <p:cNvSpPr/>
          <p:nvPr userDrawn="1"/>
        </p:nvSpPr>
        <p:spPr bwMode="gray">
          <a:xfrm>
            <a:off x="10624985" y="4122433"/>
            <a:ext cx="292431" cy="252000"/>
          </a:xfrm>
          <a:prstGeom prst="rect">
            <a:avLst/>
          </a:prstGeom>
          <a:solidFill>
            <a:srgbClr val="688E7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6" name="Rechteck 13"/>
          <p:cNvSpPr/>
          <p:nvPr userDrawn="1"/>
        </p:nvSpPr>
        <p:spPr bwMode="gray">
          <a:xfrm>
            <a:off x="1878646" y="4360552"/>
            <a:ext cx="292431" cy="252000"/>
          </a:xfrm>
          <a:prstGeom prst="rect">
            <a:avLst/>
          </a:prstGeom>
          <a:solidFill>
            <a:srgbClr val="E8C1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7" name="Rechteck 14"/>
          <p:cNvSpPr/>
          <p:nvPr userDrawn="1"/>
        </p:nvSpPr>
        <p:spPr bwMode="gray">
          <a:xfrm>
            <a:off x="3358522" y="4363047"/>
            <a:ext cx="292431" cy="252000"/>
          </a:xfrm>
          <a:prstGeom prst="rect">
            <a:avLst/>
          </a:prstGeom>
          <a:solidFill>
            <a:srgbClr val="CEA9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8" name="Rechteck 15"/>
          <p:cNvSpPr/>
          <p:nvPr userDrawn="1"/>
        </p:nvSpPr>
        <p:spPr bwMode="gray">
          <a:xfrm>
            <a:off x="4828378" y="4358401"/>
            <a:ext cx="292431" cy="252000"/>
          </a:xfrm>
          <a:prstGeom prst="rect">
            <a:avLst/>
          </a:prstGeom>
          <a:solidFill>
            <a:srgbClr val="CAA2B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9" name="Rechteck 16"/>
          <p:cNvSpPr/>
          <p:nvPr userDrawn="1"/>
        </p:nvSpPr>
        <p:spPr bwMode="gray">
          <a:xfrm>
            <a:off x="6256007" y="4359554"/>
            <a:ext cx="292431" cy="252000"/>
          </a:xfrm>
          <a:prstGeom prst="rect">
            <a:avLst/>
          </a:prstGeom>
          <a:solidFill>
            <a:srgbClr val="BEA9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0" name="Rechteck 19"/>
          <p:cNvSpPr/>
          <p:nvPr userDrawn="1"/>
        </p:nvSpPr>
        <p:spPr bwMode="gray">
          <a:xfrm>
            <a:off x="10624985" y="4359860"/>
            <a:ext cx="292431" cy="252000"/>
          </a:xfrm>
          <a:prstGeom prst="rect">
            <a:avLst/>
          </a:prstGeom>
          <a:solidFill>
            <a:srgbClr val="93AE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1" name="Rechteck 13"/>
          <p:cNvSpPr/>
          <p:nvPr userDrawn="1"/>
        </p:nvSpPr>
        <p:spPr bwMode="gray">
          <a:xfrm>
            <a:off x="1878646" y="4598210"/>
            <a:ext cx="292431" cy="237600"/>
          </a:xfrm>
          <a:prstGeom prst="rect">
            <a:avLst/>
          </a:prstGeom>
          <a:solidFill>
            <a:srgbClr val="F6E6D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2" name="Rechteck 14"/>
          <p:cNvSpPr/>
          <p:nvPr userDrawn="1"/>
        </p:nvSpPr>
        <p:spPr bwMode="gray">
          <a:xfrm>
            <a:off x="3358522" y="4599732"/>
            <a:ext cx="292431" cy="237600"/>
          </a:xfrm>
          <a:prstGeom prst="rect">
            <a:avLst/>
          </a:prstGeom>
          <a:solidFill>
            <a:srgbClr val="ECDD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3" name="Rechteck 15"/>
          <p:cNvSpPr/>
          <p:nvPr userDrawn="1"/>
        </p:nvSpPr>
        <p:spPr bwMode="gray">
          <a:xfrm>
            <a:off x="4828378" y="4597962"/>
            <a:ext cx="292431" cy="237600"/>
          </a:xfrm>
          <a:prstGeom prst="rect">
            <a:avLst/>
          </a:prstGeom>
          <a:solidFill>
            <a:srgbClr val="EADADF"/>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4" name="Rechteck 16"/>
          <p:cNvSpPr/>
          <p:nvPr userDrawn="1"/>
        </p:nvSpPr>
        <p:spPr bwMode="gray">
          <a:xfrm>
            <a:off x="6256007" y="4596878"/>
            <a:ext cx="292431" cy="237600"/>
          </a:xfrm>
          <a:prstGeom prst="rect">
            <a:avLst/>
          </a:prstGeom>
          <a:solidFill>
            <a:srgbClr val="E5DDE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5" name="Rechteck 19"/>
          <p:cNvSpPr/>
          <p:nvPr userDrawn="1"/>
        </p:nvSpPr>
        <p:spPr bwMode="gray">
          <a:xfrm>
            <a:off x="10624985" y="4597286"/>
            <a:ext cx="292431" cy="237600"/>
          </a:xfrm>
          <a:prstGeom prst="rect">
            <a:avLst/>
          </a:prstGeom>
          <a:solidFill>
            <a:srgbClr val="D4DFD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6" name="Rechteck 13"/>
          <p:cNvSpPr/>
          <p:nvPr userDrawn="1"/>
        </p:nvSpPr>
        <p:spPr bwMode="gray">
          <a:xfrm>
            <a:off x="1878646" y="5769234"/>
            <a:ext cx="292431" cy="252000"/>
          </a:xfrm>
          <a:prstGeom prst="rect">
            <a:avLst/>
          </a:prstGeom>
          <a:solidFill>
            <a:srgbClr val="F9C35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7" name="Rechteck 14"/>
          <p:cNvSpPr/>
          <p:nvPr userDrawn="1"/>
        </p:nvSpPr>
        <p:spPr bwMode="gray">
          <a:xfrm>
            <a:off x="3358522" y="5768376"/>
            <a:ext cx="292431" cy="252000"/>
          </a:xfrm>
          <a:prstGeom prst="rect">
            <a:avLst/>
          </a:prstGeom>
          <a:solidFill>
            <a:srgbClr val="EF905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8" name="Rechteck 15"/>
          <p:cNvSpPr/>
          <p:nvPr userDrawn="1"/>
        </p:nvSpPr>
        <p:spPr bwMode="gray">
          <a:xfrm>
            <a:off x="4828378" y="5768376"/>
            <a:ext cx="292431" cy="252000"/>
          </a:xfrm>
          <a:prstGeom prst="rect">
            <a:avLst/>
          </a:prstGeom>
          <a:solidFill>
            <a:srgbClr val="AA627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9" name="Rechteck 16"/>
          <p:cNvSpPr/>
          <p:nvPr userDrawn="1"/>
        </p:nvSpPr>
        <p:spPr bwMode="gray">
          <a:xfrm>
            <a:off x="6256007" y="5769538"/>
            <a:ext cx="292431" cy="252000"/>
          </a:xfrm>
          <a:prstGeom prst="rect">
            <a:avLst/>
          </a:prstGeom>
          <a:solidFill>
            <a:srgbClr val="976A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0" name="Rechteck 17"/>
          <p:cNvSpPr/>
          <p:nvPr userDrawn="1"/>
        </p:nvSpPr>
        <p:spPr bwMode="gray">
          <a:xfrm>
            <a:off x="7700996" y="5768376"/>
            <a:ext cx="292431" cy="252000"/>
          </a:xfrm>
          <a:prstGeom prst="rect">
            <a:avLst/>
          </a:prstGeom>
          <a:solidFill>
            <a:srgbClr val="4CB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1" name="Rechteck 18"/>
          <p:cNvSpPr/>
          <p:nvPr userDrawn="1"/>
        </p:nvSpPr>
        <p:spPr bwMode="gray">
          <a:xfrm>
            <a:off x="9171337" y="5768376"/>
            <a:ext cx="292431" cy="252000"/>
          </a:xfrm>
          <a:prstGeom prst="rect">
            <a:avLst/>
          </a:prstGeom>
          <a:solidFill>
            <a:srgbClr val="97B1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2" name="Rechteck 19"/>
          <p:cNvSpPr/>
          <p:nvPr userDrawn="1"/>
        </p:nvSpPr>
        <p:spPr bwMode="gray">
          <a:xfrm>
            <a:off x="10624985" y="5768376"/>
            <a:ext cx="292431" cy="252000"/>
          </a:xfrm>
          <a:prstGeom prst="rect">
            <a:avLst/>
          </a:prstGeom>
          <a:solidFill>
            <a:srgbClr val="4CA27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3" name="Rechteck 13"/>
          <p:cNvSpPr/>
          <p:nvPr userDrawn="1"/>
        </p:nvSpPr>
        <p:spPr bwMode="gray">
          <a:xfrm>
            <a:off x="1878646" y="6007002"/>
            <a:ext cx="292431" cy="252000"/>
          </a:xfrm>
          <a:prstGeom prst="rect">
            <a:avLst/>
          </a:prstGeom>
          <a:solidFill>
            <a:srgbClr val="FBD4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4" name="Rechteck 14"/>
          <p:cNvSpPr/>
          <p:nvPr userDrawn="1"/>
        </p:nvSpPr>
        <p:spPr bwMode="gray">
          <a:xfrm>
            <a:off x="3358522" y="6004486"/>
            <a:ext cx="292431" cy="252000"/>
          </a:xfrm>
          <a:prstGeom prst="rect">
            <a:avLst/>
          </a:prstGeom>
          <a:solidFill>
            <a:srgbClr val="F3B08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5" name="Rechteck 15"/>
          <p:cNvSpPr/>
          <p:nvPr userDrawn="1"/>
        </p:nvSpPr>
        <p:spPr bwMode="gray">
          <a:xfrm>
            <a:off x="4828378" y="6004486"/>
            <a:ext cx="292431" cy="252000"/>
          </a:xfrm>
          <a:prstGeom prst="rect">
            <a:avLst/>
          </a:prstGeom>
          <a:solidFill>
            <a:srgbClr val="C28FA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6" name="Rechteck 16"/>
          <p:cNvSpPr/>
          <p:nvPr userDrawn="1"/>
        </p:nvSpPr>
        <p:spPr bwMode="gray">
          <a:xfrm>
            <a:off x="6256007" y="6007458"/>
            <a:ext cx="292431" cy="252000"/>
          </a:xfrm>
          <a:prstGeom prst="rect">
            <a:avLst/>
          </a:prstGeom>
          <a:solidFill>
            <a:srgbClr val="B594A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7" name="Rechteck 17"/>
          <p:cNvSpPr/>
          <p:nvPr userDrawn="1"/>
        </p:nvSpPr>
        <p:spPr bwMode="gray">
          <a:xfrm>
            <a:off x="7700996" y="6004486"/>
            <a:ext cx="292431" cy="252000"/>
          </a:xfrm>
          <a:prstGeom prst="rect">
            <a:avLst/>
          </a:prstGeom>
          <a:solidFill>
            <a:srgbClr val="80C9D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8" name="Rechteck 18"/>
          <p:cNvSpPr/>
          <p:nvPr userDrawn="1"/>
        </p:nvSpPr>
        <p:spPr bwMode="gray">
          <a:xfrm>
            <a:off x="9171337" y="6004496"/>
            <a:ext cx="292431" cy="252000"/>
          </a:xfrm>
          <a:prstGeom prst="rect">
            <a:avLst/>
          </a:prstGeom>
          <a:solidFill>
            <a:srgbClr val="B5C7C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9" name="Rechteck 19"/>
          <p:cNvSpPr/>
          <p:nvPr userDrawn="1"/>
        </p:nvSpPr>
        <p:spPr bwMode="gray">
          <a:xfrm>
            <a:off x="10624985" y="6004486"/>
            <a:ext cx="292431" cy="252000"/>
          </a:xfrm>
          <a:prstGeom prst="rect">
            <a:avLst/>
          </a:prstGeom>
          <a:solidFill>
            <a:srgbClr val="80BC9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0" name="Rechteck 13"/>
          <p:cNvSpPr/>
          <p:nvPr userDrawn="1"/>
        </p:nvSpPr>
        <p:spPr bwMode="gray">
          <a:xfrm>
            <a:off x="1878646" y="6245640"/>
            <a:ext cx="292431" cy="237600"/>
          </a:xfrm>
          <a:prstGeom prst="rect">
            <a:avLst/>
          </a:prstGeom>
          <a:solidFill>
            <a:srgbClr val="FDEED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1" name="Rechteck 14"/>
          <p:cNvSpPr/>
          <p:nvPr userDrawn="1"/>
        </p:nvSpPr>
        <p:spPr bwMode="gray">
          <a:xfrm>
            <a:off x="3358522" y="6245640"/>
            <a:ext cx="292431" cy="237600"/>
          </a:xfrm>
          <a:prstGeom prst="rect">
            <a:avLst/>
          </a:prstGeom>
          <a:solidFill>
            <a:srgbClr val="FADFC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2" name="Rechteck 15"/>
          <p:cNvSpPr/>
          <p:nvPr userDrawn="1"/>
        </p:nvSpPr>
        <p:spPr bwMode="gray">
          <a:xfrm>
            <a:off x="4828378" y="6245640"/>
            <a:ext cx="292431" cy="237600"/>
          </a:xfrm>
          <a:prstGeom prst="rect">
            <a:avLst/>
          </a:prstGeom>
          <a:solidFill>
            <a:srgbClr val="E7D2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3" name="Rechteck 16"/>
          <p:cNvSpPr/>
          <p:nvPr userDrawn="1"/>
        </p:nvSpPr>
        <p:spPr bwMode="gray">
          <a:xfrm>
            <a:off x="6256007" y="6245640"/>
            <a:ext cx="292431" cy="237600"/>
          </a:xfrm>
          <a:prstGeom prst="rect">
            <a:avLst/>
          </a:prstGeom>
          <a:solidFill>
            <a:srgbClr val="E1D4D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4" name="Rechteck 17"/>
          <p:cNvSpPr/>
          <p:nvPr userDrawn="1"/>
        </p:nvSpPr>
        <p:spPr bwMode="gray">
          <a:xfrm>
            <a:off x="7700996" y="6245640"/>
            <a:ext cx="292431" cy="237600"/>
          </a:xfrm>
          <a:prstGeom prst="rect">
            <a:avLst/>
          </a:prstGeom>
          <a:solidFill>
            <a:srgbClr val="CCE9F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5" name="Rechteck 18"/>
          <p:cNvSpPr/>
          <p:nvPr userDrawn="1"/>
        </p:nvSpPr>
        <p:spPr bwMode="gray">
          <a:xfrm>
            <a:off x="9171337" y="6245640"/>
            <a:ext cx="292431" cy="237600"/>
          </a:xfrm>
          <a:prstGeom prst="rect">
            <a:avLst/>
          </a:prstGeom>
          <a:solidFill>
            <a:srgbClr val="E1E9E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6" name="Rechteck 19"/>
          <p:cNvSpPr/>
          <p:nvPr userDrawn="1"/>
        </p:nvSpPr>
        <p:spPr bwMode="gray">
          <a:xfrm>
            <a:off x="10624985" y="6245640"/>
            <a:ext cx="292431" cy="237600"/>
          </a:xfrm>
          <a:prstGeom prst="rect">
            <a:avLst/>
          </a:prstGeom>
          <a:solidFill>
            <a:srgbClr val="CCE4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9" name="Rechteck 218"/>
          <p:cNvSpPr/>
          <p:nvPr userDrawn="1"/>
        </p:nvSpPr>
        <p:spPr bwMode="gray">
          <a:xfrm>
            <a:off x="9169519" y="3647581"/>
            <a:ext cx="292431" cy="486000"/>
          </a:xfrm>
          <a:prstGeom prst="rect">
            <a:avLst/>
          </a:prstGeom>
          <a:solidFill>
            <a:schemeClr val="accent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0" name="Rechteck 19"/>
          <p:cNvSpPr/>
          <p:nvPr userDrawn="1"/>
        </p:nvSpPr>
        <p:spPr bwMode="gray">
          <a:xfrm>
            <a:off x="9169519" y="4122431"/>
            <a:ext cx="292431" cy="252000"/>
          </a:xfrm>
          <a:prstGeom prst="rect">
            <a:avLst/>
          </a:prstGeom>
          <a:solidFill>
            <a:srgbClr val="6A8C9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1" name="Rechteck 19"/>
          <p:cNvSpPr/>
          <p:nvPr userDrawn="1"/>
        </p:nvSpPr>
        <p:spPr bwMode="gray">
          <a:xfrm>
            <a:off x="9169519" y="4359858"/>
            <a:ext cx="292431" cy="252000"/>
          </a:xfrm>
          <a:prstGeom prst="rect">
            <a:avLst/>
          </a:prstGeom>
          <a:solidFill>
            <a:srgbClr val="95A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2" name="Rechteck 19"/>
          <p:cNvSpPr/>
          <p:nvPr userDrawn="1"/>
        </p:nvSpPr>
        <p:spPr bwMode="gray">
          <a:xfrm>
            <a:off x="9169519" y="4597284"/>
            <a:ext cx="292431" cy="237600"/>
          </a:xfrm>
          <a:prstGeom prst="rect">
            <a:avLst/>
          </a:prstGeom>
          <a:solidFill>
            <a:srgbClr val="D4DEE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3" name="Rechteck 222"/>
          <p:cNvSpPr/>
          <p:nvPr userDrawn="1"/>
        </p:nvSpPr>
        <p:spPr bwMode="gray">
          <a:xfrm>
            <a:off x="7700677" y="3647580"/>
            <a:ext cx="292431" cy="486000"/>
          </a:xfrm>
          <a:prstGeom prst="rect">
            <a:avLst/>
          </a:prstGeom>
          <a:solidFill>
            <a:schemeClr val="accent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4" name="Rechteck 19"/>
          <p:cNvSpPr/>
          <p:nvPr userDrawn="1"/>
        </p:nvSpPr>
        <p:spPr bwMode="gray">
          <a:xfrm>
            <a:off x="7700677" y="4122430"/>
            <a:ext cx="292431" cy="252000"/>
          </a:xfrm>
          <a:prstGeom prst="rect">
            <a:avLst/>
          </a:prstGeom>
          <a:solidFill>
            <a:srgbClr val="4D9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5" name="Rechteck 19"/>
          <p:cNvSpPr/>
          <p:nvPr userDrawn="1"/>
        </p:nvSpPr>
        <p:spPr bwMode="gray">
          <a:xfrm>
            <a:off x="7700677" y="4359857"/>
            <a:ext cx="292431" cy="252000"/>
          </a:xfrm>
          <a:prstGeom prst="rect">
            <a:avLst/>
          </a:prstGeom>
          <a:solidFill>
            <a:srgbClr val="80B9C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6" name="Rechteck 19"/>
          <p:cNvSpPr/>
          <p:nvPr userDrawn="1"/>
        </p:nvSpPr>
        <p:spPr bwMode="gray">
          <a:xfrm>
            <a:off x="7700677" y="4597283"/>
            <a:ext cx="292431" cy="237600"/>
          </a:xfrm>
          <a:prstGeom prst="rect">
            <a:avLst/>
          </a:prstGeom>
          <a:solidFill>
            <a:srgbClr val="CCE3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47" name="Rechteck 146"/>
          <p:cNvSpPr/>
          <p:nvPr userDrawn="1"/>
        </p:nvSpPr>
        <p:spPr bwMode="gray">
          <a:xfrm>
            <a:off x="3349661" y="1587600"/>
            <a:ext cx="292431" cy="486000"/>
          </a:xfrm>
          <a:prstGeom prst="rect">
            <a:avLst/>
          </a:prstGeom>
          <a:solidFill>
            <a:srgbClr val="EDEDE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49" name="Rechteck 13"/>
          <p:cNvSpPr/>
          <p:nvPr userDrawn="1"/>
        </p:nvSpPr>
        <p:spPr bwMode="gray">
          <a:xfrm>
            <a:off x="3349661" y="2062800"/>
            <a:ext cx="292431" cy="252000"/>
          </a:xfrm>
          <a:prstGeom prst="rect">
            <a:avLst/>
          </a:prstGeom>
          <a:solidFill>
            <a:srgbClr val="4C4C4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5" name="Rechteck 13"/>
          <p:cNvSpPr/>
          <p:nvPr userDrawn="1"/>
        </p:nvSpPr>
        <p:spPr bwMode="gray">
          <a:xfrm>
            <a:off x="3349661" y="2562973"/>
            <a:ext cx="292431" cy="252000"/>
          </a:xfrm>
          <a:prstGeom prst="rect">
            <a:avLst/>
          </a:prstGeom>
          <a:solidFill>
            <a:srgbClr val="B2B2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6" name="Rechteck 155"/>
          <p:cNvSpPr/>
          <p:nvPr userDrawn="1"/>
        </p:nvSpPr>
        <p:spPr bwMode="gray">
          <a:xfrm>
            <a:off x="398770" y="1587600"/>
            <a:ext cx="292431" cy="486000"/>
          </a:xfrm>
          <a:prstGeom prst="rect">
            <a:avLst/>
          </a:prstGeom>
          <a:solidFill>
            <a:schemeClr val="tx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1" name="Rechteck 13"/>
          <p:cNvSpPr/>
          <p:nvPr userDrawn="1"/>
        </p:nvSpPr>
        <p:spPr bwMode="gray">
          <a:xfrm>
            <a:off x="3349661" y="2316066"/>
            <a:ext cx="292431" cy="252000"/>
          </a:xfrm>
          <a:prstGeom prst="rect">
            <a:avLst/>
          </a:prstGeom>
          <a:solidFill>
            <a:srgbClr val="87878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2" name="Rechteck 13"/>
          <p:cNvSpPr/>
          <p:nvPr userDrawn="1"/>
        </p:nvSpPr>
        <p:spPr bwMode="gray">
          <a:xfrm>
            <a:off x="3349661" y="2814973"/>
            <a:ext cx="292431" cy="252000"/>
          </a:xfrm>
          <a:prstGeom prst="rect">
            <a:avLst/>
          </a:prstGeom>
          <a:solidFill>
            <a:srgbClr val="DADADA"/>
          </a:solidFill>
          <a:ln w="3175" cap="flat" cmpd="sng" algn="ctr">
            <a:noFill/>
            <a:prstDash val="sysDot"/>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R="0" lvl="0" indent="0" fontAlgn="base">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w="3175">
                <a:noFill/>
              </a:ln>
              <a:solidFill>
                <a:schemeClr val="bg1"/>
              </a:solidFill>
              <a:effectLst/>
              <a:latin typeface="Arial" panose="020B0604020202020204" pitchFamily="34" charset="0"/>
            </a:endParaRPr>
          </a:p>
        </p:txBody>
      </p:sp>
      <p:sp>
        <p:nvSpPr>
          <p:cNvPr id="153" name="Textfeld 152"/>
          <p:cNvSpPr txBox="1"/>
          <p:nvPr userDrawn="1"/>
        </p:nvSpPr>
        <p:spPr bwMode="gray">
          <a:xfrm>
            <a:off x="691200"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lu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0 / 98 / 149</a:t>
            </a:r>
          </a:p>
        </p:txBody>
      </p:sp>
      <p:sp>
        <p:nvSpPr>
          <p:cNvPr id="154" name="Textfeld 153"/>
          <p:cNvSpPr txBox="1"/>
          <p:nvPr userDrawn="1"/>
        </p:nvSpPr>
        <p:spPr bwMode="gray">
          <a:xfrm>
            <a:off x="691200"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Roya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3 / 131 / 201</a:t>
            </a:r>
          </a:p>
        </p:txBody>
      </p:sp>
      <p:sp>
        <p:nvSpPr>
          <p:cNvPr id="163" name="Textfeld 48"/>
          <p:cNvSpPr txBox="1"/>
          <p:nvPr userDrawn="1"/>
        </p:nvSpPr>
        <p:spPr bwMode="gray">
          <a:xfrm>
            <a:off x="691200"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2 / 145 / 181</a:t>
            </a:r>
          </a:p>
        </p:txBody>
      </p:sp>
      <p:sp>
        <p:nvSpPr>
          <p:cNvPr id="165" name="Textfeld 48"/>
          <p:cNvSpPr txBox="1"/>
          <p:nvPr userDrawn="1"/>
        </p:nvSpPr>
        <p:spPr bwMode="gray">
          <a:xfrm>
            <a:off x="691200"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3 / 177 / 202</a:t>
            </a:r>
          </a:p>
        </p:txBody>
      </p:sp>
      <p:sp>
        <p:nvSpPr>
          <p:cNvPr id="166" name="Textfeld 48"/>
          <p:cNvSpPr txBox="1"/>
          <p:nvPr userDrawn="1"/>
        </p:nvSpPr>
        <p:spPr bwMode="gray">
          <a:xfrm>
            <a:off x="691200"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4 / 224 / 234</a:t>
            </a:r>
          </a:p>
        </p:txBody>
      </p:sp>
      <p:sp>
        <p:nvSpPr>
          <p:cNvPr id="167" name="Textfeld 48"/>
          <p:cNvSpPr txBox="1"/>
          <p:nvPr userDrawn="1"/>
        </p:nvSpPr>
        <p:spPr bwMode="gray">
          <a:xfrm>
            <a:off x="691200"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4 / 168 / 217</a:t>
            </a:r>
          </a:p>
        </p:txBody>
      </p:sp>
      <p:sp>
        <p:nvSpPr>
          <p:cNvPr id="217" name="Textfeld 48"/>
          <p:cNvSpPr txBox="1"/>
          <p:nvPr userDrawn="1"/>
        </p:nvSpPr>
        <p:spPr bwMode="gray">
          <a:xfrm>
            <a:off x="691200"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4 / 193 / 228</a:t>
            </a:r>
          </a:p>
        </p:txBody>
      </p:sp>
      <p:sp>
        <p:nvSpPr>
          <p:cNvPr id="218" name="Textfeld 48"/>
          <p:cNvSpPr txBox="1"/>
          <p:nvPr userDrawn="1"/>
        </p:nvSpPr>
        <p:spPr bwMode="gray">
          <a:xfrm>
            <a:off x="691200"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5 / 230 / 244</a:t>
            </a:r>
          </a:p>
        </p:txBody>
      </p:sp>
      <p:sp>
        <p:nvSpPr>
          <p:cNvPr id="227" name="Rechteck 226"/>
          <p:cNvSpPr/>
          <p:nvPr userDrawn="1"/>
        </p:nvSpPr>
        <p:spPr bwMode="gray">
          <a:xfrm>
            <a:off x="398770" y="3647583"/>
            <a:ext cx="292431" cy="486000"/>
          </a:xfrm>
          <a:prstGeom prst="rect">
            <a:avLst/>
          </a:prstGeom>
          <a:solidFill>
            <a:srgbClr val="32629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9" name="Rechteck 228"/>
          <p:cNvSpPr/>
          <p:nvPr userDrawn="1"/>
        </p:nvSpPr>
        <p:spPr bwMode="gray">
          <a:xfrm>
            <a:off x="398770" y="5293698"/>
            <a:ext cx="292431" cy="486000"/>
          </a:xfrm>
          <a:prstGeom prst="rect">
            <a:avLst/>
          </a:prstGeom>
          <a:solidFill>
            <a:srgbClr val="358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0" name="Rechteck 13"/>
          <p:cNvSpPr/>
          <p:nvPr userDrawn="1"/>
        </p:nvSpPr>
        <p:spPr bwMode="gray">
          <a:xfrm>
            <a:off x="398770" y="4122896"/>
            <a:ext cx="292431" cy="252000"/>
          </a:xfrm>
          <a:prstGeom prst="rect">
            <a:avLst/>
          </a:prstGeom>
          <a:solidFill>
            <a:srgbClr val="7091B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1" name="Rechteck 13"/>
          <p:cNvSpPr/>
          <p:nvPr userDrawn="1"/>
        </p:nvSpPr>
        <p:spPr bwMode="gray">
          <a:xfrm>
            <a:off x="398770" y="4360552"/>
            <a:ext cx="292431" cy="252000"/>
          </a:xfrm>
          <a:prstGeom prst="rect">
            <a:avLst/>
          </a:prstGeom>
          <a:solidFill>
            <a:srgbClr val="99B1C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2" name="Rechteck 13"/>
          <p:cNvSpPr/>
          <p:nvPr userDrawn="1"/>
        </p:nvSpPr>
        <p:spPr bwMode="gray">
          <a:xfrm>
            <a:off x="398770" y="4598210"/>
            <a:ext cx="292431" cy="237600"/>
          </a:xfrm>
          <a:prstGeom prst="rect">
            <a:avLst/>
          </a:prstGeom>
          <a:solidFill>
            <a:srgbClr val="D6E0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3" name="Rechteck 13"/>
          <p:cNvSpPr/>
          <p:nvPr userDrawn="1"/>
        </p:nvSpPr>
        <p:spPr bwMode="gray">
          <a:xfrm>
            <a:off x="398770" y="5769234"/>
            <a:ext cx="292431" cy="252000"/>
          </a:xfrm>
          <a:prstGeom prst="rect">
            <a:avLst/>
          </a:prstGeom>
          <a:solidFill>
            <a:srgbClr val="72A8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4" name="Rechteck 13"/>
          <p:cNvSpPr/>
          <p:nvPr userDrawn="1"/>
        </p:nvSpPr>
        <p:spPr bwMode="gray">
          <a:xfrm>
            <a:off x="398770" y="6007002"/>
            <a:ext cx="292431" cy="252000"/>
          </a:xfrm>
          <a:prstGeom prst="rect">
            <a:avLst/>
          </a:prstGeom>
          <a:solidFill>
            <a:srgbClr val="9AC1E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5" name="Rechteck 13"/>
          <p:cNvSpPr/>
          <p:nvPr userDrawn="1"/>
        </p:nvSpPr>
        <p:spPr bwMode="gray">
          <a:xfrm>
            <a:off x="398770" y="6245640"/>
            <a:ext cx="292431" cy="237600"/>
          </a:xfrm>
          <a:prstGeom prst="rect">
            <a:avLst/>
          </a:prstGeom>
          <a:solidFill>
            <a:srgbClr val="D7E6F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8" name="Textfeld 48"/>
          <p:cNvSpPr txBox="1"/>
          <p:nvPr userDrawn="1"/>
        </p:nvSpPr>
        <p:spPr bwMode="gray">
          <a:xfrm>
            <a:off x="3642092" y="3065539"/>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60 / 60 / 60</a:t>
            </a:r>
          </a:p>
        </p:txBody>
      </p:sp>
      <p:sp>
        <p:nvSpPr>
          <p:cNvPr id="237" name="Rechteck 13"/>
          <p:cNvSpPr/>
          <p:nvPr userDrawn="1"/>
        </p:nvSpPr>
        <p:spPr bwMode="gray">
          <a:xfrm>
            <a:off x="3349661" y="3062717"/>
            <a:ext cx="292431" cy="252000"/>
          </a:xfrm>
          <a:prstGeom prst="rect">
            <a:avLst/>
          </a:prstGeom>
          <a:solidFill>
            <a:srgbClr val="3C3C3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8" name="Textfeld 237"/>
          <p:cNvSpPr txBox="1"/>
          <p:nvPr userDrawn="1"/>
        </p:nvSpPr>
        <p:spPr bwMode="gray">
          <a:xfrm>
            <a:off x="398771" y="5019265"/>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Lighter/brighter</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157" name="Textfeld 156"/>
          <p:cNvSpPr txBox="1"/>
          <p:nvPr userDrawn="1"/>
        </p:nvSpPr>
        <p:spPr bwMode="gray">
          <a:xfrm>
            <a:off x="5068801" y="20628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Green</a:t>
            </a:r>
            <a:br>
              <a:rPr lang="en-US" sz="700" b="1" baseline="0" noProof="0" dirty="0">
                <a:solidFill>
                  <a:sysClr val="windowText" lastClr="000000"/>
                </a:solidFill>
                <a:latin typeface="Arial" panose="020B0604020202020204" pitchFamily="34" charset="0"/>
                <a:ea typeface="Allianz Sans" pitchFamily="50" charset="0"/>
              </a:rPr>
            </a:br>
            <a:r>
              <a:rPr lang="en-US" sz="700" b="0" baseline="0" noProof="0" dirty="0">
                <a:solidFill>
                  <a:sysClr val="windowText" lastClr="000000"/>
                </a:solidFill>
                <a:latin typeface="Arial" panose="020B0604020202020204" pitchFamily="34" charset="0"/>
                <a:ea typeface="Allianz Sans" pitchFamily="50" charset="0"/>
              </a:rPr>
              <a:t>0 / 126 / 98</a:t>
            </a:r>
            <a:endParaRPr lang="en-US" sz="700" noProof="0" dirty="0">
              <a:solidFill>
                <a:sysClr val="windowText" lastClr="000000"/>
              </a:solidFill>
              <a:latin typeface="Arial" panose="020B0604020202020204" pitchFamily="34" charset="0"/>
              <a:ea typeface="Allianz Sans" pitchFamily="50" charset="0"/>
            </a:endParaRPr>
          </a:p>
        </p:txBody>
      </p:sp>
      <p:sp>
        <p:nvSpPr>
          <p:cNvPr id="158" name="Rechteck 157"/>
          <p:cNvSpPr/>
          <p:nvPr userDrawn="1"/>
        </p:nvSpPr>
        <p:spPr bwMode="gray">
          <a:xfrm>
            <a:off x="4776370" y="2062800"/>
            <a:ext cx="292431" cy="475200"/>
          </a:xfrm>
          <a:prstGeom prst="rect">
            <a:avLst/>
          </a:prstGeom>
          <a:solidFill>
            <a:srgbClr val="007E6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402692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12" name="Textplatzhalter 11"/>
          <p:cNvSpPr txBox="1">
            <a:spLocks/>
          </p:cNvSpPr>
          <p:nvPr userDrawn="1"/>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Tree>
    <p:extLst>
      <p:ext uri="{BB962C8B-B14F-4D97-AF65-F5344CB8AC3E}">
        <p14:creationId xmlns:p14="http://schemas.microsoft.com/office/powerpoint/2010/main" val="101368142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p:nvPr>
        </p:nvSpPr>
        <p:spPr bwMode="gray"/>
        <p:txBody>
          <a:bodyPr/>
          <a:lstStyle/>
          <a:p>
            <a:r>
              <a:rPr lang="de-DE" noProof="0"/>
              <a:t>Titelmasterformat durch Klicken bearbeiten</a:t>
            </a:r>
            <a:endParaRPr lang="en-GB" noProof="0" dirty="0"/>
          </a:p>
        </p:txBody>
      </p:sp>
    </p:spTree>
    <p:extLst>
      <p:ext uri="{BB962C8B-B14F-4D97-AF65-F5344CB8AC3E}">
        <p14:creationId xmlns:p14="http://schemas.microsoft.com/office/powerpoint/2010/main" val="115269471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Rechteck 2"/>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7528950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383368" y="1374857"/>
            <a:ext cx="9302749" cy="224251"/>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2383367" y="1863169"/>
            <a:ext cx="9302751" cy="1565832"/>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782233" cy="2054143"/>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8" y="3693063"/>
            <a:ext cx="1782232" cy="246855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9" name="Content Placeholder 2">
            <a:extLst>
              <a:ext uri="{FF2B5EF4-FFF2-40B4-BE49-F238E27FC236}">
                <a16:creationId xmlns:a16="http://schemas.microsoft.com/office/drawing/2014/main" id="{8F5FABFA-1F31-4724-9006-999189E1B5B3}"/>
              </a:ext>
            </a:extLst>
          </p:cNvPr>
          <p:cNvSpPr>
            <a:spLocks noGrp="1"/>
          </p:cNvSpPr>
          <p:nvPr>
            <p:ph sz="half" idx="21" hasCustomPrompt="1"/>
          </p:nvPr>
        </p:nvSpPr>
        <p:spPr>
          <a:xfrm>
            <a:off x="2383366"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4" name="Content Placeholder 2">
            <a:extLst>
              <a:ext uri="{FF2B5EF4-FFF2-40B4-BE49-F238E27FC236}">
                <a16:creationId xmlns:a16="http://schemas.microsoft.com/office/drawing/2014/main" id="{98FFBC02-6806-4F9E-9BF1-D0158197A610}"/>
              </a:ext>
            </a:extLst>
          </p:cNvPr>
          <p:cNvSpPr>
            <a:spLocks noGrp="1"/>
          </p:cNvSpPr>
          <p:nvPr>
            <p:ph sz="half" idx="22" hasCustomPrompt="1"/>
          </p:nvPr>
        </p:nvSpPr>
        <p:spPr>
          <a:xfrm>
            <a:off x="5605146"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5" name="Content Placeholder 2">
            <a:extLst>
              <a:ext uri="{FF2B5EF4-FFF2-40B4-BE49-F238E27FC236}">
                <a16:creationId xmlns:a16="http://schemas.microsoft.com/office/drawing/2014/main" id="{01A40C2D-9F9C-4855-8E3B-9050487C6468}"/>
              </a:ext>
            </a:extLst>
          </p:cNvPr>
          <p:cNvSpPr>
            <a:spLocks noGrp="1"/>
          </p:cNvSpPr>
          <p:nvPr>
            <p:ph sz="half" idx="23" hasCustomPrompt="1"/>
          </p:nvPr>
        </p:nvSpPr>
        <p:spPr>
          <a:xfrm>
            <a:off x="8826925"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4" name="Tijdelijke aanduiding voor tekst 2">
            <a:extLst>
              <a:ext uri="{FF2B5EF4-FFF2-40B4-BE49-F238E27FC236}">
                <a16:creationId xmlns:a16="http://schemas.microsoft.com/office/drawing/2014/main" id="{3360CB83-D8AD-4E25-802F-8A2F320D1B05}"/>
              </a:ext>
            </a:extLst>
          </p:cNvPr>
          <p:cNvSpPr>
            <a:spLocks noGrp="1"/>
          </p:cNvSpPr>
          <p:nvPr>
            <p:ph type="body" sz="quarter" idx="24"/>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93533792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268612036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Slide">
    <p:bg>
      <p:bgRef idx="1001">
        <a:schemeClr val="bg1"/>
      </p:bgRef>
    </p:bg>
    <p:spTree>
      <p:nvGrpSpPr>
        <p:cNvPr id="1" name=""/>
        <p:cNvGrpSpPr/>
        <p:nvPr/>
      </p:nvGrpSpPr>
      <p:grpSpPr>
        <a:xfrm>
          <a:off x="0" y="0"/>
          <a:ext cx="0" cy="0"/>
          <a:chOff x="0" y="0"/>
          <a:chExt cx="0" cy="0"/>
        </a:xfrm>
      </p:grpSpPr>
      <p:sp>
        <p:nvSpPr>
          <p:cNvPr id="41" name="Rechteck 40"/>
          <p:cNvSpPr/>
          <p:nvPr/>
        </p:nvSpPr>
        <p:spPr bwMode="gray">
          <a:xfrm>
            <a:off x="4368740" y="1"/>
            <a:ext cx="7404171" cy="5697538"/>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9" name="Rechteck 18"/>
          <p:cNvSpPr/>
          <p:nvPr/>
        </p:nvSpPr>
        <p:spPr bwMode="auto">
          <a:xfrm>
            <a:off x="4368739" y="-1"/>
            <a:ext cx="7401230" cy="5697538"/>
          </a:xfrm>
          <a:custGeom>
            <a:avLst/>
            <a:gdLst/>
            <a:ahLst/>
            <a:cxnLst/>
            <a:rect l="l" t="t" r="r" b="b"/>
            <a:pathLst>
              <a:path w="6013499" h="5697538">
                <a:moveTo>
                  <a:pt x="0" y="0"/>
                </a:moveTo>
                <a:lnTo>
                  <a:pt x="6013499" y="0"/>
                </a:lnTo>
                <a:lnTo>
                  <a:pt x="6013499" y="977154"/>
                </a:lnTo>
                <a:lnTo>
                  <a:pt x="6013499" y="4403792"/>
                </a:lnTo>
                <a:lnTo>
                  <a:pt x="6013499" y="5697538"/>
                </a:lnTo>
                <a:lnTo>
                  <a:pt x="0" y="5697538"/>
                </a:lnTo>
                <a:lnTo>
                  <a:pt x="0" y="4403792"/>
                </a:lnTo>
                <a:lnTo>
                  <a:pt x="3302051" y="4403792"/>
                </a:lnTo>
                <a:lnTo>
                  <a:pt x="3302051" y="977154"/>
                </a:lnTo>
                <a:lnTo>
                  <a:pt x="0" y="977154"/>
                </a:lnTo>
                <a:close/>
              </a:path>
            </a:pathLst>
          </a:custGeom>
          <a:solidFill>
            <a:srgbClr val="2A5B6C">
              <a:alpha val="30196"/>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graphicFrame>
        <p:nvGraphicFramePr>
          <p:cNvPr id="4" name="Objekt 3"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1300" name="think-cell Folie" r:id="rId6" imgW="270" imgH="270" progId="TCLayout.ActiveDocument.1">
                  <p:embed/>
                </p:oleObj>
              </mc:Choice>
              <mc:Fallback>
                <p:oleObj name="think-cell Folie" r:id="rId6" imgW="270" imgH="270" progId="TCLayout.ActiveDocument.1">
                  <p:embed/>
                  <p:pic>
                    <p:nvPicPr>
                      <p:cNvPr id="4" name="Objekt 3" hidden="1"/>
                      <p:cNvPicPr/>
                      <p:nvPr/>
                    </p:nvPicPr>
                    <p:blipFill>
                      <a:blip r:embed="rId7"/>
                      <a:stretch>
                        <a:fillRect/>
                      </a:stretch>
                    </p:blipFill>
                    <p:spPr>
                      <a:xfrm>
                        <a:off x="1956" y="1591"/>
                        <a:ext cx="1953" cy="1587"/>
                      </a:xfrm>
                      <a:prstGeom prst="rect">
                        <a:avLst/>
                      </a:prstGeom>
                    </p:spPr>
                  </p:pic>
                </p:oleObj>
              </mc:Fallback>
            </mc:AlternateContent>
          </a:graphicData>
        </a:graphic>
      </p:graphicFrame>
      <p:sp>
        <p:nvSpPr>
          <p:cNvPr id="2" name="Rechteck 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7" name="Freihandform: Form 46">
            <a:extLst>
              <a:ext uri="{FF2B5EF4-FFF2-40B4-BE49-F238E27FC236}">
                <a16:creationId xmlns:a16="http://schemas.microsoft.com/office/drawing/2014/main" id="{4C487715-2AE3-4356-AF7A-FD071E21CA50}"/>
              </a:ext>
            </a:extLst>
          </p:cNvPr>
          <p:cNvSpPr/>
          <p:nvPr/>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 name="Textplatzhalter 2"/>
          <p:cNvSpPr>
            <a:spLocks noGrp="1"/>
          </p:cNvSpPr>
          <p:nvPr>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43"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107" name="Textplatzhalter 20"/>
          <p:cNvSpPr>
            <a:spLocks noGrp="1"/>
          </p:cNvSpPr>
          <p:nvPr>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2" name="Textplatzhalter 20"/>
          <p:cNvSpPr>
            <a:spLocks noGrp="1"/>
          </p:cNvSpPr>
          <p:nvPr>
            <p:ph type="body" sz="quarter" idx="15" hasCustomPrompt="1"/>
          </p:nvPr>
        </p:nvSpPr>
        <p:spPr bwMode="gray">
          <a:xfrm>
            <a:off x="398771" y="1458916"/>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
        <p:nvSpPr>
          <p:cNvPr id="14" name="Rechteck 40"/>
          <p:cNvSpPr/>
          <p:nvPr/>
        </p:nvSpPr>
        <p:spPr bwMode="gray">
          <a:xfrm>
            <a:off x="4368740" y="1"/>
            <a:ext cx="7404171" cy="5697538"/>
          </a:xfrm>
          <a:prstGeom prst="rect">
            <a:avLst/>
          </a:prstGeom>
          <a:blipFill dpi="0" rotWithShape="1">
            <a:blip r:embed="rId5" cstate="print">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Rechteck 18"/>
          <p:cNvSpPr/>
          <p:nvPr/>
        </p:nvSpPr>
        <p:spPr bwMode="auto">
          <a:xfrm>
            <a:off x="4368739" y="-1"/>
            <a:ext cx="7401230" cy="5697538"/>
          </a:xfrm>
          <a:custGeom>
            <a:avLst/>
            <a:gdLst/>
            <a:ahLst/>
            <a:cxnLst/>
            <a:rect l="l" t="t" r="r" b="b"/>
            <a:pathLst>
              <a:path w="6013499" h="5697538">
                <a:moveTo>
                  <a:pt x="0" y="0"/>
                </a:moveTo>
                <a:lnTo>
                  <a:pt x="6013499" y="0"/>
                </a:lnTo>
                <a:lnTo>
                  <a:pt x="6013499" y="977154"/>
                </a:lnTo>
                <a:lnTo>
                  <a:pt x="6013499" y="4403792"/>
                </a:lnTo>
                <a:lnTo>
                  <a:pt x="6013499" y="5697538"/>
                </a:lnTo>
                <a:lnTo>
                  <a:pt x="0" y="5697538"/>
                </a:lnTo>
                <a:lnTo>
                  <a:pt x="0" y="4403792"/>
                </a:lnTo>
                <a:lnTo>
                  <a:pt x="3302051" y="4403792"/>
                </a:lnTo>
                <a:lnTo>
                  <a:pt x="3302051" y="977154"/>
                </a:lnTo>
                <a:lnTo>
                  <a:pt x="0" y="977154"/>
                </a:lnTo>
                <a:close/>
              </a:path>
            </a:pathLst>
          </a:custGeom>
          <a:solidFill>
            <a:srgbClr val="2A5B6C">
              <a:alpha val="30196"/>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graphicFrame>
        <p:nvGraphicFramePr>
          <p:cNvPr id="16" name="Objekt 3"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1301" name="think-cell Folie" r:id="rId8" imgW="270" imgH="270" progId="TCLayout.ActiveDocument.1">
                  <p:embed/>
                </p:oleObj>
              </mc:Choice>
              <mc:Fallback>
                <p:oleObj name="think-cell Folie" r:id="rId8" imgW="270" imgH="270" progId="TCLayout.ActiveDocument.1">
                  <p:embed/>
                  <p:pic>
                    <p:nvPicPr>
                      <p:cNvPr id="16" name="Objekt 3" hidden="1"/>
                      <p:cNvPicPr/>
                      <p:nvPr/>
                    </p:nvPicPr>
                    <p:blipFill>
                      <a:blip r:embed="rId7"/>
                      <a:stretch>
                        <a:fillRect/>
                      </a:stretch>
                    </p:blipFill>
                    <p:spPr>
                      <a:xfrm>
                        <a:off x="1956" y="1591"/>
                        <a:ext cx="1953" cy="1587"/>
                      </a:xfrm>
                      <a:prstGeom prst="rect">
                        <a:avLst/>
                      </a:prstGeom>
                    </p:spPr>
                  </p:pic>
                </p:oleObj>
              </mc:Fallback>
            </mc:AlternateContent>
          </a:graphicData>
        </a:graphic>
      </p:graphicFrame>
      <p:sp>
        <p:nvSpPr>
          <p:cNvPr id="17" name="Rechteck 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8" name="Freihandform: Form 46">
            <a:extLst>
              <a:ext uri="{FF2B5EF4-FFF2-40B4-BE49-F238E27FC236}">
                <a16:creationId xmlns:a16="http://schemas.microsoft.com/office/drawing/2014/main" id="{4C487715-2AE3-4356-AF7A-FD071E21CA50}"/>
              </a:ext>
            </a:extLst>
          </p:cNvPr>
          <p:cNvSpPr/>
          <p:nvPr/>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0"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21" name="Textplatzhalter 2"/>
          <p:cNvSpPr>
            <a:spLocks noGrp="1"/>
          </p:cNvSpPr>
          <p:nvPr>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22" name="Textplatzhalter 2"/>
          <p:cNvSpPr>
            <a:spLocks noGrp="1"/>
          </p:cNvSpPr>
          <p:nvPr>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23" name="Textplatzhalter 12"/>
          <p:cNvSpPr>
            <a:spLocks noGrp="1"/>
          </p:cNvSpPr>
          <p:nvPr>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24"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4076741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Title Slide - Co Branding">
    <p:bg>
      <p:bgRef idx="1001">
        <a:schemeClr val="bg1"/>
      </p:bgRef>
    </p:bg>
    <p:spTree>
      <p:nvGrpSpPr>
        <p:cNvPr id="1" name=""/>
        <p:cNvGrpSpPr/>
        <p:nvPr/>
      </p:nvGrpSpPr>
      <p:grpSpPr>
        <a:xfrm>
          <a:off x="0" y="0"/>
          <a:ext cx="0" cy="0"/>
          <a:chOff x="0" y="0"/>
          <a:chExt cx="0" cy="0"/>
        </a:xfrm>
      </p:grpSpPr>
      <p:sp>
        <p:nvSpPr>
          <p:cNvPr id="50" name="Rechteck 49"/>
          <p:cNvSpPr/>
          <p:nvPr/>
        </p:nvSpPr>
        <p:spPr bwMode="gray">
          <a:xfrm>
            <a:off x="4368740"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2" name="Textfeld 21"/>
          <p:cNvSpPr txBox="1"/>
          <p:nvPr/>
        </p:nvSpPr>
        <p:spPr bwMode="gray">
          <a:xfrm>
            <a:off x="4498217" y="2674421"/>
            <a:ext cx="7145216"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51" name="L-Form 50"/>
          <p:cNvSpPr/>
          <p:nvPr/>
        </p:nvSpPr>
        <p:spPr bwMode="auto">
          <a:xfrm>
            <a:off x="4368740" y="0"/>
            <a:ext cx="7403817" cy="5697538"/>
          </a:xfrm>
          <a:prstGeom prst="corner">
            <a:avLst>
              <a:gd name="adj1" fmla="val 36794"/>
              <a:gd name="adj2" fmla="val 42477"/>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2" name="Rechteck 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6" name="Textplatzhalter 20"/>
          <p:cNvSpPr>
            <a:spLocks noGrp="1"/>
          </p:cNvSpPr>
          <p:nvPr>
            <p:ph type="body" sz="quarter" idx="15" hasCustomPrompt="1"/>
          </p:nvPr>
        </p:nvSpPr>
        <p:spPr bwMode="gray">
          <a:xfrm>
            <a:off x="398771" y="1461356"/>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graphicFrame>
        <p:nvGraphicFramePr>
          <p:cNvPr id="7" name="Objekt 6"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2324" name="think-cell Folie" r:id="rId5" imgW="270" imgH="270" progId="TCLayout.ActiveDocument.1">
                  <p:embed/>
                </p:oleObj>
              </mc:Choice>
              <mc:Fallback>
                <p:oleObj name="think-cell Folie" r:id="rId5" imgW="270" imgH="270" progId="TCLayout.ActiveDocument.1">
                  <p:embed/>
                  <p:pic>
                    <p:nvPicPr>
                      <p:cNvPr id="7" name="Objekt 6"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47" name="Freihandform: Form 46">
            <a:extLst>
              <a:ext uri="{FF2B5EF4-FFF2-40B4-BE49-F238E27FC236}">
                <a16:creationId xmlns:a16="http://schemas.microsoft.com/office/drawing/2014/main" id="{4C487715-2AE3-4356-AF7A-FD071E21CA50}"/>
              </a:ext>
            </a:extLst>
          </p:cNvPr>
          <p:cNvSpPr/>
          <p:nvPr/>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grpSp>
        <p:nvGrpSpPr>
          <p:cNvPr id="6" name="Gruppieren 5"/>
          <p:cNvGrpSpPr/>
          <p:nvPr/>
        </p:nvGrpSpPr>
        <p:grpSpPr bwMode="gray">
          <a:xfrm>
            <a:off x="4362968" y="6002251"/>
            <a:ext cx="1657597" cy="512330"/>
            <a:chOff x="3544910" y="6002251"/>
            <a:chExt cx="1346798" cy="512330"/>
          </a:xfrm>
        </p:grpSpPr>
        <p:sp>
          <p:nvSpPr>
            <p:cNvPr id="4" name="Ellipse 3"/>
            <p:cNvSpPr/>
            <p:nvPr userDrawn="1"/>
          </p:nvSpPr>
          <p:spPr bwMode="gray">
            <a:xfrm>
              <a:off x="3551281" y="6002251"/>
              <a:ext cx="512330" cy="51233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63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r>
                <a:rPr kumimoji="0" lang="en-GB" sz="3000" b="0" i="0" u="none" strike="noStrike" cap="none" normalizeH="0" baseline="0" noProof="0" dirty="0">
                  <a:ln>
                    <a:noFill/>
                  </a:ln>
                  <a:solidFill>
                    <a:schemeClr val="bg1"/>
                  </a:solidFill>
                  <a:effectLst/>
                  <a:latin typeface="Arial" charset="0"/>
                </a:rPr>
                <a:t>CO</a:t>
              </a:r>
            </a:p>
          </p:txBody>
        </p:sp>
        <p:grpSp>
          <p:nvGrpSpPr>
            <p:cNvPr id="5" name="Gruppieren 4"/>
            <p:cNvGrpSpPr/>
            <p:nvPr userDrawn="1"/>
          </p:nvGrpSpPr>
          <p:grpSpPr bwMode="gray">
            <a:xfrm>
              <a:off x="3544910" y="6079550"/>
              <a:ext cx="1346798" cy="369332"/>
              <a:chOff x="3544910" y="6152092"/>
              <a:chExt cx="1346798" cy="369332"/>
            </a:xfrm>
          </p:grpSpPr>
          <p:sp>
            <p:nvSpPr>
              <p:cNvPr id="42" name="TextBox 2"/>
              <p:cNvSpPr txBox="1"/>
              <p:nvPr userDrawn="1"/>
            </p:nvSpPr>
            <p:spPr bwMode="gray">
              <a:xfrm>
                <a:off x="4124571" y="6332141"/>
                <a:ext cx="53" cy="189283"/>
              </a:xfrm>
              <a:prstGeom prst="rect">
                <a:avLst/>
              </a:prstGeom>
            </p:spPr>
            <p:txBody>
              <a:bodyPr vert="horz" wrap="none" lIns="0" tIns="0" rIns="0" bIns="0" rtlCol="0" anchor="b">
                <a:spAutoFit/>
              </a:bodyPr>
              <a:lstStyle/>
              <a:p>
                <a:pPr algn="l"/>
                <a:endParaRPr lang="en-GB" sz="1230" b="1" noProof="0" dirty="0">
                  <a:solidFill>
                    <a:schemeClr val="accent2"/>
                  </a:solidFill>
                  <a:latin typeface="+mj-lt"/>
                  <a:ea typeface="Allianz Sans" panose="02000506030000020004" pitchFamily="2" charset="0"/>
                </a:endParaRPr>
              </a:p>
            </p:txBody>
          </p:sp>
          <p:sp>
            <p:nvSpPr>
              <p:cNvPr id="43" name="TextBox 2"/>
              <p:cNvSpPr txBox="1"/>
              <p:nvPr userDrawn="1"/>
            </p:nvSpPr>
            <p:spPr bwMode="gray">
              <a:xfrm>
                <a:off x="4124571" y="6236317"/>
                <a:ext cx="767137" cy="189283"/>
              </a:xfrm>
              <a:prstGeom prst="rect">
                <a:avLst/>
              </a:prstGeom>
            </p:spPr>
            <p:txBody>
              <a:bodyPr vert="horz" wrap="none" lIns="0" tIns="0" rIns="0" bIns="0" rtlCol="0" anchor="b">
                <a:spAutoFit/>
              </a:bodyPr>
              <a:lstStyle/>
              <a:p>
                <a:pPr algn="l"/>
                <a:r>
                  <a:rPr lang="en-GB" sz="1230" b="1" noProof="0" dirty="0">
                    <a:solidFill>
                      <a:schemeClr val="accent2"/>
                    </a:solidFill>
                    <a:latin typeface="+mj-lt"/>
                    <a:ea typeface="Allianz Sans" panose="02000506030000020004" pitchFamily="2" charset="0"/>
                  </a:rPr>
                  <a:t>Co</a:t>
                </a:r>
                <a:r>
                  <a:rPr lang="en-GB" sz="1230" b="1" baseline="0" noProof="0" dirty="0">
                    <a:solidFill>
                      <a:schemeClr val="accent2"/>
                    </a:solidFill>
                    <a:latin typeface="+mj-lt"/>
                    <a:ea typeface="Allianz Sans" panose="02000506030000020004" pitchFamily="2" charset="0"/>
                  </a:rPr>
                  <a:t> </a:t>
                </a:r>
                <a:r>
                  <a:rPr lang="en-GB" sz="1230" b="1" noProof="0" dirty="0">
                    <a:solidFill>
                      <a:schemeClr val="accent2"/>
                    </a:solidFill>
                    <a:latin typeface="+mj-lt"/>
                    <a:ea typeface="Allianz Sans" panose="02000506030000020004" pitchFamily="2" charset="0"/>
                  </a:rPr>
                  <a:t>Branding</a:t>
                </a:r>
              </a:p>
            </p:txBody>
          </p:sp>
          <p:sp>
            <p:nvSpPr>
              <p:cNvPr id="44" name="TextBox 2"/>
              <p:cNvSpPr txBox="1"/>
              <p:nvPr userDrawn="1"/>
            </p:nvSpPr>
            <p:spPr bwMode="gray">
              <a:xfrm>
                <a:off x="3544910" y="6152092"/>
                <a:ext cx="53" cy="369332"/>
              </a:xfrm>
              <a:prstGeom prst="rect">
                <a:avLst/>
              </a:prstGeom>
            </p:spPr>
            <p:txBody>
              <a:bodyPr vert="horz" wrap="none" lIns="0" tIns="0" rIns="0" bIns="0" rtlCol="0" anchor="b">
                <a:spAutoFit/>
              </a:bodyPr>
              <a:lstStyle/>
              <a:p>
                <a:pPr algn="l"/>
                <a:endParaRPr lang="en-GB" sz="2400" b="0" noProof="0" dirty="0">
                  <a:solidFill>
                    <a:schemeClr val="bg1"/>
                  </a:solidFill>
                  <a:latin typeface="+mj-lt"/>
                  <a:ea typeface="Allianz Sans" panose="02000506030000020004" pitchFamily="2" charset="0"/>
                </a:endParaRPr>
              </a:p>
            </p:txBody>
          </p:sp>
        </p:grpSp>
      </p:grpSp>
      <p:sp>
        <p:nvSpPr>
          <p:cNvPr id="49"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21" name="Rechteck 49"/>
          <p:cNvSpPr/>
          <p:nvPr/>
        </p:nvSpPr>
        <p:spPr bwMode="gray">
          <a:xfrm>
            <a:off x="4368740"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3" name="Textfeld 21"/>
          <p:cNvSpPr txBox="1"/>
          <p:nvPr/>
        </p:nvSpPr>
        <p:spPr bwMode="gray">
          <a:xfrm>
            <a:off x="4498217" y="2674421"/>
            <a:ext cx="7145216"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24" name="L-Form 50"/>
          <p:cNvSpPr/>
          <p:nvPr/>
        </p:nvSpPr>
        <p:spPr bwMode="auto">
          <a:xfrm>
            <a:off x="4368740" y="0"/>
            <a:ext cx="7403817" cy="5697538"/>
          </a:xfrm>
          <a:prstGeom prst="corner">
            <a:avLst>
              <a:gd name="adj1" fmla="val 36794"/>
              <a:gd name="adj2" fmla="val 42477"/>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25" name="Rechteck 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6" name="Textplatzhalter 2"/>
          <p:cNvSpPr>
            <a:spLocks noGrp="1"/>
          </p:cNvSpPr>
          <p:nvPr>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27" name="Textplatzhalter 2"/>
          <p:cNvSpPr>
            <a:spLocks noGrp="1"/>
          </p:cNvSpPr>
          <p:nvPr>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28" name="Textplatzhalter 12"/>
          <p:cNvSpPr>
            <a:spLocks noGrp="1"/>
          </p:cNvSpPr>
          <p:nvPr>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29" name="Textplatzhalter 20"/>
          <p:cNvSpPr>
            <a:spLocks noGrp="1"/>
          </p:cNvSpPr>
          <p:nvPr>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graphicFrame>
        <p:nvGraphicFramePr>
          <p:cNvPr id="30" name="Objekt 6"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2325" name="think-cell Folie" r:id="rId7" imgW="270" imgH="270" progId="TCLayout.ActiveDocument.1">
                  <p:embed/>
                </p:oleObj>
              </mc:Choice>
              <mc:Fallback>
                <p:oleObj name="think-cell Folie" r:id="rId7" imgW="270" imgH="270" progId="TCLayout.ActiveDocument.1">
                  <p:embed/>
                  <p:pic>
                    <p:nvPicPr>
                      <p:cNvPr id="30" name="Objekt 6"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31" name="Freihandform: Form 46">
            <a:extLst>
              <a:ext uri="{FF2B5EF4-FFF2-40B4-BE49-F238E27FC236}">
                <a16:creationId xmlns:a16="http://schemas.microsoft.com/office/drawing/2014/main" id="{4C487715-2AE3-4356-AF7A-FD071E21CA50}"/>
              </a:ext>
            </a:extLst>
          </p:cNvPr>
          <p:cNvSpPr/>
          <p:nvPr/>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2"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grpSp>
        <p:nvGrpSpPr>
          <p:cNvPr id="33" name="Gruppieren 5"/>
          <p:cNvGrpSpPr/>
          <p:nvPr/>
        </p:nvGrpSpPr>
        <p:grpSpPr bwMode="gray">
          <a:xfrm>
            <a:off x="4362968" y="6002251"/>
            <a:ext cx="1657597" cy="512330"/>
            <a:chOff x="3544910" y="6002251"/>
            <a:chExt cx="1346798" cy="512330"/>
          </a:xfrm>
        </p:grpSpPr>
        <p:sp>
          <p:nvSpPr>
            <p:cNvPr id="34" name="Ellipse 3"/>
            <p:cNvSpPr/>
            <p:nvPr userDrawn="1"/>
          </p:nvSpPr>
          <p:spPr bwMode="gray">
            <a:xfrm>
              <a:off x="3551281" y="6002251"/>
              <a:ext cx="512330" cy="51233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63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r>
                <a:rPr kumimoji="0" lang="en-GB" sz="3000" b="0" i="0" u="none" strike="noStrike" cap="none" normalizeH="0" baseline="0" noProof="0" dirty="0">
                  <a:ln>
                    <a:noFill/>
                  </a:ln>
                  <a:solidFill>
                    <a:schemeClr val="bg1"/>
                  </a:solidFill>
                  <a:effectLst/>
                  <a:latin typeface="Arial" charset="0"/>
                </a:rPr>
                <a:t>CO</a:t>
              </a:r>
            </a:p>
          </p:txBody>
        </p:sp>
        <p:grpSp>
          <p:nvGrpSpPr>
            <p:cNvPr id="35" name="Gruppieren 4"/>
            <p:cNvGrpSpPr/>
            <p:nvPr userDrawn="1"/>
          </p:nvGrpSpPr>
          <p:grpSpPr bwMode="gray">
            <a:xfrm>
              <a:off x="3544910" y="6079550"/>
              <a:ext cx="1346798" cy="369332"/>
              <a:chOff x="3544910" y="6152092"/>
              <a:chExt cx="1346798" cy="369332"/>
            </a:xfrm>
          </p:grpSpPr>
          <p:sp>
            <p:nvSpPr>
              <p:cNvPr id="37" name="TextBox 2"/>
              <p:cNvSpPr txBox="1"/>
              <p:nvPr userDrawn="1"/>
            </p:nvSpPr>
            <p:spPr bwMode="gray">
              <a:xfrm>
                <a:off x="4124571" y="6332141"/>
                <a:ext cx="53" cy="189283"/>
              </a:xfrm>
              <a:prstGeom prst="rect">
                <a:avLst/>
              </a:prstGeom>
            </p:spPr>
            <p:txBody>
              <a:bodyPr vert="horz" wrap="none" lIns="0" tIns="0" rIns="0" bIns="0" rtlCol="0" anchor="b">
                <a:spAutoFit/>
              </a:bodyPr>
              <a:lstStyle/>
              <a:p>
                <a:pPr algn="l"/>
                <a:endParaRPr lang="en-GB" sz="1230" b="1" noProof="0" dirty="0">
                  <a:solidFill>
                    <a:schemeClr val="accent2"/>
                  </a:solidFill>
                  <a:latin typeface="+mj-lt"/>
                  <a:ea typeface="Allianz Sans" panose="02000506030000020004" pitchFamily="2" charset="0"/>
                </a:endParaRPr>
              </a:p>
            </p:txBody>
          </p:sp>
          <p:sp>
            <p:nvSpPr>
              <p:cNvPr id="38" name="TextBox 2"/>
              <p:cNvSpPr txBox="1"/>
              <p:nvPr userDrawn="1"/>
            </p:nvSpPr>
            <p:spPr bwMode="gray">
              <a:xfrm>
                <a:off x="4124571" y="6236317"/>
                <a:ext cx="767137" cy="189283"/>
              </a:xfrm>
              <a:prstGeom prst="rect">
                <a:avLst/>
              </a:prstGeom>
            </p:spPr>
            <p:txBody>
              <a:bodyPr vert="horz" wrap="none" lIns="0" tIns="0" rIns="0" bIns="0" rtlCol="0" anchor="b">
                <a:spAutoFit/>
              </a:bodyPr>
              <a:lstStyle/>
              <a:p>
                <a:pPr algn="l"/>
                <a:r>
                  <a:rPr lang="en-GB" sz="1230" b="1" noProof="0" dirty="0">
                    <a:solidFill>
                      <a:schemeClr val="accent2"/>
                    </a:solidFill>
                    <a:latin typeface="+mj-lt"/>
                    <a:ea typeface="Allianz Sans" panose="02000506030000020004" pitchFamily="2" charset="0"/>
                  </a:rPr>
                  <a:t>Co</a:t>
                </a:r>
                <a:r>
                  <a:rPr lang="en-GB" sz="1230" b="1" baseline="0" noProof="0" dirty="0">
                    <a:solidFill>
                      <a:schemeClr val="accent2"/>
                    </a:solidFill>
                    <a:latin typeface="+mj-lt"/>
                    <a:ea typeface="Allianz Sans" panose="02000506030000020004" pitchFamily="2" charset="0"/>
                  </a:rPr>
                  <a:t> </a:t>
                </a:r>
                <a:r>
                  <a:rPr lang="en-GB" sz="1230" b="1" noProof="0" dirty="0">
                    <a:solidFill>
                      <a:schemeClr val="accent2"/>
                    </a:solidFill>
                    <a:latin typeface="+mj-lt"/>
                    <a:ea typeface="Allianz Sans" panose="02000506030000020004" pitchFamily="2" charset="0"/>
                  </a:rPr>
                  <a:t>Branding</a:t>
                </a:r>
              </a:p>
            </p:txBody>
          </p:sp>
          <p:sp>
            <p:nvSpPr>
              <p:cNvPr id="39" name="TextBox 2"/>
              <p:cNvSpPr txBox="1"/>
              <p:nvPr userDrawn="1"/>
            </p:nvSpPr>
            <p:spPr bwMode="gray">
              <a:xfrm>
                <a:off x="3544910" y="6152092"/>
                <a:ext cx="53" cy="369332"/>
              </a:xfrm>
              <a:prstGeom prst="rect">
                <a:avLst/>
              </a:prstGeom>
            </p:spPr>
            <p:txBody>
              <a:bodyPr vert="horz" wrap="none" lIns="0" tIns="0" rIns="0" bIns="0" rtlCol="0" anchor="b">
                <a:spAutoFit/>
              </a:bodyPr>
              <a:lstStyle/>
              <a:p>
                <a:pPr algn="l"/>
                <a:endParaRPr lang="en-GB" sz="2400" b="0" noProof="0" dirty="0">
                  <a:solidFill>
                    <a:schemeClr val="bg1"/>
                  </a:solidFill>
                  <a:latin typeface="+mj-lt"/>
                  <a:ea typeface="Allianz Sans" panose="02000506030000020004" pitchFamily="2" charset="0"/>
                </a:endParaRPr>
              </a:p>
            </p:txBody>
          </p:sp>
        </p:grpSp>
      </p:grpSp>
      <p:sp>
        <p:nvSpPr>
          <p:cNvPr id="40"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437312287"/>
      </p:ext>
    </p:extLst>
  </p:cSld>
  <p:clrMapOvr>
    <a:overrideClrMapping bg1="lt1" tx1="dk1" bg2="lt2" tx2="dk2" accent1="accent1" accent2="accent2" accent3="accent3" accent4="accent4" accent5="accent5" accent6="accent6" hlink="hlink" folHlink="folHlink"/>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p:cSld name="Title Slide - Box right side">
    <p:bg>
      <p:bgRef idx="1001">
        <a:schemeClr val="bg1"/>
      </p:bgRef>
    </p:bg>
    <p:spTree>
      <p:nvGrpSpPr>
        <p:cNvPr id="1" name=""/>
        <p:cNvGrpSpPr/>
        <p:nvPr/>
      </p:nvGrpSpPr>
      <p:grpSpPr>
        <a:xfrm>
          <a:off x="0" y="0"/>
          <a:ext cx="0" cy="0"/>
          <a:chOff x="0" y="0"/>
          <a:chExt cx="0" cy="0"/>
        </a:xfrm>
      </p:grpSpPr>
      <p:sp>
        <p:nvSpPr>
          <p:cNvPr id="39" name="Rechteck 38"/>
          <p:cNvSpPr/>
          <p:nvPr/>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Textfeld 12"/>
          <p:cNvSpPr txBox="1"/>
          <p:nvPr/>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14" name="L-Form 13"/>
          <p:cNvSpPr/>
          <p:nvPr/>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43" name="Freihandform: Form 42">
            <a:extLst>
              <a:ext uri="{FF2B5EF4-FFF2-40B4-BE49-F238E27FC236}">
                <a16:creationId xmlns:a16="http://schemas.microsoft.com/office/drawing/2014/main" id="{9B0A8140-6550-4414-B287-547857EB93C9}"/>
              </a:ext>
            </a:extLst>
          </p:cNvPr>
          <p:cNvSpPr/>
          <p:nvPr/>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7" name="Rechteck 36"/>
          <p:cNvSpPr/>
          <p:nvPr/>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p:ph type="body" sz="quarter" idx="12" hasCustomPrompt="1"/>
          </p:nvPr>
        </p:nvSpPr>
        <p:spPr bwMode="gray">
          <a:xfrm>
            <a:off x="6215185" y="906710"/>
            <a:ext cx="5139882"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0" name="Textplatzhalter 20"/>
          <p:cNvSpPr>
            <a:spLocks noGrp="1"/>
          </p:cNvSpPr>
          <p:nvPr>
            <p:ph type="body" sz="quarter" idx="15" hasCustomPrompt="1"/>
          </p:nvPr>
        </p:nvSpPr>
        <p:spPr bwMode="gray">
          <a:xfrm>
            <a:off x="6215185" y="1460160"/>
            <a:ext cx="5139882"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
        <p:nvSpPr>
          <p:cNvPr id="38"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15" name="Rechteck 38"/>
          <p:cNvSpPr/>
          <p:nvPr/>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6" name="Textfeld 12"/>
          <p:cNvSpPr txBox="1"/>
          <p:nvPr/>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17" name="L-Form 13"/>
          <p:cNvSpPr/>
          <p:nvPr/>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18" name="Freihandform: Form 42">
            <a:extLst>
              <a:ext uri="{FF2B5EF4-FFF2-40B4-BE49-F238E27FC236}">
                <a16:creationId xmlns:a16="http://schemas.microsoft.com/office/drawing/2014/main" id="{9B0A8140-6550-4414-B287-547857EB93C9}"/>
              </a:ext>
            </a:extLst>
          </p:cNvPr>
          <p:cNvSpPr/>
          <p:nvPr/>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9"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20" name="Rechteck 36"/>
          <p:cNvSpPr/>
          <p:nvPr/>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1" name="Textplatzhalter 2"/>
          <p:cNvSpPr>
            <a:spLocks noGrp="1"/>
          </p:cNvSpPr>
          <p:nvPr>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22" name="Textplatzhalter 2"/>
          <p:cNvSpPr>
            <a:spLocks noGrp="1"/>
          </p:cNvSpPr>
          <p:nvPr>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23" name="Textplatzhalter 12"/>
          <p:cNvSpPr>
            <a:spLocks noGrp="1"/>
          </p:cNvSpPr>
          <p:nvPr>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24" name="Textplatzhalter 20"/>
          <p:cNvSpPr>
            <a:spLocks noGrp="1"/>
          </p:cNvSpPr>
          <p:nvPr>
            <p:ph type="body" sz="quarter" idx="12" hasCustomPrompt="1"/>
          </p:nvPr>
        </p:nvSpPr>
        <p:spPr bwMode="gray">
          <a:xfrm>
            <a:off x="6215185" y="906710"/>
            <a:ext cx="5139882"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25"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281330858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Title Slide - Box right side - Alternative">
    <p:bg>
      <p:bgRef idx="1001">
        <a:schemeClr val="bg1"/>
      </p:bgRef>
    </p:bg>
    <p:spTree>
      <p:nvGrpSpPr>
        <p:cNvPr id="1" name=""/>
        <p:cNvGrpSpPr/>
        <p:nvPr/>
      </p:nvGrpSpPr>
      <p:grpSpPr>
        <a:xfrm>
          <a:off x="0" y="0"/>
          <a:ext cx="0" cy="0"/>
          <a:chOff x="0" y="0"/>
          <a:chExt cx="0" cy="0"/>
        </a:xfrm>
      </p:grpSpPr>
      <p:sp>
        <p:nvSpPr>
          <p:cNvPr id="53" name="Rechteck 52"/>
          <p:cNvSpPr/>
          <p:nvPr/>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58" name="Textfeld 57"/>
          <p:cNvSpPr txBox="1"/>
          <p:nvPr/>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graphicFrame>
        <p:nvGraphicFramePr>
          <p:cNvPr id="2" name="Objekt 1"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3348"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43" name="Freihandform: Form 42">
            <a:extLst>
              <a:ext uri="{FF2B5EF4-FFF2-40B4-BE49-F238E27FC236}">
                <a16:creationId xmlns:a16="http://schemas.microsoft.com/office/drawing/2014/main" id="{9B0A8140-6550-4414-B287-547857EB93C9}"/>
              </a:ext>
            </a:extLst>
          </p:cNvPr>
          <p:cNvSpPr/>
          <p:nvPr/>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8" name="L-Form 37"/>
          <p:cNvSpPr/>
          <p:nvPr/>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37" name="Rechteck 36"/>
          <p:cNvSpPr/>
          <p:nvPr/>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p:ph type="body" sz="quarter" idx="12" hasCustomPrompt="1"/>
          </p:nvPr>
        </p:nvSpPr>
        <p:spPr bwMode="gray">
          <a:xfrm>
            <a:off x="6215185" y="906710"/>
            <a:ext cx="5139882" cy="553998"/>
          </a:xfrm>
        </p:spPr>
        <p:txBody>
          <a:bodyPr lIns="0" tIns="0" rIns="0" bIns="0" anchor="b">
            <a:spAutoFit/>
          </a:bodyPr>
          <a:lstStyle>
            <a:lvl1pPr marL="1295400" indent="-1295400">
              <a:spcBef>
                <a:spcPts val="0"/>
              </a:spcBef>
              <a:spcAft>
                <a:spcPts val="0"/>
              </a:spcAft>
              <a:buNone/>
              <a:tabLst/>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39" name="Textplatzhalter 20"/>
          <p:cNvSpPr>
            <a:spLocks noGrp="1"/>
          </p:cNvSpPr>
          <p:nvPr>
            <p:ph type="body" sz="quarter" idx="15" hasCustomPrompt="1"/>
          </p:nvPr>
        </p:nvSpPr>
        <p:spPr bwMode="gray">
          <a:xfrm>
            <a:off x="7819385" y="1460072"/>
            <a:ext cx="3535682" cy="1661993"/>
          </a:xfrm>
        </p:spPr>
        <p:txBody>
          <a:bodyPr lIns="0" tIns="0" rIns="0" bIns="0">
            <a:spAutoFit/>
          </a:bodyPr>
          <a:lstStyle>
            <a:lvl1pPr marL="0" indent="0">
              <a:spcBef>
                <a:spcPts val="0"/>
              </a:spcBef>
              <a:spcAft>
                <a:spcPts val="0"/>
              </a:spcAft>
              <a:buNone/>
              <a:tabLst/>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36pt)</a:t>
            </a:r>
          </a:p>
        </p:txBody>
      </p:sp>
      <p:sp>
        <p:nvSpPr>
          <p:cNvPr id="40"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15" name="Rechteck 52"/>
          <p:cNvSpPr/>
          <p:nvPr/>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6" name="Textfeld 57"/>
          <p:cNvSpPr txBox="1"/>
          <p:nvPr/>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graphicFrame>
        <p:nvGraphicFramePr>
          <p:cNvPr id="17" name="Objekt 1"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3349" name="think-cell Folie" r:id="rId7" imgW="270" imgH="270" progId="TCLayout.ActiveDocument.1">
                  <p:embed/>
                </p:oleObj>
              </mc:Choice>
              <mc:Fallback>
                <p:oleObj name="think-cell Folie" r:id="rId7" imgW="270" imgH="270" progId="TCLayout.ActiveDocument.1">
                  <p:embed/>
                  <p:pic>
                    <p:nvPicPr>
                      <p:cNvPr id="17"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18" name="Freihandform: Form 42">
            <a:extLst>
              <a:ext uri="{FF2B5EF4-FFF2-40B4-BE49-F238E27FC236}">
                <a16:creationId xmlns:a16="http://schemas.microsoft.com/office/drawing/2014/main" id="{9B0A8140-6550-4414-B287-547857EB93C9}"/>
              </a:ext>
            </a:extLst>
          </p:cNvPr>
          <p:cNvSpPr/>
          <p:nvPr/>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9"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20" name="L-Form 37"/>
          <p:cNvSpPr/>
          <p:nvPr/>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21" name="Rechteck 36"/>
          <p:cNvSpPr/>
          <p:nvPr/>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2" name="Textplatzhalter 2"/>
          <p:cNvSpPr>
            <a:spLocks noGrp="1"/>
          </p:cNvSpPr>
          <p:nvPr>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23" name="Textplatzhalter 2"/>
          <p:cNvSpPr>
            <a:spLocks noGrp="1"/>
          </p:cNvSpPr>
          <p:nvPr>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24" name="Textplatzhalter 12"/>
          <p:cNvSpPr>
            <a:spLocks noGrp="1"/>
          </p:cNvSpPr>
          <p:nvPr>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25" name="Textplatzhalter 20"/>
          <p:cNvSpPr>
            <a:spLocks noGrp="1"/>
          </p:cNvSpPr>
          <p:nvPr>
            <p:ph type="body" sz="quarter" idx="12" hasCustomPrompt="1"/>
          </p:nvPr>
        </p:nvSpPr>
        <p:spPr bwMode="gray">
          <a:xfrm>
            <a:off x="6215185" y="906710"/>
            <a:ext cx="5139882" cy="553998"/>
          </a:xfrm>
        </p:spPr>
        <p:txBody>
          <a:bodyPr lIns="0" tIns="0" rIns="0" bIns="0" anchor="b">
            <a:spAutoFit/>
          </a:bodyPr>
          <a:lstStyle>
            <a:lvl1pPr marL="1295400" indent="-1295400">
              <a:spcBef>
                <a:spcPts val="0"/>
              </a:spcBef>
              <a:spcAft>
                <a:spcPts val="0"/>
              </a:spcAft>
              <a:buNone/>
              <a:tabLst/>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26"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157081430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p:cSld name="Title Slide without Visual - 1">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4372"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35" name="Rechteck 34"/>
          <p:cNvSpPr/>
          <p:nvPr/>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3"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2868617"/>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100" name="Textplatzhalter 20"/>
          <p:cNvSpPr>
            <a:spLocks noGrp="1"/>
          </p:cNvSpPr>
          <p:nvPr>
            <p:ph type="body" sz="quarter" idx="12" hasCustomPrompt="1"/>
          </p:nvPr>
        </p:nvSpPr>
        <p:spPr bwMode="gray">
          <a:xfrm>
            <a:off x="398769" y="1029823"/>
            <a:ext cx="5261408" cy="430887"/>
          </a:xfrm>
        </p:spPr>
        <p:txBody>
          <a:bodyPr wrap="square" lIns="0" tIns="0" rIns="0" bIns="0" anchor="b">
            <a:spAutoFit/>
          </a:bodyPr>
          <a:lstStyle>
            <a:lvl1pPr marL="0" indent="0">
              <a:spcBef>
                <a:spcPts val="0"/>
              </a:spcBef>
              <a:spcAft>
                <a:spcPts val="0"/>
              </a:spcAft>
              <a:buNone/>
              <a:defRPr sz="28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Placeholder (28pt)</a:t>
            </a:r>
            <a:endParaRPr lang="en-GB" noProof="0" dirty="0">
              <a:solidFill>
                <a:schemeClr val="bg1"/>
              </a:solidFill>
            </a:endParaRPr>
          </a:p>
        </p:txBody>
      </p:sp>
      <p:sp>
        <p:nvSpPr>
          <p:cNvPr id="36" name="Textplatzhalter 20"/>
          <p:cNvSpPr>
            <a:spLocks noGrp="1"/>
          </p:cNvSpPr>
          <p:nvPr>
            <p:ph type="body" sz="quarter" idx="15" hasCustomPrompt="1"/>
          </p:nvPr>
        </p:nvSpPr>
        <p:spPr bwMode="gray">
          <a:xfrm>
            <a:off x="398771" y="1458916"/>
            <a:ext cx="8602783" cy="430887"/>
          </a:xfrm>
        </p:spPr>
        <p:txBody>
          <a:bodyPr lIns="0" tIns="0" rIns="0" bIns="0">
            <a:spAutoFit/>
          </a:bodyPr>
          <a:lstStyle>
            <a:lvl1pPr marL="0" indent="0">
              <a:spcBef>
                <a:spcPts val="0"/>
              </a:spcBef>
              <a:spcAft>
                <a:spcPts val="0"/>
              </a:spcAft>
              <a:buNone/>
              <a:defRPr sz="28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Lorem ipsum </a:t>
            </a:r>
            <a:r>
              <a:rPr lang="en-GB" noProof="0" dirty="0" err="1"/>
              <a:t>dolor</a:t>
            </a:r>
            <a:r>
              <a:rPr lang="en-GB" noProof="0" dirty="0"/>
              <a:t> (28pt)</a:t>
            </a:r>
          </a:p>
        </p:txBody>
      </p:sp>
      <p:sp>
        <p:nvSpPr>
          <p:cNvPr id="37"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graphicFrame>
        <p:nvGraphicFramePr>
          <p:cNvPr id="12" name="Objekt 3"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4373" name="think-cell Folie" r:id="rId7" imgW="270" imgH="270" progId="TCLayout.ActiveDocument.1">
                  <p:embed/>
                </p:oleObj>
              </mc:Choice>
              <mc:Fallback>
                <p:oleObj name="think-cell Folie" r:id="rId7" imgW="270" imgH="270" progId="TCLayout.ActiveDocument.1">
                  <p:embed/>
                  <p:pic>
                    <p:nvPicPr>
                      <p:cNvPr id="12" name="Objekt 3"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13" name="Rechteck 34"/>
          <p:cNvSpPr/>
          <p:nvPr/>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
          <p:cNvSpPr/>
          <p:nvPr/>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16"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4133694734"/>
      </p:ext>
    </p:extLst>
  </p:cSld>
  <p:clrMapOvr>
    <a:overrideClrMapping bg1="lt1" tx1="dk1" bg2="lt2" tx2="dk2" accent1="accent1" accent2="accent2" accent3="accent3" accent4="accent4" accent5="accent5" accent6="accent6" hlink="hlink" folHlink="folHlink"/>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Title Slide without Visual - 2">
    <p:bg>
      <p:bgRef idx="1001">
        <a:schemeClr val="bg1"/>
      </p:bgRef>
    </p:bg>
    <p:spTree>
      <p:nvGrpSpPr>
        <p:cNvPr id="1" name=""/>
        <p:cNvGrpSpPr/>
        <p:nvPr/>
      </p:nvGrpSpPr>
      <p:grpSpPr>
        <a:xfrm>
          <a:off x="0" y="0"/>
          <a:ext cx="0" cy="0"/>
          <a:chOff x="0" y="0"/>
          <a:chExt cx="0" cy="0"/>
        </a:xfrm>
      </p:grpSpPr>
      <p:sp>
        <p:nvSpPr>
          <p:cNvPr id="35" name="Rechteck 34"/>
          <p:cNvSpPr/>
          <p:nvPr/>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0" name="Textplatzhalter 20"/>
          <p:cNvSpPr>
            <a:spLocks noGrp="1"/>
          </p:cNvSpPr>
          <p:nvPr>
            <p:ph type="body" sz="quarter" idx="12" hasCustomPrompt="1"/>
          </p:nvPr>
        </p:nvSpPr>
        <p:spPr bwMode="gray">
          <a:xfrm>
            <a:off x="398771" y="1632606"/>
            <a:ext cx="8602783"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br>
              <a:rPr lang="en-GB" noProof="0" dirty="0"/>
            </a:br>
            <a:r>
              <a:rPr lang="en-GB" noProof="0" dirty="0"/>
              <a:t>max. three lines</a:t>
            </a:r>
          </a:p>
        </p:txBody>
      </p:sp>
      <p:sp>
        <p:nvSpPr>
          <p:cNvPr id="33"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3419361"/>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34"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10" name="Rechteck 34"/>
          <p:cNvSpPr/>
          <p:nvPr/>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Rechteck 1"/>
          <p:cNvSpPr/>
          <p:nvPr/>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13"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2649364708"/>
      </p:ext>
    </p:extLst>
  </p:cSld>
  <p:clrMapOvr>
    <a:overrideClrMapping bg1="lt1" tx1="dk1" bg2="lt2" tx2="dk2" accent1="accent1" accent2="accent2" accent3="accent3" accent4="accent4" accent5="accent5" accent6="accent6" hlink="hlink" folHlink="folHlink"/>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Agenda Slide with List">
    <p:spTree>
      <p:nvGrpSpPr>
        <p:cNvPr id="1" name=""/>
        <p:cNvGrpSpPr/>
        <p:nvPr/>
      </p:nvGrpSpPr>
      <p:grpSpPr>
        <a:xfrm>
          <a:off x="0" y="0"/>
          <a:ext cx="0" cy="0"/>
          <a:chOff x="0" y="0"/>
          <a:chExt cx="0" cy="0"/>
        </a:xfrm>
      </p:grpSpPr>
      <p:sp>
        <p:nvSpPr>
          <p:cNvPr id="6"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Content Placeholder 12"/>
          <p:cNvSpPr>
            <a:spLocks noGrp="1"/>
          </p:cNvSpPr>
          <p:nvPr>
            <p:ph sz="quarter" idx="21" hasCustomPrompt="1"/>
          </p:nvPr>
        </p:nvSpPr>
        <p:spPr bwMode="gray">
          <a:xfrm>
            <a:off x="398769" y="2368800"/>
            <a:ext cx="11369354" cy="3794400"/>
          </a:xfrm>
        </p:spPr>
        <p:txBody>
          <a:bodyPr/>
          <a:lstStyle>
            <a:lvl1pPr marL="357188" indent="-357188">
              <a:buFont typeface="+mj-lt"/>
              <a:buAutoNum type="arabicPeriod"/>
              <a:tabLst/>
              <a:defRPr/>
            </a:lvl1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
        <p:nvSpPr>
          <p:cNvPr id="3" name="Titel 2"/>
          <p:cNvSpPr>
            <a:spLocks noGrp="1"/>
          </p:cNvSpPr>
          <p:nvPr>
            <p:ph type="title" hasCustomPrompt="1"/>
          </p:nvPr>
        </p:nvSpPr>
        <p:spPr bwMode="gray"/>
        <p:txBody>
          <a:bodyPr/>
          <a:lstStyle>
            <a:lvl1pPr>
              <a:defRPr/>
            </a:lvl1pPr>
          </a:lstStyle>
          <a:p>
            <a:r>
              <a:rPr lang="en-GB" noProof="0" dirty="0"/>
              <a:t>Agenda title (20pt)</a:t>
            </a:r>
          </a:p>
        </p:txBody>
      </p:sp>
      <p:sp>
        <p:nvSpPr>
          <p:cNvPr id="5"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92179813"/>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2" name="Textplatzhalter 11"/>
          <p:cNvSpPr txBox="1">
            <a:spLocks/>
          </p:cNvSpPr>
          <p:nvPr/>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
        <p:nvSpPr>
          <p:cNvPr id="7" name="Textplatzhalter 11"/>
          <p:cNvSpPr txBox="1">
            <a:spLocks/>
          </p:cNvSpPr>
          <p:nvPr/>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71402091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p:cSld name="Section/Introduction Slide">
    <p:spTree>
      <p:nvGrpSpPr>
        <p:cNvPr id="1" name=""/>
        <p:cNvGrpSpPr/>
        <p:nvPr/>
      </p:nvGrpSpPr>
      <p:grpSpPr>
        <a:xfrm>
          <a:off x="0" y="0"/>
          <a:ext cx="0" cy="0"/>
          <a:chOff x="0" y="0"/>
          <a:chExt cx="0" cy="0"/>
        </a:xfrm>
      </p:grpSpPr>
      <p:sp>
        <p:nvSpPr>
          <p:cNvPr id="6" name="Rechteck 5"/>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 name="Bildplatzhalter 3"/>
          <p:cNvSpPr>
            <a:spLocks noGrp="1"/>
          </p:cNvSpPr>
          <p:nvPr>
            <p:ph type="pic" sz="quarter" idx="23" hasCustomPrompt="1"/>
          </p:nvPr>
        </p:nvSpPr>
        <p:spPr bwMode="gray">
          <a:xfrm>
            <a:off x="4370548" y="3584448"/>
            <a:ext cx="7412113" cy="2113090"/>
          </a:xfrm>
          <a:solidFill>
            <a:srgbClr val="E1E1E1"/>
          </a:solidFill>
        </p:spPr>
        <p:txBody>
          <a:bodyPr/>
          <a:lstStyle>
            <a:lvl1pPr marL="0" indent="0">
              <a:buNone/>
              <a:defRPr>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3" name="Textplatzhalter 2"/>
          <p:cNvSpPr>
            <a:spLocks noGrp="1"/>
          </p:cNvSpPr>
          <p:nvPr>
            <p:ph type="body" sz="quarter" idx="24" hasCustomPrompt="1"/>
          </p:nvPr>
        </p:nvSpPr>
        <p:spPr bwMode="gray">
          <a:xfrm>
            <a:off x="389066" y="2079299"/>
            <a:ext cx="7222154" cy="1514475"/>
          </a:xfrm>
        </p:spPr>
        <p:txBody>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1pPr>
            <a:lvl2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2pPr>
            <a:lvl3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3pPr>
            <a:lvl4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4pPr>
            <a:lvl5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5pPr>
          </a:lstStyle>
          <a:p>
            <a:pPr>
              <a:buClrTx/>
              <a:tabLst/>
            </a:pPr>
            <a:r>
              <a:rPr lang="en-GB" sz="4400" b="1" noProof="0" dirty="0">
                <a:solidFill>
                  <a:schemeClr val="tx2"/>
                </a:solidFill>
              </a:rPr>
              <a:t>Name of chapter (44pt) max. two lines</a:t>
            </a:r>
          </a:p>
        </p:txBody>
      </p:sp>
      <p:sp>
        <p:nvSpPr>
          <p:cNvPr id="8" name="Text Placeholder 2"/>
          <p:cNvSpPr>
            <a:spLocks noGrp="1"/>
          </p:cNvSpPr>
          <p:nvPr>
            <p:ph type="body" idx="1" hasCustomPrompt="1"/>
          </p:nvPr>
        </p:nvSpPr>
        <p:spPr bwMode="gray">
          <a:xfrm>
            <a:off x="389066" y="114782"/>
            <a:ext cx="7222154" cy="1844805"/>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tabLst/>
              <a:defRPr lang="en-GB" sz="12000" b="1" strike="noStrike" kern="0" spc="0" noProof="0" dirty="0" smtClean="0">
                <a:solidFill>
                  <a:schemeClr val="tx2"/>
                </a:solidFill>
              </a:defRPr>
            </a:lvl1pPr>
          </a:lstStyle>
          <a:p>
            <a:pPr marL="0" lvl="0" indent="0">
              <a:spcBef>
                <a:spcPts val="0"/>
              </a:spcBef>
              <a:spcAft>
                <a:spcPct val="0"/>
              </a:spcAft>
              <a:buClrTx/>
            </a:pPr>
            <a:r>
              <a:rPr lang="en-GB" noProof="0" dirty="0"/>
              <a:t>01</a:t>
            </a:r>
          </a:p>
        </p:txBody>
      </p:sp>
      <p:sp>
        <p:nvSpPr>
          <p:cNvPr id="7" name="Textplatzhalter 5"/>
          <p:cNvSpPr>
            <a:spLocks noGrp="1"/>
          </p:cNvSpPr>
          <p:nvPr>
            <p:ph type="body" sz="quarter" idx="11" hasCustomPrompt="1"/>
          </p:nvPr>
        </p:nvSpPr>
        <p:spPr bwMode="gray">
          <a:xfrm>
            <a:off x="394677" y="3697787"/>
            <a:ext cx="3589216" cy="708025"/>
          </a:xfrm>
        </p:spPr>
        <p:txBody>
          <a:bodyPr/>
          <a:lstStyle>
            <a:lvl1pPr marL="0" indent="0">
              <a:buFont typeface="Arial" panose="020B0604020202020204" pitchFamily="34" charse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
        <p:nvSpPr>
          <p:cNvPr id="9" name="Rechteck 5"/>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5915536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V - 2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928240" y="1374857"/>
            <a:ext cx="4119077" cy="342183"/>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1928239" y="1863168"/>
            <a:ext cx="4119076" cy="4298449"/>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55127"/>
          </a:xfrm>
        </p:spPr>
        <p:txBody>
          <a:bodyPr/>
          <a:lstStyle>
            <a:lvl1pPr>
              <a:defRPr sz="1100"/>
            </a:lvl1pPr>
          </a:lstStyle>
          <a:p>
            <a:r>
              <a:rPr lang="nl-NL" smtClean="0"/>
              <a:t>Klik op het pictogram als u een afbeelding wilt toevoegen</a:t>
            </a:r>
            <a:endParaRPr lang="nl-NL" dirty="0"/>
          </a:p>
        </p:txBody>
      </p:sp>
      <p:sp>
        <p:nvSpPr>
          <p:cNvPr id="14" name="Text Placeholder 2">
            <a:extLst>
              <a:ext uri="{FF2B5EF4-FFF2-40B4-BE49-F238E27FC236}">
                <a16:creationId xmlns:a16="http://schemas.microsoft.com/office/drawing/2014/main" id="{8D28630C-7F0E-4EAD-889D-AF405600D871}"/>
              </a:ext>
            </a:extLst>
          </p:cNvPr>
          <p:cNvSpPr>
            <a:spLocks noGrp="1"/>
          </p:cNvSpPr>
          <p:nvPr>
            <p:ph type="body" idx="17" hasCustomPrompt="1"/>
          </p:nvPr>
        </p:nvSpPr>
        <p:spPr>
          <a:xfrm>
            <a:off x="7569159" y="1374857"/>
            <a:ext cx="4119077" cy="342183"/>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5" name="Content Placeholder 2">
            <a:extLst>
              <a:ext uri="{FF2B5EF4-FFF2-40B4-BE49-F238E27FC236}">
                <a16:creationId xmlns:a16="http://schemas.microsoft.com/office/drawing/2014/main" id="{0D55D406-A968-419D-A97E-DBC6D4FAFE37}"/>
              </a:ext>
            </a:extLst>
          </p:cNvPr>
          <p:cNvSpPr>
            <a:spLocks noGrp="1"/>
          </p:cNvSpPr>
          <p:nvPr>
            <p:ph sz="half" idx="18" hasCustomPrompt="1"/>
          </p:nvPr>
        </p:nvSpPr>
        <p:spPr>
          <a:xfrm>
            <a:off x="7569158" y="1863168"/>
            <a:ext cx="4119076" cy="4298449"/>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jdelijke aanduiding voor afbeelding 6">
            <a:extLst>
              <a:ext uri="{FF2B5EF4-FFF2-40B4-BE49-F238E27FC236}">
                <a16:creationId xmlns:a16="http://schemas.microsoft.com/office/drawing/2014/main" id="{919B183F-1047-4029-B8ED-405D95D38592}"/>
              </a:ext>
            </a:extLst>
          </p:cNvPr>
          <p:cNvSpPr>
            <a:spLocks noGrp="1"/>
          </p:cNvSpPr>
          <p:nvPr>
            <p:ph type="pic" sz="quarter" idx="19"/>
          </p:nvPr>
        </p:nvSpPr>
        <p:spPr>
          <a:xfrm>
            <a:off x="6144686" y="1374858"/>
            <a:ext cx="1254569" cy="1455127"/>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8" y="2927352"/>
            <a:ext cx="1254568" cy="323426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8" name="Content Placeholder 2">
            <a:extLst>
              <a:ext uri="{FF2B5EF4-FFF2-40B4-BE49-F238E27FC236}">
                <a16:creationId xmlns:a16="http://schemas.microsoft.com/office/drawing/2014/main" id="{933717F7-80C1-4FFB-8E45-0B5E75C7AF49}"/>
              </a:ext>
            </a:extLst>
          </p:cNvPr>
          <p:cNvSpPr>
            <a:spLocks noGrp="1"/>
          </p:cNvSpPr>
          <p:nvPr>
            <p:ph sz="half" idx="21" hasCustomPrompt="1"/>
          </p:nvPr>
        </p:nvSpPr>
        <p:spPr>
          <a:xfrm>
            <a:off x="6144687" y="2927352"/>
            <a:ext cx="1254568" cy="323426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9" name="Tijdelijke aanduiding voor tekst 2">
            <a:extLst>
              <a:ext uri="{FF2B5EF4-FFF2-40B4-BE49-F238E27FC236}">
                <a16:creationId xmlns:a16="http://schemas.microsoft.com/office/drawing/2014/main" id="{B8C14C11-9B8E-4C48-A4CB-85D8F9B6619C}"/>
              </a:ext>
            </a:extLst>
          </p:cNvPr>
          <p:cNvSpPr>
            <a:spLocks noGrp="1"/>
          </p:cNvSpPr>
          <p:nvPr>
            <p:ph type="body" sz="quarter" idx="22"/>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428650477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p:cSld name="Section/Introduction Slide - Alternative">
    <p:spTree>
      <p:nvGrpSpPr>
        <p:cNvPr id="1" name=""/>
        <p:cNvGrpSpPr/>
        <p:nvPr/>
      </p:nvGrpSpPr>
      <p:grpSpPr>
        <a:xfrm>
          <a:off x="0" y="0"/>
          <a:ext cx="0" cy="0"/>
          <a:chOff x="0" y="0"/>
          <a:chExt cx="0" cy="0"/>
        </a:xfrm>
      </p:grpSpPr>
      <p:sp>
        <p:nvSpPr>
          <p:cNvPr id="9" name="Rechteck 8"/>
          <p:cNvSpPr/>
          <p:nvPr/>
        </p:nvSpPr>
        <p:spPr bwMode="gray">
          <a:xfrm>
            <a:off x="4370694" y="3585886"/>
            <a:ext cx="7404171" cy="2111655"/>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p:nvSpPr>
        <p:spPr bwMode="gray">
          <a:xfrm>
            <a:off x="0" y="0"/>
            <a:ext cx="4370693"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Freihandform: Form 14">
            <a:extLst>
              <a:ext uri="{FF2B5EF4-FFF2-40B4-BE49-F238E27FC236}">
                <a16:creationId xmlns:a16="http://schemas.microsoft.com/office/drawing/2014/main" id="{BD9FCD38-CC46-4426-9E28-976D7ACF23BE}"/>
              </a:ext>
            </a:extLst>
          </p:cNvPr>
          <p:cNvSpPr/>
          <p:nvPr/>
        </p:nvSpPr>
        <p:spPr bwMode="gray">
          <a:xfrm flipH="1">
            <a:off x="-4" y="860615"/>
            <a:ext cx="12192001" cy="5558117"/>
          </a:xfrm>
          <a:custGeom>
            <a:avLst/>
            <a:gdLst>
              <a:gd name="connsiteX0" fmla="*/ 9906001 w 9906001"/>
              <a:gd name="connsiteY0" fmla="*/ 3984989 h 5558117"/>
              <a:gd name="connsiteX1" fmla="*/ 6354931 w 9906001"/>
              <a:gd name="connsiteY1" fmla="*/ 3984989 h 5558117"/>
              <a:gd name="connsiteX2" fmla="*/ 6354931 w 9906001"/>
              <a:gd name="connsiteY2" fmla="*/ 5558117 h 5558117"/>
              <a:gd name="connsiteX3" fmla="*/ 9906001 w 9906001"/>
              <a:gd name="connsiteY3" fmla="*/ 5558117 h 5558117"/>
              <a:gd name="connsiteX4" fmla="*/ 6354931 w 9906001"/>
              <a:gd name="connsiteY4" fmla="*/ 0 h 5558117"/>
              <a:gd name="connsiteX5" fmla="*/ 1 w 9906001"/>
              <a:gd name="connsiteY5" fmla="*/ 0 h 5558117"/>
              <a:gd name="connsiteX6" fmla="*/ 1 w 9906001"/>
              <a:gd name="connsiteY6" fmla="*/ 2723838 h 5558117"/>
              <a:gd name="connsiteX7" fmla="*/ 1 w 9906001"/>
              <a:gd name="connsiteY7" fmla="*/ 4849903 h 5558117"/>
              <a:gd name="connsiteX8" fmla="*/ 0 w 9906001"/>
              <a:gd name="connsiteY8" fmla="*/ 4849903 h 5558117"/>
              <a:gd name="connsiteX9" fmla="*/ 0 w 9906001"/>
              <a:gd name="connsiteY9" fmla="*/ 5558116 h 5558117"/>
              <a:gd name="connsiteX10" fmla="*/ 6354930 w 9906001"/>
              <a:gd name="connsiteY10" fmla="*/ 5558116 h 5558117"/>
              <a:gd name="connsiteX11" fmla="*/ 6354930 w 9906001"/>
              <a:gd name="connsiteY11" fmla="*/ 4849903 h 5558117"/>
              <a:gd name="connsiteX12" fmla="*/ 336547 w 9906001"/>
              <a:gd name="connsiteY12" fmla="*/ 4849903 h 5558117"/>
              <a:gd name="connsiteX13" fmla="*/ 336547 w 9906001"/>
              <a:gd name="connsiteY13" fmla="*/ 2723838 h 5558117"/>
              <a:gd name="connsiteX14" fmla="*/ 6354931 w 9906001"/>
              <a:gd name="connsiteY14" fmla="*/ 2723838 h 555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6001" h="5558117">
                <a:moveTo>
                  <a:pt x="9906001" y="3984989"/>
                </a:moveTo>
                <a:lnTo>
                  <a:pt x="6354931" y="3984989"/>
                </a:lnTo>
                <a:lnTo>
                  <a:pt x="6354931" y="5558117"/>
                </a:lnTo>
                <a:lnTo>
                  <a:pt x="9906001" y="5558117"/>
                </a:lnTo>
                <a:close/>
                <a:moveTo>
                  <a:pt x="6354931" y="0"/>
                </a:moveTo>
                <a:lnTo>
                  <a:pt x="1" y="0"/>
                </a:lnTo>
                <a:lnTo>
                  <a:pt x="1" y="2723838"/>
                </a:lnTo>
                <a:lnTo>
                  <a:pt x="1" y="4849903"/>
                </a:lnTo>
                <a:lnTo>
                  <a:pt x="0" y="4849903"/>
                </a:lnTo>
                <a:lnTo>
                  <a:pt x="0" y="5558116"/>
                </a:lnTo>
                <a:lnTo>
                  <a:pt x="6354930" y="5558116"/>
                </a:lnTo>
                <a:lnTo>
                  <a:pt x="6354930" y="4849903"/>
                </a:lnTo>
                <a:lnTo>
                  <a:pt x="336547" y="4849903"/>
                </a:lnTo>
                <a:lnTo>
                  <a:pt x="336547" y="2723838"/>
                </a:lnTo>
                <a:lnTo>
                  <a:pt x="6354931" y="2723838"/>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2"/>
          <p:cNvSpPr>
            <a:spLocks noGrp="1"/>
          </p:cNvSpPr>
          <p:nvPr>
            <p:ph type="body" idx="1" hasCustomPrompt="1"/>
          </p:nvPr>
        </p:nvSpPr>
        <p:spPr bwMode="gray">
          <a:xfrm>
            <a:off x="389507" y="114508"/>
            <a:ext cx="7222431" cy="1843200"/>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Font typeface="Arial" panose="020B0604020202020204" pitchFamily="34" charset="0"/>
              <a:buNone/>
              <a:defRPr lang="en-GB" sz="12000" b="1" strike="noStrike" kern="0" spc="0" noProof="0" dirty="0" smtClean="0">
                <a:solidFill>
                  <a:schemeClr val="tx2"/>
                </a:solidFill>
              </a:defRPr>
            </a:lvl1pPr>
          </a:lstStyle>
          <a:p>
            <a:pPr marL="0" lvl="0" indent="0">
              <a:spcBef>
                <a:spcPts val="0"/>
              </a:spcBef>
              <a:spcAft>
                <a:spcPct val="0"/>
              </a:spcAft>
              <a:buClrTx/>
              <a:tabLst/>
            </a:pPr>
            <a:r>
              <a:rPr lang="en-GB" noProof="0" dirty="0"/>
              <a:t>01</a:t>
            </a:r>
          </a:p>
        </p:txBody>
      </p:sp>
      <p:sp>
        <p:nvSpPr>
          <p:cNvPr id="13" name="Title 1"/>
          <p:cNvSpPr>
            <a:spLocks noGrp="1"/>
          </p:cNvSpPr>
          <p:nvPr>
            <p:ph type="title" hasCustomPrompt="1"/>
          </p:nvPr>
        </p:nvSpPr>
        <p:spPr bwMode="gray">
          <a:xfrm>
            <a:off x="389508" y="2082798"/>
            <a:ext cx="7222154" cy="1162575"/>
          </a:xfrm>
        </p:spPr>
        <p:txBody>
          <a:bodyPr anchor="t"/>
          <a:lstStyle>
            <a:lvl1pPr marL="0" indent="0" algn="l">
              <a:buFont typeface="Wingdings" panose="05000000000000000000" pitchFamily="2" charset="2"/>
              <a:buNone/>
              <a:defRPr lang="en-US" sz="4400" b="1" kern="1200" baseline="0" dirty="0" smtClean="0">
                <a:solidFill>
                  <a:schemeClr val="tx2"/>
                </a:solidFill>
                <a:latin typeface="Arial" panose="020B0604020202020204" pitchFamily="34" charset="0"/>
                <a:ea typeface="+mn-ea"/>
                <a:cs typeface="+mn-cs"/>
              </a:defRPr>
            </a:lvl1pPr>
          </a:lstStyle>
          <a:p>
            <a:pPr>
              <a:tabLst/>
            </a:pPr>
            <a:r>
              <a:rPr lang="en-GB" sz="4400" b="1" noProof="0" dirty="0">
                <a:solidFill>
                  <a:schemeClr val="tx2"/>
                </a:solidFill>
              </a:rPr>
              <a:t>Name of chapter (44pt) max. two lines</a:t>
            </a:r>
          </a:p>
        </p:txBody>
      </p:sp>
      <p:sp>
        <p:nvSpPr>
          <p:cNvPr id="19" name="Textplatzhalter 5"/>
          <p:cNvSpPr>
            <a:spLocks noGrp="1"/>
          </p:cNvSpPr>
          <p:nvPr>
            <p:ph type="body" sz="quarter" idx="11" hasCustomPrompt="1"/>
          </p:nvPr>
        </p:nvSpPr>
        <p:spPr bwMode="gray">
          <a:xfrm>
            <a:off x="394677" y="3697787"/>
            <a:ext cx="3589216" cy="708025"/>
          </a:xfrm>
        </p:spPr>
        <p:txBody>
          <a:bodyPr/>
          <a:lstStyle>
            <a:lvl1pPr marL="0" inden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
        <p:nvSpPr>
          <p:cNvPr id="10" name="Rechteck 8"/>
          <p:cNvSpPr/>
          <p:nvPr/>
        </p:nvSpPr>
        <p:spPr bwMode="gray">
          <a:xfrm>
            <a:off x="4370694" y="3585886"/>
            <a:ext cx="7404171" cy="2111655"/>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Rechteck 13"/>
          <p:cNvSpPr/>
          <p:nvPr/>
        </p:nvSpPr>
        <p:spPr bwMode="gray">
          <a:xfrm>
            <a:off x="0" y="0"/>
            <a:ext cx="4370693"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Freihandform: Form 14">
            <a:extLst>
              <a:ext uri="{FF2B5EF4-FFF2-40B4-BE49-F238E27FC236}">
                <a16:creationId xmlns:a16="http://schemas.microsoft.com/office/drawing/2014/main" id="{BD9FCD38-CC46-4426-9E28-976D7ACF23BE}"/>
              </a:ext>
            </a:extLst>
          </p:cNvPr>
          <p:cNvSpPr/>
          <p:nvPr/>
        </p:nvSpPr>
        <p:spPr bwMode="gray">
          <a:xfrm flipH="1">
            <a:off x="-4" y="860615"/>
            <a:ext cx="12192001" cy="5558117"/>
          </a:xfrm>
          <a:custGeom>
            <a:avLst/>
            <a:gdLst>
              <a:gd name="connsiteX0" fmla="*/ 9906001 w 9906001"/>
              <a:gd name="connsiteY0" fmla="*/ 3984989 h 5558117"/>
              <a:gd name="connsiteX1" fmla="*/ 6354931 w 9906001"/>
              <a:gd name="connsiteY1" fmla="*/ 3984989 h 5558117"/>
              <a:gd name="connsiteX2" fmla="*/ 6354931 w 9906001"/>
              <a:gd name="connsiteY2" fmla="*/ 5558117 h 5558117"/>
              <a:gd name="connsiteX3" fmla="*/ 9906001 w 9906001"/>
              <a:gd name="connsiteY3" fmla="*/ 5558117 h 5558117"/>
              <a:gd name="connsiteX4" fmla="*/ 6354931 w 9906001"/>
              <a:gd name="connsiteY4" fmla="*/ 0 h 5558117"/>
              <a:gd name="connsiteX5" fmla="*/ 1 w 9906001"/>
              <a:gd name="connsiteY5" fmla="*/ 0 h 5558117"/>
              <a:gd name="connsiteX6" fmla="*/ 1 w 9906001"/>
              <a:gd name="connsiteY6" fmla="*/ 2723838 h 5558117"/>
              <a:gd name="connsiteX7" fmla="*/ 1 w 9906001"/>
              <a:gd name="connsiteY7" fmla="*/ 4849903 h 5558117"/>
              <a:gd name="connsiteX8" fmla="*/ 0 w 9906001"/>
              <a:gd name="connsiteY8" fmla="*/ 4849903 h 5558117"/>
              <a:gd name="connsiteX9" fmla="*/ 0 w 9906001"/>
              <a:gd name="connsiteY9" fmla="*/ 5558116 h 5558117"/>
              <a:gd name="connsiteX10" fmla="*/ 6354930 w 9906001"/>
              <a:gd name="connsiteY10" fmla="*/ 5558116 h 5558117"/>
              <a:gd name="connsiteX11" fmla="*/ 6354930 w 9906001"/>
              <a:gd name="connsiteY11" fmla="*/ 4849903 h 5558117"/>
              <a:gd name="connsiteX12" fmla="*/ 336547 w 9906001"/>
              <a:gd name="connsiteY12" fmla="*/ 4849903 h 5558117"/>
              <a:gd name="connsiteX13" fmla="*/ 336547 w 9906001"/>
              <a:gd name="connsiteY13" fmla="*/ 2723838 h 5558117"/>
              <a:gd name="connsiteX14" fmla="*/ 6354931 w 9906001"/>
              <a:gd name="connsiteY14" fmla="*/ 2723838 h 555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6001" h="5558117">
                <a:moveTo>
                  <a:pt x="9906001" y="3984989"/>
                </a:moveTo>
                <a:lnTo>
                  <a:pt x="6354931" y="3984989"/>
                </a:lnTo>
                <a:lnTo>
                  <a:pt x="6354931" y="5558117"/>
                </a:lnTo>
                <a:lnTo>
                  <a:pt x="9906001" y="5558117"/>
                </a:lnTo>
                <a:close/>
                <a:moveTo>
                  <a:pt x="6354931" y="0"/>
                </a:moveTo>
                <a:lnTo>
                  <a:pt x="1" y="0"/>
                </a:lnTo>
                <a:lnTo>
                  <a:pt x="1" y="2723838"/>
                </a:lnTo>
                <a:lnTo>
                  <a:pt x="1" y="4849903"/>
                </a:lnTo>
                <a:lnTo>
                  <a:pt x="0" y="4849903"/>
                </a:lnTo>
                <a:lnTo>
                  <a:pt x="0" y="5558116"/>
                </a:lnTo>
                <a:lnTo>
                  <a:pt x="6354930" y="5558116"/>
                </a:lnTo>
                <a:lnTo>
                  <a:pt x="6354930" y="4849903"/>
                </a:lnTo>
                <a:lnTo>
                  <a:pt x="336547" y="4849903"/>
                </a:lnTo>
                <a:lnTo>
                  <a:pt x="336547" y="2723838"/>
                </a:lnTo>
                <a:lnTo>
                  <a:pt x="6354931" y="2723838"/>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683409369"/>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Section Header - 2">
    <p:spTree>
      <p:nvGrpSpPr>
        <p:cNvPr id="1" name=""/>
        <p:cNvGrpSpPr/>
        <p:nvPr/>
      </p:nvGrpSpPr>
      <p:grpSpPr>
        <a:xfrm>
          <a:off x="0" y="0"/>
          <a:ext cx="0" cy="0"/>
          <a:chOff x="0" y="0"/>
          <a:chExt cx="0" cy="0"/>
        </a:xfrm>
      </p:grpSpPr>
      <p:sp>
        <p:nvSpPr>
          <p:cNvPr id="6" name="Rechteck 5"/>
          <p:cNvSpPr/>
          <p:nvPr/>
        </p:nvSpPr>
        <p:spPr bwMode="gray">
          <a:xfrm>
            <a:off x="0" y="0"/>
            <a:ext cx="4368738" cy="685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a:xfrm>
            <a:off x="398769" y="660011"/>
            <a:ext cx="9459692" cy="607190"/>
          </a:xfrm>
        </p:spPr>
        <p:txBody>
          <a:bodyPr/>
          <a:lstStyle>
            <a:lvl1pPr>
              <a:defRPr baseline="0">
                <a:solidFill>
                  <a:schemeClr val="tx2"/>
                </a:solidFill>
                <a:latin typeface="Arial" panose="020B0604020202020204" pitchFamily="34" charset="0"/>
              </a:defRPr>
            </a:lvl1pPr>
          </a:lstStyle>
          <a:p>
            <a:r>
              <a:rPr lang="en-GB" noProof="0" dirty="0"/>
              <a:t>Chapter slide (20pt)</a:t>
            </a:r>
          </a:p>
        </p:txBody>
      </p:sp>
      <p:sp>
        <p:nvSpPr>
          <p:cNvPr id="7" name="Text Placeholder 2"/>
          <p:cNvSpPr>
            <a:spLocks noGrp="1"/>
          </p:cNvSpPr>
          <p:nvPr>
            <p:ph type="body" idx="1" hasCustomPrompt="1"/>
          </p:nvPr>
        </p:nvSpPr>
        <p:spPr bwMode="gray">
          <a:xfrm>
            <a:off x="398769" y="2010305"/>
            <a:ext cx="3606752" cy="2515658"/>
          </a:xfrm>
        </p:spPr>
        <p:txBody>
          <a:bodyPr wrap="none" lIns="0" tIns="0" rIns="0" bIns="0" anchor="t" anchorCtr="0"/>
          <a:lstStyle>
            <a:lvl1pPr marL="0" indent="0" algn="l"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
        <p:nvSpPr>
          <p:cNvPr id="16" name="Textplatzhalter 15"/>
          <p:cNvSpPr>
            <a:spLocks noGrp="1"/>
          </p:cNvSpPr>
          <p:nvPr>
            <p:ph type="body" sz="quarter" idx="10" hasCustomPrompt="1"/>
          </p:nvPr>
        </p:nvSpPr>
        <p:spPr bwMode="gray">
          <a:xfrm>
            <a:off x="5495723" y="2368800"/>
            <a:ext cx="6278400" cy="3351600"/>
          </a:xfrm>
        </p:spPr>
        <p:txBody>
          <a:bodyPr/>
          <a:lstStyle>
            <a:lvl1pPr marL="358775" indent="-358775">
              <a:lnSpc>
                <a:spcPct val="120000"/>
              </a:lnSpc>
              <a:spcBef>
                <a:spcPts val="360"/>
              </a:spcBef>
              <a:spcAft>
                <a:spcPts val="360"/>
              </a:spcAft>
              <a:buFont typeface="+mj-lt"/>
              <a:buAutoNum type="arabicPeriod"/>
              <a:tabLst/>
              <a:defRPr sz="1200" b="0">
                <a:latin typeface="Arial" panose="020B0604020202020204" pitchFamily="34" charset="0"/>
              </a:defRPr>
            </a:lvl1pPr>
            <a:lvl2pPr marL="184150" indent="0">
              <a:lnSpc>
                <a:spcPct val="120000"/>
              </a:lnSpc>
              <a:spcBef>
                <a:spcPts val="360"/>
              </a:spcBef>
              <a:spcAft>
                <a:spcPts val="360"/>
              </a:spcAft>
              <a:buFont typeface="+mj-lt"/>
              <a:buNone/>
              <a:defRPr/>
            </a:lvl2pPr>
            <a:lvl3pPr marL="360362" indent="0">
              <a:lnSpc>
                <a:spcPct val="120000"/>
              </a:lnSpc>
              <a:spcBef>
                <a:spcPts val="360"/>
              </a:spcBef>
              <a:spcAft>
                <a:spcPts val="360"/>
              </a:spcAft>
              <a:buFont typeface="+mj-lt"/>
              <a:buNone/>
              <a:defRPr/>
            </a:lvl3pPr>
            <a:lvl4pPr marL="539750" indent="0">
              <a:lnSpc>
                <a:spcPct val="120000"/>
              </a:lnSpc>
              <a:spcBef>
                <a:spcPts val="360"/>
              </a:spcBef>
              <a:spcAft>
                <a:spcPts val="360"/>
              </a:spcAft>
              <a:buFont typeface="+mj-lt"/>
              <a:buNone/>
              <a:defRPr/>
            </a:lvl4pPr>
            <a:lvl5pPr marL="717550" indent="0">
              <a:lnSpc>
                <a:spcPct val="120000"/>
              </a:lnSpc>
              <a:spcBef>
                <a:spcPts val="360"/>
              </a:spcBef>
              <a:spcAft>
                <a:spcPts val="360"/>
              </a:spcAft>
              <a:buClr>
                <a:schemeClr val="tx2"/>
              </a:buClr>
              <a:buFont typeface="+mj-lt"/>
              <a:buNone/>
              <a:defRPr baseline="0"/>
            </a:lvl5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
        <p:nvSpPr>
          <p:cNvPr id="8" name="Rechteck 5"/>
          <p:cNvSpPr/>
          <p:nvPr/>
        </p:nvSpPr>
        <p:spPr bwMode="gray">
          <a:xfrm>
            <a:off x="0" y="0"/>
            <a:ext cx="4368738" cy="685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23058169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7"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
        <p:nvSpPr>
          <p:cNvPr id="6"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1580251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itle and Content with subheading &amp; disclaimer">
    <p:spTree>
      <p:nvGrpSpPr>
        <p:cNvPr id="1" name=""/>
        <p:cNvGrpSpPr/>
        <p:nvPr/>
      </p:nvGrpSpPr>
      <p:grpSpPr>
        <a:xfrm>
          <a:off x="0" y="0"/>
          <a:ext cx="0" cy="0"/>
          <a:chOff x="0" y="0"/>
          <a:chExt cx="0" cy="0"/>
        </a:xfrm>
      </p:grpSpPr>
      <p:sp>
        <p:nvSpPr>
          <p:cNvPr id="9"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
        <p:nvSpPr>
          <p:cNvPr id="8"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01565404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
        <p:nvSpPr>
          <p:cNvPr id="5"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1633223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Title and Content (Disclaimer)">
    <p:spTree>
      <p:nvGrpSpPr>
        <p:cNvPr id="1" name=""/>
        <p:cNvGrpSpPr/>
        <p:nvPr/>
      </p:nvGrpSpPr>
      <p:grpSpPr>
        <a:xfrm>
          <a:off x="0" y="0"/>
          <a:ext cx="0" cy="0"/>
          <a:chOff x="0" y="0"/>
          <a:chExt cx="0" cy="0"/>
        </a:xfrm>
      </p:grpSpPr>
      <p:sp>
        <p:nvSpPr>
          <p:cNvPr id="7"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Text Placeholder 3"/>
          <p:cNvSpPr>
            <a:spLocks noGrp="1"/>
          </p:cNvSpPr>
          <p:nvPr>
            <p:ph type="body" sz="quarter" idx="26"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
        <p:nvSpPr>
          <p:cNvPr id="6"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5915625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5396"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4" name="Rechteck 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graphicFrame>
        <p:nvGraphicFramePr>
          <p:cNvPr id="5" name="Objekt 1"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5397" name="think-cell Folie" r:id="rId7" imgW="270" imgH="270" progId="TCLayout.ActiveDocument.1">
                  <p:embed/>
                </p:oleObj>
              </mc:Choice>
              <mc:Fallback>
                <p:oleObj name="think-cell Folie" r:id="rId7" imgW="270" imgH="270" progId="TCLayout.ActiveDocument.1">
                  <p:embed/>
                  <p:pic>
                    <p:nvPicPr>
                      <p:cNvPr id="5"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6" name="Rechteck 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65052978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itle only (Disclaimer)">
    <p:spTree>
      <p:nvGrpSpPr>
        <p:cNvPr id="1" name=""/>
        <p:cNvGrpSpPr/>
        <p:nvPr/>
      </p:nvGrpSpPr>
      <p:grpSpPr>
        <a:xfrm>
          <a:off x="0" y="0"/>
          <a:ext cx="0" cy="0"/>
          <a:chOff x="0" y="0"/>
          <a:chExt cx="0" cy="0"/>
        </a:xfrm>
      </p:grpSpPr>
      <p:sp>
        <p:nvSpPr>
          <p:cNvPr id="7"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5"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6765481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itle with subheading">
    <p:spTree>
      <p:nvGrpSpPr>
        <p:cNvPr id="1" name=""/>
        <p:cNvGrpSpPr/>
        <p:nvPr/>
      </p:nvGrpSpPr>
      <p:grpSpPr>
        <a:xfrm>
          <a:off x="0" y="0"/>
          <a:ext cx="0" cy="0"/>
          <a:chOff x="0" y="0"/>
          <a:chExt cx="0" cy="0"/>
        </a:xfrm>
      </p:grpSpPr>
      <p:sp>
        <p:nvSpPr>
          <p:cNvPr id="7"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5"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4105680190"/>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itle with subheading (Disclaimer)">
    <p:spTree>
      <p:nvGrpSpPr>
        <p:cNvPr id="1" name=""/>
        <p:cNvGrpSpPr/>
        <p:nvPr/>
      </p:nvGrpSpPr>
      <p:grpSpPr>
        <a:xfrm>
          <a:off x="0" y="0"/>
          <a:ext cx="0" cy="0"/>
          <a:chOff x="0" y="0"/>
          <a:chExt cx="0" cy="0"/>
        </a:xfrm>
      </p:grpSpPr>
      <p:sp>
        <p:nvSpPr>
          <p:cNvPr id="8" name="Rechteck 7"/>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Text Placeholder 3"/>
          <p:cNvSpPr>
            <a:spLocks noGrp="1"/>
          </p:cNvSpPr>
          <p:nvPr>
            <p:ph type="body" sz="quarter" idx="10"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7"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
        <p:nvSpPr>
          <p:cNvPr id="9" name="Rechteck 7"/>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8236475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V - 3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53586" y="1374857"/>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1853586" y="1849726"/>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42214"/>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8021637" y="1374857"/>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36" name="Text Placeholder 2">
            <a:extLst>
              <a:ext uri="{FF2B5EF4-FFF2-40B4-BE49-F238E27FC236}">
                <a16:creationId xmlns:a16="http://schemas.microsoft.com/office/drawing/2014/main" id="{0A926127-1CBB-4CC3-831F-195F96DEA959}"/>
              </a:ext>
            </a:extLst>
          </p:cNvPr>
          <p:cNvSpPr>
            <a:spLocks noGrp="1"/>
          </p:cNvSpPr>
          <p:nvPr>
            <p:ph type="body" idx="21" hasCustomPrompt="1"/>
          </p:nvPr>
        </p:nvSpPr>
        <p:spPr>
          <a:xfrm>
            <a:off x="1853586" y="2987647"/>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7" name="Content Placeholder 2">
            <a:extLst>
              <a:ext uri="{FF2B5EF4-FFF2-40B4-BE49-F238E27FC236}">
                <a16:creationId xmlns:a16="http://schemas.microsoft.com/office/drawing/2014/main" id="{1FF21360-2CEF-427D-AD30-7441D6008CBE}"/>
              </a:ext>
            </a:extLst>
          </p:cNvPr>
          <p:cNvSpPr>
            <a:spLocks noGrp="1"/>
          </p:cNvSpPr>
          <p:nvPr>
            <p:ph sz="half" idx="22" hasCustomPrompt="1"/>
          </p:nvPr>
        </p:nvSpPr>
        <p:spPr>
          <a:xfrm>
            <a:off x="1853586" y="3462516"/>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38" name="Tijdelijke aanduiding voor afbeelding 6">
            <a:extLst>
              <a:ext uri="{FF2B5EF4-FFF2-40B4-BE49-F238E27FC236}">
                <a16:creationId xmlns:a16="http://schemas.microsoft.com/office/drawing/2014/main" id="{A32050C8-2BEE-497A-86A8-BE0D725F0CFF}"/>
              </a:ext>
            </a:extLst>
          </p:cNvPr>
          <p:cNvSpPr>
            <a:spLocks noGrp="1"/>
          </p:cNvSpPr>
          <p:nvPr>
            <p:ph type="pic" sz="quarter" idx="23"/>
          </p:nvPr>
        </p:nvSpPr>
        <p:spPr>
          <a:xfrm>
            <a:off x="503768" y="2987647"/>
            <a:ext cx="1254569" cy="1442214"/>
          </a:xfrm>
        </p:spPr>
        <p:txBody>
          <a:bodyPr/>
          <a:lstStyle>
            <a:lvl1pPr>
              <a:defRPr sz="1100"/>
            </a:lvl1pPr>
          </a:lstStyle>
          <a:p>
            <a:r>
              <a:rPr lang="nl-NL" smtClean="0"/>
              <a:t>Klik op het pictogram als u een afbeelding wilt toevoegen</a:t>
            </a:r>
            <a:endParaRPr lang="nl-NL" dirty="0"/>
          </a:p>
        </p:txBody>
      </p:sp>
      <p:sp>
        <p:nvSpPr>
          <p:cNvPr id="39" name="Content Placeholder 2">
            <a:extLst>
              <a:ext uri="{FF2B5EF4-FFF2-40B4-BE49-F238E27FC236}">
                <a16:creationId xmlns:a16="http://schemas.microsoft.com/office/drawing/2014/main" id="{801F0A4E-107B-453C-BE91-7AB7CBC9B8C6}"/>
              </a:ext>
            </a:extLst>
          </p:cNvPr>
          <p:cNvSpPr>
            <a:spLocks noGrp="1"/>
          </p:cNvSpPr>
          <p:nvPr>
            <p:ph sz="half" idx="24" hasCustomPrompt="1"/>
          </p:nvPr>
        </p:nvSpPr>
        <p:spPr>
          <a:xfrm>
            <a:off x="8021637" y="2987647"/>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40" name="Text Placeholder 2">
            <a:extLst>
              <a:ext uri="{FF2B5EF4-FFF2-40B4-BE49-F238E27FC236}">
                <a16:creationId xmlns:a16="http://schemas.microsoft.com/office/drawing/2014/main" id="{DC36062A-0125-43CE-9C98-C99327EE1450}"/>
              </a:ext>
            </a:extLst>
          </p:cNvPr>
          <p:cNvSpPr>
            <a:spLocks noGrp="1"/>
          </p:cNvSpPr>
          <p:nvPr>
            <p:ph type="body" idx="25" hasCustomPrompt="1"/>
          </p:nvPr>
        </p:nvSpPr>
        <p:spPr>
          <a:xfrm>
            <a:off x="1853586" y="4600436"/>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1" name="Content Placeholder 2">
            <a:extLst>
              <a:ext uri="{FF2B5EF4-FFF2-40B4-BE49-F238E27FC236}">
                <a16:creationId xmlns:a16="http://schemas.microsoft.com/office/drawing/2014/main" id="{D8A9BD60-4D6D-4210-AE71-8BA4F2854A85}"/>
              </a:ext>
            </a:extLst>
          </p:cNvPr>
          <p:cNvSpPr>
            <a:spLocks noGrp="1"/>
          </p:cNvSpPr>
          <p:nvPr>
            <p:ph sz="half" idx="26" hasCustomPrompt="1"/>
          </p:nvPr>
        </p:nvSpPr>
        <p:spPr>
          <a:xfrm>
            <a:off x="1853586" y="5075305"/>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2" name="Tijdelijke aanduiding voor afbeelding 6">
            <a:extLst>
              <a:ext uri="{FF2B5EF4-FFF2-40B4-BE49-F238E27FC236}">
                <a16:creationId xmlns:a16="http://schemas.microsoft.com/office/drawing/2014/main" id="{ADA46822-31BD-4CDE-A131-0316BBD246A8}"/>
              </a:ext>
            </a:extLst>
          </p:cNvPr>
          <p:cNvSpPr>
            <a:spLocks noGrp="1"/>
          </p:cNvSpPr>
          <p:nvPr>
            <p:ph type="pic" sz="quarter" idx="27"/>
          </p:nvPr>
        </p:nvSpPr>
        <p:spPr>
          <a:xfrm>
            <a:off x="503768" y="4600437"/>
            <a:ext cx="1254569" cy="1442214"/>
          </a:xfrm>
        </p:spPr>
        <p:txBody>
          <a:bodyPr/>
          <a:lstStyle>
            <a:lvl1pPr>
              <a:defRPr sz="1100"/>
            </a:lvl1pPr>
          </a:lstStyle>
          <a:p>
            <a:r>
              <a:rPr lang="nl-NL" smtClean="0"/>
              <a:t>Klik op het pictogram als u een afbeelding wilt toevoegen</a:t>
            </a:r>
            <a:endParaRPr lang="nl-NL" dirty="0"/>
          </a:p>
        </p:txBody>
      </p:sp>
      <p:sp>
        <p:nvSpPr>
          <p:cNvPr id="43" name="Content Placeholder 2">
            <a:extLst>
              <a:ext uri="{FF2B5EF4-FFF2-40B4-BE49-F238E27FC236}">
                <a16:creationId xmlns:a16="http://schemas.microsoft.com/office/drawing/2014/main" id="{57C1702A-1755-46E3-B98F-E6E2D78B15CE}"/>
              </a:ext>
            </a:extLst>
          </p:cNvPr>
          <p:cNvSpPr>
            <a:spLocks noGrp="1"/>
          </p:cNvSpPr>
          <p:nvPr>
            <p:ph sz="half" idx="28" hasCustomPrompt="1"/>
          </p:nvPr>
        </p:nvSpPr>
        <p:spPr>
          <a:xfrm>
            <a:off x="8021637" y="4600436"/>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8" name="Tijdelijke aanduiding voor tekst 2">
            <a:extLst>
              <a:ext uri="{FF2B5EF4-FFF2-40B4-BE49-F238E27FC236}">
                <a16:creationId xmlns:a16="http://schemas.microsoft.com/office/drawing/2014/main" id="{EB0641A7-0EBD-47A0-8A90-45D57D7AA2FE}"/>
              </a:ext>
            </a:extLst>
          </p:cNvPr>
          <p:cNvSpPr>
            <a:spLocks noGrp="1"/>
          </p:cNvSpPr>
          <p:nvPr>
            <p:ph type="body" sz="quarter" idx="29"/>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09793550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3" name="Rechteck 2"/>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Rechteck 2"/>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86188591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Content with Notepad">
    <p:spTree>
      <p:nvGrpSpPr>
        <p:cNvPr id="1" name=""/>
        <p:cNvGrpSpPr/>
        <p:nvPr/>
      </p:nvGrpSpPr>
      <p:grpSpPr>
        <a:xfrm>
          <a:off x="0" y="0"/>
          <a:ext cx="0" cy="0"/>
          <a:chOff x="0" y="0"/>
          <a:chExt cx="0" cy="0"/>
        </a:xfrm>
      </p:grpSpPr>
      <p:sp>
        <p:nvSpPr>
          <p:cNvPr id="9"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7" name="Inhaltsplatzhalter 3"/>
          <p:cNvSpPr>
            <a:spLocks noGrp="1"/>
          </p:cNvSpPr>
          <p:nvPr>
            <p:ph sz="quarter" idx="25" hasCustomPrompt="1"/>
          </p:nvPr>
        </p:nvSpPr>
        <p:spPr bwMode="gray">
          <a:xfrm>
            <a:off x="398770" y="2368800"/>
            <a:ext cx="8453908"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1"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Titel 3"/>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
        <p:nvSpPr>
          <p:cNvPr id="8"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08582248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Large Image">
    <p:spTree>
      <p:nvGrpSpPr>
        <p:cNvPr id="1" name=""/>
        <p:cNvGrpSpPr/>
        <p:nvPr/>
      </p:nvGrpSpPr>
      <p:grpSpPr>
        <a:xfrm>
          <a:off x="0" y="0"/>
          <a:ext cx="0" cy="0"/>
          <a:chOff x="0" y="0"/>
          <a:chExt cx="0" cy="0"/>
        </a:xfrm>
      </p:grpSpPr>
      <p:sp>
        <p:nvSpPr>
          <p:cNvPr id="10"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11369354" cy="37944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Text Placeholder 19"/>
          <p:cNvSpPr>
            <a:spLocks noGrp="1"/>
          </p:cNvSpPr>
          <p:nvPr>
            <p:ph type="body" sz="quarter" idx="24"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5"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37133886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p:cSld name="Two images with text">
    <p:spTree>
      <p:nvGrpSpPr>
        <p:cNvPr id="1" name=""/>
        <p:cNvGrpSpPr/>
        <p:nvPr/>
      </p:nvGrpSpPr>
      <p:grpSpPr>
        <a:xfrm>
          <a:off x="0" y="0"/>
          <a:ext cx="0" cy="0"/>
          <a:chOff x="0" y="0"/>
          <a:chExt cx="0" cy="0"/>
        </a:xfrm>
      </p:grpSpPr>
      <p:sp>
        <p:nvSpPr>
          <p:cNvPr id="12" name="Rechteck 11"/>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Inhaltsplatzhalter 3"/>
          <p:cNvSpPr>
            <a:spLocks noGrp="1"/>
          </p:cNvSpPr>
          <p:nvPr>
            <p:ph sz="quarter" idx="29" hasCustomPrompt="1"/>
          </p:nvPr>
        </p:nvSpPr>
        <p:spPr bwMode="gray">
          <a:xfrm>
            <a:off x="398769" y="5369303"/>
            <a:ext cx="11369354" cy="790199"/>
          </a:xfrm>
        </p:spPr>
        <p:txBody>
          <a:bodyPr/>
          <a:lstStyle/>
          <a:p>
            <a:pPr lvl="0"/>
            <a:r>
              <a:rPr lang="en-GB" noProof="0" dirty="0"/>
              <a:t>1st Level (12pt)</a:t>
            </a:r>
          </a:p>
          <a:p>
            <a:pPr lvl="1"/>
            <a:r>
              <a:rPr lang="en-GB" noProof="0" dirty="0"/>
              <a:t>2nd Level</a:t>
            </a: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7" name="Bildplatzhalter 3"/>
          <p:cNvSpPr>
            <a:spLocks noGrp="1"/>
          </p:cNvSpPr>
          <p:nvPr>
            <p:ph type="pic" sz="quarter" idx="24" hasCustomPrompt="1"/>
          </p:nvPr>
        </p:nvSpPr>
        <p:spPr bwMode="gray">
          <a:xfrm>
            <a:off x="6203463"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9"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Rechteck 11"/>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7327149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Content with Image">
    <p:spTree>
      <p:nvGrpSpPr>
        <p:cNvPr id="1" name=""/>
        <p:cNvGrpSpPr/>
        <p:nvPr/>
      </p:nvGrpSpPr>
      <p:grpSpPr>
        <a:xfrm>
          <a:off x="0" y="0"/>
          <a:ext cx="0" cy="0"/>
          <a:chOff x="0" y="0"/>
          <a:chExt cx="0" cy="0"/>
        </a:xfrm>
      </p:grpSpPr>
      <p:sp>
        <p:nvSpPr>
          <p:cNvPr id="10"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4359011"/>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Bildplatzhalter 3"/>
          <p:cNvSpPr>
            <a:spLocks noGrp="1"/>
          </p:cNvSpPr>
          <p:nvPr>
            <p:ph type="pic" sz="quarter" idx="23" hasCustomPrompt="1"/>
          </p:nvPr>
        </p:nvSpPr>
        <p:spPr bwMode="gray">
          <a:xfrm>
            <a:off x="398769" y="2368800"/>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9" name="Inhaltsplatzhalter 3"/>
          <p:cNvSpPr>
            <a:spLocks noGrp="1"/>
          </p:cNvSpPr>
          <p:nvPr>
            <p:ph sz="quarter" idx="25" hasCustomPrompt="1"/>
          </p:nvPr>
        </p:nvSpPr>
        <p:spPr bwMode="gray">
          <a:xfrm>
            <a:off x="3323078" y="2368800"/>
            <a:ext cx="8445046"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4"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5"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346044292"/>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6"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7"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8668642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ntent with subheading">
    <p:spTree>
      <p:nvGrpSpPr>
        <p:cNvPr id="1" name=""/>
        <p:cNvGrpSpPr/>
        <p:nvPr/>
      </p:nvGrpSpPr>
      <p:grpSpPr>
        <a:xfrm>
          <a:off x="0" y="0"/>
          <a:ext cx="0" cy="0"/>
          <a:chOff x="0" y="0"/>
          <a:chExt cx="0" cy="0"/>
        </a:xfrm>
      </p:grpSpPr>
      <p:sp>
        <p:nvSpPr>
          <p:cNvPr id="7"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8" name="Rechteck 6"/>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28017534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ntent with subheading (Disclaimer)">
    <p:spTree>
      <p:nvGrpSpPr>
        <p:cNvPr id="1" name=""/>
        <p:cNvGrpSpPr/>
        <p:nvPr/>
      </p:nvGrpSpPr>
      <p:grpSpPr>
        <a:xfrm>
          <a:off x="0" y="0"/>
          <a:ext cx="0" cy="0"/>
          <a:chOff x="0" y="0"/>
          <a:chExt cx="0" cy="0"/>
        </a:xfrm>
      </p:grpSpPr>
      <p:sp>
        <p:nvSpPr>
          <p:cNvPr id="11" name="Rechteck 10"/>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9"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0" name="Rechteck 10"/>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128443608"/>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Two Content with subheading and description">
    <p:spTree>
      <p:nvGrpSpPr>
        <p:cNvPr id="1" name=""/>
        <p:cNvGrpSpPr/>
        <p:nvPr/>
      </p:nvGrpSpPr>
      <p:grpSpPr>
        <a:xfrm>
          <a:off x="0" y="0"/>
          <a:ext cx="0" cy="0"/>
          <a:chOff x="0" y="0"/>
          <a:chExt cx="0" cy="0"/>
        </a:xfrm>
      </p:grpSpPr>
      <p:sp>
        <p:nvSpPr>
          <p:cNvPr id="11" name="Rechteck 10"/>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2" name="Inhaltsplatzhalter 3"/>
          <p:cNvSpPr>
            <a:spLocks noGrp="1"/>
          </p:cNvSpPr>
          <p:nvPr>
            <p:ph sz="quarter" idx="26" hasCustomPrompt="1"/>
          </p:nvPr>
        </p:nvSpPr>
        <p:spPr bwMode="gray">
          <a:xfrm>
            <a:off x="398769"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3" name="Inhaltsplatzhalter 3"/>
          <p:cNvSpPr>
            <a:spLocks noGrp="1"/>
          </p:cNvSpPr>
          <p:nvPr>
            <p:ph sz="quarter" idx="27" hasCustomPrompt="1"/>
          </p:nvPr>
        </p:nvSpPr>
        <p:spPr bwMode="gray">
          <a:xfrm>
            <a:off x="6203078"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6"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52" name="Text Placeholder 51"/>
          <p:cNvSpPr>
            <a:spLocks noGrp="1"/>
          </p:cNvSpPr>
          <p:nvPr>
            <p:ph type="body" sz="quarter" idx="48" hasCustomPrompt="1"/>
          </p:nvPr>
        </p:nvSpPr>
        <p:spPr bwMode="gray">
          <a:xfrm>
            <a:off x="398771" y="5947200"/>
            <a:ext cx="5565046"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54" name="Text Placeholder 53"/>
          <p:cNvSpPr>
            <a:spLocks noGrp="1"/>
          </p:cNvSpPr>
          <p:nvPr>
            <p:ph type="body" sz="quarter" idx="49" hasCustomPrompt="1"/>
          </p:nvPr>
        </p:nvSpPr>
        <p:spPr bwMode="gray">
          <a:xfrm>
            <a:off x="6203078" y="5947200"/>
            <a:ext cx="5569477"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14"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5" name="Text Placeholder 21"/>
          <p:cNvSpPr>
            <a:spLocks noGrp="1"/>
          </p:cNvSpPr>
          <p:nvPr>
            <p:ph type="body" sz="quarter" idx="24" hasCustomPrompt="1"/>
          </p:nvPr>
        </p:nvSpPr>
        <p:spPr bwMode="gray">
          <a:xfrm>
            <a:off x="398769" y="1842087"/>
            <a:ext cx="11368062" cy="244800"/>
          </a:xfrm>
        </p:spPr>
        <p:txBody>
          <a:bodyPr/>
          <a:lstStyle>
            <a:lvl1pPr marL="0" indent="0">
              <a:spcAft>
                <a:spcPts val="0"/>
              </a:spcAft>
              <a:buNone/>
              <a:defRPr/>
            </a:lvl1pPr>
          </a:lstStyle>
          <a:p>
            <a:pPr lvl="0"/>
            <a:r>
              <a:rPr lang="en-GB" noProof="0" dirty="0"/>
              <a:t>Second sub headline if required (12pt)</a:t>
            </a:r>
          </a:p>
        </p:txBody>
      </p:sp>
      <p:sp>
        <p:nvSpPr>
          <p:cNvPr id="12" name="Rechteck 10"/>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65073466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Subhead, Two Content with chart title (Disclaimer)">
    <p:spTree>
      <p:nvGrpSpPr>
        <p:cNvPr id="1" name=""/>
        <p:cNvGrpSpPr/>
        <p:nvPr/>
      </p:nvGrpSpPr>
      <p:grpSpPr>
        <a:xfrm>
          <a:off x="0" y="0"/>
          <a:ext cx="0" cy="0"/>
          <a:chOff x="0" y="0"/>
          <a:chExt cx="0" cy="0"/>
        </a:xfrm>
      </p:grpSpPr>
      <p:sp>
        <p:nvSpPr>
          <p:cNvPr id="14"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988590"/>
            <a:ext cx="7488000" cy="244800"/>
          </a:xfrm>
        </p:spPr>
        <p:txBody>
          <a:bodyPr/>
          <a:lstStyle>
            <a:lvl1pPr marL="0" indent="0">
              <a:spcBef>
                <a:spcPts val="1800"/>
              </a:spcBef>
              <a:spcAft>
                <a:spcPts val="1200"/>
              </a:spcAft>
              <a:buFontTx/>
              <a:buNone/>
              <a:defRPr sz="1400" b="0">
                <a:solidFill>
                  <a:schemeClr val="tx2"/>
                </a:solidFill>
              </a:defRPr>
            </a:lvl1pPr>
          </a:lstStyle>
          <a:p>
            <a:pPr>
              <a:spcBef>
                <a:spcPts val="1800"/>
              </a:spcBef>
              <a:spcAft>
                <a:spcPts val="1200"/>
              </a:spcAft>
              <a:buFontTx/>
            </a:pPr>
            <a:r>
              <a:rPr lang="en-GB" sz="1400" noProof="0" dirty="0"/>
              <a:t>Subhead appears here (14 </a:t>
            </a:r>
            <a:r>
              <a:rPr lang="en-GB" sz="1400" noProof="0" dirty="0" err="1"/>
              <a:t>pt</a:t>
            </a:r>
            <a:r>
              <a:rPr lang="en-GB" sz="1400" noProof="0" dirty="0"/>
              <a:t>)</a:t>
            </a:r>
          </a:p>
        </p:txBody>
      </p:sp>
      <p:sp>
        <p:nvSpPr>
          <p:cNvPr id="6" name="Text Placeholder 19"/>
          <p:cNvSpPr>
            <a:spLocks noGrp="1"/>
          </p:cNvSpPr>
          <p:nvPr>
            <p:ph type="body" sz="quarter" idx="24" hasCustomPrompt="1"/>
          </p:nvPr>
        </p:nvSpPr>
        <p:spPr bwMode="gray">
          <a:xfrm>
            <a:off x="398772"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8" name="Text Placeholder 17"/>
          <p:cNvSpPr>
            <a:spLocks noGrp="1"/>
          </p:cNvSpPr>
          <p:nvPr>
            <p:ph type="body" sz="quarter" idx="25" hasCustomPrompt="1"/>
          </p:nvPr>
        </p:nvSpPr>
        <p:spPr bwMode="gray">
          <a:xfrm>
            <a:off x="398772"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9" name="Content Placeholder 12"/>
          <p:cNvSpPr>
            <a:spLocks noGrp="1"/>
          </p:cNvSpPr>
          <p:nvPr>
            <p:ph sz="quarter" idx="26" hasCustomPrompt="1"/>
          </p:nvPr>
        </p:nvSpPr>
        <p:spPr bwMode="gray">
          <a:xfrm>
            <a:off x="6196940"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11" name="Text Placeholder 17"/>
          <p:cNvSpPr>
            <a:spLocks noGrp="1"/>
          </p:cNvSpPr>
          <p:nvPr>
            <p:ph type="body" sz="quarter" idx="28" hasCustomPrompt="1"/>
          </p:nvPr>
        </p:nvSpPr>
        <p:spPr bwMode="gray">
          <a:xfrm>
            <a:off x="6207556"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2" name="Titel 1"/>
          <p:cNvSpPr>
            <a:spLocks noGrp="1"/>
          </p:cNvSpPr>
          <p:nvPr>
            <p:ph type="title" hasCustomPrompt="1"/>
          </p:nvPr>
        </p:nvSpPr>
        <p:spPr>
          <a:xfrm>
            <a:off x="398769" y="660014"/>
            <a:ext cx="7488000" cy="307777"/>
          </a:xfrm>
        </p:spPr>
        <p:txBody>
          <a:bodyPr>
            <a:spAutoFit/>
          </a:bodyPr>
          <a:lstStyle/>
          <a:p>
            <a:r>
              <a:rPr lang="en-GB" noProof="0" dirty="0"/>
              <a:t>Main slide heading appears here (20pt)</a:t>
            </a:r>
            <a:endParaRPr lang="en-GB" dirty="0"/>
          </a:p>
        </p:txBody>
      </p:sp>
      <p:sp>
        <p:nvSpPr>
          <p:cNvPr id="12"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7152161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V - 4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8"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9"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42214"/>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9"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32" name="Tijdelijke aanduiding voor afbeelding 6">
            <a:extLst>
              <a:ext uri="{FF2B5EF4-FFF2-40B4-BE49-F238E27FC236}">
                <a16:creationId xmlns:a16="http://schemas.microsoft.com/office/drawing/2014/main" id="{72A5BDA8-F626-43E7-82FC-AA1CE79C713A}"/>
              </a:ext>
            </a:extLst>
          </p:cNvPr>
          <p:cNvSpPr>
            <a:spLocks noGrp="1"/>
          </p:cNvSpPr>
          <p:nvPr>
            <p:ph type="pic" sz="quarter" idx="22"/>
          </p:nvPr>
        </p:nvSpPr>
        <p:spPr>
          <a:xfrm>
            <a:off x="3369545" y="1374858"/>
            <a:ext cx="1254569" cy="1442214"/>
          </a:xfrm>
        </p:spPr>
        <p:txBody>
          <a:bodyPr/>
          <a:lstStyle>
            <a:lvl1pPr>
              <a:defRPr sz="1100"/>
            </a:lvl1pPr>
          </a:lstStyle>
          <a:p>
            <a:r>
              <a:rPr lang="nl-NL" smtClean="0"/>
              <a:t>Klik op het pictogram als u een afbeelding wilt toevoegen</a:t>
            </a:r>
            <a:endParaRPr lang="nl-NL" dirty="0"/>
          </a:p>
        </p:txBody>
      </p:sp>
      <p:sp>
        <p:nvSpPr>
          <p:cNvPr id="33" name="Tijdelijke aanduiding voor afbeelding 6">
            <a:extLst>
              <a:ext uri="{FF2B5EF4-FFF2-40B4-BE49-F238E27FC236}">
                <a16:creationId xmlns:a16="http://schemas.microsoft.com/office/drawing/2014/main" id="{661A4B7C-02CC-451E-9ACD-4F7918025CE3}"/>
              </a:ext>
            </a:extLst>
          </p:cNvPr>
          <p:cNvSpPr>
            <a:spLocks noGrp="1"/>
          </p:cNvSpPr>
          <p:nvPr>
            <p:ph type="pic" sz="quarter" idx="23"/>
          </p:nvPr>
        </p:nvSpPr>
        <p:spPr>
          <a:xfrm>
            <a:off x="9101100" y="1374858"/>
            <a:ext cx="1254569" cy="1442214"/>
          </a:xfrm>
        </p:spPr>
        <p:txBody>
          <a:bodyPr/>
          <a:lstStyle>
            <a:lvl1pPr>
              <a:defRPr sz="1100"/>
            </a:lvl1pPr>
          </a:lstStyle>
          <a:p>
            <a:r>
              <a:rPr lang="nl-NL" smtClean="0"/>
              <a:t>Klik op het pictogram als u een afbeelding wilt toevoegen</a:t>
            </a:r>
            <a:endParaRPr lang="nl-NL" dirty="0"/>
          </a:p>
        </p:txBody>
      </p:sp>
      <p:sp>
        <p:nvSpPr>
          <p:cNvPr id="34" name="Text Placeholder 2">
            <a:extLst>
              <a:ext uri="{FF2B5EF4-FFF2-40B4-BE49-F238E27FC236}">
                <a16:creationId xmlns:a16="http://schemas.microsoft.com/office/drawing/2014/main" id="{97ED01AA-3002-463C-A4B9-BF5E378F768B}"/>
              </a:ext>
            </a:extLst>
          </p:cNvPr>
          <p:cNvSpPr>
            <a:spLocks noGrp="1"/>
          </p:cNvSpPr>
          <p:nvPr>
            <p:ph type="body" idx="24" hasCustomPrompt="1"/>
          </p:nvPr>
        </p:nvSpPr>
        <p:spPr>
          <a:xfrm>
            <a:off x="3369545"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5" name="Text Placeholder 2">
            <a:extLst>
              <a:ext uri="{FF2B5EF4-FFF2-40B4-BE49-F238E27FC236}">
                <a16:creationId xmlns:a16="http://schemas.microsoft.com/office/drawing/2014/main" id="{6A6E73AB-705B-4B1D-80AF-6D32AD4617CA}"/>
              </a:ext>
            </a:extLst>
          </p:cNvPr>
          <p:cNvSpPr>
            <a:spLocks noGrp="1"/>
          </p:cNvSpPr>
          <p:nvPr>
            <p:ph type="body" idx="25" hasCustomPrompt="1"/>
          </p:nvPr>
        </p:nvSpPr>
        <p:spPr>
          <a:xfrm>
            <a:off x="6235322"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4" name="Text Placeholder 2">
            <a:extLst>
              <a:ext uri="{FF2B5EF4-FFF2-40B4-BE49-F238E27FC236}">
                <a16:creationId xmlns:a16="http://schemas.microsoft.com/office/drawing/2014/main" id="{F5FDAECA-A85B-4111-A44B-D59D76544EE8}"/>
              </a:ext>
            </a:extLst>
          </p:cNvPr>
          <p:cNvSpPr>
            <a:spLocks noGrp="1"/>
          </p:cNvSpPr>
          <p:nvPr>
            <p:ph type="body" idx="26" hasCustomPrompt="1"/>
          </p:nvPr>
        </p:nvSpPr>
        <p:spPr>
          <a:xfrm>
            <a:off x="9101100"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5" name="Tijdelijke aanduiding voor afbeelding 6">
            <a:extLst>
              <a:ext uri="{FF2B5EF4-FFF2-40B4-BE49-F238E27FC236}">
                <a16:creationId xmlns:a16="http://schemas.microsoft.com/office/drawing/2014/main" id="{E194C6CD-E053-4B81-81ED-2A442DA09B11}"/>
              </a:ext>
            </a:extLst>
          </p:cNvPr>
          <p:cNvSpPr>
            <a:spLocks noGrp="1"/>
          </p:cNvSpPr>
          <p:nvPr>
            <p:ph type="pic" sz="quarter" idx="27"/>
          </p:nvPr>
        </p:nvSpPr>
        <p:spPr>
          <a:xfrm>
            <a:off x="6235322" y="1374858"/>
            <a:ext cx="1254569" cy="1442214"/>
          </a:xfrm>
        </p:spPr>
        <p:txBody>
          <a:bodyPr/>
          <a:lstStyle>
            <a:lvl1pPr>
              <a:defRPr sz="1100"/>
            </a:lvl1pPr>
          </a:lstStyle>
          <a:p>
            <a:r>
              <a:rPr lang="nl-NL" smtClean="0"/>
              <a:t>Klik op het pictogram als u een afbeelding wilt toevoegen</a:t>
            </a:r>
            <a:endParaRPr lang="nl-NL" dirty="0"/>
          </a:p>
        </p:txBody>
      </p:sp>
      <p:sp>
        <p:nvSpPr>
          <p:cNvPr id="46" name="Content Placeholder 2">
            <a:extLst>
              <a:ext uri="{FF2B5EF4-FFF2-40B4-BE49-F238E27FC236}">
                <a16:creationId xmlns:a16="http://schemas.microsoft.com/office/drawing/2014/main" id="{24CC59D0-6EDB-4FCC-BE48-89A42D7E8673}"/>
              </a:ext>
            </a:extLst>
          </p:cNvPr>
          <p:cNvSpPr>
            <a:spLocks noGrp="1"/>
          </p:cNvSpPr>
          <p:nvPr>
            <p:ph sz="half" idx="28" hasCustomPrompt="1"/>
          </p:nvPr>
        </p:nvSpPr>
        <p:spPr>
          <a:xfrm>
            <a:off x="3369545"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7" name="Content Placeholder 2">
            <a:extLst>
              <a:ext uri="{FF2B5EF4-FFF2-40B4-BE49-F238E27FC236}">
                <a16:creationId xmlns:a16="http://schemas.microsoft.com/office/drawing/2014/main" id="{C8E9BF5B-3140-45F0-827C-3457A4C3FBB1}"/>
              </a:ext>
            </a:extLst>
          </p:cNvPr>
          <p:cNvSpPr>
            <a:spLocks noGrp="1"/>
          </p:cNvSpPr>
          <p:nvPr>
            <p:ph sz="half" idx="29" hasCustomPrompt="1"/>
          </p:nvPr>
        </p:nvSpPr>
        <p:spPr>
          <a:xfrm>
            <a:off x="3369545"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48" name="Content Placeholder 2">
            <a:extLst>
              <a:ext uri="{FF2B5EF4-FFF2-40B4-BE49-F238E27FC236}">
                <a16:creationId xmlns:a16="http://schemas.microsoft.com/office/drawing/2014/main" id="{9D33725C-27F0-4D2F-9FD0-73BD7AA9A5F5}"/>
              </a:ext>
            </a:extLst>
          </p:cNvPr>
          <p:cNvSpPr>
            <a:spLocks noGrp="1"/>
          </p:cNvSpPr>
          <p:nvPr>
            <p:ph sz="half" idx="30" hasCustomPrompt="1"/>
          </p:nvPr>
        </p:nvSpPr>
        <p:spPr>
          <a:xfrm>
            <a:off x="6235322"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9" name="Content Placeholder 2">
            <a:extLst>
              <a:ext uri="{FF2B5EF4-FFF2-40B4-BE49-F238E27FC236}">
                <a16:creationId xmlns:a16="http://schemas.microsoft.com/office/drawing/2014/main" id="{4E974B72-5991-44BC-86B4-D278755FD7A4}"/>
              </a:ext>
            </a:extLst>
          </p:cNvPr>
          <p:cNvSpPr>
            <a:spLocks noGrp="1"/>
          </p:cNvSpPr>
          <p:nvPr>
            <p:ph sz="half" idx="31" hasCustomPrompt="1"/>
          </p:nvPr>
        </p:nvSpPr>
        <p:spPr>
          <a:xfrm>
            <a:off x="6235322"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50" name="Content Placeholder 2">
            <a:extLst>
              <a:ext uri="{FF2B5EF4-FFF2-40B4-BE49-F238E27FC236}">
                <a16:creationId xmlns:a16="http://schemas.microsoft.com/office/drawing/2014/main" id="{8E4E58A6-9442-4C35-B8A6-6FF1FCBD8E2F}"/>
              </a:ext>
            </a:extLst>
          </p:cNvPr>
          <p:cNvSpPr>
            <a:spLocks noGrp="1"/>
          </p:cNvSpPr>
          <p:nvPr>
            <p:ph sz="half" idx="32" hasCustomPrompt="1"/>
          </p:nvPr>
        </p:nvSpPr>
        <p:spPr>
          <a:xfrm>
            <a:off x="9101100"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51" name="Content Placeholder 2">
            <a:extLst>
              <a:ext uri="{FF2B5EF4-FFF2-40B4-BE49-F238E27FC236}">
                <a16:creationId xmlns:a16="http://schemas.microsoft.com/office/drawing/2014/main" id="{22A16F2A-B928-4222-A56D-430AA9388183}"/>
              </a:ext>
            </a:extLst>
          </p:cNvPr>
          <p:cNvSpPr>
            <a:spLocks noGrp="1"/>
          </p:cNvSpPr>
          <p:nvPr>
            <p:ph sz="half" idx="33" hasCustomPrompt="1"/>
          </p:nvPr>
        </p:nvSpPr>
        <p:spPr>
          <a:xfrm>
            <a:off x="9101100"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22" name="Tijdelijke aanduiding voor tekst 2">
            <a:extLst>
              <a:ext uri="{FF2B5EF4-FFF2-40B4-BE49-F238E27FC236}">
                <a16:creationId xmlns:a16="http://schemas.microsoft.com/office/drawing/2014/main" id="{AB0CE12C-899C-409B-AFFC-9C497ECCBC8C}"/>
              </a:ext>
            </a:extLst>
          </p:cNvPr>
          <p:cNvSpPr>
            <a:spLocks noGrp="1"/>
          </p:cNvSpPr>
          <p:nvPr>
            <p:ph type="body" sz="quarter" idx="34"/>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90982097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wo Content with subheading &amp; chart title (Disclaimer)">
    <p:spTree>
      <p:nvGrpSpPr>
        <p:cNvPr id="1" name=""/>
        <p:cNvGrpSpPr/>
        <p:nvPr/>
      </p:nvGrpSpPr>
      <p:grpSpPr>
        <a:xfrm>
          <a:off x="0" y="0"/>
          <a:ext cx="0" cy="0"/>
          <a:chOff x="0" y="0"/>
          <a:chExt cx="0" cy="0"/>
        </a:xfrm>
      </p:grpSpPr>
      <p:sp>
        <p:nvSpPr>
          <p:cNvPr id="14"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6196940"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
        <p:nvSpPr>
          <p:cNvPr id="11"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71575324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hree Content with subheading &amp; chart title (Disclaimer)">
    <p:spTree>
      <p:nvGrpSpPr>
        <p:cNvPr id="1" name=""/>
        <p:cNvGrpSpPr/>
        <p:nvPr/>
      </p:nvGrpSpPr>
      <p:grpSpPr>
        <a:xfrm>
          <a:off x="0" y="0"/>
          <a:ext cx="0" cy="0"/>
          <a:chOff x="0" y="0"/>
          <a:chExt cx="0" cy="0"/>
        </a:xfrm>
      </p:grpSpPr>
      <p:sp>
        <p:nvSpPr>
          <p:cNvPr id="14"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813489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813489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1" name="Content Placeholder 12"/>
          <p:cNvSpPr>
            <a:spLocks noGrp="1"/>
          </p:cNvSpPr>
          <p:nvPr>
            <p:ph sz="quarter" idx="28" hasCustomPrompt="1"/>
          </p:nvPr>
        </p:nvSpPr>
        <p:spPr bwMode="gray">
          <a:xfrm>
            <a:off x="4266833"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5" name="Text Placeholder 19"/>
          <p:cNvSpPr>
            <a:spLocks noGrp="1"/>
          </p:cNvSpPr>
          <p:nvPr>
            <p:ph type="body" sz="quarter" idx="29" hasCustomPrompt="1"/>
          </p:nvPr>
        </p:nvSpPr>
        <p:spPr bwMode="gray">
          <a:xfrm>
            <a:off x="4266833"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6" name="Content Placeholder 12"/>
          <p:cNvSpPr>
            <a:spLocks noGrp="1"/>
          </p:cNvSpPr>
          <p:nvPr>
            <p:ph sz="quarter" idx="30" hasCustomPrompt="1"/>
          </p:nvPr>
        </p:nvSpPr>
        <p:spPr bwMode="gray">
          <a:xfrm>
            <a:off x="39877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7" name="Content Placeholder 12"/>
          <p:cNvSpPr>
            <a:spLocks noGrp="1"/>
          </p:cNvSpPr>
          <p:nvPr>
            <p:ph sz="quarter" idx="31" hasCustomPrompt="1"/>
          </p:nvPr>
        </p:nvSpPr>
        <p:spPr bwMode="gray">
          <a:xfrm>
            <a:off x="813489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9" name="Content Placeholder 12"/>
          <p:cNvSpPr>
            <a:spLocks noGrp="1"/>
          </p:cNvSpPr>
          <p:nvPr>
            <p:ph sz="quarter" idx="32" hasCustomPrompt="1"/>
          </p:nvPr>
        </p:nvSpPr>
        <p:spPr bwMode="gray">
          <a:xfrm>
            <a:off x="4266833"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
        <p:nvSpPr>
          <p:cNvPr id="20"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723367967"/>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Content with video">
    <p:spTree>
      <p:nvGrpSpPr>
        <p:cNvPr id="1" name=""/>
        <p:cNvGrpSpPr/>
        <p:nvPr/>
      </p:nvGrpSpPr>
      <p:grpSpPr>
        <a:xfrm>
          <a:off x="0" y="0"/>
          <a:ext cx="0" cy="0"/>
          <a:chOff x="0" y="0"/>
          <a:chExt cx="0" cy="0"/>
        </a:xfrm>
      </p:grpSpPr>
      <p:sp>
        <p:nvSpPr>
          <p:cNvPr id="12" name="Rechteck 11"/>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9" name="Medienplatzhalter 8"/>
          <p:cNvSpPr>
            <a:spLocks noGrp="1"/>
          </p:cNvSpPr>
          <p:nvPr>
            <p:ph type="media" sz="quarter" idx="23" hasCustomPrompt="1"/>
          </p:nvPr>
        </p:nvSpPr>
        <p:spPr bwMode="gray">
          <a:xfrm>
            <a:off x="3323078" y="2368800"/>
            <a:ext cx="8445046" cy="3794400"/>
          </a:xfrm>
        </p:spPr>
        <p:txBody>
          <a:bodyPr/>
          <a:lstStyle>
            <a:lvl1pPr marL="0" indent="0">
              <a:buNone/>
              <a:defRPr sz="800">
                <a:latin typeface="Arial" panose="020B0604020202020204" pitchFamily="34" charset="0"/>
              </a:defRPr>
            </a:lvl1pPr>
          </a:lstStyle>
          <a:p>
            <a:r>
              <a:rPr lang="en-GB" noProof="0" dirty="0"/>
              <a:t>Click the video button below to insert a video (only this action guarantees correct view)</a:t>
            </a:r>
            <a:br>
              <a:rPr lang="en-GB" noProof="0" dirty="0"/>
            </a:br>
            <a:r>
              <a:rPr lang="en-GB" noProof="0" dirty="0"/>
              <a:t>Note: All photography and video must comply with AllianzGI guidelines.</a:t>
            </a:r>
            <a:br>
              <a:rPr lang="en-GB" noProof="0" dirty="0"/>
            </a:br>
            <a:r>
              <a:rPr lang="en-GB" noProof="0" dirty="0"/>
              <a:t>Imagery is an expression of our brand personality and needs to reflect</a:t>
            </a:r>
            <a:br>
              <a:rPr lang="en-GB" noProof="0" dirty="0"/>
            </a:br>
            <a:r>
              <a:rPr lang="en-GB" noProof="0" dirty="0"/>
              <a:t>the business we are in. Our imagery needs to be thoughtful and serious,</a:t>
            </a:r>
            <a:br>
              <a:rPr lang="en-GB" noProof="0" dirty="0"/>
            </a:br>
            <a:r>
              <a:rPr lang="en-GB" noProof="0" dirty="0"/>
              <a:t>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Inhaltsplatzhalter 3"/>
          <p:cNvSpPr>
            <a:spLocks noGrp="1"/>
          </p:cNvSpPr>
          <p:nvPr>
            <p:ph sz="quarter" idx="25" hasCustomPrompt="1"/>
          </p:nvPr>
        </p:nvSpPr>
        <p:spPr bwMode="gray">
          <a:xfrm>
            <a:off x="398769" y="2368800"/>
            <a:ext cx="26717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6"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Rechteck 11"/>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176589597"/>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Combination of elements">
    <p:spTree>
      <p:nvGrpSpPr>
        <p:cNvPr id="1" name=""/>
        <p:cNvGrpSpPr/>
        <p:nvPr/>
      </p:nvGrpSpPr>
      <p:grpSpPr>
        <a:xfrm>
          <a:off x="0" y="0"/>
          <a:ext cx="0" cy="0"/>
          <a:chOff x="0" y="0"/>
          <a:chExt cx="0" cy="0"/>
        </a:xfrm>
      </p:grpSpPr>
      <p:sp>
        <p:nvSpPr>
          <p:cNvPr id="35" name="Rechteck 34"/>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2368551"/>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7" name="Rechteck 6"/>
          <p:cNvSpPr/>
          <p:nvPr/>
        </p:nvSpPr>
        <p:spPr bwMode="gray">
          <a:xfrm>
            <a:off x="2250724" y="2373043"/>
            <a:ext cx="9526153"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8" name="Flussdiagramm: Prozess 18"/>
          <p:cNvSpPr/>
          <p:nvPr/>
        </p:nvSpPr>
        <p:spPr bwMode="gray">
          <a:xfrm>
            <a:off x="1878647" y="237304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7" name="Bildplatzhalter 3"/>
          <p:cNvSpPr>
            <a:spLocks noGrp="1"/>
          </p:cNvSpPr>
          <p:nvPr>
            <p:ph type="pic" sz="quarter" idx="29" hasCustomPrompt="1"/>
          </p:nvPr>
        </p:nvSpPr>
        <p:spPr bwMode="gray">
          <a:xfrm>
            <a:off x="398769" y="3366000"/>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28" name="Rechteck 27"/>
          <p:cNvSpPr/>
          <p:nvPr/>
        </p:nvSpPr>
        <p:spPr bwMode="gray">
          <a:xfrm>
            <a:off x="2250724" y="3367113"/>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9" name="Flussdiagramm: Prozess 18"/>
          <p:cNvSpPr/>
          <p:nvPr/>
        </p:nvSpPr>
        <p:spPr bwMode="gray">
          <a:xfrm>
            <a:off x="1878648" y="336711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2" name="Bildplatzhalter 3"/>
          <p:cNvSpPr>
            <a:spLocks noGrp="1"/>
          </p:cNvSpPr>
          <p:nvPr>
            <p:ph type="pic" sz="quarter" idx="32" hasCustomPrompt="1"/>
          </p:nvPr>
        </p:nvSpPr>
        <p:spPr bwMode="gray">
          <a:xfrm>
            <a:off x="398769" y="4345853"/>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3" name="Rechteck 32"/>
          <p:cNvSpPr/>
          <p:nvPr/>
        </p:nvSpPr>
        <p:spPr bwMode="gray">
          <a:xfrm>
            <a:off x="2259584" y="4345200"/>
            <a:ext cx="9517292"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4" name="Flussdiagramm: Prozess 18"/>
          <p:cNvSpPr/>
          <p:nvPr/>
        </p:nvSpPr>
        <p:spPr bwMode="gray">
          <a:xfrm>
            <a:off x="1878648" y="434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7" name="Bildplatzhalter 3"/>
          <p:cNvSpPr>
            <a:spLocks noGrp="1"/>
          </p:cNvSpPr>
          <p:nvPr>
            <p:ph type="pic" sz="quarter" idx="35" hasCustomPrompt="1"/>
          </p:nvPr>
        </p:nvSpPr>
        <p:spPr bwMode="gray">
          <a:xfrm>
            <a:off x="398769" y="5334505"/>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8" name="Rechteck 37"/>
          <p:cNvSpPr/>
          <p:nvPr/>
        </p:nvSpPr>
        <p:spPr bwMode="gray">
          <a:xfrm>
            <a:off x="2259584" y="5335200"/>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9" name="Flussdiagramm: Prozess 18"/>
          <p:cNvSpPr/>
          <p:nvPr/>
        </p:nvSpPr>
        <p:spPr bwMode="gray">
          <a:xfrm>
            <a:off x="1878648" y="533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1" name="Text Placeholder 10"/>
          <p:cNvSpPr>
            <a:spLocks noGrp="1"/>
          </p:cNvSpPr>
          <p:nvPr>
            <p:ph type="body" sz="quarter" idx="47" hasCustomPrompt="1"/>
          </p:nvPr>
        </p:nvSpPr>
        <p:spPr bwMode="gray">
          <a:xfrm>
            <a:off x="1878647" y="236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3" name="Text Placeholder 12"/>
          <p:cNvSpPr>
            <a:spLocks noGrp="1"/>
          </p:cNvSpPr>
          <p:nvPr>
            <p:ph type="body" sz="quarter" idx="48" hasCustomPrompt="1"/>
          </p:nvPr>
        </p:nvSpPr>
        <p:spPr bwMode="gray">
          <a:xfrm>
            <a:off x="5975540" y="23688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15" name="Text Placeholder 14"/>
          <p:cNvSpPr>
            <a:spLocks noGrp="1"/>
          </p:cNvSpPr>
          <p:nvPr>
            <p:ph type="body" sz="quarter" idx="49" hasCustomPrompt="1"/>
          </p:nvPr>
        </p:nvSpPr>
        <p:spPr bwMode="gray">
          <a:xfrm>
            <a:off x="1878647" y="335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7" name="Text Placeholder 16"/>
          <p:cNvSpPr>
            <a:spLocks noGrp="1"/>
          </p:cNvSpPr>
          <p:nvPr>
            <p:ph type="body" sz="quarter" idx="50" hasCustomPrompt="1"/>
          </p:nvPr>
        </p:nvSpPr>
        <p:spPr bwMode="gray">
          <a:xfrm>
            <a:off x="5975540" y="33588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19" name="Text Placeholder 18"/>
          <p:cNvSpPr>
            <a:spLocks noGrp="1"/>
          </p:cNvSpPr>
          <p:nvPr>
            <p:ph type="body" sz="quarter" idx="51" hasCustomPrompt="1"/>
          </p:nvPr>
        </p:nvSpPr>
        <p:spPr bwMode="gray">
          <a:xfrm>
            <a:off x="1878647" y="434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1" name="Text Placeholder 20"/>
          <p:cNvSpPr>
            <a:spLocks noGrp="1"/>
          </p:cNvSpPr>
          <p:nvPr>
            <p:ph type="body" sz="quarter" idx="52" hasCustomPrompt="1"/>
          </p:nvPr>
        </p:nvSpPr>
        <p:spPr bwMode="gray">
          <a:xfrm>
            <a:off x="5975540" y="43452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23" name="Text Placeholder 22"/>
          <p:cNvSpPr>
            <a:spLocks noGrp="1"/>
          </p:cNvSpPr>
          <p:nvPr>
            <p:ph type="body" sz="quarter" idx="53" hasCustomPrompt="1"/>
          </p:nvPr>
        </p:nvSpPr>
        <p:spPr bwMode="gray">
          <a:xfrm>
            <a:off x="1878647" y="533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5" name="Text Placeholder 24"/>
          <p:cNvSpPr>
            <a:spLocks noGrp="1"/>
          </p:cNvSpPr>
          <p:nvPr>
            <p:ph type="body" sz="quarter" idx="54" hasCustomPrompt="1"/>
          </p:nvPr>
        </p:nvSpPr>
        <p:spPr bwMode="gray">
          <a:xfrm>
            <a:off x="5975540" y="53352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2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3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1" name="Rechteck 34"/>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Rechteck 6"/>
          <p:cNvSpPr/>
          <p:nvPr/>
        </p:nvSpPr>
        <p:spPr bwMode="gray">
          <a:xfrm>
            <a:off x="2250724" y="2373043"/>
            <a:ext cx="9526153"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0" name="Flussdiagramm: Prozess 18"/>
          <p:cNvSpPr/>
          <p:nvPr/>
        </p:nvSpPr>
        <p:spPr bwMode="gray">
          <a:xfrm>
            <a:off x="1878647" y="237304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1" name="Rechteck 27"/>
          <p:cNvSpPr/>
          <p:nvPr/>
        </p:nvSpPr>
        <p:spPr bwMode="gray">
          <a:xfrm>
            <a:off x="2250724" y="3367113"/>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2" name="Flussdiagramm: Prozess 18"/>
          <p:cNvSpPr/>
          <p:nvPr/>
        </p:nvSpPr>
        <p:spPr bwMode="gray">
          <a:xfrm>
            <a:off x="1878648" y="336711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3" name="Rechteck 32"/>
          <p:cNvSpPr/>
          <p:nvPr/>
        </p:nvSpPr>
        <p:spPr bwMode="gray">
          <a:xfrm>
            <a:off x="2259584" y="4345200"/>
            <a:ext cx="9517292"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4" name="Flussdiagramm: Prozess 18"/>
          <p:cNvSpPr/>
          <p:nvPr/>
        </p:nvSpPr>
        <p:spPr bwMode="gray">
          <a:xfrm>
            <a:off x="1878648" y="434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5" name="Rechteck 37"/>
          <p:cNvSpPr/>
          <p:nvPr/>
        </p:nvSpPr>
        <p:spPr bwMode="gray">
          <a:xfrm>
            <a:off x="2259584" y="5335200"/>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6" name="Flussdiagramm: Prozess 18"/>
          <p:cNvSpPr/>
          <p:nvPr/>
        </p:nvSpPr>
        <p:spPr bwMode="gray">
          <a:xfrm>
            <a:off x="1878648" y="533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40186341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Background Visual with Content">
    <p:bg>
      <p:bgRef idx="1001">
        <a:schemeClr val="bg1"/>
      </p:bgRef>
    </p:bg>
    <p:spTree>
      <p:nvGrpSpPr>
        <p:cNvPr id="1" name=""/>
        <p:cNvGrpSpPr/>
        <p:nvPr/>
      </p:nvGrpSpPr>
      <p:grpSpPr>
        <a:xfrm>
          <a:off x="0" y="0"/>
          <a:ext cx="0" cy="0"/>
          <a:chOff x="0" y="0"/>
          <a:chExt cx="0" cy="0"/>
        </a:xfrm>
      </p:grpSpPr>
      <p:sp>
        <p:nvSpPr>
          <p:cNvPr id="14"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3"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9"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5" name="Textfeld 14"/>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4" name="Bildplatzhalter 3"/>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
        <p:nvSpPr>
          <p:cNvPr id="12" name="Rechteck 1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6" name="Textfeld 14"/>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3047746509"/>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ackground Visual">
    <p:bg>
      <p:bgRef idx="1001">
        <a:schemeClr val="bg1"/>
      </p:bgRef>
    </p:bg>
    <p:spTree>
      <p:nvGrpSpPr>
        <p:cNvPr id="1" name=""/>
        <p:cNvGrpSpPr/>
        <p:nvPr/>
      </p:nvGrpSpPr>
      <p:grpSpPr>
        <a:xfrm>
          <a:off x="0" y="0"/>
          <a:ext cx="0" cy="0"/>
          <a:chOff x="0" y="0"/>
          <a:chExt cx="0" cy="0"/>
        </a:xfrm>
      </p:grpSpPr>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8"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7" name="Textfeld 6"/>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3" name="Bildplatzhalter 2"/>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
        <p:nvSpPr>
          <p:cNvPr id="6" name="Textfeld 6"/>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2762062237"/>
      </p:ext>
    </p:extLst>
  </p:cSld>
  <p:clrMapOvr>
    <a:overrideClrMapping bg1="lt1" tx1="dk1" bg2="lt2" tx2="dk2" accent1="accent1" accent2="accent2" accent3="accent3" accent4="accent4" accent5="accent5" accent6="accent6" hlink="hlink" folHlink="folHlink"/>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Background Visual - 2">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6420"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9" name="Rechteck 8"/>
          <p:cNvSpPr/>
          <p:nvPr/>
        </p:nvSpPr>
        <p:spPr bwMode="gray">
          <a:xfrm>
            <a:off x="6642160" y="1592264"/>
            <a:ext cx="5549842" cy="4573587"/>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Bildplatzhalter 10"/>
          <p:cNvSpPr>
            <a:spLocks noGrp="1"/>
          </p:cNvSpPr>
          <p:nvPr>
            <p:ph type="pic" sz="quarter" idx="31" hasCustomPrompt="1"/>
          </p:nvPr>
        </p:nvSpPr>
        <p:spPr bwMode="gray">
          <a:xfrm>
            <a:off x="2" y="1"/>
            <a:ext cx="6642158" cy="5303373"/>
          </a:xfrm>
          <a:prstGeom prst="rect">
            <a:avLst/>
          </a:prstGeom>
          <a:solidFill>
            <a:srgbClr val="B2B2B2"/>
          </a:solidFill>
        </p:spPr>
        <p:txBody>
          <a:bodyPr anchor="ctr"/>
          <a:lstStyle>
            <a:lvl1pPr marL="0" indent="0" algn="ctr">
              <a:buNone/>
              <a:defRPr sz="1300"/>
            </a:lvl1pPr>
          </a:lstStyle>
          <a:p>
            <a:r>
              <a:rPr lang="en-GB" noProof="0" dirty="0"/>
              <a:t>New Picture</a:t>
            </a:r>
          </a:p>
        </p:txBody>
      </p:sp>
      <p:sp>
        <p:nvSpPr>
          <p:cNvPr id="35" name="Textplatzhalter 20"/>
          <p:cNvSpPr>
            <a:spLocks noGrp="1"/>
          </p:cNvSpPr>
          <p:nvPr>
            <p:ph type="body" sz="quarter" idx="12" hasCustomPrompt="1"/>
          </p:nvPr>
        </p:nvSpPr>
        <p:spPr bwMode="gray">
          <a:xfrm>
            <a:off x="6203462" y="2092326"/>
            <a:ext cx="5564555" cy="675891"/>
          </a:xfrm>
        </p:spPr>
        <p:txBody>
          <a:bodyPr lIns="0" tIns="0" rIns="0" bIns="0"/>
          <a:lstStyle>
            <a:lvl1pPr marL="0" indent="0">
              <a:spcBef>
                <a:spcPts val="0"/>
              </a:spcBef>
              <a:spcAft>
                <a:spcPts val="0"/>
              </a:spcAft>
              <a:buNone/>
              <a:defRPr sz="20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20pt)</a:t>
            </a:r>
          </a:p>
        </p:txBody>
      </p:sp>
      <p:sp>
        <p:nvSpPr>
          <p:cNvPr id="8" name="Text Placeholder 7"/>
          <p:cNvSpPr>
            <a:spLocks noGrp="1"/>
          </p:cNvSpPr>
          <p:nvPr>
            <p:ph type="body" sz="quarter" idx="30" hasCustomPrompt="1"/>
          </p:nvPr>
        </p:nvSpPr>
        <p:spPr bwMode="gray">
          <a:xfrm>
            <a:off x="412263" y="239714"/>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8" name="Textplatzhalter 20"/>
          <p:cNvSpPr>
            <a:spLocks noGrp="1"/>
          </p:cNvSpPr>
          <p:nvPr>
            <p:ph type="body" sz="quarter" idx="32" hasCustomPrompt="1"/>
          </p:nvPr>
        </p:nvSpPr>
        <p:spPr bwMode="gray">
          <a:xfrm>
            <a:off x="7063080" y="2866827"/>
            <a:ext cx="4704937" cy="879788"/>
          </a:xfrm>
        </p:spPr>
        <p:txBody>
          <a:bodyPr lIns="0" tIns="0" rIns="0" bIns="0"/>
          <a:lstStyle>
            <a:lvl1pPr marL="0" indent="0">
              <a:spcBef>
                <a:spcPts val="0"/>
              </a:spcBef>
              <a:spcAft>
                <a:spcPts val="0"/>
              </a:spcAft>
              <a:buNone/>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12pt)</a:t>
            </a:r>
          </a:p>
        </p:txBody>
      </p:sp>
      <p:graphicFrame>
        <p:nvGraphicFramePr>
          <p:cNvPr id="10" name="Objekt 1"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6421" name="think-cell Folie" r:id="rId7" imgW="270" imgH="270" progId="TCLayout.ActiveDocument.1">
                  <p:embed/>
                </p:oleObj>
              </mc:Choice>
              <mc:Fallback>
                <p:oleObj name="think-cell Folie" r:id="rId7" imgW="270" imgH="270" progId="TCLayout.ActiveDocument.1">
                  <p:embed/>
                  <p:pic>
                    <p:nvPicPr>
                      <p:cNvPr id="10"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11" name="Rechteck 8"/>
          <p:cNvSpPr/>
          <p:nvPr/>
        </p:nvSpPr>
        <p:spPr bwMode="gray">
          <a:xfrm>
            <a:off x="6642160" y="1592264"/>
            <a:ext cx="5549842" cy="4573587"/>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225291720"/>
      </p:ext>
    </p:extLst>
  </p:cSld>
  <p:clrMapOvr>
    <a:overrideClrMapping bg1="lt1" tx1="dk1" bg2="lt2" tx2="dk2" accent1="accent1" accent2="accent2" accent3="accent3" accent4="accent4" accent5="accent5" accent6="accent6" hlink="hlink" folHlink="folHlink"/>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Background Visual - 3">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7444" name="think-cell Folie" r:id="rId5" imgW="270" imgH="270" progId="TCLayout.ActiveDocument.1">
                  <p:embed/>
                </p:oleObj>
              </mc:Choice>
              <mc:Fallback>
                <p:oleObj name="think-cell Folie" r:id="rId5" imgW="270" imgH="270" progId="TCLayout.ActiveDocument.1">
                  <p:embed/>
                  <p:pic>
                    <p:nvPicPr>
                      <p:cNvPr id="2"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16" name="Rechteck 15"/>
          <p:cNvSpPr/>
          <p:nvPr/>
        </p:nvSpPr>
        <p:spPr bwMode="gray">
          <a:xfrm>
            <a:off x="4368742" y="1592264"/>
            <a:ext cx="7823260" cy="4573587"/>
          </a:xfrm>
          <a:prstGeom prst="rect">
            <a:avLst/>
          </a:prstGeom>
          <a:blipFill dpi="0" rotWithShape="1">
            <a:blip r:embed="rId7" cstate="print">
              <a:extLst>
                <a:ext uri="{28A0092B-C50C-407E-A947-70E740481C1C}">
                  <a14:useLocalDpi xmlns:a14="http://schemas.microsoft.com/office/drawing/2010/main"/>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Rechteck 1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8" name="Textplatzhalter 20"/>
          <p:cNvSpPr>
            <a:spLocks noGrp="1"/>
          </p:cNvSpPr>
          <p:nvPr>
            <p:ph type="body" sz="quarter" idx="32" hasCustomPrompt="1"/>
          </p:nvPr>
        </p:nvSpPr>
        <p:spPr bwMode="gray">
          <a:xfrm>
            <a:off x="389506" y="2842101"/>
            <a:ext cx="3626684" cy="879788"/>
          </a:xfrm>
        </p:spPr>
        <p:txBody>
          <a:bodyPr lIns="0" tIns="0" rIns="0" bIns="0"/>
          <a:lstStyle>
            <a:lvl1pPr marL="0" marR="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marL="0" marR="0" lvl="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a:pPr>
            <a:r>
              <a:rPr lang="en-GB" noProof="0" dirty="0"/>
              <a:t>Subtitle of the presentation (12pt)</a:t>
            </a:r>
          </a:p>
        </p:txBody>
      </p:sp>
      <p:grpSp>
        <p:nvGrpSpPr>
          <p:cNvPr id="5" name="Gruppieren 4"/>
          <p:cNvGrpSpPr/>
          <p:nvPr/>
        </p:nvGrpSpPr>
        <p:grpSpPr bwMode="gray">
          <a:xfrm>
            <a:off x="2" y="762003"/>
            <a:ext cx="12192001" cy="5638801"/>
            <a:chOff x="0" y="762000"/>
            <a:chExt cx="9906001" cy="5638801"/>
          </a:xfrm>
        </p:grpSpPr>
        <p:sp>
          <p:nvSpPr>
            <p:cNvPr id="3" name="Rechteck 2"/>
            <p:cNvSpPr/>
            <p:nvPr userDrawn="1"/>
          </p:nvSpPr>
          <p:spPr bwMode="gray">
            <a:xfrm>
              <a:off x="0" y="4845600"/>
              <a:ext cx="3549601" cy="1555201"/>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Rechteck 12"/>
            <p:cNvSpPr/>
            <p:nvPr userDrawn="1"/>
          </p:nvSpPr>
          <p:spPr bwMode="gray">
            <a:xfrm>
              <a:off x="3549601" y="6175375"/>
              <a:ext cx="6356400" cy="225426"/>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userDrawn="1"/>
          </p:nvSpPr>
          <p:spPr bwMode="gray">
            <a:xfrm>
              <a:off x="3549601" y="762000"/>
              <a:ext cx="6356400" cy="839788"/>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sp>
        <p:nvSpPr>
          <p:cNvPr id="4" name="Textplatzhalter 3"/>
          <p:cNvSpPr>
            <a:spLocks noGrp="1"/>
          </p:cNvSpPr>
          <p:nvPr>
            <p:ph type="body" sz="quarter" idx="33" hasCustomPrompt="1"/>
          </p:nvPr>
        </p:nvSpPr>
        <p:spPr bwMode="gray">
          <a:xfrm>
            <a:off x="388816" y="993802"/>
            <a:ext cx="9409723" cy="1076325"/>
          </a:xfrm>
        </p:spPr>
        <p:txBody>
          <a:bodyPr/>
          <a:lstStyle>
            <a:lvl1pPr marL="0" indent="0">
              <a:buNone/>
              <a:tabLst/>
              <a:defRPr sz="3600" b="1">
                <a:solidFill>
                  <a:schemeClr val="tx2"/>
                </a:solidFill>
              </a:defRPr>
            </a:lvl1pPr>
            <a:lvl5pPr>
              <a:defRPr/>
            </a:lvl5pPr>
          </a:lstStyle>
          <a:p>
            <a:pPr lvl="0"/>
            <a:r>
              <a:rPr lang="en-GB" noProof="0" dirty="0"/>
              <a:t>Headline (36pt) max. two lines</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L-Form 20"/>
          <p:cNvSpPr/>
          <p:nvPr/>
        </p:nvSpPr>
        <p:spPr bwMode="auto">
          <a:xfrm>
            <a:off x="4367262" y="1601788"/>
            <a:ext cx="7824738" cy="4564060"/>
          </a:xfrm>
          <a:prstGeom prst="corner">
            <a:avLst>
              <a:gd name="adj1" fmla="val 35487"/>
              <a:gd name="adj2" fmla="val 32594"/>
            </a:avLst>
          </a:prstGeom>
          <a:solidFill>
            <a:schemeClr val="bg2">
              <a:alpha val="4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graphicFrame>
        <p:nvGraphicFramePr>
          <p:cNvPr id="15" name="Objekt 1" hidden="1"/>
          <p:cNvGraphicFramePr>
            <a:graphicFrameLocks noChangeAspect="1"/>
          </p:cNvGraphicFramePr>
          <p:nvPr>
            <p:custDataLst>
              <p:tags r:id="rId3"/>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7445" name="think-cell Folie" r:id="rId8" imgW="270" imgH="270" progId="TCLayout.ActiveDocument.1">
                  <p:embed/>
                </p:oleObj>
              </mc:Choice>
              <mc:Fallback>
                <p:oleObj name="think-cell Folie" r:id="rId8" imgW="270" imgH="270" progId="TCLayout.ActiveDocument.1">
                  <p:embed/>
                  <p:pic>
                    <p:nvPicPr>
                      <p:cNvPr id="15" name="Objekt 1"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17" name="Rechteck 15"/>
          <p:cNvSpPr/>
          <p:nvPr/>
        </p:nvSpPr>
        <p:spPr bwMode="gray">
          <a:xfrm>
            <a:off x="4368742" y="1592264"/>
            <a:ext cx="7823260" cy="4573587"/>
          </a:xfrm>
          <a:prstGeom prst="rect">
            <a:avLst/>
          </a:prstGeom>
          <a:blipFill dpi="0" rotWithShape="1">
            <a:blip r:embed="rId7" cstate="print">
              <a:extLst>
                <a:ext uri="{28A0092B-C50C-407E-A947-70E740481C1C}">
                  <a14:useLocalDpi xmlns:a14="http://schemas.microsoft.com/office/drawing/2010/main"/>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8" name="Rechteck 1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nvGrpSpPr>
          <p:cNvPr id="19" name="Gruppieren 4"/>
          <p:cNvGrpSpPr/>
          <p:nvPr/>
        </p:nvGrpSpPr>
        <p:grpSpPr bwMode="gray">
          <a:xfrm>
            <a:off x="2" y="762003"/>
            <a:ext cx="12192001" cy="5638801"/>
            <a:chOff x="0" y="762000"/>
            <a:chExt cx="9906001" cy="5638801"/>
          </a:xfrm>
        </p:grpSpPr>
        <p:sp>
          <p:nvSpPr>
            <p:cNvPr id="20" name="Rechteck 2"/>
            <p:cNvSpPr/>
            <p:nvPr userDrawn="1"/>
          </p:nvSpPr>
          <p:spPr bwMode="gray">
            <a:xfrm>
              <a:off x="0" y="4845600"/>
              <a:ext cx="3549601" cy="1555201"/>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2" name="Rechteck 12"/>
            <p:cNvSpPr/>
            <p:nvPr userDrawn="1"/>
          </p:nvSpPr>
          <p:spPr bwMode="gray">
            <a:xfrm>
              <a:off x="3549601" y="6175375"/>
              <a:ext cx="6356400" cy="225426"/>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3" name="Rechteck 13"/>
            <p:cNvSpPr/>
            <p:nvPr userDrawn="1"/>
          </p:nvSpPr>
          <p:spPr bwMode="gray">
            <a:xfrm>
              <a:off x="3549601" y="762000"/>
              <a:ext cx="6356400" cy="839788"/>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sp>
        <p:nvSpPr>
          <p:cNvPr id="24" name="L-Form 20"/>
          <p:cNvSpPr/>
          <p:nvPr/>
        </p:nvSpPr>
        <p:spPr bwMode="auto">
          <a:xfrm>
            <a:off x="4367262" y="1601788"/>
            <a:ext cx="7824738" cy="4564060"/>
          </a:xfrm>
          <a:prstGeom prst="corner">
            <a:avLst>
              <a:gd name="adj1" fmla="val 35487"/>
              <a:gd name="adj2" fmla="val 32594"/>
            </a:avLst>
          </a:prstGeom>
          <a:solidFill>
            <a:schemeClr val="bg2">
              <a:alpha val="4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Tree>
    <p:extLst>
      <p:ext uri="{BB962C8B-B14F-4D97-AF65-F5344CB8AC3E}">
        <p14:creationId xmlns:p14="http://schemas.microsoft.com/office/powerpoint/2010/main" val="209724048"/>
      </p:ext>
    </p:extLst>
  </p:cSld>
  <p:clrMapOvr>
    <a:overrideClrMapping bg1="lt1" tx1="dk1" bg2="lt2" tx2="dk2" accent1="accent1" accent2="accent2" accent3="accent3" accent4="accent4" accent5="accent5" accent6="accent6" hlink="hlink" folHlink="folHlink"/>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Key Point">
    <p:spTree>
      <p:nvGrpSpPr>
        <p:cNvPr id="1" name=""/>
        <p:cNvGrpSpPr/>
        <p:nvPr/>
      </p:nvGrpSpPr>
      <p:grpSpPr>
        <a:xfrm>
          <a:off x="0" y="0"/>
          <a:ext cx="0" cy="0"/>
          <a:chOff x="0" y="0"/>
          <a:chExt cx="0" cy="0"/>
        </a:xfrm>
      </p:grpSpPr>
      <p:sp>
        <p:nvSpPr>
          <p:cNvPr id="9"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 Placeholder 3"/>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5"/>
          <p:cNvSpPr>
            <a:spLocks noGrp="1"/>
          </p:cNvSpPr>
          <p:nvPr>
            <p:ph type="body" sz="quarter" idx="23"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12" name="Text Placeholder 11"/>
          <p:cNvSpPr>
            <a:spLocks noGrp="1"/>
          </p:cNvSpPr>
          <p:nvPr>
            <p:ph type="body" sz="quarter" idx="24"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
        <p:nvSpPr>
          <p:cNvPr id="7" name="Rechteck 8"/>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273379890"/>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Key Point with Background">
    <p:bg>
      <p:bgRef idx="1001">
        <a:schemeClr val="bg1"/>
      </p:bgRef>
    </p:bg>
    <p:spTree>
      <p:nvGrpSpPr>
        <p:cNvPr id="1" name=""/>
        <p:cNvGrpSpPr/>
        <p:nvPr/>
      </p:nvGrpSpPr>
      <p:grpSpPr>
        <a:xfrm>
          <a:off x="0" y="0"/>
          <a:ext cx="0" cy="0"/>
          <a:chOff x="0" y="0"/>
          <a:chExt cx="0" cy="0"/>
        </a:xfrm>
      </p:grpSpPr>
      <p:sp>
        <p:nvSpPr>
          <p:cNvPr id="10"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Titel 1"/>
          <p:cNvSpPr>
            <a:spLocks noGrp="1"/>
          </p:cNvSpPr>
          <p:nvPr>
            <p:ph type="title" hasCustomPrompt="1"/>
          </p:nvPr>
        </p:nvSpPr>
        <p:spPr bwMode="gray">
          <a:xfrm>
            <a:off x="398769" y="660011"/>
            <a:ext cx="9459692" cy="607190"/>
          </a:xfrm>
        </p:spPr>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 name="Text Placeholder 2"/>
          <p:cNvSpPr>
            <a:spLocks noGrp="1"/>
          </p:cNvSpPr>
          <p:nvPr>
            <p:ph type="body" sz="quarter" idx="30"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5" name="Text Placeholder 4"/>
          <p:cNvSpPr>
            <a:spLocks noGrp="1"/>
          </p:cNvSpPr>
          <p:nvPr>
            <p:ph type="body" sz="quarter" idx="31"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
        <p:nvSpPr>
          <p:cNvPr id="7" name="Text Placeholder 7"/>
          <p:cNvSpPr>
            <a:spLocks noGrp="1"/>
          </p:cNvSpPr>
          <p:nvPr>
            <p:ph type="body" sz="quarter" idx="32"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1" name="Textfeld 10"/>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Bildplatzhalter 7"/>
          <p:cNvSpPr>
            <a:spLocks noGrp="1"/>
          </p:cNvSpPr>
          <p:nvPr>
            <p:ph type="pic" sz="quarter" idx="33"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
        <p:nvSpPr>
          <p:cNvPr id="13" name="Rechteck 9"/>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Textfeld 10"/>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Tree>
    <p:extLst>
      <p:ext uri="{BB962C8B-B14F-4D97-AF65-F5344CB8AC3E}">
        <p14:creationId xmlns:p14="http://schemas.microsoft.com/office/powerpoint/2010/main" val="3200049751"/>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Vergelijking 3 kolomm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6"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5" name="Text Placeholder 4"/>
          <p:cNvSpPr>
            <a:spLocks noGrp="1"/>
          </p:cNvSpPr>
          <p:nvPr>
            <p:ph type="body" sz="quarter" idx="3" hasCustomPrompt="1"/>
          </p:nvPr>
        </p:nvSpPr>
        <p:spPr>
          <a:xfrm>
            <a:off x="4262967"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7"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Content Placeholder 2">
            <a:extLst>
              <a:ext uri="{FF2B5EF4-FFF2-40B4-BE49-F238E27FC236}">
                <a16:creationId xmlns:a16="http://schemas.microsoft.com/office/drawing/2014/main" id="{82C224E4-9138-4446-990E-F54482F43A60}"/>
              </a:ext>
            </a:extLst>
          </p:cNvPr>
          <p:cNvSpPr>
            <a:spLocks noGrp="1"/>
          </p:cNvSpPr>
          <p:nvPr>
            <p:ph sz="half" idx="14" hasCustomPrompt="1"/>
          </p:nvPr>
        </p:nvSpPr>
        <p:spPr>
          <a:xfrm>
            <a:off x="4262967"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3" name="Text Placeholder 4">
            <a:extLst>
              <a:ext uri="{FF2B5EF4-FFF2-40B4-BE49-F238E27FC236}">
                <a16:creationId xmlns:a16="http://schemas.microsoft.com/office/drawing/2014/main" id="{6B2A8C24-0E4C-4689-989D-648E3F58703E}"/>
              </a:ext>
            </a:extLst>
          </p:cNvPr>
          <p:cNvSpPr>
            <a:spLocks noGrp="1"/>
          </p:cNvSpPr>
          <p:nvPr>
            <p:ph type="body" sz="quarter" idx="15" hasCustomPrompt="1"/>
          </p:nvPr>
        </p:nvSpPr>
        <p:spPr>
          <a:xfrm>
            <a:off x="8022169"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4" name="Content Placeholder 2">
            <a:extLst>
              <a:ext uri="{FF2B5EF4-FFF2-40B4-BE49-F238E27FC236}">
                <a16:creationId xmlns:a16="http://schemas.microsoft.com/office/drawing/2014/main" id="{48680CF5-6AD8-43BA-B60A-A38D63ED5002}"/>
              </a:ext>
            </a:extLst>
          </p:cNvPr>
          <p:cNvSpPr>
            <a:spLocks noGrp="1"/>
          </p:cNvSpPr>
          <p:nvPr>
            <p:ph sz="half" idx="16" hasCustomPrompt="1"/>
          </p:nvPr>
        </p:nvSpPr>
        <p:spPr>
          <a:xfrm>
            <a:off x="8022168"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47B36F30-D1B2-4D77-99BE-1CCEBDA96C4C}"/>
              </a:ext>
            </a:extLst>
          </p:cNvPr>
          <p:cNvSpPr>
            <a:spLocks noGrp="1"/>
          </p:cNvSpPr>
          <p:nvPr>
            <p:ph type="title"/>
          </p:nvPr>
        </p:nvSpPr>
        <p:spPr/>
        <p:txBody>
          <a:bodyPr/>
          <a:lstStyle/>
          <a:p>
            <a:r>
              <a:rPr lang="nl-NL" smtClean="0"/>
              <a:t>Klik om de stijl te bewerken</a:t>
            </a:r>
            <a:endParaRPr lang="nl-NL"/>
          </a:p>
        </p:txBody>
      </p:sp>
      <p:sp>
        <p:nvSpPr>
          <p:cNvPr id="15" name="Tijdelijke aanduiding voor tekst 7">
            <a:extLst>
              <a:ext uri="{FF2B5EF4-FFF2-40B4-BE49-F238E27FC236}">
                <a16:creationId xmlns:a16="http://schemas.microsoft.com/office/drawing/2014/main" id="{6B470301-8CB6-4E3F-B036-C2D35EC678AA}"/>
              </a:ext>
            </a:extLst>
          </p:cNvPr>
          <p:cNvSpPr>
            <a:spLocks noGrp="1"/>
          </p:cNvSpPr>
          <p:nvPr>
            <p:ph type="body" sz="quarter" idx="17"/>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6" name="Tijdelijke aanduiding voor tekst 2">
            <a:extLst>
              <a:ext uri="{FF2B5EF4-FFF2-40B4-BE49-F238E27FC236}">
                <a16:creationId xmlns:a16="http://schemas.microsoft.com/office/drawing/2014/main" id="{160C30E4-E76D-4B59-833C-6F9B014ABA67}"/>
              </a:ext>
            </a:extLst>
          </p:cNvPr>
          <p:cNvSpPr>
            <a:spLocks noGrp="1"/>
          </p:cNvSpPr>
          <p:nvPr>
            <p:ph type="body" sz="quarter" idx="18"/>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65920233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p:cSld name="Breaking Slide">
    <p:bg>
      <p:bgRef idx="1001">
        <a:schemeClr val="bg1"/>
      </p:bgRef>
    </p:bg>
    <p:spTree>
      <p:nvGrpSpPr>
        <p:cNvPr id="1" name=""/>
        <p:cNvGrpSpPr/>
        <p:nvPr/>
      </p:nvGrpSpPr>
      <p:grpSpPr>
        <a:xfrm>
          <a:off x="0" y="0"/>
          <a:ext cx="0" cy="0"/>
          <a:chOff x="0" y="0"/>
          <a:chExt cx="0" cy="0"/>
        </a:xfrm>
      </p:grpSpPr>
      <p:sp>
        <p:nvSpPr>
          <p:cNvPr id="43" name="Freeform 614"/>
          <p:cNvSpPr>
            <a:spLocks noEditPoints="1"/>
          </p:cNvSpPr>
          <p:nvPr/>
        </p:nvSpPr>
        <p:spPr bwMode="gray">
          <a:xfrm>
            <a:off x="2344617" y="2306638"/>
            <a:ext cx="7502769" cy="2251913"/>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
        <p:nvSpPr>
          <p:cNvPr id="3" name="Freeform 614"/>
          <p:cNvSpPr>
            <a:spLocks noEditPoints="1"/>
          </p:cNvSpPr>
          <p:nvPr/>
        </p:nvSpPr>
        <p:spPr bwMode="gray">
          <a:xfrm>
            <a:off x="2344617" y="2306638"/>
            <a:ext cx="7502769" cy="2251913"/>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2559320616"/>
      </p:ext>
    </p:extLst>
  </p:cSld>
  <p:clrMapOvr>
    <a:overrideClrMapping bg1="lt1" tx1="dk1" bg2="lt2" tx2="dk2" accent1="accent1" accent2="accent2" accent3="accent3" accent4="accent4" accent5="accent5" accent6="accent6" hlink="hlink" folHlink="folHlink"/>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Closing page">
    <p:spTree>
      <p:nvGrpSpPr>
        <p:cNvPr id="1" name=""/>
        <p:cNvGrpSpPr/>
        <p:nvPr/>
      </p:nvGrpSpPr>
      <p:grpSpPr>
        <a:xfrm>
          <a:off x="0" y="0"/>
          <a:ext cx="0" cy="0"/>
          <a:chOff x="0" y="0"/>
          <a:chExt cx="0" cy="0"/>
        </a:xfrm>
      </p:grpSpPr>
      <p:sp>
        <p:nvSpPr>
          <p:cNvPr id="7" name="Rechteck 6"/>
          <p:cNvSpPr/>
          <p:nvPr/>
        </p:nvSpPr>
        <p:spPr bwMode="gray">
          <a:xfrm>
            <a:off x="1008184" y="3507366"/>
            <a:ext cx="11183817" cy="198946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Freeform 614"/>
          <p:cNvSpPr>
            <a:spLocks noEditPoints="1"/>
          </p:cNvSpPr>
          <p:nvPr/>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
        <p:nvSpPr>
          <p:cNvPr id="6" name="Rechteck 5"/>
          <p:cNvSpPr/>
          <p:nvPr/>
        </p:nvSpPr>
        <p:spPr bwMode="gray">
          <a:xfrm>
            <a:off x="0" y="2174214"/>
            <a:ext cx="6432522" cy="1333155"/>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Rectangle 1"/>
          <p:cNvSpPr/>
          <p:nvPr/>
        </p:nvSpPr>
        <p:spPr bwMode="gray">
          <a:xfrm>
            <a:off x="1376436" y="2642712"/>
            <a:ext cx="7232749" cy="1723549"/>
          </a:xfrm>
          <a:prstGeom prst="rect">
            <a:avLst/>
          </a:prstGeom>
        </p:spPr>
        <p:txBody>
          <a:bodyPr wrap="none" lIns="0" tIns="0" rIns="0" bIns="0" anchor="ctr" anchorCtr="0">
            <a:spAutoFit/>
          </a:bodyPr>
          <a:lstStyle/>
          <a:p>
            <a:r>
              <a:rPr lang="en-GB" sz="5800" b="1" noProof="0" dirty="0">
                <a:solidFill>
                  <a:schemeClr val="tx2"/>
                </a:solidFill>
              </a:rPr>
              <a:t>Active is:</a:t>
            </a:r>
            <a:r>
              <a:rPr lang="en-GB" sz="5800" b="1" noProof="0" dirty="0">
                <a:solidFill>
                  <a:schemeClr val="bg1"/>
                </a:solidFill>
              </a:rPr>
              <a:t> </a:t>
            </a:r>
          </a:p>
          <a:p>
            <a:r>
              <a:rPr lang="en-GB" sz="5400" noProof="0" dirty="0">
                <a:solidFill>
                  <a:srgbClr val="326295"/>
                </a:solidFill>
              </a:rPr>
              <a:t>Allianz Global Investors</a:t>
            </a:r>
          </a:p>
        </p:txBody>
      </p:sp>
      <p:sp>
        <p:nvSpPr>
          <p:cNvPr id="9" name="Rechteck 6"/>
          <p:cNvSpPr/>
          <p:nvPr/>
        </p:nvSpPr>
        <p:spPr bwMode="gray">
          <a:xfrm>
            <a:off x="1008184" y="3507366"/>
            <a:ext cx="11183817" cy="198946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 name="Freeform 614"/>
          <p:cNvSpPr>
            <a:spLocks noEditPoints="1"/>
          </p:cNvSpPr>
          <p:nvPr/>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
        <p:nvSpPr>
          <p:cNvPr id="11" name="Rechteck 5"/>
          <p:cNvSpPr/>
          <p:nvPr/>
        </p:nvSpPr>
        <p:spPr bwMode="gray">
          <a:xfrm>
            <a:off x="0" y="2174214"/>
            <a:ext cx="6432522" cy="1333155"/>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Rectangle 1"/>
          <p:cNvSpPr/>
          <p:nvPr/>
        </p:nvSpPr>
        <p:spPr bwMode="gray">
          <a:xfrm>
            <a:off x="1376436" y="2642712"/>
            <a:ext cx="7232749" cy="1723549"/>
          </a:xfrm>
          <a:prstGeom prst="rect">
            <a:avLst/>
          </a:prstGeom>
        </p:spPr>
        <p:txBody>
          <a:bodyPr wrap="none" lIns="0" tIns="0" rIns="0" bIns="0" anchor="ctr" anchorCtr="0">
            <a:spAutoFit/>
          </a:bodyPr>
          <a:lstStyle/>
          <a:p>
            <a:r>
              <a:rPr lang="en-GB" sz="5800" b="1" noProof="0" dirty="0">
                <a:solidFill>
                  <a:schemeClr val="tx2"/>
                </a:solidFill>
              </a:rPr>
              <a:t>Active is:</a:t>
            </a:r>
            <a:r>
              <a:rPr lang="en-GB" sz="5800" b="1" noProof="0" dirty="0">
                <a:solidFill>
                  <a:schemeClr val="bg1"/>
                </a:solidFill>
              </a:rPr>
              <a:t> </a:t>
            </a:r>
          </a:p>
          <a:p>
            <a:r>
              <a:rPr lang="en-GB" sz="5400" noProof="0" dirty="0">
                <a:solidFill>
                  <a:srgbClr val="326295"/>
                </a:solidFill>
              </a:rPr>
              <a:t>Allianz Global Investors</a:t>
            </a:r>
          </a:p>
        </p:txBody>
      </p:sp>
    </p:spTree>
    <p:extLst>
      <p:ext uri="{BB962C8B-B14F-4D97-AF65-F5344CB8AC3E}">
        <p14:creationId xmlns:p14="http://schemas.microsoft.com/office/powerpoint/2010/main" val="37748978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Color Palette">
    <p:spTree>
      <p:nvGrpSpPr>
        <p:cNvPr id="1" name=""/>
        <p:cNvGrpSpPr/>
        <p:nvPr/>
      </p:nvGrpSpPr>
      <p:grpSpPr>
        <a:xfrm>
          <a:off x="0" y="0"/>
          <a:ext cx="0" cy="0"/>
          <a:chOff x="0" y="0"/>
          <a:chExt cx="0" cy="0"/>
        </a:xfrm>
      </p:grpSpPr>
      <p:sp>
        <p:nvSpPr>
          <p:cNvPr id="4" name="Rechteck 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charset="0"/>
            </a:endParaRPr>
          </a:p>
        </p:txBody>
      </p:sp>
      <p:sp>
        <p:nvSpPr>
          <p:cNvPr id="242" name="Rechteck 241"/>
          <p:cNvSpPr/>
          <p:nvPr/>
        </p:nvSpPr>
        <p:spPr bwMode="gray">
          <a:xfrm>
            <a:off x="1873783" y="1587600"/>
            <a:ext cx="292431" cy="4860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a:spcBef>
                <a:spcPct val="50000"/>
              </a:spcBef>
              <a:spcAft>
                <a:spcPct val="25000"/>
              </a:spcAft>
              <a:tabLst/>
            </a:pPr>
            <a:endParaRPr kumimoji="0" lang="en-US" sz="2400" b="0" i="0" u="none" strike="noStrike" kern="1200" cap="none" normalizeH="0" noProof="0" dirty="0">
              <a:ln>
                <a:noFill/>
              </a:ln>
              <a:solidFill>
                <a:schemeClr val="bg1"/>
              </a:solidFill>
              <a:effectLst/>
            </a:endParaRPr>
          </a:p>
        </p:txBody>
      </p:sp>
      <p:sp>
        <p:nvSpPr>
          <p:cNvPr id="132" name="Textfeld 131"/>
          <p:cNvSpPr txBox="1"/>
          <p:nvPr/>
        </p:nvSpPr>
        <p:spPr bwMode="gray">
          <a:xfrm>
            <a:off x="691201" y="1587600"/>
            <a:ext cx="982139"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Allianz</a:t>
            </a:r>
            <a:r>
              <a:rPr lang="en-US" sz="700" b="1" baseline="0" noProof="0" dirty="0">
                <a:solidFill>
                  <a:sysClr val="windowText" lastClr="000000"/>
                </a:solidFill>
                <a:latin typeface="Arial" panose="020B0604020202020204" pitchFamily="34" charset="0"/>
                <a:ea typeface="Allianz Sans" pitchFamily="50" charset="0"/>
              </a:rPr>
              <a:t>GI </a:t>
            </a:r>
            <a:r>
              <a:rPr lang="en-US" sz="700" b="1" noProof="0" dirty="0">
                <a:solidFill>
                  <a:sysClr val="windowText" lastClr="000000"/>
                </a:solidFill>
                <a:latin typeface="Arial" panose="020B0604020202020204" pitchFamily="34" charset="0"/>
                <a:ea typeface="Allianz Sans" pitchFamily="50" charset="0"/>
              </a:rPr>
              <a:t>Blue</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0 / 55 / 129</a:t>
            </a:r>
          </a:p>
        </p:txBody>
      </p:sp>
      <p:sp>
        <p:nvSpPr>
          <p:cNvPr id="3" name="Rechteck 2"/>
          <p:cNvSpPr/>
          <p:nvPr/>
        </p:nvSpPr>
        <p:spPr bwMode="gray">
          <a:xfrm>
            <a:off x="9366548" y="2525382"/>
            <a:ext cx="2414700" cy="579768"/>
          </a:xfrm>
          <a:prstGeom prst="rect">
            <a:avLst/>
          </a:prstGeom>
          <a:solidFill>
            <a:srgbClr val="FDDFD5"/>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400" b="0" i="0" u="none" strike="noStrike" cap="none" normalizeH="0" baseline="0" noProof="0" dirty="0">
              <a:ln>
                <a:noFill/>
              </a:ln>
              <a:solidFill>
                <a:schemeClr val="tx1"/>
              </a:solidFill>
              <a:effectLst/>
              <a:latin typeface="Arial" panose="020B0604020202020204" pitchFamily="34" charset="0"/>
            </a:endParaRPr>
          </a:p>
        </p:txBody>
      </p:sp>
      <p:sp>
        <p:nvSpPr>
          <p:cNvPr id="6" name="Textfeld 5"/>
          <p:cNvSpPr txBox="1"/>
          <p:nvPr/>
        </p:nvSpPr>
        <p:spPr bwMode="gray">
          <a:xfrm>
            <a:off x="9445634" y="1588644"/>
            <a:ext cx="2320713" cy="1922462"/>
          </a:xfrm>
          <a:prstGeom prst="rect">
            <a:avLst/>
          </a:prstGeom>
          <a:noFill/>
        </p:spPr>
        <p:txBody>
          <a:bodyPr wrap="square" lIns="0" tIns="0" rIns="0" bIns="0" rtlCol="0">
            <a:noAutofit/>
          </a:bodyPr>
          <a:lstStyle/>
          <a:p>
            <a:r>
              <a:rPr lang="en-US" sz="800" kern="1200" baseline="0" noProof="0" dirty="0">
                <a:solidFill>
                  <a:srgbClr val="DD0031"/>
                </a:solidFill>
                <a:latin typeface="Arial" panose="020B0604020202020204" pitchFamily="34" charset="0"/>
                <a:ea typeface="Allianz Sans" pitchFamily="50" charset="0"/>
                <a:cs typeface="+mn-cs"/>
              </a:rPr>
              <a:t>Headlines must always have the full tone; for boxes, tables and graphics all shades of colors can be used (see AllianzGI color guidelines for WCAG standards)</a:t>
            </a: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For color usage in tables and graphics different shades of colors can be used.</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b="1" i="0" kern="1200" baseline="0" noProof="0" dirty="0">
                <a:solidFill>
                  <a:schemeClr val="tx2"/>
                </a:solidFill>
                <a:latin typeface="Arial" panose="020B0604020202020204" pitchFamily="34" charset="0"/>
                <a:ea typeface="Allianz Sans" pitchFamily="50" charset="0"/>
                <a:cs typeface="+mn-cs"/>
              </a:rPr>
              <a:t>Note</a:t>
            </a: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Please do not use this slide in your presentation. See color recommendation for use in the guidelines</a:t>
            </a:r>
          </a:p>
        </p:txBody>
      </p:sp>
      <p:sp>
        <p:nvSpPr>
          <p:cNvPr id="7" name="Textfeld 6"/>
          <p:cNvSpPr txBox="1"/>
          <p:nvPr/>
        </p:nvSpPr>
        <p:spPr bwMode="gray">
          <a:xfrm>
            <a:off x="398770" y="1299133"/>
            <a:ext cx="1138773"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Primary colors</a:t>
            </a:r>
          </a:p>
        </p:txBody>
      </p:sp>
      <p:sp>
        <p:nvSpPr>
          <p:cNvPr id="8" name="Textfeld 7"/>
          <p:cNvSpPr txBox="1"/>
          <p:nvPr/>
        </p:nvSpPr>
        <p:spPr bwMode="gray">
          <a:xfrm>
            <a:off x="398771" y="3373204"/>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Richer/muted</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21" name="Textfeld 20"/>
          <p:cNvSpPr txBox="1"/>
          <p:nvPr/>
        </p:nvSpPr>
        <p:spPr bwMode="gray">
          <a:xfrm>
            <a:off x="2177562"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hit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55 / 255 / 255</a:t>
            </a:r>
          </a:p>
        </p:txBody>
      </p:sp>
      <p:sp>
        <p:nvSpPr>
          <p:cNvPr id="22" name="Textfeld 21"/>
          <p:cNvSpPr txBox="1"/>
          <p:nvPr/>
        </p:nvSpPr>
        <p:spPr bwMode="gray">
          <a:xfrm>
            <a:off x="5068801"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Red</a:t>
            </a:r>
            <a:br>
              <a:rPr lang="en-US" sz="700" b="1" baseline="0"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21 / 0 / 49</a:t>
            </a:r>
          </a:p>
        </p:txBody>
      </p:sp>
      <p:sp>
        <p:nvSpPr>
          <p:cNvPr id="23" name="Textfeld 22"/>
          <p:cNvSpPr txBox="1"/>
          <p:nvPr/>
        </p:nvSpPr>
        <p:spPr bwMode="gray">
          <a:xfrm>
            <a:off x="21710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utterscotch</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08 / 130 / 47</a:t>
            </a:r>
          </a:p>
        </p:txBody>
      </p:sp>
      <p:sp>
        <p:nvSpPr>
          <p:cNvPr id="24" name="Textfeld 23"/>
          <p:cNvSpPr txBox="1"/>
          <p:nvPr/>
        </p:nvSpPr>
        <p:spPr bwMode="gray">
          <a:xfrm>
            <a:off x="3659814"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err="1">
                <a:solidFill>
                  <a:sysClr val="windowText" lastClr="000000"/>
                </a:solidFill>
                <a:latin typeface="Arial" panose="020B0604020202020204" pitchFamily="34" charset="0"/>
                <a:ea typeface="Allianz Sans" pitchFamily="50" charset="0"/>
              </a:rPr>
              <a:t>Maro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58 / 83 / 48</a:t>
            </a:r>
          </a:p>
        </p:txBody>
      </p:sp>
      <p:sp>
        <p:nvSpPr>
          <p:cNvPr id="25" name="Textfeld 24"/>
          <p:cNvSpPr txBox="1"/>
          <p:nvPr/>
        </p:nvSpPr>
        <p:spPr bwMode="gray">
          <a:xfrm>
            <a:off x="5121968"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ine</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50 / 70 / 97</a:t>
            </a:r>
            <a:endParaRPr lang="en-US" sz="700" noProof="0" dirty="0">
              <a:solidFill>
                <a:sysClr val="windowText" lastClr="000000"/>
              </a:solidFill>
              <a:latin typeface="Arial" panose="020B0604020202020204" pitchFamily="34" charset="0"/>
              <a:ea typeface="Allianz Sans" pitchFamily="50" charset="0"/>
            </a:endParaRPr>
          </a:p>
        </p:txBody>
      </p:sp>
      <p:sp>
        <p:nvSpPr>
          <p:cNvPr id="26" name="Textfeld 25"/>
          <p:cNvSpPr txBox="1"/>
          <p:nvPr/>
        </p:nvSpPr>
        <p:spPr bwMode="gray">
          <a:xfrm>
            <a:off x="65486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lum</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26 / 84 / 117</a:t>
            </a:r>
          </a:p>
        </p:txBody>
      </p:sp>
      <p:sp>
        <p:nvSpPr>
          <p:cNvPr id="27" name="Textfeld 26"/>
          <p:cNvSpPr txBox="1"/>
          <p:nvPr/>
        </p:nvSpPr>
        <p:spPr bwMode="gray">
          <a:xfrm>
            <a:off x="7997537"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etro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a:t>
            </a:r>
            <a:r>
              <a:rPr lang="en-US" sz="700" baseline="0" noProof="0" dirty="0">
                <a:solidFill>
                  <a:sysClr val="windowText" lastClr="000000"/>
                </a:solidFill>
                <a:latin typeface="Arial" panose="020B0604020202020204" pitchFamily="34" charset="0"/>
                <a:ea typeface="Allianz Sans" pitchFamily="50" charset="0"/>
              </a:rPr>
              <a:t> / 115 / 150</a:t>
            </a:r>
            <a:endParaRPr lang="en-US" sz="700" noProof="0" dirty="0">
              <a:solidFill>
                <a:sysClr val="windowText" lastClr="000000"/>
              </a:solidFill>
              <a:latin typeface="Arial" panose="020B0604020202020204" pitchFamily="34" charset="0"/>
              <a:ea typeface="Allianz Sans" pitchFamily="50" charset="0"/>
            </a:endParaRPr>
          </a:p>
        </p:txBody>
      </p:sp>
      <p:sp>
        <p:nvSpPr>
          <p:cNvPr id="28" name="Textfeld 27"/>
          <p:cNvSpPr txBox="1"/>
          <p:nvPr/>
        </p:nvSpPr>
        <p:spPr bwMode="gray">
          <a:xfrm>
            <a:off x="9468553"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ce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42 / 91 / 108</a:t>
            </a:r>
          </a:p>
        </p:txBody>
      </p:sp>
      <p:sp>
        <p:nvSpPr>
          <p:cNvPr id="29" name="Textfeld 28"/>
          <p:cNvSpPr txBox="1"/>
          <p:nvPr/>
        </p:nvSpPr>
        <p:spPr bwMode="gray">
          <a:xfrm>
            <a:off x="10921845"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Dark Gree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39 / 93 / 56</a:t>
            </a:r>
          </a:p>
        </p:txBody>
      </p:sp>
      <p:sp>
        <p:nvSpPr>
          <p:cNvPr id="39" name="Textfeld 38"/>
          <p:cNvSpPr txBox="1"/>
          <p:nvPr/>
        </p:nvSpPr>
        <p:spPr bwMode="gray">
          <a:xfrm>
            <a:off x="21710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Yellow</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47 / 169 / 25</a:t>
            </a:r>
          </a:p>
        </p:txBody>
      </p:sp>
      <p:sp>
        <p:nvSpPr>
          <p:cNvPr id="40" name="Textfeld 39"/>
          <p:cNvSpPr txBox="1"/>
          <p:nvPr/>
        </p:nvSpPr>
        <p:spPr bwMode="gray">
          <a:xfrm>
            <a:off x="3659814"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rang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32 / 97 / 12</a:t>
            </a:r>
          </a:p>
        </p:txBody>
      </p:sp>
      <p:sp>
        <p:nvSpPr>
          <p:cNvPr id="41" name="Textfeld 40"/>
          <p:cNvSpPr txBox="1"/>
          <p:nvPr/>
        </p:nvSpPr>
        <p:spPr bwMode="gray">
          <a:xfrm>
            <a:off x="5121968"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erry</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34 / 31 / 65</a:t>
            </a:r>
            <a:endParaRPr lang="en-US" sz="700" noProof="0" dirty="0">
              <a:solidFill>
                <a:sysClr val="windowText" lastClr="000000"/>
              </a:solidFill>
              <a:latin typeface="Arial" panose="020B0604020202020204" pitchFamily="34" charset="0"/>
              <a:ea typeface="Allianz Sans" pitchFamily="50" charset="0"/>
            </a:endParaRPr>
          </a:p>
        </p:txBody>
      </p:sp>
      <p:sp>
        <p:nvSpPr>
          <p:cNvPr id="42" name="Textfeld 41"/>
          <p:cNvSpPr txBox="1"/>
          <p:nvPr/>
        </p:nvSpPr>
        <p:spPr bwMode="gray">
          <a:xfrm>
            <a:off x="65486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urpl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6 / 42 / 91</a:t>
            </a:r>
          </a:p>
        </p:txBody>
      </p:sp>
      <p:sp>
        <p:nvSpPr>
          <p:cNvPr id="43" name="Textfeld 42"/>
          <p:cNvSpPr txBox="1"/>
          <p:nvPr/>
        </p:nvSpPr>
        <p:spPr bwMode="gray">
          <a:xfrm>
            <a:off x="7997537"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Cy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47 /</a:t>
            </a:r>
            <a:r>
              <a:rPr lang="en-US" sz="700" baseline="0" noProof="0" dirty="0">
                <a:solidFill>
                  <a:sysClr val="windowText" lastClr="000000"/>
                </a:solidFill>
                <a:latin typeface="Arial" panose="020B0604020202020204" pitchFamily="34" charset="0"/>
                <a:ea typeface="Allianz Sans" pitchFamily="50" charset="0"/>
              </a:rPr>
              <a:t> 178</a:t>
            </a:r>
            <a:endParaRPr lang="en-US" sz="700" noProof="0" dirty="0">
              <a:solidFill>
                <a:sysClr val="windowText" lastClr="000000"/>
              </a:solidFill>
              <a:latin typeface="Arial" panose="020B0604020202020204" pitchFamily="34" charset="0"/>
              <a:ea typeface="Allianz Sans" pitchFamily="50" charset="0"/>
            </a:endParaRPr>
          </a:p>
        </p:txBody>
      </p:sp>
      <p:sp>
        <p:nvSpPr>
          <p:cNvPr id="44" name="Textfeld 43"/>
          <p:cNvSpPr txBox="1"/>
          <p:nvPr/>
        </p:nvSpPr>
        <p:spPr bwMode="gray">
          <a:xfrm>
            <a:off x="9468553"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Stee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7 / 143 / 156</a:t>
            </a:r>
          </a:p>
        </p:txBody>
      </p:sp>
      <p:sp>
        <p:nvSpPr>
          <p:cNvPr id="45" name="Textfeld 44"/>
          <p:cNvSpPr txBox="1"/>
          <p:nvPr/>
        </p:nvSpPr>
        <p:spPr bwMode="gray">
          <a:xfrm>
            <a:off x="10921845"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a:t>
            </a:r>
            <a:r>
              <a:rPr lang="en-US" sz="700" b="1" baseline="0" noProof="0" dirty="0">
                <a:solidFill>
                  <a:sysClr val="windowText" lastClr="000000"/>
                </a:solidFill>
                <a:latin typeface="Arial" panose="020B0604020202020204" pitchFamily="34" charset="0"/>
                <a:ea typeface="Allianz Sans" pitchFamily="50" charset="0"/>
              </a:rPr>
              <a:t> Gree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22 / 51</a:t>
            </a:r>
          </a:p>
        </p:txBody>
      </p:sp>
      <p:sp>
        <p:nvSpPr>
          <p:cNvPr id="53" name="Textfeld 48"/>
          <p:cNvSpPr txBox="1"/>
          <p:nvPr/>
        </p:nvSpPr>
        <p:spPr bwMode="gray">
          <a:xfrm>
            <a:off x="21710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2 / 168 / 109</a:t>
            </a:r>
          </a:p>
        </p:txBody>
      </p:sp>
      <p:sp>
        <p:nvSpPr>
          <p:cNvPr id="54" name="Textfeld 49"/>
          <p:cNvSpPr txBox="1"/>
          <p:nvPr/>
        </p:nvSpPr>
        <p:spPr bwMode="gray">
          <a:xfrm>
            <a:off x="3659814"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7 / 135 / 110</a:t>
            </a:r>
          </a:p>
        </p:txBody>
      </p:sp>
      <p:sp>
        <p:nvSpPr>
          <p:cNvPr id="55" name="Textfeld 50"/>
          <p:cNvSpPr txBox="1"/>
          <p:nvPr/>
        </p:nvSpPr>
        <p:spPr bwMode="gray">
          <a:xfrm>
            <a:off x="5121968"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81 / 125 / 144</a:t>
            </a:r>
            <a:endParaRPr lang="en-US" sz="700" noProof="0" dirty="0">
              <a:solidFill>
                <a:schemeClr val="tx1"/>
              </a:solidFill>
              <a:latin typeface="Arial" panose="020B0604020202020204" pitchFamily="34" charset="0"/>
              <a:ea typeface="Allianz Sans" pitchFamily="50" charset="0"/>
            </a:endParaRPr>
          </a:p>
        </p:txBody>
      </p:sp>
      <p:sp>
        <p:nvSpPr>
          <p:cNvPr id="56" name="Textfeld 51"/>
          <p:cNvSpPr txBox="1"/>
          <p:nvPr/>
        </p:nvSpPr>
        <p:spPr bwMode="gray">
          <a:xfrm>
            <a:off x="65486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65 / 135 / 158</a:t>
            </a:r>
          </a:p>
        </p:txBody>
      </p:sp>
      <p:sp>
        <p:nvSpPr>
          <p:cNvPr id="57" name="Textfeld 52"/>
          <p:cNvSpPr txBox="1"/>
          <p:nvPr/>
        </p:nvSpPr>
        <p:spPr bwMode="gray">
          <a:xfrm>
            <a:off x="7997537"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7 / 157 / 182</a:t>
            </a:r>
          </a:p>
        </p:txBody>
      </p:sp>
      <p:sp>
        <p:nvSpPr>
          <p:cNvPr id="58" name="Textfeld 53"/>
          <p:cNvSpPr txBox="1"/>
          <p:nvPr/>
        </p:nvSpPr>
        <p:spPr bwMode="gray">
          <a:xfrm>
            <a:off x="9468553"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6 / 140 /</a:t>
            </a:r>
            <a:r>
              <a:rPr lang="en-US" sz="700" baseline="0" noProof="0" dirty="0">
                <a:solidFill>
                  <a:schemeClr val="tx1"/>
                </a:solidFill>
                <a:latin typeface="Arial" panose="020B0604020202020204" pitchFamily="34" charset="0"/>
                <a:ea typeface="Allianz Sans" pitchFamily="50" charset="0"/>
              </a:rPr>
              <a:t> 152</a:t>
            </a:r>
            <a:endParaRPr lang="en-US" sz="700" noProof="0" dirty="0">
              <a:solidFill>
                <a:schemeClr val="tx1"/>
              </a:solidFill>
              <a:latin typeface="Arial" panose="020B0604020202020204" pitchFamily="34" charset="0"/>
              <a:ea typeface="Allianz Sans" pitchFamily="50" charset="0"/>
            </a:endParaRPr>
          </a:p>
        </p:txBody>
      </p:sp>
      <p:sp>
        <p:nvSpPr>
          <p:cNvPr id="59" name="Textfeld 54"/>
          <p:cNvSpPr txBox="1"/>
          <p:nvPr/>
        </p:nvSpPr>
        <p:spPr bwMode="gray">
          <a:xfrm>
            <a:off x="10921845"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4 / 142 / 116</a:t>
            </a:r>
          </a:p>
        </p:txBody>
      </p:sp>
      <p:sp>
        <p:nvSpPr>
          <p:cNvPr id="67" name="Textfeld 48"/>
          <p:cNvSpPr txBox="1"/>
          <p:nvPr/>
        </p:nvSpPr>
        <p:spPr bwMode="gray">
          <a:xfrm>
            <a:off x="21710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2 / 193 / 151</a:t>
            </a:r>
          </a:p>
        </p:txBody>
      </p:sp>
      <p:sp>
        <p:nvSpPr>
          <p:cNvPr id="68" name="Textfeld 49"/>
          <p:cNvSpPr txBox="1"/>
          <p:nvPr/>
        </p:nvSpPr>
        <p:spPr bwMode="gray">
          <a:xfrm>
            <a:off x="3659814"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6 / 169 / 151</a:t>
            </a:r>
          </a:p>
        </p:txBody>
      </p:sp>
      <p:sp>
        <p:nvSpPr>
          <p:cNvPr id="69" name="Textfeld 50"/>
          <p:cNvSpPr txBox="1"/>
          <p:nvPr/>
        </p:nvSpPr>
        <p:spPr bwMode="gray">
          <a:xfrm>
            <a:off x="5121968"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02 / 162 / 176</a:t>
            </a:r>
            <a:endParaRPr lang="en-US" sz="700" noProof="0" dirty="0">
              <a:solidFill>
                <a:schemeClr val="tx1"/>
              </a:solidFill>
              <a:latin typeface="Arial" panose="020B0604020202020204" pitchFamily="34" charset="0"/>
              <a:ea typeface="Allianz Sans" pitchFamily="50" charset="0"/>
            </a:endParaRPr>
          </a:p>
        </p:txBody>
      </p:sp>
      <p:sp>
        <p:nvSpPr>
          <p:cNvPr id="70" name="Textfeld 51"/>
          <p:cNvSpPr txBox="1"/>
          <p:nvPr/>
        </p:nvSpPr>
        <p:spPr bwMode="gray">
          <a:xfrm>
            <a:off x="65486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90 / 169 / 186</a:t>
            </a:r>
          </a:p>
        </p:txBody>
      </p:sp>
      <p:sp>
        <p:nvSpPr>
          <p:cNvPr id="71" name="Textfeld 52"/>
          <p:cNvSpPr txBox="1"/>
          <p:nvPr/>
        </p:nvSpPr>
        <p:spPr bwMode="gray">
          <a:xfrm>
            <a:off x="7997537"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5 / 203</a:t>
            </a:r>
          </a:p>
        </p:txBody>
      </p:sp>
      <p:sp>
        <p:nvSpPr>
          <p:cNvPr id="72" name="Textfeld 53"/>
          <p:cNvSpPr txBox="1"/>
          <p:nvPr/>
        </p:nvSpPr>
        <p:spPr bwMode="gray">
          <a:xfrm>
            <a:off x="9468553"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9 / 173 / 182</a:t>
            </a:r>
          </a:p>
        </p:txBody>
      </p:sp>
      <p:sp>
        <p:nvSpPr>
          <p:cNvPr id="73" name="Textfeld 54"/>
          <p:cNvSpPr txBox="1"/>
          <p:nvPr/>
        </p:nvSpPr>
        <p:spPr bwMode="gray">
          <a:xfrm>
            <a:off x="10921845"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7 / 174 / 156</a:t>
            </a:r>
          </a:p>
        </p:txBody>
      </p:sp>
      <p:sp>
        <p:nvSpPr>
          <p:cNvPr id="81" name="Textfeld 48"/>
          <p:cNvSpPr txBox="1"/>
          <p:nvPr/>
        </p:nvSpPr>
        <p:spPr bwMode="gray">
          <a:xfrm>
            <a:off x="21710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6 / 230 / 213</a:t>
            </a:r>
          </a:p>
        </p:txBody>
      </p:sp>
      <p:sp>
        <p:nvSpPr>
          <p:cNvPr id="82" name="Textfeld 49"/>
          <p:cNvSpPr txBox="1"/>
          <p:nvPr/>
        </p:nvSpPr>
        <p:spPr bwMode="gray">
          <a:xfrm>
            <a:off x="3659814"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6 / 221 / 214</a:t>
            </a:r>
          </a:p>
        </p:txBody>
      </p:sp>
      <p:sp>
        <p:nvSpPr>
          <p:cNvPr id="83" name="Textfeld 50"/>
          <p:cNvSpPr txBox="1"/>
          <p:nvPr/>
        </p:nvSpPr>
        <p:spPr bwMode="gray">
          <a:xfrm>
            <a:off x="5121968"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43 / 218 / 223</a:t>
            </a:r>
            <a:endParaRPr lang="en-US" sz="700" noProof="0" dirty="0">
              <a:solidFill>
                <a:schemeClr val="tx1"/>
              </a:solidFill>
              <a:latin typeface="Arial" panose="020B0604020202020204" pitchFamily="34" charset="0"/>
              <a:ea typeface="Allianz Sans" pitchFamily="50" charset="0"/>
            </a:endParaRPr>
          </a:p>
        </p:txBody>
      </p:sp>
      <p:sp>
        <p:nvSpPr>
          <p:cNvPr id="84" name="Textfeld 51"/>
          <p:cNvSpPr txBox="1"/>
          <p:nvPr/>
        </p:nvSpPr>
        <p:spPr bwMode="gray">
          <a:xfrm>
            <a:off x="65486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9 / 221 / 227</a:t>
            </a:r>
          </a:p>
        </p:txBody>
      </p:sp>
      <p:sp>
        <p:nvSpPr>
          <p:cNvPr id="85" name="Textfeld 52"/>
          <p:cNvSpPr txBox="1"/>
          <p:nvPr/>
        </p:nvSpPr>
        <p:spPr bwMode="gray">
          <a:xfrm>
            <a:off x="7997537"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7 / 234</a:t>
            </a:r>
          </a:p>
        </p:txBody>
      </p:sp>
      <p:sp>
        <p:nvSpPr>
          <p:cNvPr id="86" name="Textfeld 53"/>
          <p:cNvSpPr txBox="1"/>
          <p:nvPr/>
        </p:nvSpPr>
        <p:spPr bwMode="gray">
          <a:xfrm>
            <a:off x="9468553"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a:t>
            </a:r>
            <a:r>
              <a:rPr lang="en-US" sz="700" baseline="0" noProof="0" dirty="0">
                <a:solidFill>
                  <a:schemeClr val="tx1"/>
                </a:solidFill>
                <a:latin typeface="Arial" panose="020B0604020202020204" pitchFamily="34" charset="0"/>
                <a:ea typeface="Allianz Sans" pitchFamily="50" charset="0"/>
              </a:rPr>
              <a:t> / 222 / 226</a:t>
            </a:r>
            <a:endParaRPr lang="en-US" sz="700" noProof="0" dirty="0">
              <a:solidFill>
                <a:schemeClr val="tx1"/>
              </a:solidFill>
              <a:latin typeface="Arial" panose="020B0604020202020204" pitchFamily="34" charset="0"/>
              <a:ea typeface="Allianz Sans" pitchFamily="50" charset="0"/>
            </a:endParaRPr>
          </a:p>
        </p:txBody>
      </p:sp>
      <p:sp>
        <p:nvSpPr>
          <p:cNvPr id="87" name="Textfeld 54"/>
          <p:cNvSpPr txBox="1"/>
          <p:nvPr/>
        </p:nvSpPr>
        <p:spPr bwMode="gray">
          <a:xfrm>
            <a:off x="10921845"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 / 223 / 215</a:t>
            </a:r>
          </a:p>
        </p:txBody>
      </p:sp>
      <p:sp>
        <p:nvSpPr>
          <p:cNvPr id="95" name="Textfeld 48"/>
          <p:cNvSpPr txBox="1"/>
          <p:nvPr/>
        </p:nvSpPr>
        <p:spPr bwMode="gray">
          <a:xfrm>
            <a:off x="2171076"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9 / 195 / 94</a:t>
            </a:r>
          </a:p>
        </p:txBody>
      </p:sp>
      <p:sp>
        <p:nvSpPr>
          <p:cNvPr id="96" name="Textfeld 49"/>
          <p:cNvSpPr txBox="1"/>
          <p:nvPr/>
        </p:nvSpPr>
        <p:spPr bwMode="gray">
          <a:xfrm>
            <a:off x="3659814"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9 / 144 / 85</a:t>
            </a:r>
          </a:p>
        </p:txBody>
      </p:sp>
      <p:sp>
        <p:nvSpPr>
          <p:cNvPr id="97" name="Textfeld 50"/>
          <p:cNvSpPr txBox="1"/>
          <p:nvPr/>
        </p:nvSpPr>
        <p:spPr bwMode="gray">
          <a:xfrm>
            <a:off x="5121968"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70 / 98 / 122</a:t>
            </a:r>
            <a:endParaRPr lang="en-US" sz="700" noProof="0" dirty="0">
              <a:solidFill>
                <a:schemeClr val="tx1"/>
              </a:solidFill>
              <a:latin typeface="Arial" panose="020B0604020202020204" pitchFamily="34" charset="0"/>
              <a:ea typeface="Allianz Sans" pitchFamily="50" charset="0"/>
            </a:endParaRPr>
          </a:p>
        </p:txBody>
      </p:sp>
      <p:sp>
        <p:nvSpPr>
          <p:cNvPr id="98" name="Textfeld 51"/>
          <p:cNvSpPr txBox="1"/>
          <p:nvPr/>
        </p:nvSpPr>
        <p:spPr bwMode="gray">
          <a:xfrm>
            <a:off x="6548676"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06 / 140</a:t>
            </a:r>
          </a:p>
        </p:txBody>
      </p:sp>
      <p:sp>
        <p:nvSpPr>
          <p:cNvPr id="99" name="Textfeld 52"/>
          <p:cNvSpPr txBox="1"/>
          <p:nvPr/>
        </p:nvSpPr>
        <p:spPr bwMode="gray">
          <a:xfrm>
            <a:off x="7997537"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79 / 201</a:t>
            </a:r>
          </a:p>
        </p:txBody>
      </p:sp>
      <p:sp>
        <p:nvSpPr>
          <p:cNvPr id="100" name="Textfeld 53"/>
          <p:cNvSpPr txBox="1"/>
          <p:nvPr/>
        </p:nvSpPr>
        <p:spPr bwMode="gray">
          <a:xfrm>
            <a:off x="9468553"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77 / 186</a:t>
            </a:r>
          </a:p>
        </p:txBody>
      </p:sp>
      <p:sp>
        <p:nvSpPr>
          <p:cNvPr id="101" name="Textfeld 54"/>
          <p:cNvSpPr txBox="1"/>
          <p:nvPr/>
        </p:nvSpPr>
        <p:spPr bwMode="gray">
          <a:xfrm>
            <a:off x="10921845"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62 / 112</a:t>
            </a:r>
          </a:p>
        </p:txBody>
      </p:sp>
      <p:sp>
        <p:nvSpPr>
          <p:cNvPr id="109" name="Textfeld 48"/>
          <p:cNvSpPr txBox="1"/>
          <p:nvPr/>
        </p:nvSpPr>
        <p:spPr bwMode="gray">
          <a:xfrm>
            <a:off x="2171076"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1 / 212 / 140</a:t>
            </a:r>
          </a:p>
        </p:txBody>
      </p:sp>
      <p:sp>
        <p:nvSpPr>
          <p:cNvPr id="110" name="Textfeld 49"/>
          <p:cNvSpPr txBox="1"/>
          <p:nvPr/>
        </p:nvSpPr>
        <p:spPr bwMode="gray">
          <a:xfrm>
            <a:off x="3659814"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3 / 176 / 133</a:t>
            </a:r>
          </a:p>
        </p:txBody>
      </p:sp>
      <p:sp>
        <p:nvSpPr>
          <p:cNvPr id="111" name="Textfeld 50"/>
          <p:cNvSpPr txBox="1"/>
          <p:nvPr/>
        </p:nvSpPr>
        <p:spPr bwMode="gray">
          <a:xfrm>
            <a:off x="5121968"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94 / 143 / 160</a:t>
            </a:r>
            <a:endParaRPr lang="en-US" sz="700" noProof="0" dirty="0">
              <a:solidFill>
                <a:schemeClr val="tx1"/>
              </a:solidFill>
              <a:latin typeface="Arial" panose="020B0604020202020204" pitchFamily="34" charset="0"/>
              <a:ea typeface="Allianz Sans" pitchFamily="50" charset="0"/>
            </a:endParaRPr>
          </a:p>
        </p:txBody>
      </p:sp>
      <p:sp>
        <p:nvSpPr>
          <p:cNvPr id="112" name="Textfeld 51"/>
          <p:cNvSpPr txBox="1"/>
          <p:nvPr/>
        </p:nvSpPr>
        <p:spPr bwMode="gray">
          <a:xfrm>
            <a:off x="6548676"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48 / 173</a:t>
            </a:r>
          </a:p>
        </p:txBody>
      </p:sp>
      <p:sp>
        <p:nvSpPr>
          <p:cNvPr id="113" name="Textfeld 52"/>
          <p:cNvSpPr txBox="1"/>
          <p:nvPr/>
        </p:nvSpPr>
        <p:spPr bwMode="gray">
          <a:xfrm>
            <a:off x="7997537"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201 / 216</a:t>
            </a:r>
          </a:p>
        </p:txBody>
      </p:sp>
      <p:sp>
        <p:nvSpPr>
          <p:cNvPr id="114" name="Textfeld 53"/>
          <p:cNvSpPr txBox="1"/>
          <p:nvPr/>
        </p:nvSpPr>
        <p:spPr bwMode="gray">
          <a:xfrm>
            <a:off x="9468553"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99 / 205</a:t>
            </a:r>
          </a:p>
        </p:txBody>
      </p:sp>
      <p:sp>
        <p:nvSpPr>
          <p:cNvPr id="115" name="Textfeld 54"/>
          <p:cNvSpPr txBox="1"/>
          <p:nvPr/>
        </p:nvSpPr>
        <p:spPr bwMode="gray">
          <a:xfrm>
            <a:off x="10921845"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8 / 153</a:t>
            </a:r>
          </a:p>
        </p:txBody>
      </p:sp>
      <p:sp>
        <p:nvSpPr>
          <p:cNvPr id="123" name="Textfeld 48"/>
          <p:cNvSpPr txBox="1"/>
          <p:nvPr/>
        </p:nvSpPr>
        <p:spPr bwMode="gray">
          <a:xfrm>
            <a:off x="21710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3 / 238 /</a:t>
            </a:r>
            <a:r>
              <a:rPr lang="en-US" sz="700" baseline="0" noProof="0" dirty="0">
                <a:solidFill>
                  <a:schemeClr val="tx1"/>
                </a:solidFill>
                <a:latin typeface="Arial" panose="020B0604020202020204" pitchFamily="34" charset="0"/>
                <a:ea typeface="Allianz Sans" pitchFamily="50" charset="0"/>
              </a:rPr>
              <a:t> 209</a:t>
            </a:r>
            <a:endParaRPr lang="en-US" sz="700" noProof="0" dirty="0">
              <a:solidFill>
                <a:schemeClr val="tx1"/>
              </a:solidFill>
              <a:latin typeface="Arial" panose="020B0604020202020204" pitchFamily="34" charset="0"/>
              <a:ea typeface="Allianz Sans" pitchFamily="50" charset="0"/>
            </a:endParaRPr>
          </a:p>
        </p:txBody>
      </p:sp>
      <p:sp>
        <p:nvSpPr>
          <p:cNvPr id="124" name="Textfeld 49"/>
          <p:cNvSpPr txBox="1"/>
          <p:nvPr/>
        </p:nvSpPr>
        <p:spPr bwMode="gray">
          <a:xfrm>
            <a:off x="3659814"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0 / 223 / 206</a:t>
            </a:r>
          </a:p>
        </p:txBody>
      </p:sp>
      <p:sp>
        <p:nvSpPr>
          <p:cNvPr id="125" name="Textfeld 50"/>
          <p:cNvSpPr txBox="1"/>
          <p:nvPr/>
        </p:nvSpPr>
        <p:spPr bwMode="gray">
          <a:xfrm>
            <a:off x="5121968"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31 / 210 / 217</a:t>
            </a:r>
            <a:endParaRPr lang="en-US" sz="700" noProof="0" dirty="0">
              <a:solidFill>
                <a:schemeClr val="tx1"/>
              </a:solidFill>
              <a:latin typeface="Arial" panose="020B0604020202020204" pitchFamily="34" charset="0"/>
              <a:ea typeface="Allianz Sans" pitchFamily="50" charset="0"/>
            </a:endParaRPr>
          </a:p>
        </p:txBody>
      </p:sp>
      <p:sp>
        <p:nvSpPr>
          <p:cNvPr id="126" name="Textfeld 51"/>
          <p:cNvSpPr txBox="1"/>
          <p:nvPr/>
        </p:nvSpPr>
        <p:spPr bwMode="gray">
          <a:xfrm>
            <a:off x="65486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12 / 222</a:t>
            </a:r>
          </a:p>
        </p:txBody>
      </p:sp>
      <p:sp>
        <p:nvSpPr>
          <p:cNvPr id="127" name="Textfeld 52"/>
          <p:cNvSpPr txBox="1"/>
          <p:nvPr/>
        </p:nvSpPr>
        <p:spPr bwMode="gray">
          <a:xfrm>
            <a:off x="7997537"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33 / 240</a:t>
            </a:r>
          </a:p>
        </p:txBody>
      </p:sp>
      <p:sp>
        <p:nvSpPr>
          <p:cNvPr id="128" name="Textfeld 53"/>
          <p:cNvSpPr txBox="1"/>
          <p:nvPr/>
        </p:nvSpPr>
        <p:spPr bwMode="gray">
          <a:xfrm>
            <a:off x="9468553"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33 / 235</a:t>
            </a:r>
          </a:p>
        </p:txBody>
      </p:sp>
      <p:sp>
        <p:nvSpPr>
          <p:cNvPr id="129" name="Textfeld 54"/>
          <p:cNvSpPr txBox="1"/>
          <p:nvPr/>
        </p:nvSpPr>
        <p:spPr bwMode="gray">
          <a:xfrm>
            <a:off x="10921845"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8 / 214</a:t>
            </a:r>
          </a:p>
        </p:txBody>
      </p:sp>
      <p:sp>
        <p:nvSpPr>
          <p:cNvPr id="142" name="Textfeld 141"/>
          <p:cNvSpPr txBox="1"/>
          <p:nvPr/>
        </p:nvSpPr>
        <p:spPr bwMode="gray">
          <a:xfrm>
            <a:off x="3642092" y="1587600"/>
            <a:ext cx="983631"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 Gray</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37 / 237 / 237</a:t>
            </a:r>
          </a:p>
        </p:txBody>
      </p:sp>
      <p:sp>
        <p:nvSpPr>
          <p:cNvPr id="144" name="Textfeld 48"/>
          <p:cNvSpPr txBox="1"/>
          <p:nvPr/>
        </p:nvSpPr>
        <p:spPr bwMode="gray">
          <a:xfrm>
            <a:off x="3642092" y="2071044"/>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77 / 77 / 77</a:t>
            </a:r>
          </a:p>
        </p:txBody>
      </p:sp>
      <p:sp>
        <p:nvSpPr>
          <p:cNvPr id="146" name="Textfeld 48"/>
          <p:cNvSpPr txBox="1"/>
          <p:nvPr/>
        </p:nvSpPr>
        <p:spPr bwMode="gray">
          <a:xfrm>
            <a:off x="3642092" y="2323266"/>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35 / 135 / 135</a:t>
            </a:r>
          </a:p>
        </p:txBody>
      </p:sp>
      <p:sp>
        <p:nvSpPr>
          <p:cNvPr id="148" name="Textfeld 48"/>
          <p:cNvSpPr txBox="1"/>
          <p:nvPr/>
        </p:nvSpPr>
        <p:spPr bwMode="gray">
          <a:xfrm>
            <a:off x="3642092" y="2570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78 / 178 / 178</a:t>
            </a:r>
          </a:p>
        </p:txBody>
      </p:sp>
      <p:sp>
        <p:nvSpPr>
          <p:cNvPr id="150" name="Textfeld 48"/>
          <p:cNvSpPr txBox="1"/>
          <p:nvPr/>
        </p:nvSpPr>
        <p:spPr bwMode="gray">
          <a:xfrm>
            <a:off x="3642092" y="2822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18 / 218 / 218</a:t>
            </a:r>
          </a:p>
        </p:txBody>
      </p:sp>
      <p:sp>
        <p:nvSpPr>
          <p:cNvPr id="152" name="Titel 1"/>
          <p:cNvSpPr txBox="1">
            <a:spLocks/>
          </p:cNvSpPr>
          <p:nvPr/>
        </p:nvSpPr>
        <p:spPr bwMode="gray">
          <a:xfrm>
            <a:off x="398769" y="658800"/>
            <a:ext cx="9459692"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baseline="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en-US" sz="2000" kern="0" noProof="0" dirty="0">
                <a:latin typeface="Arial" panose="020B0604020202020204" pitchFamily="34" charset="0"/>
              </a:rPr>
              <a:t>PowerPoint color </a:t>
            </a:r>
            <a:r>
              <a:rPr lang="en-US" sz="2000" kern="0" baseline="0" noProof="0" dirty="0">
                <a:solidFill>
                  <a:schemeClr val="tx2"/>
                </a:solidFill>
                <a:latin typeface="Arial" panose="020B0604020202020204" pitchFamily="34" charset="0"/>
                <a:ea typeface="+mj-ea"/>
                <a:cs typeface="+mj-cs"/>
              </a:rPr>
              <a:t>palette (RGB)</a:t>
            </a:r>
          </a:p>
        </p:txBody>
      </p:sp>
      <p:pic>
        <p:nvPicPr>
          <p:cNvPr id="151" name="Picture 81"/>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6220800" y="1587600"/>
            <a:ext cx="297388" cy="237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chteck 1"/>
          <p:cNvSpPr/>
          <p:nvPr/>
        </p:nvSpPr>
        <p:spPr bwMode="gray">
          <a:xfrm>
            <a:off x="6517662" y="1587600"/>
            <a:ext cx="1913339" cy="505387"/>
          </a:xfrm>
          <a:prstGeom prst="rect">
            <a:avLst/>
          </a:prstGeom>
        </p:spPr>
        <p:txBody>
          <a:bodyPr wrap="square" lIns="36000" tIns="0" rIns="0" bIns="0">
            <a:noAutofit/>
          </a:bodyPr>
          <a:lstStyle/>
          <a:p>
            <a:pPr marL="0" algn="l" defTabSz="914400" rtl="0" eaLnBrk="1" latinLnBrk="0" hangingPunct="1">
              <a:lnSpc>
                <a:spcPct val="120000"/>
              </a:lnSpc>
              <a:spcBef>
                <a:spcPts val="0"/>
              </a:spcBef>
              <a:spcAft>
                <a:spcPts val="0"/>
              </a:spcAft>
            </a:pPr>
            <a:r>
              <a:rPr lang="en-US" altLang="de-DE" sz="700" kern="1200" noProof="0" dirty="0">
                <a:solidFill>
                  <a:sysClr val="windowText" lastClr="000000"/>
                </a:solidFill>
                <a:latin typeface="Arial" panose="020B0604020202020204" pitchFamily="34" charset="0"/>
                <a:ea typeface="Allianz Sans" pitchFamily="50" charset="0"/>
                <a:cs typeface="+mn-cs"/>
              </a:rPr>
              <a:t>Please use the Format Painter </a:t>
            </a:r>
            <a:br>
              <a:rPr lang="en-US" altLang="de-DE" sz="700" kern="1200" noProof="0" dirty="0">
                <a:solidFill>
                  <a:sysClr val="windowText" lastClr="000000"/>
                </a:solidFill>
                <a:latin typeface="Arial" panose="020B0604020202020204" pitchFamily="34" charset="0"/>
                <a:ea typeface="Allianz Sans" pitchFamily="50" charset="0"/>
                <a:cs typeface="+mn-cs"/>
              </a:rPr>
            </a:br>
            <a:r>
              <a:rPr lang="en-US" altLang="de-DE" sz="700" kern="1200" noProof="0" dirty="0">
                <a:solidFill>
                  <a:sysClr val="windowText" lastClr="000000"/>
                </a:solidFill>
                <a:latin typeface="Arial" panose="020B0604020202020204" pitchFamily="34" charset="0"/>
                <a:ea typeface="Allianz Sans" pitchFamily="50" charset="0"/>
                <a:cs typeface="+mn-cs"/>
              </a:rPr>
              <a:t>to copy the color. </a:t>
            </a:r>
          </a:p>
        </p:txBody>
      </p:sp>
      <p:sp>
        <p:nvSpPr>
          <p:cNvPr id="168" name="Rechteck 167"/>
          <p:cNvSpPr/>
          <p:nvPr/>
        </p:nvSpPr>
        <p:spPr bwMode="gray">
          <a:xfrm>
            <a:off x="4776370" y="1587600"/>
            <a:ext cx="292431" cy="475200"/>
          </a:xfrm>
          <a:prstGeom prst="rect">
            <a:avLst/>
          </a:prstGeom>
          <a:solidFill>
            <a:srgbClr val="DD003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9" name="Rechteck 168"/>
          <p:cNvSpPr/>
          <p:nvPr/>
        </p:nvSpPr>
        <p:spPr bwMode="gray">
          <a:xfrm>
            <a:off x="1878646" y="3647583"/>
            <a:ext cx="292431" cy="486000"/>
          </a:xfrm>
          <a:prstGeom prst="rect">
            <a:avLst/>
          </a:prstGeom>
          <a:solidFill>
            <a:schemeClr val="accent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0" name="Rechteck 169"/>
          <p:cNvSpPr/>
          <p:nvPr/>
        </p:nvSpPr>
        <p:spPr bwMode="gray">
          <a:xfrm>
            <a:off x="3358522" y="3647583"/>
            <a:ext cx="292431" cy="486000"/>
          </a:xfrm>
          <a:prstGeom prst="rect">
            <a:avLst/>
          </a:prstGeom>
          <a:solidFill>
            <a:schemeClr val="bg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1" name="Rechteck 170"/>
          <p:cNvSpPr/>
          <p:nvPr/>
        </p:nvSpPr>
        <p:spPr bwMode="gray">
          <a:xfrm>
            <a:off x="4828378" y="3647582"/>
            <a:ext cx="292431" cy="486000"/>
          </a:xfrm>
          <a:prstGeom prst="rect">
            <a:avLst/>
          </a:prstGeom>
          <a:solidFill>
            <a:schemeClr val="accent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2" name="Rechteck 171"/>
          <p:cNvSpPr/>
          <p:nvPr/>
        </p:nvSpPr>
        <p:spPr bwMode="gray">
          <a:xfrm>
            <a:off x="6256007" y="3647583"/>
            <a:ext cx="292431" cy="486000"/>
          </a:xfrm>
          <a:prstGeom prst="rect">
            <a:avLst/>
          </a:prstGeom>
          <a:solidFill>
            <a:schemeClr val="accent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3" name="Rechteck 172"/>
          <p:cNvSpPr/>
          <p:nvPr/>
        </p:nvSpPr>
        <p:spPr bwMode="gray">
          <a:xfrm>
            <a:off x="10624985" y="3647583"/>
            <a:ext cx="292431" cy="486000"/>
          </a:xfrm>
          <a:prstGeom prst="rect">
            <a:avLst/>
          </a:prstGeom>
          <a:solidFill>
            <a:schemeClr val="accent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4" name="Rechteck 173"/>
          <p:cNvSpPr/>
          <p:nvPr/>
        </p:nvSpPr>
        <p:spPr bwMode="gray">
          <a:xfrm>
            <a:off x="1878646" y="5293698"/>
            <a:ext cx="292431" cy="486000"/>
          </a:xfrm>
          <a:prstGeom prst="rect">
            <a:avLst/>
          </a:prstGeom>
          <a:solidFill>
            <a:srgbClr val="F7A91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5" name="Rechteck 174"/>
          <p:cNvSpPr/>
          <p:nvPr/>
        </p:nvSpPr>
        <p:spPr bwMode="gray">
          <a:xfrm>
            <a:off x="3358522" y="5293698"/>
            <a:ext cx="292431" cy="486000"/>
          </a:xfrm>
          <a:prstGeom prst="rect">
            <a:avLst/>
          </a:prstGeom>
          <a:solidFill>
            <a:srgbClr val="E8610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6" name="Rechteck 175"/>
          <p:cNvSpPr/>
          <p:nvPr/>
        </p:nvSpPr>
        <p:spPr bwMode="gray">
          <a:xfrm>
            <a:off x="4828378" y="5293698"/>
            <a:ext cx="292431" cy="486000"/>
          </a:xfrm>
          <a:prstGeom prst="rect">
            <a:avLst/>
          </a:prstGeom>
          <a:solidFill>
            <a:srgbClr val="861F4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7" name="Rechteck 176"/>
          <p:cNvSpPr/>
          <p:nvPr/>
        </p:nvSpPr>
        <p:spPr bwMode="gray">
          <a:xfrm>
            <a:off x="6256007" y="5293698"/>
            <a:ext cx="292431" cy="486000"/>
          </a:xfrm>
          <a:prstGeom prst="rect">
            <a:avLst/>
          </a:prstGeom>
          <a:solidFill>
            <a:srgbClr val="6A2A5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8" name="Rechteck 177"/>
          <p:cNvSpPr/>
          <p:nvPr/>
        </p:nvSpPr>
        <p:spPr bwMode="gray">
          <a:xfrm>
            <a:off x="7700996" y="5293698"/>
            <a:ext cx="292431" cy="486000"/>
          </a:xfrm>
          <a:prstGeom prst="rect">
            <a:avLst/>
          </a:prstGeom>
          <a:solidFill>
            <a:srgbClr val="0093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9" name="Rechteck 178"/>
          <p:cNvSpPr/>
          <p:nvPr/>
        </p:nvSpPr>
        <p:spPr bwMode="gray">
          <a:xfrm>
            <a:off x="9171337" y="5293698"/>
            <a:ext cx="292431" cy="486000"/>
          </a:xfrm>
          <a:prstGeom prst="rect">
            <a:avLst/>
          </a:prstGeom>
          <a:solidFill>
            <a:srgbClr val="6B8F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0" name="Rechteck 179"/>
          <p:cNvSpPr/>
          <p:nvPr/>
        </p:nvSpPr>
        <p:spPr bwMode="gray">
          <a:xfrm>
            <a:off x="10624985" y="5293698"/>
            <a:ext cx="292431" cy="486000"/>
          </a:xfrm>
          <a:prstGeom prst="rect">
            <a:avLst/>
          </a:prstGeom>
          <a:solidFill>
            <a:srgbClr val="007A3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1" name="Rechteck 13"/>
          <p:cNvSpPr/>
          <p:nvPr/>
        </p:nvSpPr>
        <p:spPr bwMode="gray">
          <a:xfrm>
            <a:off x="1878646" y="4122896"/>
            <a:ext cx="292431" cy="252000"/>
          </a:xfrm>
          <a:prstGeom prst="rect">
            <a:avLst/>
          </a:prstGeom>
          <a:solidFill>
            <a:srgbClr val="DEA86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2" name="Rechteck 14"/>
          <p:cNvSpPr/>
          <p:nvPr/>
        </p:nvSpPr>
        <p:spPr bwMode="gray">
          <a:xfrm>
            <a:off x="3358522" y="4123656"/>
            <a:ext cx="292431" cy="252000"/>
          </a:xfrm>
          <a:prstGeom prst="rect">
            <a:avLst/>
          </a:prstGeom>
          <a:solidFill>
            <a:srgbClr val="BB876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3" name="Rechteck 15"/>
          <p:cNvSpPr/>
          <p:nvPr/>
        </p:nvSpPr>
        <p:spPr bwMode="gray">
          <a:xfrm>
            <a:off x="4828378" y="4121462"/>
            <a:ext cx="292431" cy="252000"/>
          </a:xfrm>
          <a:prstGeom prst="rect">
            <a:avLst/>
          </a:prstGeom>
          <a:solidFill>
            <a:srgbClr val="B57D9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4" name="Rechteck 16"/>
          <p:cNvSpPr/>
          <p:nvPr/>
        </p:nvSpPr>
        <p:spPr bwMode="gray">
          <a:xfrm>
            <a:off x="6256007" y="4122229"/>
            <a:ext cx="292431" cy="252000"/>
          </a:xfrm>
          <a:prstGeom prst="rect">
            <a:avLst/>
          </a:prstGeom>
          <a:solidFill>
            <a:srgbClr val="A5879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5" name="Rechteck 19"/>
          <p:cNvSpPr/>
          <p:nvPr/>
        </p:nvSpPr>
        <p:spPr bwMode="gray">
          <a:xfrm>
            <a:off x="10624985" y="4122433"/>
            <a:ext cx="292431" cy="252000"/>
          </a:xfrm>
          <a:prstGeom prst="rect">
            <a:avLst/>
          </a:prstGeom>
          <a:solidFill>
            <a:srgbClr val="688E7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6" name="Rechteck 13"/>
          <p:cNvSpPr/>
          <p:nvPr/>
        </p:nvSpPr>
        <p:spPr bwMode="gray">
          <a:xfrm>
            <a:off x="1878646" y="4360552"/>
            <a:ext cx="292431" cy="252000"/>
          </a:xfrm>
          <a:prstGeom prst="rect">
            <a:avLst/>
          </a:prstGeom>
          <a:solidFill>
            <a:srgbClr val="E8C1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7" name="Rechteck 14"/>
          <p:cNvSpPr/>
          <p:nvPr/>
        </p:nvSpPr>
        <p:spPr bwMode="gray">
          <a:xfrm>
            <a:off x="3358522" y="4363047"/>
            <a:ext cx="292431" cy="252000"/>
          </a:xfrm>
          <a:prstGeom prst="rect">
            <a:avLst/>
          </a:prstGeom>
          <a:solidFill>
            <a:srgbClr val="CEA9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8" name="Rechteck 15"/>
          <p:cNvSpPr/>
          <p:nvPr/>
        </p:nvSpPr>
        <p:spPr bwMode="gray">
          <a:xfrm>
            <a:off x="4828378" y="4358401"/>
            <a:ext cx="292431" cy="252000"/>
          </a:xfrm>
          <a:prstGeom prst="rect">
            <a:avLst/>
          </a:prstGeom>
          <a:solidFill>
            <a:srgbClr val="CAA2B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9" name="Rechteck 16"/>
          <p:cNvSpPr/>
          <p:nvPr/>
        </p:nvSpPr>
        <p:spPr bwMode="gray">
          <a:xfrm>
            <a:off x="6256007" y="4359554"/>
            <a:ext cx="292431" cy="252000"/>
          </a:xfrm>
          <a:prstGeom prst="rect">
            <a:avLst/>
          </a:prstGeom>
          <a:solidFill>
            <a:srgbClr val="BEA9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0" name="Rechteck 19"/>
          <p:cNvSpPr/>
          <p:nvPr/>
        </p:nvSpPr>
        <p:spPr bwMode="gray">
          <a:xfrm>
            <a:off x="10624985" y="4359860"/>
            <a:ext cx="292431" cy="252000"/>
          </a:xfrm>
          <a:prstGeom prst="rect">
            <a:avLst/>
          </a:prstGeom>
          <a:solidFill>
            <a:srgbClr val="93AE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1" name="Rechteck 13"/>
          <p:cNvSpPr/>
          <p:nvPr/>
        </p:nvSpPr>
        <p:spPr bwMode="gray">
          <a:xfrm>
            <a:off x="1878646" y="4598210"/>
            <a:ext cx="292431" cy="237600"/>
          </a:xfrm>
          <a:prstGeom prst="rect">
            <a:avLst/>
          </a:prstGeom>
          <a:solidFill>
            <a:srgbClr val="F6E6D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2" name="Rechteck 14"/>
          <p:cNvSpPr/>
          <p:nvPr/>
        </p:nvSpPr>
        <p:spPr bwMode="gray">
          <a:xfrm>
            <a:off x="3358522" y="4599732"/>
            <a:ext cx="292431" cy="237600"/>
          </a:xfrm>
          <a:prstGeom prst="rect">
            <a:avLst/>
          </a:prstGeom>
          <a:solidFill>
            <a:srgbClr val="ECDD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3" name="Rechteck 15"/>
          <p:cNvSpPr/>
          <p:nvPr/>
        </p:nvSpPr>
        <p:spPr bwMode="gray">
          <a:xfrm>
            <a:off x="4828378" y="4597962"/>
            <a:ext cx="292431" cy="237600"/>
          </a:xfrm>
          <a:prstGeom prst="rect">
            <a:avLst/>
          </a:prstGeom>
          <a:solidFill>
            <a:srgbClr val="EADADF"/>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4" name="Rechteck 16"/>
          <p:cNvSpPr/>
          <p:nvPr/>
        </p:nvSpPr>
        <p:spPr bwMode="gray">
          <a:xfrm>
            <a:off x="6256007" y="4596878"/>
            <a:ext cx="292431" cy="237600"/>
          </a:xfrm>
          <a:prstGeom prst="rect">
            <a:avLst/>
          </a:prstGeom>
          <a:solidFill>
            <a:srgbClr val="E5DDE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5" name="Rechteck 19"/>
          <p:cNvSpPr/>
          <p:nvPr/>
        </p:nvSpPr>
        <p:spPr bwMode="gray">
          <a:xfrm>
            <a:off x="10624985" y="4597286"/>
            <a:ext cx="292431" cy="237600"/>
          </a:xfrm>
          <a:prstGeom prst="rect">
            <a:avLst/>
          </a:prstGeom>
          <a:solidFill>
            <a:srgbClr val="D4DFD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6" name="Rechteck 13"/>
          <p:cNvSpPr/>
          <p:nvPr/>
        </p:nvSpPr>
        <p:spPr bwMode="gray">
          <a:xfrm>
            <a:off x="1878646" y="5769234"/>
            <a:ext cx="292431" cy="252000"/>
          </a:xfrm>
          <a:prstGeom prst="rect">
            <a:avLst/>
          </a:prstGeom>
          <a:solidFill>
            <a:srgbClr val="F9C35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7" name="Rechteck 14"/>
          <p:cNvSpPr/>
          <p:nvPr/>
        </p:nvSpPr>
        <p:spPr bwMode="gray">
          <a:xfrm>
            <a:off x="3358522" y="5768376"/>
            <a:ext cx="292431" cy="252000"/>
          </a:xfrm>
          <a:prstGeom prst="rect">
            <a:avLst/>
          </a:prstGeom>
          <a:solidFill>
            <a:srgbClr val="EF905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8" name="Rechteck 15"/>
          <p:cNvSpPr/>
          <p:nvPr/>
        </p:nvSpPr>
        <p:spPr bwMode="gray">
          <a:xfrm>
            <a:off x="4828378" y="5768376"/>
            <a:ext cx="292431" cy="252000"/>
          </a:xfrm>
          <a:prstGeom prst="rect">
            <a:avLst/>
          </a:prstGeom>
          <a:solidFill>
            <a:srgbClr val="AA627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9" name="Rechteck 16"/>
          <p:cNvSpPr/>
          <p:nvPr/>
        </p:nvSpPr>
        <p:spPr bwMode="gray">
          <a:xfrm>
            <a:off x="6256007" y="5769538"/>
            <a:ext cx="292431" cy="252000"/>
          </a:xfrm>
          <a:prstGeom prst="rect">
            <a:avLst/>
          </a:prstGeom>
          <a:solidFill>
            <a:srgbClr val="976A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0" name="Rechteck 17"/>
          <p:cNvSpPr/>
          <p:nvPr/>
        </p:nvSpPr>
        <p:spPr bwMode="gray">
          <a:xfrm>
            <a:off x="7700996" y="5768376"/>
            <a:ext cx="292431" cy="252000"/>
          </a:xfrm>
          <a:prstGeom prst="rect">
            <a:avLst/>
          </a:prstGeom>
          <a:solidFill>
            <a:srgbClr val="4CB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1" name="Rechteck 18"/>
          <p:cNvSpPr/>
          <p:nvPr/>
        </p:nvSpPr>
        <p:spPr bwMode="gray">
          <a:xfrm>
            <a:off x="9171337" y="5768376"/>
            <a:ext cx="292431" cy="252000"/>
          </a:xfrm>
          <a:prstGeom prst="rect">
            <a:avLst/>
          </a:prstGeom>
          <a:solidFill>
            <a:srgbClr val="97B1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2" name="Rechteck 19"/>
          <p:cNvSpPr/>
          <p:nvPr/>
        </p:nvSpPr>
        <p:spPr bwMode="gray">
          <a:xfrm>
            <a:off x="10624985" y="5768376"/>
            <a:ext cx="292431" cy="252000"/>
          </a:xfrm>
          <a:prstGeom prst="rect">
            <a:avLst/>
          </a:prstGeom>
          <a:solidFill>
            <a:srgbClr val="4CA27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3" name="Rechteck 13"/>
          <p:cNvSpPr/>
          <p:nvPr/>
        </p:nvSpPr>
        <p:spPr bwMode="gray">
          <a:xfrm>
            <a:off x="1878646" y="6007002"/>
            <a:ext cx="292431" cy="252000"/>
          </a:xfrm>
          <a:prstGeom prst="rect">
            <a:avLst/>
          </a:prstGeom>
          <a:solidFill>
            <a:srgbClr val="FBD4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4" name="Rechteck 14"/>
          <p:cNvSpPr/>
          <p:nvPr/>
        </p:nvSpPr>
        <p:spPr bwMode="gray">
          <a:xfrm>
            <a:off x="3358522" y="6004486"/>
            <a:ext cx="292431" cy="252000"/>
          </a:xfrm>
          <a:prstGeom prst="rect">
            <a:avLst/>
          </a:prstGeom>
          <a:solidFill>
            <a:srgbClr val="F3B08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5" name="Rechteck 15"/>
          <p:cNvSpPr/>
          <p:nvPr/>
        </p:nvSpPr>
        <p:spPr bwMode="gray">
          <a:xfrm>
            <a:off x="4828378" y="6004486"/>
            <a:ext cx="292431" cy="252000"/>
          </a:xfrm>
          <a:prstGeom prst="rect">
            <a:avLst/>
          </a:prstGeom>
          <a:solidFill>
            <a:srgbClr val="C28FA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6" name="Rechteck 16"/>
          <p:cNvSpPr/>
          <p:nvPr/>
        </p:nvSpPr>
        <p:spPr bwMode="gray">
          <a:xfrm>
            <a:off x="6256007" y="6007458"/>
            <a:ext cx="292431" cy="252000"/>
          </a:xfrm>
          <a:prstGeom prst="rect">
            <a:avLst/>
          </a:prstGeom>
          <a:solidFill>
            <a:srgbClr val="B594A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7" name="Rechteck 17"/>
          <p:cNvSpPr/>
          <p:nvPr/>
        </p:nvSpPr>
        <p:spPr bwMode="gray">
          <a:xfrm>
            <a:off x="7700996" y="6004486"/>
            <a:ext cx="292431" cy="252000"/>
          </a:xfrm>
          <a:prstGeom prst="rect">
            <a:avLst/>
          </a:prstGeom>
          <a:solidFill>
            <a:srgbClr val="80C9D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8" name="Rechteck 18"/>
          <p:cNvSpPr/>
          <p:nvPr/>
        </p:nvSpPr>
        <p:spPr bwMode="gray">
          <a:xfrm>
            <a:off x="9171337" y="6004496"/>
            <a:ext cx="292431" cy="252000"/>
          </a:xfrm>
          <a:prstGeom prst="rect">
            <a:avLst/>
          </a:prstGeom>
          <a:solidFill>
            <a:srgbClr val="B5C7C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9" name="Rechteck 19"/>
          <p:cNvSpPr/>
          <p:nvPr/>
        </p:nvSpPr>
        <p:spPr bwMode="gray">
          <a:xfrm>
            <a:off x="10624985" y="6004486"/>
            <a:ext cx="292431" cy="252000"/>
          </a:xfrm>
          <a:prstGeom prst="rect">
            <a:avLst/>
          </a:prstGeom>
          <a:solidFill>
            <a:srgbClr val="80BC9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0" name="Rechteck 13"/>
          <p:cNvSpPr/>
          <p:nvPr/>
        </p:nvSpPr>
        <p:spPr bwMode="gray">
          <a:xfrm>
            <a:off x="1878646" y="6245640"/>
            <a:ext cx="292431" cy="237600"/>
          </a:xfrm>
          <a:prstGeom prst="rect">
            <a:avLst/>
          </a:prstGeom>
          <a:solidFill>
            <a:srgbClr val="FDEED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1" name="Rechteck 14"/>
          <p:cNvSpPr/>
          <p:nvPr/>
        </p:nvSpPr>
        <p:spPr bwMode="gray">
          <a:xfrm>
            <a:off x="3358522" y="6245640"/>
            <a:ext cx="292431" cy="237600"/>
          </a:xfrm>
          <a:prstGeom prst="rect">
            <a:avLst/>
          </a:prstGeom>
          <a:solidFill>
            <a:srgbClr val="FADFC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2" name="Rechteck 15"/>
          <p:cNvSpPr/>
          <p:nvPr/>
        </p:nvSpPr>
        <p:spPr bwMode="gray">
          <a:xfrm>
            <a:off x="4828378" y="6245640"/>
            <a:ext cx="292431" cy="237600"/>
          </a:xfrm>
          <a:prstGeom prst="rect">
            <a:avLst/>
          </a:prstGeom>
          <a:solidFill>
            <a:srgbClr val="E7D2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3" name="Rechteck 16"/>
          <p:cNvSpPr/>
          <p:nvPr/>
        </p:nvSpPr>
        <p:spPr bwMode="gray">
          <a:xfrm>
            <a:off x="6256007" y="6245640"/>
            <a:ext cx="292431" cy="237600"/>
          </a:xfrm>
          <a:prstGeom prst="rect">
            <a:avLst/>
          </a:prstGeom>
          <a:solidFill>
            <a:srgbClr val="E1D4D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4" name="Rechteck 17"/>
          <p:cNvSpPr/>
          <p:nvPr/>
        </p:nvSpPr>
        <p:spPr bwMode="gray">
          <a:xfrm>
            <a:off x="7700996" y="6245640"/>
            <a:ext cx="292431" cy="237600"/>
          </a:xfrm>
          <a:prstGeom prst="rect">
            <a:avLst/>
          </a:prstGeom>
          <a:solidFill>
            <a:srgbClr val="CCE9F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5" name="Rechteck 18"/>
          <p:cNvSpPr/>
          <p:nvPr/>
        </p:nvSpPr>
        <p:spPr bwMode="gray">
          <a:xfrm>
            <a:off x="9171337" y="6245640"/>
            <a:ext cx="292431" cy="237600"/>
          </a:xfrm>
          <a:prstGeom prst="rect">
            <a:avLst/>
          </a:prstGeom>
          <a:solidFill>
            <a:srgbClr val="E1E9E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6" name="Rechteck 19"/>
          <p:cNvSpPr/>
          <p:nvPr/>
        </p:nvSpPr>
        <p:spPr bwMode="gray">
          <a:xfrm>
            <a:off x="10624985" y="6245640"/>
            <a:ext cx="292431" cy="237600"/>
          </a:xfrm>
          <a:prstGeom prst="rect">
            <a:avLst/>
          </a:prstGeom>
          <a:solidFill>
            <a:srgbClr val="CCE4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9" name="Rechteck 218"/>
          <p:cNvSpPr/>
          <p:nvPr/>
        </p:nvSpPr>
        <p:spPr bwMode="gray">
          <a:xfrm>
            <a:off x="9169519" y="3647581"/>
            <a:ext cx="292431" cy="486000"/>
          </a:xfrm>
          <a:prstGeom prst="rect">
            <a:avLst/>
          </a:prstGeom>
          <a:solidFill>
            <a:schemeClr val="accent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0" name="Rechteck 19"/>
          <p:cNvSpPr/>
          <p:nvPr/>
        </p:nvSpPr>
        <p:spPr bwMode="gray">
          <a:xfrm>
            <a:off x="9169519" y="4122431"/>
            <a:ext cx="292431" cy="252000"/>
          </a:xfrm>
          <a:prstGeom prst="rect">
            <a:avLst/>
          </a:prstGeom>
          <a:solidFill>
            <a:srgbClr val="6A8C9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1" name="Rechteck 19"/>
          <p:cNvSpPr/>
          <p:nvPr/>
        </p:nvSpPr>
        <p:spPr bwMode="gray">
          <a:xfrm>
            <a:off x="9169519" y="4359858"/>
            <a:ext cx="292431" cy="252000"/>
          </a:xfrm>
          <a:prstGeom prst="rect">
            <a:avLst/>
          </a:prstGeom>
          <a:solidFill>
            <a:srgbClr val="95A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2" name="Rechteck 19"/>
          <p:cNvSpPr/>
          <p:nvPr/>
        </p:nvSpPr>
        <p:spPr bwMode="gray">
          <a:xfrm>
            <a:off x="9169519" y="4597284"/>
            <a:ext cx="292431" cy="237600"/>
          </a:xfrm>
          <a:prstGeom prst="rect">
            <a:avLst/>
          </a:prstGeom>
          <a:solidFill>
            <a:srgbClr val="D4DEE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3" name="Rechteck 222"/>
          <p:cNvSpPr/>
          <p:nvPr/>
        </p:nvSpPr>
        <p:spPr bwMode="gray">
          <a:xfrm>
            <a:off x="7700677" y="3647580"/>
            <a:ext cx="292431" cy="486000"/>
          </a:xfrm>
          <a:prstGeom prst="rect">
            <a:avLst/>
          </a:prstGeom>
          <a:solidFill>
            <a:schemeClr val="accent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4" name="Rechteck 19"/>
          <p:cNvSpPr/>
          <p:nvPr/>
        </p:nvSpPr>
        <p:spPr bwMode="gray">
          <a:xfrm>
            <a:off x="7700677" y="4122430"/>
            <a:ext cx="292431" cy="252000"/>
          </a:xfrm>
          <a:prstGeom prst="rect">
            <a:avLst/>
          </a:prstGeom>
          <a:solidFill>
            <a:srgbClr val="4D9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5" name="Rechteck 19"/>
          <p:cNvSpPr/>
          <p:nvPr/>
        </p:nvSpPr>
        <p:spPr bwMode="gray">
          <a:xfrm>
            <a:off x="7700677" y="4359857"/>
            <a:ext cx="292431" cy="252000"/>
          </a:xfrm>
          <a:prstGeom prst="rect">
            <a:avLst/>
          </a:prstGeom>
          <a:solidFill>
            <a:srgbClr val="80B9C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6" name="Rechteck 19"/>
          <p:cNvSpPr/>
          <p:nvPr/>
        </p:nvSpPr>
        <p:spPr bwMode="gray">
          <a:xfrm>
            <a:off x="7700677" y="4597283"/>
            <a:ext cx="292431" cy="237600"/>
          </a:xfrm>
          <a:prstGeom prst="rect">
            <a:avLst/>
          </a:prstGeom>
          <a:solidFill>
            <a:srgbClr val="CCE3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47" name="Rechteck 146"/>
          <p:cNvSpPr/>
          <p:nvPr/>
        </p:nvSpPr>
        <p:spPr bwMode="gray">
          <a:xfrm>
            <a:off x="3349661" y="1587600"/>
            <a:ext cx="292431" cy="486000"/>
          </a:xfrm>
          <a:prstGeom prst="rect">
            <a:avLst/>
          </a:prstGeom>
          <a:solidFill>
            <a:srgbClr val="EDEDE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49" name="Rechteck 13"/>
          <p:cNvSpPr/>
          <p:nvPr/>
        </p:nvSpPr>
        <p:spPr bwMode="gray">
          <a:xfrm>
            <a:off x="3349661" y="2062800"/>
            <a:ext cx="292431" cy="252000"/>
          </a:xfrm>
          <a:prstGeom prst="rect">
            <a:avLst/>
          </a:prstGeom>
          <a:solidFill>
            <a:srgbClr val="4C4C4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5" name="Rechteck 13"/>
          <p:cNvSpPr/>
          <p:nvPr/>
        </p:nvSpPr>
        <p:spPr bwMode="gray">
          <a:xfrm>
            <a:off x="3349661" y="2562973"/>
            <a:ext cx="292431" cy="252000"/>
          </a:xfrm>
          <a:prstGeom prst="rect">
            <a:avLst/>
          </a:prstGeom>
          <a:solidFill>
            <a:srgbClr val="B2B2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6" name="Rechteck 155"/>
          <p:cNvSpPr/>
          <p:nvPr/>
        </p:nvSpPr>
        <p:spPr bwMode="gray">
          <a:xfrm>
            <a:off x="398770" y="1587600"/>
            <a:ext cx="292431" cy="486000"/>
          </a:xfrm>
          <a:prstGeom prst="rect">
            <a:avLst/>
          </a:prstGeom>
          <a:solidFill>
            <a:schemeClr val="tx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1" name="Rechteck 13"/>
          <p:cNvSpPr/>
          <p:nvPr/>
        </p:nvSpPr>
        <p:spPr bwMode="gray">
          <a:xfrm>
            <a:off x="3349661" y="2316066"/>
            <a:ext cx="292431" cy="252000"/>
          </a:xfrm>
          <a:prstGeom prst="rect">
            <a:avLst/>
          </a:prstGeom>
          <a:solidFill>
            <a:srgbClr val="87878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2" name="Rechteck 13"/>
          <p:cNvSpPr/>
          <p:nvPr/>
        </p:nvSpPr>
        <p:spPr bwMode="gray">
          <a:xfrm>
            <a:off x="3349661" y="2814973"/>
            <a:ext cx="292431" cy="252000"/>
          </a:xfrm>
          <a:prstGeom prst="rect">
            <a:avLst/>
          </a:prstGeom>
          <a:solidFill>
            <a:srgbClr val="DADADA"/>
          </a:solidFill>
          <a:ln w="3175" cap="flat" cmpd="sng" algn="ctr">
            <a:noFill/>
            <a:prstDash val="sysDot"/>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R="0" lvl="0" indent="0" fontAlgn="base">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w="3175">
                <a:noFill/>
              </a:ln>
              <a:solidFill>
                <a:schemeClr val="bg1"/>
              </a:solidFill>
              <a:effectLst/>
              <a:latin typeface="Arial" panose="020B0604020202020204" pitchFamily="34" charset="0"/>
            </a:endParaRPr>
          </a:p>
        </p:txBody>
      </p:sp>
      <p:sp>
        <p:nvSpPr>
          <p:cNvPr id="153" name="Textfeld 152"/>
          <p:cNvSpPr txBox="1"/>
          <p:nvPr/>
        </p:nvSpPr>
        <p:spPr bwMode="gray">
          <a:xfrm>
            <a:off x="691200"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lu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0 / 98 / 149</a:t>
            </a:r>
          </a:p>
        </p:txBody>
      </p:sp>
      <p:sp>
        <p:nvSpPr>
          <p:cNvPr id="154" name="Textfeld 153"/>
          <p:cNvSpPr txBox="1"/>
          <p:nvPr/>
        </p:nvSpPr>
        <p:spPr bwMode="gray">
          <a:xfrm>
            <a:off x="691200"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Roya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3 / 131 / 201</a:t>
            </a:r>
          </a:p>
        </p:txBody>
      </p:sp>
      <p:sp>
        <p:nvSpPr>
          <p:cNvPr id="163" name="Textfeld 48"/>
          <p:cNvSpPr txBox="1"/>
          <p:nvPr/>
        </p:nvSpPr>
        <p:spPr bwMode="gray">
          <a:xfrm>
            <a:off x="691200"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2 / 145 / 181</a:t>
            </a:r>
          </a:p>
        </p:txBody>
      </p:sp>
      <p:sp>
        <p:nvSpPr>
          <p:cNvPr id="165" name="Textfeld 48"/>
          <p:cNvSpPr txBox="1"/>
          <p:nvPr/>
        </p:nvSpPr>
        <p:spPr bwMode="gray">
          <a:xfrm>
            <a:off x="691200"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3 / 177 / 202</a:t>
            </a:r>
          </a:p>
        </p:txBody>
      </p:sp>
      <p:sp>
        <p:nvSpPr>
          <p:cNvPr id="166" name="Textfeld 48"/>
          <p:cNvSpPr txBox="1"/>
          <p:nvPr/>
        </p:nvSpPr>
        <p:spPr bwMode="gray">
          <a:xfrm>
            <a:off x="691200"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4 / 224 / 234</a:t>
            </a:r>
          </a:p>
        </p:txBody>
      </p:sp>
      <p:sp>
        <p:nvSpPr>
          <p:cNvPr id="167" name="Textfeld 48"/>
          <p:cNvSpPr txBox="1"/>
          <p:nvPr/>
        </p:nvSpPr>
        <p:spPr bwMode="gray">
          <a:xfrm>
            <a:off x="691200"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4 / 168 / 217</a:t>
            </a:r>
          </a:p>
        </p:txBody>
      </p:sp>
      <p:sp>
        <p:nvSpPr>
          <p:cNvPr id="217" name="Textfeld 48"/>
          <p:cNvSpPr txBox="1"/>
          <p:nvPr/>
        </p:nvSpPr>
        <p:spPr bwMode="gray">
          <a:xfrm>
            <a:off x="691200"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4 / 193 / 228</a:t>
            </a:r>
          </a:p>
        </p:txBody>
      </p:sp>
      <p:sp>
        <p:nvSpPr>
          <p:cNvPr id="218" name="Textfeld 48"/>
          <p:cNvSpPr txBox="1"/>
          <p:nvPr/>
        </p:nvSpPr>
        <p:spPr bwMode="gray">
          <a:xfrm>
            <a:off x="691200"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5 / 230 / 244</a:t>
            </a:r>
          </a:p>
        </p:txBody>
      </p:sp>
      <p:sp>
        <p:nvSpPr>
          <p:cNvPr id="227" name="Rechteck 226"/>
          <p:cNvSpPr/>
          <p:nvPr/>
        </p:nvSpPr>
        <p:spPr bwMode="gray">
          <a:xfrm>
            <a:off x="398770" y="3647583"/>
            <a:ext cx="292431" cy="486000"/>
          </a:xfrm>
          <a:prstGeom prst="rect">
            <a:avLst/>
          </a:prstGeom>
          <a:solidFill>
            <a:srgbClr val="32629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9" name="Rechteck 228"/>
          <p:cNvSpPr/>
          <p:nvPr/>
        </p:nvSpPr>
        <p:spPr bwMode="gray">
          <a:xfrm>
            <a:off x="398770" y="5293698"/>
            <a:ext cx="292431" cy="486000"/>
          </a:xfrm>
          <a:prstGeom prst="rect">
            <a:avLst/>
          </a:prstGeom>
          <a:solidFill>
            <a:srgbClr val="358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0" name="Rechteck 13"/>
          <p:cNvSpPr/>
          <p:nvPr/>
        </p:nvSpPr>
        <p:spPr bwMode="gray">
          <a:xfrm>
            <a:off x="398770" y="4122896"/>
            <a:ext cx="292431" cy="252000"/>
          </a:xfrm>
          <a:prstGeom prst="rect">
            <a:avLst/>
          </a:prstGeom>
          <a:solidFill>
            <a:srgbClr val="7091B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1" name="Rechteck 13"/>
          <p:cNvSpPr/>
          <p:nvPr/>
        </p:nvSpPr>
        <p:spPr bwMode="gray">
          <a:xfrm>
            <a:off x="398770" y="4360552"/>
            <a:ext cx="292431" cy="252000"/>
          </a:xfrm>
          <a:prstGeom prst="rect">
            <a:avLst/>
          </a:prstGeom>
          <a:solidFill>
            <a:srgbClr val="99B1C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2" name="Rechteck 13"/>
          <p:cNvSpPr/>
          <p:nvPr/>
        </p:nvSpPr>
        <p:spPr bwMode="gray">
          <a:xfrm>
            <a:off x="398770" y="4598210"/>
            <a:ext cx="292431" cy="237600"/>
          </a:xfrm>
          <a:prstGeom prst="rect">
            <a:avLst/>
          </a:prstGeom>
          <a:solidFill>
            <a:srgbClr val="D6E0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3" name="Rechteck 13"/>
          <p:cNvSpPr/>
          <p:nvPr/>
        </p:nvSpPr>
        <p:spPr bwMode="gray">
          <a:xfrm>
            <a:off x="398770" y="5769234"/>
            <a:ext cx="292431" cy="252000"/>
          </a:xfrm>
          <a:prstGeom prst="rect">
            <a:avLst/>
          </a:prstGeom>
          <a:solidFill>
            <a:srgbClr val="72A8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4" name="Rechteck 13"/>
          <p:cNvSpPr/>
          <p:nvPr/>
        </p:nvSpPr>
        <p:spPr bwMode="gray">
          <a:xfrm>
            <a:off x="398770" y="6007002"/>
            <a:ext cx="292431" cy="252000"/>
          </a:xfrm>
          <a:prstGeom prst="rect">
            <a:avLst/>
          </a:prstGeom>
          <a:solidFill>
            <a:srgbClr val="9AC1E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5" name="Rechteck 13"/>
          <p:cNvSpPr/>
          <p:nvPr/>
        </p:nvSpPr>
        <p:spPr bwMode="gray">
          <a:xfrm>
            <a:off x="398770" y="6245640"/>
            <a:ext cx="292431" cy="237600"/>
          </a:xfrm>
          <a:prstGeom prst="rect">
            <a:avLst/>
          </a:prstGeom>
          <a:solidFill>
            <a:srgbClr val="D7E6F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8" name="Textfeld 48"/>
          <p:cNvSpPr txBox="1"/>
          <p:nvPr/>
        </p:nvSpPr>
        <p:spPr bwMode="gray">
          <a:xfrm>
            <a:off x="3642092" y="3065539"/>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60 / 60 / 60</a:t>
            </a:r>
          </a:p>
        </p:txBody>
      </p:sp>
      <p:sp>
        <p:nvSpPr>
          <p:cNvPr id="237" name="Rechteck 13"/>
          <p:cNvSpPr/>
          <p:nvPr/>
        </p:nvSpPr>
        <p:spPr bwMode="gray">
          <a:xfrm>
            <a:off x="3349661" y="3062717"/>
            <a:ext cx="292431" cy="252000"/>
          </a:xfrm>
          <a:prstGeom prst="rect">
            <a:avLst/>
          </a:prstGeom>
          <a:solidFill>
            <a:srgbClr val="3C3C3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8" name="Textfeld 237"/>
          <p:cNvSpPr txBox="1"/>
          <p:nvPr/>
        </p:nvSpPr>
        <p:spPr bwMode="gray">
          <a:xfrm>
            <a:off x="398771" y="5019265"/>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Lighter/brighter</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157" name="Textfeld 156"/>
          <p:cNvSpPr txBox="1"/>
          <p:nvPr/>
        </p:nvSpPr>
        <p:spPr bwMode="gray">
          <a:xfrm>
            <a:off x="5068801" y="20628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Green</a:t>
            </a:r>
            <a:br>
              <a:rPr lang="en-US" sz="700" b="1" baseline="0" noProof="0" dirty="0">
                <a:solidFill>
                  <a:sysClr val="windowText" lastClr="000000"/>
                </a:solidFill>
                <a:latin typeface="Arial" panose="020B0604020202020204" pitchFamily="34" charset="0"/>
                <a:ea typeface="Allianz Sans" pitchFamily="50" charset="0"/>
              </a:rPr>
            </a:br>
            <a:r>
              <a:rPr lang="en-US" sz="700" b="0" baseline="0" noProof="0" dirty="0">
                <a:solidFill>
                  <a:sysClr val="windowText" lastClr="000000"/>
                </a:solidFill>
                <a:latin typeface="Arial" panose="020B0604020202020204" pitchFamily="34" charset="0"/>
                <a:ea typeface="Allianz Sans" pitchFamily="50" charset="0"/>
              </a:rPr>
              <a:t>0 / 126 / 98</a:t>
            </a:r>
            <a:endParaRPr lang="en-US" sz="700" noProof="0" dirty="0">
              <a:solidFill>
                <a:sysClr val="windowText" lastClr="000000"/>
              </a:solidFill>
              <a:latin typeface="Arial" panose="020B0604020202020204" pitchFamily="34" charset="0"/>
              <a:ea typeface="Allianz Sans" pitchFamily="50" charset="0"/>
            </a:endParaRPr>
          </a:p>
        </p:txBody>
      </p:sp>
      <p:sp>
        <p:nvSpPr>
          <p:cNvPr id="158" name="Rechteck 157"/>
          <p:cNvSpPr/>
          <p:nvPr/>
        </p:nvSpPr>
        <p:spPr bwMode="gray">
          <a:xfrm>
            <a:off x="4776370" y="2062800"/>
            <a:ext cx="292431" cy="475200"/>
          </a:xfrm>
          <a:prstGeom prst="rect">
            <a:avLst/>
          </a:prstGeom>
          <a:solidFill>
            <a:srgbClr val="007E6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9" name="Rechteck 3"/>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charset="0"/>
            </a:endParaRPr>
          </a:p>
        </p:txBody>
      </p:sp>
      <p:sp>
        <p:nvSpPr>
          <p:cNvPr id="160" name="Rechteck 241"/>
          <p:cNvSpPr/>
          <p:nvPr/>
        </p:nvSpPr>
        <p:spPr bwMode="gray">
          <a:xfrm>
            <a:off x="1873783" y="1587600"/>
            <a:ext cx="292431" cy="4860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a:spcBef>
                <a:spcPct val="50000"/>
              </a:spcBef>
              <a:spcAft>
                <a:spcPct val="25000"/>
              </a:spcAft>
              <a:tabLst/>
            </a:pPr>
            <a:endParaRPr kumimoji="0" lang="en-US" sz="2400" b="0" i="0" u="none" strike="noStrike" kern="1200" cap="none" normalizeH="0" noProof="0" dirty="0">
              <a:ln>
                <a:noFill/>
              </a:ln>
              <a:solidFill>
                <a:schemeClr val="bg1"/>
              </a:solidFill>
              <a:effectLst/>
            </a:endParaRPr>
          </a:p>
        </p:txBody>
      </p:sp>
      <p:sp>
        <p:nvSpPr>
          <p:cNvPr id="164" name="Textfeld 131"/>
          <p:cNvSpPr txBox="1"/>
          <p:nvPr/>
        </p:nvSpPr>
        <p:spPr bwMode="gray">
          <a:xfrm>
            <a:off x="691201" y="1587600"/>
            <a:ext cx="982139"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Allianz</a:t>
            </a:r>
            <a:r>
              <a:rPr lang="en-US" sz="700" b="1" baseline="0" noProof="0" dirty="0">
                <a:solidFill>
                  <a:sysClr val="windowText" lastClr="000000"/>
                </a:solidFill>
                <a:latin typeface="Arial" panose="020B0604020202020204" pitchFamily="34" charset="0"/>
                <a:ea typeface="Allianz Sans" pitchFamily="50" charset="0"/>
              </a:rPr>
              <a:t>GI </a:t>
            </a:r>
            <a:r>
              <a:rPr lang="en-US" sz="700" b="1" noProof="0" dirty="0">
                <a:solidFill>
                  <a:sysClr val="windowText" lastClr="000000"/>
                </a:solidFill>
                <a:latin typeface="Arial" panose="020B0604020202020204" pitchFamily="34" charset="0"/>
                <a:ea typeface="Allianz Sans" pitchFamily="50" charset="0"/>
              </a:rPr>
              <a:t>Blue</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0 / 55 / 129</a:t>
            </a:r>
          </a:p>
        </p:txBody>
      </p:sp>
      <p:sp>
        <p:nvSpPr>
          <p:cNvPr id="236" name="Rechteck 2"/>
          <p:cNvSpPr/>
          <p:nvPr/>
        </p:nvSpPr>
        <p:spPr bwMode="gray">
          <a:xfrm>
            <a:off x="9366548" y="2525382"/>
            <a:ext cx="2414700" cy="579768"/>
          </a:xfrm>
          <a:prstGeom prst="rect">
            <a:avLst/>
          </a:prstGeom>
          <a:solidFill>
            <a:srgbClr val="FDDFD5"/>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400" b="0" i="0" u="none" strike="noStrike" cap="none" normalizeH="0" baseline="0" noProof="0" dirty="0">
              <a:ln>
                <a:noFill/>
              </a:ln>
              <a:solidFill>
                <a:schemeClr val="tx1"/>
              </a:solidFill>
              <a:effectLst/>
              <a:latin typeface="Arial" panose="020B0604020202020204" pitchFamily="34" charset="0"/>
            </a:endParaRPr>
          </a:p>
        </p:txBody>
      </p:sp>
      <p:sp>
        <p:nvSpPr>
          <p:cNvPr id="239" name="Textfeld 5"/>
          <p:cNvSpPr txBox="1"/>
          <p:nvPr/>
        </p:nvSpPr>
        <p:spPr bwMode="gray">
          <a:xfrm>
            <a:off x="9445634" y="1588644"/>
            <a:ext cx="2320713" cy="1922462"/>
          </a:xfrm>
          <a:prstGeom prst="rect">
            <a:avLst/>
          </a:prstGeom>
          <a:noFill/>
        </p:spPr>
        <p:txBody>
          <a:bodyPr wrap="square" lIns="0" tIns="0" rIns="0" bIns="0" rtlCol="0">
            <a:noAutofit/>
          </a:bodyPr>
          <a:lstStyle/>
          <a:p>
            <a:r>
              <a:rPr lang="en-US" sz="800" kern="1200" baseline="0" noProof="0" dirty="0">
                <a:solidFill>
                  <a:srgbClr val="DD0031"/>
                </a:solidFill>
                <a:latin typeface="Arial" panose="020B0604020202020204" pitchFamily="34" charset="0"/>
                <a:ea typeface="Allianz Sans" pitchFamily="50" charset="0"/>
                <a:cs typeface="+mn-cs"/>
              </a:rPr>
              <a:t>Headlines must always have the full tone; for boxes, tables and graphics all shades of colors can be used (see AllianzGI color guidelines for WCAG standards)</a:t>
            </a: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For color usage in tables and graphics different shades of colors can be used.</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b="1" i="0" kern="1200" baseline="0" noProof="0" dirty="0">
                <a:solidFill>
                  <a:schemeClr val="tx2"/>
                </a:solidFill>
                <a:latin typeface="Arial" panose="020B0604020202020204" pitchFamily="34" charset="0"/>
                <a:ea typeface="Allianz Sans" pitchFamily="50" charset="0"/>
                <a:cs typeface="+mn-cs"/>
              </a:rPr>
              <a:t>Note</a:t>
            </a: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Please do not use this slide in your presentation. See color recommendation for use in the guidelines</a:t>
            </a:r>
          </a:p>
        </p:txBody>
      </p:sp>
      <p:sp>
        <p:nvSpPr>
          <p:cNvPr id="240" name="Textfeld 6"/>
          <p:cNvSpPr txBox="1"/>
          <p:nvPr/>
        </p:nvSpPr>
        <p:spPr bwMode="gray">
          <a:xfrm>
            <a:off x="398770" y="1299133"/>
            <a:ext cx="1138773"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Primary colors</a:t>
            </a:r>
          </a:p>
        </p:txBody>
      </p:sp>
      <p:sp>
        <p:nvSpPr>
          <p:cNvPr id="241" name="Textfeld 7"/>
          <p:cNvSpPr txBox="1"/>
          <p:nvPr/>
        </p:nvSpPr>
        <p:spPr bwMode="gray">
          <a:xfrm>
            <a:off x="398771" y="3373204"/>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Richer/muted</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243" name="Textfeld 20"/>
          <p:cNvSpPr txBox="1"/>
          <p:nvPr/>
        </p:nvSpPr>
        <p:spPr bwMode="gray">
          <a:xfrm>
            <a:off x="2177562"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hit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55 / 255 / 255</a:t>
            </a:r>
          </a:p>
        </p:txBody>
      </p:sp>
      <p:sp>
        <p:nvSpPr>
          <p:cNvPr id="244" name="Textfeld 21"/>
          <p:cNvSpPr txBox="1"/>
          <p:nvPr/>
        </p:nvSpPr>
        <p:spPr bwMode="gray">
          <a:xfrm>
            <a:off x="5068801"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Red</a:t>
            </a:r>
            <a:br>
              <a:rPr lang="en-US" sz="700" b="1" baseline="0"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21 / 0 / 49</a:t>
            </a:r>
          </a:p>
        </p:txBody>
      </p:sp>
      <p:sp>
        <p:nvSpPr>
          <p:cNvPr id="245" name="Textfeld 22"/>
          <p:cNvSpPr txBox="1"/>
          <p:nvPr/>
        </p:nvSpPr>
        <p:spPr bwMode="gray">
          <a:xfrm>
            <a:off x="21710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utterscotch</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08 / 130 / 47</a:t>
            </a:r>
          </a:p>
        </p:txBody>
      </p:sp>
      <p:sp>
        <p:nvSpPr>
          <p:cNvPr id="246" name="Textfeld 23"/>
          <p:cNvSpPr txBox="1"/>
          <p:nvPr/>
        </p:nvSpPr>
        <p:spPr bwMode="gray">
          <a:xfrm>
            <a:off x="3659814"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err="1">
                <a:solidFill>
                  <a:sysClr val="windowText" lastClr="000000"/>
                </a:solidFill>
                <a:latin typeface="Arial" panose="020B0604020202020204" pitchFamily="34" charset="0"/>
                <a:ea typeface="Allianz Sans" pitchFamily="50" charset="0"/>
              </a:rPr>
              <a:t>Maro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58 / 83 / 48</a:t>
            </a:r>
          </a:p>
        </p:txBody>
      </p:sp>
      <p:sp>
        <p:nvSpPr>
          <p:cNvPr id="247" name="Textfeld 24"/>
          <p:cNvSpPr txBox="1"/>
          <p:nvPr/>
        </p:nvSpPr>
        <p:spPr bwMode="gray">
          <a:xfrm>
            <a:off x="5121968"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ine</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50 / 70 / 97</a:t>
            </a:r>
            <a:endParaRPr lang="en-US" sz="700" noProof="0" dirty="0">
              <a:solidFill>
                <a:sysClr val="windowText" lastClr="000000"/>
              </a:solidFill>
              <a:latin typeface="Arial" panose="020B0604020202020204" pitchFamily="34" charset="0"/>
              <a:ea typeface="Allianz Sans" pitchFamily="50" charset="0"/>
            </a:endParaRPr>
          </a:p>
        </p:txBody>
      </p:sp>
      <p:sp>
        <p:nvSpPr>
          <p:cNvPr id="248" name="Textfeld 25"/>
          <p:cNvSpPr txBox="1"/>
          <p:nvPr/>
        </p:nvSpPr>
        <p:spPr bwMode="gray">
          <a:xfrm>
            <a:off x="65486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lum</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26 / 84 / 117</a:t>
            </a:r>
          </a:p>
        </p:txBody>
      </p:sp>
      <p:sp>
        <p:nvSpPr>
          <p:cNvPr id="249" name="Textfeld 26"/>
          <p:cNvSpPr txBox="1"/>
          <p:nvPr/>
        </p:nvSpPr>
        <p:spPr bwMode="gray">
          <a:xfrm>
            <a:off x="7997537"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etro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a:t>
            </a:r>
            <a:r>
              <a:rPr lang="en-US" sz="700" baseline="0" noProof="0" dirty="0">
                <a:solidFill>
                  <a:sysClr val="windowText" lastClr="000000"/>
                </a:solidFill>
                <a:latin typeface="Arial" panose="020B0604020202020204" pitchFamily="34" charset="0"/>
                <a:ea typeface="Allianz Sans" pitchFamily="50" charset="0"/>
              </a:rPr>
              <a:t> / 115 / 150</a:t>
            </a:r>
            <a:endParaRPr lang="en-US" sz="700" noProof="0" dirty="0">
              <a:solidFill>
                <a:sysClr val="windowText" lastClr="000000"/>
              </a:solidFill>
              <a:latin typeface="Arial" panose="020B0604020202020204" pitchFamily="34" charset="0"/>
              <a:ea typeface="Allianz Sans" pitchFamily="50" charset="0"/>
            </a:endParaRPr>
          </a:p>
        </p:txBody>
      </p:sp>
      <p:sp>
        <p:nvSpPr>
          <p:cNvPr id="250" name="Textfeld 27"/>
          <p:cNvSpPr txBox="1"/>
          <p:nvPr/>
        </p:nvSpPr>
        <p:spPr bwMode="gray">
          <a:xfrm>
            <a:off x="9468553"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ce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42 / 91 / 108</a:t>
            </a:r>
          </a:p>
        </p:txBody>
      </p:sp>
      <p:sp>
        <p:nvSpPr>
          <p:cNvPr id="251" name="Textfeld 28"/>
          <p:cNvSpPr txBox="1"/>
          <p:nvPr/>
        </p:nvSpPr>
        <p:spPr bwMode="gray">
          <a:xfrm>
            <a:off x="10921845"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Dark Gree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39 / 93 / 56</a:t>
            </a:r>
          </a:p>
        </p:txBody>
      </p:sp>
      <p:sp>
        <p:nvSpPr>
          <p:cNvPr id="252" name="Textfeld 38"/>
          <p:cNvSpPr txBox="1"/>
          <p:nvPr/>
        </p:nvSpPr>
        <p:spPr bwMode="gray">
          <a:xfrm>
            <a:off x="21710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Yellow</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47 / 169 / 25</a:t>
            </a:r>
          </a:p>
        </p:txBody>
      </p:sp>
      <p:sp>
        <p:nvSpPr>
          <p:cNvPr id="253" name="Textfeld 39"/>
          <p:cNvSpPr txBox="1"/>
          <p:nvPr/>
        </p:nvSpPr>
        <p:spPr bwMode="gray">
          <a:xfrm>
            <a:off x="3659814"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rang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32 / 97 / 12</a:t>
            </a:r>
          </a:p>
        </p:txBody>
      </p:sp>
      <p:sp>
        <p:nvSpPr>
          <p:cNvPr id="254" name="Textfeld 40"/>
          <p:cNvSpPr txBox="1"/>
          <p:nvPr/>
        </p:nvSpPr>
        <p:spPr bwMode="gray">
          <a:xfrm>
            <a:off x="5121968"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erry</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34 / 31 / 65</a:t>
            </a:r>
            <a:endParaRPr lang="en-US" sz="700" noProof="0" dirty="0">
              <a:solidFill>
                <a:sysClr val="windowText" lastClr="000000"/>
              </a:solidFill>
              <a:latin typeface="Arial" panose="020B0604020202020204" pitchFamily="34" charset="0"/>
              <a:ea typeface="Allianz Sans" pitchFamily="50" charset="0"/>
            </a:endParaRPr>
          </a:p>
        </p:txBody>
      </p:sp>
      <p:sp>
        <p:nvSpPr>
          <p:cNvPr id="255" name="Textfeld 41"/>
          <p:cNvSpPr txBox="1"/>
          <p:nvPr/>
        </p:nvSpPr>
        <p:spPr bwMode="gray">
          <a:xfrm>
            <a:off x="65486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urpl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6 / 42 / 91</a:t>
            </a:r>
          </a:p>
        </p:txBody>
      </p:sp>
      <p:sp>
        <p:nvSpPr>
          <p:cNvPr id="256" name="Textfeld 42"/>
          <p:cNvSpPr txBox="1"/>
          <p:nvPr/>
        </p:nvSpPr>
        <p:spPr bwMode="gray">
          <a:xfrm>
            <a:off x="7997537"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Cy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47 /</a:t>
            </a:r>
            <a:r>
              <a:rPr lang="en-US" sz="700" baseline="0" noProof="0" dirty="0">
                <a:solidFill>
                  <a:sysClr val="windowText" lastClr="000000"/>
                </a:solidFill>
                <a:latin typeface="Arial" panose="020B0604020202020204" pitchFamily="34" charset="0"/>
                <a:ea typeface="Allianz Sans" pitchFamily="50" charset="0"/>
              </a:rPr>
              <a:t> 178</a:t>
            </a:r>
            <a:endParaRPr lang="en-US" sz="700" noProof="0" dirty="0">
              <a:solidFill>
                <a:sysClr val="windowText" lastClr="000000"/>
              </a:solidFill>
              <a:latin typeface="Arial" panose="020B0604020202020204" pitchFamily="34" charset="0"/>
              <a:ea typeface="Allianz Sans" pitchFamily="50" charset="0"/>
            </a:endParaRPr>
          </a:p>
        </p:txBody>
      </p:sp>
      <p:sp>
        <p:nvSpPr>
          <p:cNvPr id="257" name="Textfeld 43"/>
          <p:cNvSpPr txBox="1"/>
          <p:nvPr/>
        </p:nvSpPr>
        <p:spPr bwMode="gray">
          <a:xfrm>
            <a:off x="9468553"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Stee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7 / 143 / 156</a:t>
            </a:r>
          </a:p>
        </p:txBody>
      </p:sp>
      <p:sp>
        <p:nvSpPr>
          <p:cNvPr id="258" name="Textfeld 44"/>
          <p:cNvSpPr txBox="1"/>
          <p:nvPr/>
        </p:nvSpPr>
        <p:spPr bwMode="gray">
          <a:xfrm>
            <a:off x="10921845"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a:t>
            </a:r>
            <a:r>
              <a:rPr lang="en-US" sz="700" b="1" baseline="0" noProof="0" dirty="0">
                <a:solidFill>
                  <a:sysClr val="windowText" lastClr="000000"/>
                </a:solidFill>
                <a:latin typeface="Arial" panose="020B0604020202020204" pitchFamily="34" charset="0"/>
                <a:ea typeface="Allianz Sans" pitchFamily="50" charset="0"/>
              </a:rPr>
              <a:t> Gree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22 / 51</a:t>
            </a:r>
          </a:p>
        </p:txBody>
      </p:sp>
      <p:sp>
        <p:nvSpPr>
          <p:cNvPr id="259" name="Textfeld 48"/>
          <p:cNvSpPr txBox="1"/>
          <p:nvPr/>
        </p:nvSpPr>
        <p:spPr bwMode="gray">
          <a:xfrm>
            <a:off x="21710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2 / 168 / 109</a:t>
            </a:r>
          </a:p>
        </p:txBody>
      </p:sp>
      <p:sp>
        <p:nvSpPr>
          <p:cNvPr id="260" name="Textfeld 49"/>
          <p:cNvSpPr txBox="1"/>
          <p:nvPr/>
        </p:nvSpPr>
        <p:spPr bwMode="gray">
          <a:xfrm>
            <a:off x="3659814"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7 / 135 / 110</a:t>
            </a:r>
          </a:p>
        </p:txBody>
      </p:sp>
      <p:sp>
        <p:nvSpPr>
          <p:cNvPr id="261" name="Textfeld 50"/>
          <p:cNvSpPr txBox="1"/>
          <p:nvPr/>
        </p:nvSpPr>
        <p:spPr bwMode="gray">
          <a:xfrm>
            <a:off x="5121968"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81 / 125 / 144</a:t>
            </a:r>
            <a:endParaRPr lang="en-US" sz="700" noProof="0" dirty="0">
              <a:solidFill>
                <a:schemeClr val="tx1"/>
              </a:solidFill>
              <a:latin typeface="Arial" panose="020B0604020202020204" pitchFamily="34" charset="0"/>
              <a:ea typeface="Allianz Sans" pitchFamily="50" charset="0"/>
            </a:endParaRPr>
          </a:p>
        </p:txBody>
      </p:sp>
      <p:sp>
        <p:nvSpPr>
          <p:cNvPr id="262" name="Textfeld 51"/>
          <p:cNvSpPr txBox="1"/>
          <p:nvPr/>
        </p:nvSpPr>
        <p:spPr bwMode="gray">
          <a:xfrm>
            <a:off x="65486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65 / 135 / 158</a:t>
            </a:r>
          </a:p>
        </p:txBody>
      </p:sp>
      <p:sp>
        <p:nvSpPr>
          <p:cNvPr id="263" name="Textfeld 52"/>
          <p:cNvSpPr txBox="1"/>
          <p:nvPr/>
        </p:nvSpPr>
        <p:spPr bwMode="gray">
          <a:xfrm>
            <a:off x="7997537"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7 / 157 / 182</a:t>
            </a:r>
          </a:p>
        </p:txBody>
      </p:sp>
      <p:sp>
        <p:nvSpPr>
          <p:cNvPr id="264" name="Textfeld 53"/>
          <p:cNvSpPr txBox="1"/>
          <p:nvPr/>
        </p:nvSpPr>
        <p:spPr bwMode="gray">
          <a:xfrm>
            <a:off x="9468553"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6 / 140 /</a:t>
            </a:r>
            <a:r>
              <a:rPr lang="en-US" sz="700" baseline="0" noProof="0" dirty="0">
                <a:solidFill>
                  <a:schemeClr val="tx1"/>
                </a:solidFill>
                <a:latin typeface="Arial" panose="020B0604020202020204" pitchFamily="34" charset="0"/>
                <a:ea typeface="Allianz Sans" pitchFamily="50" charset="0"/>
              </a:rPr>
              <a:t> 152</a:t>
            </a:r>
            <a:endParaRPr lang="en-US" sz="700" noProof="0" dirty="0">
              <a:solidFill>
                <a:schemeClr val="tx1"/>
              </a:solidFill>
              <a:latin typeface="Arial" panose="020B0604020202020204" pitchFamily="34" charset="0"/>
              <a:ea typeface="Allianz Sans" pitchFamily="50" charset="0"/>
            </a:endParaRPr>
          </a:p>
        </p:txBody>
      </p:sp>
      <p:sp>
        <p:nvSpPr>
          <p:cNvPr id="265" name="Textfeld 54"/>
          <p:cNvSpPr txBox="1"/>
          <p:nvPr/>
        </p:nvSpPr>
        <p:spPr bwMode="gray">
          <a:xfrm>
            <a:off x="10921845"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4 / 142 / 116</a:t>
            </a:r>
          </a:p>
        </p:txBody>
      </p:sp>
      <p:sp>
        <p:nvSpPr>
          <p:cNvPr id="266" name="Textfeld 48"/>
          <p:cNvSpPr txBox="1"/>
          <p:nvPr/>
        </p:nvSpPr>
        <p:spPr bwMode="gray">
          <a:xfrm>
            <a:off x="21710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2 / 193 / 151</a:t>
            </a:r>
          </a:p>
        </p:txBody>
      </p:sp>
      <p:sp>
        <p:nvSpPr>
          <p:cNvPr id="267" name="Textfeld 49"/>
          <p:cNvSpPr txBox="1"/>
          <p:nvPr/>
        </p:nvSpPr>
        <p:spPr bwMode="gray">
          <a:xfrm>
            <a:off x="3659814"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6 / 169 / 151</a:t>
            </a:r>
          </a:p>
        </p:txBody>
      </p:sp>
      <p:sp>
        <p:nvSpPr>
          <p:cNvPr id="268" name="Textfeld 50"/>
          <p:cNvSpPr txBox="1"/>
          <p:nvPr/>
        </p:nvSpPr>
        <p:spPr bwMode="gray">
          <a:xfrm>
            <a:off x="5121968"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02 / 162 / 176</a:t>
            </a:r>
            <a:endParaRPr lang="en-US" sz="700" noProof="0" dirty="0">
              <a:solidFill>
                <a:schemeClr val="tx1"/>
              </a:solidFill>
              <a:latin typeface="Arial" panose="020B0604020202020204" pitchFamily="34" charset="0"/>
              <a:ea typeface="Allianz Sans" pitchFamily="50" charset="0"/>
            </a:endParaRPr>
          </a:p>
        </p:txBody>
      </p:sp>
      <p:sp>
        <p:nvSpPr>
          <p:cNvPr id="269" name="Textfeld 51"/>
          <p:cNvSpPr txBox="1"/>
          <p:nvPr/>
        </p:nvSpPr>
        <p:spPr bwMode="gray">
          <a:xfrm>
            <a:off x="65486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90 / 169 / 186</a:t>
            </a:r>
          </a:p>
        </p:txBody>
      </p:sp>
      <p:sp>
        <p:nvSpPr>
          <p:cNvPr id="270" name="Textfeld 52"/>
          <p:cNvSpPr txBox="1"/>
          <p:nvPr/>
        </p:nvSpPr>
        <p:spPr bwMode="gray">
          <a:xfrm>
            <a:off x="7997537"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5 / 203</a:t>
            </a:r>
          </a:p>
        </p:txBody>
      </p:sp>
      <p:sp>
        <p:nvSpPr>
          <p:cNvPr id="271" name="Textfeld 53"/>
          <p:cNvSpPr txBox="1"/>
          <p:nvPr/>
        </p:nvSpPr>
        <p:spPr bwMode="gray">
          <a:xfrm>
            <a:off x="9468553"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9 / 173 / 182</a:t>
            </a:r>
          </a:p>
        </p:txBody>
      </p:sp>
      <p:sp>
        <p:nvSpPr>
          <p:cNvPr id="272" name="Textfeld 54"/>
          <p:cNvSpPr txBox="1"/>
          <p:nvPr/>
        </p:nvSpPr>
        <p:spPr bwMode="gray">
          <a:xfrm>
            <a:off x="10921845"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7 / 174 / 156</a:t>
            </a:r>
          </a:p>
        </p:txBody>
      </p:sp>
      <p:sp>
        <p:nvSpPr>
          <p:cNvPr id="273" name="Textfeld 48"/>
          <p:cNvSpPr txBox="1"/>
          <p:nvPr/>
        </p:nvSpPr>
        <p:spPr bwMode="gray">
          <a:xfrm>
            <a:off x="21710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6 / 230 / 213</a:t>
            </a:r>
          </a:p>
        </p:txBody>
      </p:sp>
      <p:sp>
        <p:nvSpPr>
          <p:cNvPr id="274" name="Textfeld 49"/>
          <p:cNvSpPr txBox="1"/>
          <p:nvPr/>
        </p:nvSpPr>
        <p:spPr bwMode="gray">
          <a:xfrm>
            <a:off x="3659814"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6 / 221 / 214</a:t>
            </a:r>
          </a:p>
        </p:txBody>
      </p:sp>
      <p:sp>
        <p:nvSpPr>
          <p:cNvPr id="275" name="Textfeld 50"/>
          <p:cNvSpPr txBox="1"/>
          <p:nvPr/>
        </p:nvSpPr>
        <p:spPr bwMode="gray">
          <a:xfrm>
            <a:off x="5121968"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43 / 218 / 223</a:t>
            </a:r>
            <a:endParaRPr lang="en-US" sz="700" noProof="0" dirty="0">
              <a:solidFill>
                <a:schemeClr val="tx1"/>
              </a:solidFill>
              <a:latin typeface="Arial" panose="020B0604020202020204" pitchFamily="34" charset="0"/>
              <a:ea typeface="Allianz Sans" pitchFamily="50" charset="0"/>
            </a:endParaRPr>
          </a:p>
        </p:txBody>
      </p:sp>
      <p:sp>
        <p:nvSpPr>
          <p:cNvPr id="276" name="Textfeld 51"/>
          <p:cNvSpPr txBox="1"/>
          <p:nvPr/>
        </p:nvSpPr>
        <p:spPr bwMode="gray">
          <a:xfrm>
            <a:off x="65486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9 / 221 / 227</a:t>
            </a:r>
          </a:p>
        </p:txBody>
      </p:sp>
      <p:sp>
        <p:nvSpPr>
          <p:cNvPr id="277" name="Textfeld 52"/>
          <p:cNvSpPr txBox="1"/>
          <p:nvPr/>
        </p:nvSpPr>
        <p:spPr bwMode="gray">
          <a:xfrm>
            <a:off x="7997537"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7 / 234</a:t>
            </a:r>
          </a:p>
        </p:txBody>
      </p:sp>
      <p:sp>
        <p:nvSpPr>
          <p:cNvPr id="278" name="Textfeld 53"/>
          <p:cNvSpPr txBox="1"/>
          <p:nvPr/>
        </p:nvSpPr>
        <p:spPr bwMode="gray">
          <a:xfrm>
            <a:off x="9468553"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a:t>
            </a:r>
            <a:r>
              <a:rPr lang="en-US" sz="700" baseline="0" noProof="0" dirty="0">
                <a:solidFill>
                  <a:schemeClr val="tx1"/>
                </a:solidFill>
                <a:latin typeface="Arial" panose="020B0604020202020204" pitchFamily="34" charset="0"/>
                <a:ea typeface="Allianz Sans" pitchFamily="50" charset="0"/>
              </a:rPr>
              <a:t> / 222 / 226</a:t>
            </a:r>
            <a:endParaRPr lang="en-US" sz="700" noProof="0" dirty="0">
              <a:solidFill>
                <a:schemeClr val="tx1"/>
              </a:solidFill>
              <a:latin typeface="Arial" panose="020B0604020202020204" pitchFamily="34" charset="0"/>
              <a:ea typeface="Allianz Sans" pitchFamily="50" charset="0"/>
            </a:endParaRPr>
          </a:p>
        </p:txBody>
      </p:sp>
      <p:sp>
        <p:nvSpPr>
          <p:cNvPr id="279" name="Textfeld 54"/>
          <p:cNvSpPr txBox="1"/>
          <p:nvPr/>
        </p:nvSpPr>
        <p:spPr bwMode="gray">
          <a:xfrm>
            <a:off x="10921845"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 / 223 / 215</a:t>
            </a:r>
          </a:p>
        </p:txBody>
      </p:sp>
      <p:sp>
        <p:nvSpPr>
          <p:cNvPr id="280" name="Textfeld 48"/>
          <p:cNvSpPr txBox="1"/>
          <p:nvPr/>
        </p:nvSpPr>
        <p:spPr bwMode="gray">
          <a:xfrm>
            <a:off x="2171076"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9 / 195 / 94</a:t>
            </a:r>
          </a:p>
        </p:txBody>
      </p:sp>
      <p:sp>
        <p:nvSpPr>
          <p:cNvPr id="281" name="Textfeld 49"/>
          <p:cNvSpPr txBox="1"/>
          <p:nvPr/>
        </p:nvSpPr>
        <p:spPr bwMode="gray">
          <a:xfrm>
            <a:off x="3659814"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9 / 144 / 85</a:t>
            </a:r>
          </a:p>
        </p:txBody>
      </p:sp>
      <p:sp>
        <p:nvSpPr>
          <p:cNvPr id="282" name="Textfeld 50"/>
          <p:cNvSpPr txBox="1"/>
          <p:nvPr/>
        </p:nvSpPr>
        <p:spPr bwMode="gray">
          <a:xfrm>
            <a:off x="5121968"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70 / 98 / 122</a:t>
            </a:r>
            <a:endParaRPr lang="en-US" sz="700" noProof="0" dirty="0">
              <a:solidFill>
                <a:schemeClr val="tx1"/>
              </a:solidFill>
              <a:latin typeface="Arial" panose="020B0604020202020204" pitchFamily="34" charset="0"/>
              <a:ea typeface="Allianz Sans" pitchFamily="50" charset="0"/>
            </a:endParaRPr>
          </a:p>
        </p:txBody>
      </p:sp>
      <p:sp>
        <p:nvSpPr>
          <p:cNvPr id="283" name="Textfeld 51"/>
          <p:cNvSpPr txBox="1"/>
          <p:nvPr/>
        </p:nvSpPr>
        <p:spPr bwMode="gray">
          <a:xfrm>
            <a:off x="6548676"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06 / 140</a:t>
            </a:r>
          </a:p>
        </p:txBody>
      </p:sp>
      <p:sp>
        <p:nvSpPr>
          <p:cNvPr id="284" name="Textfeld 52"/>
          <p:cNvSpPr txBox="1"/>
          <p:nvPr/>
        </p:nvSpPr>
        <p:spPr bwMode="gray">
          <a:xfrm>
            <a:off x="7997537"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79 / 201</a:t>
            </a:r>
          </a:p>
        </p:txBody>
      </p:sp>
      <p:sp>
        <p:nvSpPr>
          <p:cNvPr id="285" name="Textfeld 53"/>
          <p:cNvSpPr txBox="1"/>
          <p:nvPr/>
        </p:nvSpPr>
        <p:spPr bwMode="gray">
          <a:xfrm>
            <a:off x="9468553"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77 / 186</a:t>
            </a:r>
          </a:p>
        </p:txBody>
      </p:sp>
      <p:sp>
        <p:nvSpPr>
          <p:cNvPr id="286" name="Textfeld 54"/>
          <p:cNvSpPr txBox="1"/>
          <p:nvPr/>
        </p:nvSpPr>
        <p:spPr bwMode="gray">
          <a:xfrm>
            <a:off x="10921845"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62 / 112</a:t>
            </a:r>
          </a:p>
        </p:txBody>
      </p:sp>
      <p:sp>
        <p:nvSpPr>
          <p:cNvPr id="287" name="Textfeld 48"/>
          <p:cNvSpPr txBox="1"/>
          <p:nvPr/>
        </p:nvSpPr>
        <p:spPr bwMode="gray">
          <a:xfrm>
            <a:off x="2171076"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1 / 212 / 140</a:t>
            </a:r>
          </a:p>
        </p:txBody>
      </p:sp>
      <p:sp>
        <p:nvSpPr>
          <p:cNvPr id="288" name="Textfeld 49"/>
          <p:cNvSpPr txBox="1"/>
          <p:nvPr/>
        </p:nvSpPr>
        <p:spPr bwMode="gray">
          <a:xfrm>
            <a:off x="3659814"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3 / 176 / 133</a:t>
            </a:r>
          </a:p>
        </p:txBody>
      </p:sp>
      <p:sp>
        <p:nvSpPr>
          <p:cNvPr id="289" name="Textfeld 50"/>
          <p:cNvSpPr txBox="1"/>
          <p:nvPr/>
        </p:nvSpPr>
        <p:spPr bwMode="gray">
          <a:xfrm>
            <a:off x="5121968"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94 / 143 / 160</a:t>
            </a:r>
            <a:endParaRPr lang="en-US" sz="700" noProof="0" dirty="0">
              <a:solidFill>
                <a:schemeClr val="tx1"/>
              </a:solidFill>
              <a:latin typeface="Arial" panose="020B0604020202020204" pitchFamily="34" charset="0"/>
              <a:ea typeface="Allianz Sans" pitchFamily="50" charset="0"/>
            </a:endParaRPr>
          </a:p>
        </p:txBody>
      </p:sp>
      <p:sp>
        <p:nvSpPr>
          <p:cNvPr id="290" name="Textfeld 51"/>
          <p:cNvSpPr txBox="1"/>
          <p:nvPr/>
        </p:nvSpPr>
        <p:spPr bwMode="gray">
          <a:xfrm>
            <a:off x="6548676"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48 / 173</a:t>
            </a:r>
          </a:p>
        </p:txBody>
      </p:sp>
      <p:sp>
        <p:nvSpPr>
          <p:cNvPr id="291" name="Textfeld 52"/>
          <p:cNvSpPr txBox="1"/>
          <p:nvPr/>
        </p:nvSpPr>
        <p:spPr bwMode="gray">
          <a:xfrm>
            <a:off x="7997537"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201 / 216</a:t>
            </a:r>
          </a:p>
        </p:txBody>
      </p:sp>
      <p:sp>
        <p:nvSpPr>
          <p:cNvPr id="292" name="Textfeld 53"/>
          <p:cNvSpPr txBox="1"/>
          <p:nvPr/>
        </p:nvSpPr>
        <p:spPr bwMode="gray">
          <a:xfrm>
            <a:off x="9468553"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99 / 205</a:t>
            </a:r>
          </a:p>
        </p:txBody>
      </p:sp>
      <p:sp>
        <p:nvSpPr>
          <p:cNvPr id="293" name="Textfeld 54"/>
          <p:cNvSpPr txBox="1"/>
          <p:nvPr/>
        </p:nvSpPr>
        <p:spPr bwMode="gray">
          <a:xfrm>
            <a:off x="10921845"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8 / 153</a:t>
            </a:r>
          </a:p>
        </p:txBody>
      </p:sp>
      <p:sp>
        <p:nvSpPr>
          <p:cNvPr id="294" name="Textfeld 48"/>
          <p:cNvSpPr txBox="1"/>
          <p:nvPr/>
        </p:nvSpPr>
        <p:spPr bwMode="gray">
          <a:xfrm>
            <a:off x="21710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3 / 238 /</a:t>
            </a:r>
            <a:r>
              <a:rPr lang="en-US" sz="700" baseline="0" noProof="0" dirty="0">
                <a:solidFill>
                  <a:schemeClr val="tx1"/>
                </a:solidFill>
                <a:latin typeface="Arial" panose="020B0604020202020204" pitchFamily="34" charset="0"/>
                <a:ea typeface="Allianz Sans" pitchFamily="50" charset="0"/>
              </a:rPr>
              <a:t> 209</a:t>
            </a:r>
            <a:endParaRPr lang="en-US" sz="700" noProof="0" dirty="0">
              <a:solidFill>
                <a:schemeClr val="tx1"/>
              </a:solidFill>
              <a:latin typeface="Arial" panose="020B0604020202020204" pitchFamily="34" charset="0"/>
              <a:ea typeface="Allianz Sans" pitchFamily="50" charset="0"/>
            </a:endParaRPr>
          </a:p>
        </p:txBody>
      </p:sp>
      <p:sp>
        <p:nvSpPr>
          <p:cNvPr id="295" name="Textfeld 49"/>
          <p:cNvSpPr txBox="1"/>
          <p:nvPr/>
        </p:nvSpPr>
        <p:spPr bwMode="gray">
          <a:xfrm>
            <a:off x="3659814"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0 / 223 / 206</a:t>
            </a:r>
          </a:p>
        </p:txBody>
      </p:sp>
      <p:sp>
        <p:nvSpPr>
          <p:cNvPr id="296" name="Textfeld 50"/>
          <p:cNvSpPr txBox="1"/>
          <p:nvPr/>
        </p:nvSpPr>
        <p:spPr bwMode="gray">
          <a:xfrm>
            <a:off x="5121968"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31 / 210 / 217</a:t>
            </a:r>
            <a:endParaRPr lang="en-US" sz="700" noProof="0" dirty="0">
              <a:solidFill>
                <a:schemeClr val="tx1"/>
              </a:solidFill>
              <a:latin typeface="Arial" panose="020B0604020202020204" pitchFamily="34" charset="0"/>
              <a:ea typeface="Allianz Sans" pitchFamily="50" charset="0"/>
            </a:endParaRPr>
          </a:p>
        </p:txBody>
      </p:sp>
      <p:sp>
        <p:nvSpPr>
          <p:cNvPr id="297" name="Textfeld 51"/>
          <p:cNvSpPr txBox="1"/>
          <p:nvPr/>
        </p:nvSpPr>
        <p:spPr bwMode="gray">
          <a:xfrm>
            <a:off x="65486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12 / 222</a:t>
            </a:r>
          </a:p>
        </p:txBody>
      </p:sp>
      <p:sp>
        <p:nvSpPr>
          <p:cNvPr id="298" name="Textfeld 52"/>
          <p:cNvSpPr txBox="1"/>
          <p:nvPr/>
        </p:nvSpPr>
        <p:spPr bwMode="gray">
          <a:xfrm>
            <a:off x="7997537"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33 / 240</a:t>
            </a:r>
          </a:p>
        </p:txBody>
      </p:sp>
      <p:sp>
        <p:nvSpPr>
          <p:cNvPr id="299" name="Textfeld 53"/>
          <p:cNvSpPr txBox="1"/>
          <p:nvPr/>
        </p:nvSpPr>
        <p:spPr bwMode="gray">
          <a:xfrm>
            <a:off x="9468553"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33 / 235</a:t>
            </a:r>
          </a:p>
        </p:txBody>
      </p:sp>
      <p:sp>
        <p:nvSpPr>
          <p:cNvPr id="300" name="Textfeld 54"/>
          <p:cNvSpPr txBox="1"/>
          <p:nvPr/>
        </p:nvSpPr>
        <p:spPr bwMode="gray">
          <a:xfrm>
            <a:off x="10921845"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8 / 214</a:t>
            </a:r>
          </a:p>
        </p:txBody>
      </p:sp>
      <p:sp>
        <p:nvSpPr>
          <p:cNvPr id="301" name="Textfeld 141"/>
          <p:cNvSpPr txBox="1"/>
          <p:nvPr/>
        </p:nvSpPr>
        <p:spPr bwMode="gray">
          <a:xfrm>
            <a:off x="3642092" y="1587600"/>
            <a:ext cx="983631"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 Gray</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37 / 237 / 237</a:t>
            </a:r>
          </a:p>
        </p:txBody>
      </p:sp>
      <p:sp>
        <p:nvSpPr>
          <p:cNvPr id="302" name="Textfeld 48"/>
          <p:cNvSpPr txBox="1"/>
          <p:nvPr/>
        </p:nvSpPr>
        <p:spPr bwMode="gray">
          <a:xfrm>
            <a:off x="3642092" y="2071044"/>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77 / 77 / 77</a:t>
            </a:r>
          </a:p>
        </p:txBody>
      </p:sp>
      <p:sp>
        <p:nvSpPr>
          <p:cNvPr id="303" name="Textfeld 48"/>
          <p:cNvSpPr txBox="1"/>
          <p:nvPr/>
        </p:nvSpPr>
        <p:spPr bwMode="gray">
          <a:xfrm>
            <a:off x="3642092" y="2323266"/>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35 / 135 / 135</a:t>
            </a:r>
          </a:p>
        </p:txBody>
      </p:sp>
      <p:sp>
        <p:nvSpPr>
          <p:cNvPr id="304" name="Textfeld 48"/>
          <p:cNvSpPr txBox="1"/>
          <p:nvPr/>
        </p:nvSpPr>
        <p:spPr bwMode="gray">
          <a:xfrm>
            <a:off x="3642092" y="2570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78 / 178 / 178</a:t>
            </a:r>
          </a:p>
        </p:txBody>
      </p:sp>
      <p:sp>
        <p:nvSpPr>
          <p:cNvPr id="305" name="Textfeld 48"/>
          <p:cNvSpPr txBox="1"/>
          <p:nvPr/>
        </p:nvSpPr>
        <p:spPr bwMode="gray">
          <a:xfrm>
            <a:off x="3642092" y="2822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18 / 218 / 218</a:t>
            </a:r>
          </a:p>
        </p:txBody>
      </p:sp>
      <p:sp>
        <p:nvSpPr>
          <p:cNvPr id="306" name="Titel 1"/>
          <p:cNvSpPr txBox="1">
            <a:spLocks/>
          </p:cNvSpPr>
          <p:nvPr/>
        </p:nvSpPr>
        <p:spPr bwMode="gray">
          <a:xfrm>
            <a:off x="398769" y="658800"/>
            <a:ext cx="9459692"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baseline="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en-US" sz="2000" kern="0" noProof="0" dirty="0">
                <a:latin typeface="Arial" panose="020B0604020202020204" pitchFamily="34" charset="0"/>
              </a:rPr>
              <a:t>PowerPoint color </a:t>
            </a:r>
            <a:r>
              <a:rPr lang="en-US" sz="2000" kern="0" baseline="0" noProof="0" dirty="0">
                <a:solidFill>
                  <a:schemeClr val="tx2"/>
                </a:solidFill>
                <a:latin typeface="Arial" panose="020B0604020202020204" pitchFamily="34" charset="0"/>
                <a:ea typeface="+mj-ea"/>
                <a:cs typeface="+mj-cs"/>
              </a:rPr>
              <a:t>palette (RGB)</a:t>
            </a:r>
          </a:p>
        </p:txBody>
      </p:sp>
      <p:pic>
        <p:nvPicPr>
          <p:cNvPr id="307" name="Picture 81"/>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6220800" y="1587600"/>
            <a:ext cx="297388" cy="237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08" name="Rechteck 1"/>
          <p:cNvSpPr/>
          <p:nvPr/>
        </p:nvSpPr>
        <p:spPr bwMode="gray">
          <a:xfrm>
            <a:off x="6517662" y="1587600"/>
            <a:ext cx="1913339" cy="505387"/>
          </a:xfrm>
          <a:prstGeom prst="rect">
            <a:avLst/>
          </a:prstGeom>
        </p:spPr>
        <p:txBody>
          <a:bodyPr wrap="square" lIns="36000" tIns="0" rIns="0" bIns="0">
            <a:noAutofit/>
          </a:bodyPr>
          <a:lstStyle/>
          <a:p>
            <a:pPr marL="0" algn="l" defTabSz="914400" rtl="0" eaLnBrk="1" latinLnBrk="0" hangingPunct="1">
              <a:lnSpc>
                <a:spcPct val="120000"/>
              </a:lnSpc>
              <a:spcBef>
                <a:spcPts val="0"/>
              </a:spcBef>
              <a:spcAft>
                <a:spcPts val="0"/>
              </a:spcAft>
            </a:pPr>
            <a:r>
              <a:rPr lang="en-US" altLang="de-DE" sz="700" kern="1200" noProof="0" dirty="0">
                <a:solidFill>
                  <a:sysClr val="windowText" lastClr="000000"/>
                </a:solidFill>
                <a:latin typeface="Arial" panose="020B0604020202020204" pitchFamily="34" charset="0"/>
                <a:ea typeface="Allianz Sans" pitchFamily="50" charset="0"/>
                <a:cs typeface="+mn-cs"/>
              </a:rPr>
              <a:t>Please use the Format Painter </a:t>
            </a:r>
            <a:br>
              <a:rPr lang="en-US" altLang="de-DE" sz="700" kern="1200" noProof="0" dirty="0">
                <a:solidFill>
                  <a:sysClr val="windowText" lastClr="000000"/>
                </a:solidFill>
                <a:latin typeface="Arial" panose="020B0604020202020204" pitchFamily="34" charset="0"/>
                <a:ea typeface="Allianz Sans" pitchFamily="50" charset="0"/>
                <a:cs typeface="+mn-cs"/>
              </a:rPr>
            </a:br>
            <a:r>
              <a:rPr lang="en-US" altLang="de-DE" sz="700" kern="1200" noProof="0" dirty="0">
                <a:solidFill>
                  <a:sysClr val="windowText" lastClr="000000"/>
                </a:solidFill>
                <a:latin typeface="Arial" panose="020B0604020202020204" pitchFamily="34" charset="0"/>
                <a:ea typeface="Allianz Sans" pitchFamily="50" charset="0"/>
                <a:cs typeface="+mn-cs"/>
              </a:rPr>
              <a:t>to copy the color. </a:t>
            </a:r>
          </a:p>
        </p:txBody>
      </p:sp>
      <p:sp>
        <p:nvSpPr>
          <p:cNvPr id="309" name="Rechteck 167"/>
          <p:cNvSpPr/>
          <p:nvPr/>
        </p:nvSpPr>
        <p:spPr bwMode="gray">
          <a:xfrm>
            <a:off x="4776370" y="1587600"/>
            <a:ext cx="292431" cy="475200"/>
          </a:xfrm>
          <a:prstGeom prst="rect">
            <a:avLst/>
          </a:prstGeom>
          <a:solidFill>
            <a:srgbClr val="DD003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0" name="Rechteck 168"/>
          <p:cNvSpPr/>
          <p:nvPr/>
        </p:nvSpPr>
        <p:spPr bwMode="gray">
          <a:xfrm>
            <a:off x="1878646" y="3647583"/>
            <a:ext cx="292431" cy="486000"/>
          </a:xfrm>
          <a:prstGeom prst="rect">
            <a:avLst/>
          </a:prstGeom>
          <a:solidFill>
            <a:schemeClr val="accent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1" name="Rechteck 169"/>
          <p:cNvSpPr/>
          <p:nvPr/>
        </p:nvSpPr>
        <p:spPr bwMode="gray">
          <a:xfrm>
            <a:off x="3358522" y="3647583"/>
            <a:ext cx="292431" cy="486000"/>
          </a:xfrm>
          <a:prstGeom prst="rect">
            <a:avLst/>
          </a:prstGeom>
          <a:solidFill>
            <a:schemeClr val="bg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2" name="Rechteck 170"/>
          <p:cNvSpPr/>
          <p:nvPr/>
        </p:nvSpPr>
        <p:spPr bwMode="gray">
          <a:xfrm>
            <a:off x="4828378" y="3647582"/>
            <a:ext cx="292431" cy="486000"/>
          </a:xfrm>
          <a:prstGeom prst="rect">
            <a:avLst/>
          </a:prstGeom>
          <a:solidFill>
            <a:schemeClr val="accent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3" name="Rechteck 171"/>
          <p:cNvSpPr/>
          <p:nvPr/>
        </p:nvSpPr>
        <p:spPr bwMode="gray">
          <a:xfrm>
            <a:off x="6256007" y="3647583"/>
            <a:ext cx="292431" cy="486000"/>
          </a:xfrm>
          <a:prstGeom prst="rect">
            <a:avLst/>
          </a:prstGeom>
          <a:solidFill>
            <a:schemeClr val="accent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4" name="Rechteck 172"/>
          <p:cNvSpPr/>
          <p:nvPr/>
        </p:nvSpPr>
        <p:spPr bwMode="gray">
          <a:xfrm>
            <a:off x="10624985" y="3647583"/>
            <a:ext cx="292431" cy="486000"/>
          </a:xfrm>
          <a:prstGeom prst="rect">
            <a:avLst/>
          </a:prstGeom>
          <a:solidFill>
            <a:schemeClr val="accent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5" name="Rechteck 173"/>
          <p:cNvSpPr/>
          <p:nvPr/>
        </p:nvSpPr>
        <p:spPr bwMode="gray">
          <a:xfrm>
            <a:off x="1878646" y="5293698"/>
            <a:ext cx="292431" cy="486000"/>
          </a:xfrm>
          <a:prstGeom prst="rect">
            <a:avLst/>
          </a:prstGeom>
          <a:solidFill>
            <a:srgbClr val="F7A91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6" name="Rechteck 174"/>
          <p:cNvSpPr/>
          <p:nvPr/>
        </p:nvSpPr>
        <p:spPr bwMode="gray">
          <a:xfrm>
            <a:off x="3358522" y="5293698"/>
            <a:ext cx="292431" cy="486000"/>
          </a:xfrm>
          <a:prstGeom prst="rect">
            <a:avLst/>
          </a:prstGeom>
          <a:solidFill>
            <a:srgbClr val="E8610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7" name="Rechteck 175"/>
          <p:cNvSpPr/>
          <p:nvPr/>
        </p:nvSpPr>
        <p:spPr bwMode="gray">
          <a:xfrm>
            <a:off x="4828378" y="5293698"/>
            <a:ext cx="292431" cy="486000"/>
          </a:xfrm>
          <a:prstGeom prst="rect">
            <a:avLst/>
          </a:prstGeom>
          <a:solidFill>
            <a:srgbClr val="861F4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8" name="Rechteck 176"/>
          <p:cNvSpPr/>
          <p:nvPr/>
        </p:nvSpPr>
        <p:spPr bwMode="gray">
          <a:xfrm>
            <a:off x="6256007" y="5293698"/>
            <a:ext cx="292431" cy="486000"/>
          </a:xfrm>
          <a:prstGeom prst="rect">
            <a:avLst/>
          </a:prstGeom>
          <a:solidFill>
            <a:srgbClr val="6A2A5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19" name="Rechteck 177"/>
          <p:cNvSpPr/>
          <p:nvPr/>
        </p:nvSpPr>
        <p:spPr bwMode="gray">
          <a:xfrm>
            <a:off x="7700996" y="5293698"/>
            <a:ext cx="292431" cy="486000"/>
          </a:xfrm>
          <a:prstGeom prst="rect">
            <a:avLst/>
          </a:prstGeom>
          <a:solidFill>
            <a:srgbClr val="0093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0" name="Rechteck 178"/>
          <p:cNvSpPr/>
          <p:nvPr/>
        </p:nvSpPr>
        <p:spPr bwMode="gray">
          <a:xfrm>
            <a:off x="9171337" y="5293698"/>
            <a:ext cx="292431" cy="486000"/>
          </a:xfrm>
          <a:prstGeom prst="rect">
            <a:avLst/>
          </a:prstGeom>
          <a:solidFill>
            <a:srgbClr val="6B8F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1" name="Rechteck 179"/>
          <p:cNvSpPr/>
          <p:nvPr/>
        </p:nvSpPr>
        <p:spPr bwMode="gray">
          <a:xfrm>
            <a:off x="10624985" y="5293698"/>
            <a:ext cx="292431" cy="486000"/>
          </a:xfrm>
          <a:prstGeom prst="rect">
            <a:avLst/>
          </a:prstGeom>
          <a:solidFill>
            <a:srgbClr val="007A3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2" name="Rechteck 13"/>
          <p:cNvSpPr/>
          <p:nvPr/>
        </p:nvSpPr>
        <p:spPr bwMode="gray">
          <a:xfrm>
            <a:off x="1878646" y="4122896"/>
            <a:ext cx="292431" cy="252000"/>
          </a:xfrm>
          <a:prstGeom prst="rect">
            <a:avLst/>
          </a:prstGeom>
          <a:solidFill>
            <a:srgbClr val="DEA86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3" name="Rechteck 14"/>
          <p:cNvSpPr/>
          <p:nvPr/>
        </p:nvSpPr>
        <p:spPr bwMode="gray">
          <a:xfrm>
            <a:off x="3358522" y="4123656"/>
            <a:ext cx="292431" cy="252000"/>
          </a:xfrm>
          <a:prstGeom prst="rect">
            <a:avLst/>
          </a:prstGeom>
          <a:solidFill>
            <a:srgbClr val="BB876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4" name="Rechteck 15"/>
          <p:cNvSpPr/>
          <p:nvPr/>
        </p:nvSpPr>
        <p:spPr bwMode="gray">
          <a:xfrm>
            <a:off x="4828378" y="4121462"/>
            <a:ext cx="292431" cy="252000"/>
          </a:xfrm>
          <a:prstGeom prst="rect">
            <a:avLst/>
          </a:prstGeom>
          <a:solidFill>
            <a:srgbClr val="B57D9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5" name="Rechteck 16"/>
          <p:cNvSpPr/>
          <p:nvPr/>
        </p:nvSpPr>
        <p:spPr bwMode="gray">
          <a:xfrm>
            <a:off x="6256007" y="4122229"/>
            <a:ext cx="292431" cy="252000"/>
          </a:xfrm>
          <a:prstGeom prst="rect">
            <a:avLst/>
          </a:prstGeom>
          <a:solidFill>
            <a:srgbClr val="A5879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6" name="Rechteck 19"/>
          <p:cNvSpPr/>
          <p:nvPr/>
        </p:nvSpPr>
        <p:spPr bwMode="gray">
          <a:xfrm>
            <a:off x="10624985" y="4122433"/>
            <a:ext cx="292431" cy="252000"/>
          </a:xfrm>
          <a:prstGeom prst="rect">
            <a:avLst/>
          </a:prstGeom>
          <a:solidFill>
            <a:srgbClr val="688E7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27" name="Rechteck 13"/>
          <p:cNvSpPr/>
          <p:nvPr/>
        </p:nvSpPr>
        <p:spPr bwMode="gray">
          <a:xfrm>
            <a:off x="1878646" y="4360552"/>
            <a:ext cx="292431" cy="252000"/>
          </a:xfrm>
          <a:prstGeom prst="rect">
            <a:avLst/>
          </a:prstGeom>
          <a:solidFill>
            <a:srgbClr val="E8C1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28" name="Rechteck 14"/>
          <p:cNvSpPr/>
          <p:nvPr/>
        </p:nvSpPr>
        <p:spPr bwMode="gray">
          <a:xfrm>
            <a:off x="3358522" y="4363047"/>
            <a:ext cx="292431" cy="252000"/>
          </a:xfrm>
          <a:prstGeom prst="rect">
            <a:avLst/>
          </a:prstGeom>
          <a:solidFill>
            <a:srgbClr val="CEA9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29" name="Rechteck 15"/>
          <p:cNvSpPr/>
          <p:nvPr/>
        </p:nvSpPr>
        <p:spPr bwMode="gray">
          <a:xfrm>
            <a:off x="4828378" y="4358401"/>
            <a:ext cx="292431" cy="252000"/>
          </a:xfrm>
          <a:prstGeom prst="rect">
            <a:avLst/>
          </a:prstGeom>
          <a:solidFill>
            <a:srgbClr val="CAA2B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0" name="Rechteck 16"/>
          <p:cNvSpPr/>
          <p:nvPr/>
        </p:nvSpPr>
        <p:spPr bwMode="gray">
          <a:xfrm>
            <a:off x="6256007" y="4359554"/>
            <a:ext cx="292431" cy="252000"/>
          </a:xfrm>
          <a:prstGeom prst="rect">
            <a:avLst/>
          </a:prstGeom>
          <a:solidFill>
            <a:srgbClr val="BEA9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1" name="Rechteck 19"/>
          <p:cNvSpPr/>
          <p:nvPr/>
        </p:nvSpPr>
        <p:spPr bwMode="gray">
          <a:xfrm>
            <a:off x="10624985" y="4359860"/>
            <a:ext cx="292431" cy="252000"/>
          </a:xfrm>
          <a:prstGeom prst="rect">
            <a:avLst/>
          </a:prstGeom>
          <a:solidFill>
            <a:srgbClr val="93AE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2" name="Rechteck 13"/>
          <p:cNvSpPr/>
          <p:nvPr/>
        </p:nvSpPr>
        <p:spPr bwMode="gray">
          <a:xfrm>
            <a:off x="1878646" y="4598210"/>
            <a:ext cx="292431" cy="237600"/>
          </a:xfrm>
          <a:prstGeom prst="rect">
            <a:avLst/>
          </a:prstGeom>
          <a:solidFill>
            <a:srgbClr val="F6E6D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3" name="Rechteck 14"/>
          <p:cNvSpPr/>
          <p:nvPr/>
        </p:nvSpPr>
        <p:spPr bwMode="gray">
          <a:xfrm>
            <a:off x="3358522" y="4599732"/>
            <a:ext cx="292431" cy="237600"/>
          </a:xfrm>
          <a:prstGeom prst="rect">
            <a:avLst/>
          </a:prstGeom>
          <a:solidFill>
            <a:srgbClr val="ECDD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4" name="Rechteck 15"/>
          <p:cNvSpPr/>
          <p:nvPr/>
        </p:nvSpPr>
        <p:spPr bwMode="gray">
          <a:xfrm>
            <a:off x="4828378" y="4597962"/>
            <a:ext cx="292431" cy="237600"/>
          </a:xfrm>
          <a:prstGeom prst="rect">
            <a:avLst/>
          </a:prstGeom>
          <a:solidFill>
            <a:srgbClr val="EADADF"/>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5" name="Rechteck 16"/>
          <p:cNvSpPr/>
          <p:nvPr/>
        </p:nvSpPr>
        <p:spPr bwMode="gray">
          <a:xfrm>
            <a:off x="6256007" y="4596878"/>
            <a:ext cx="292431" cy="237600"/>
          </a:xfrm>
          <a:prstGeom prst="rect">
            <a:avLst/>
          </a:prstGeom>
          <a:solidFill>
            <a:srgbClr val="E5DDE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6" name="Rechteck 19"/>
          <p:cNvSpPr/>
          <p:nvPr/>
        </p:nvSpPr>
        <p:spPr bwMode="gray">
          <a:xfrm>
            <a:off x="10624985" y="4597286"/>
            <a:ext cx="292431" cy="237600"/>
          </a:xfrm>
          <a:prstGeom prst="rect">
            <a:avLst/>
          </a:prstGeom>
          <a:solidFill>
            <a:srgbClr val="D4DFD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37" name="Rechteck 13"/>
          <p:cNvSpPr/>
          <p:nvPr/>
        </p:nvSpPr>
        <p:spPr bwMode="gray">
          <a:xfrm>
            <a:off x="1878646" y="5769234"/>
            <a:ext cx="292431" cy="252000"/>
          </a:xfrm>
          <a:prstGeom prst="rect">
            <a:avLst/>
          </a:prstGeom>
          <a:solidFill>
            <a:srgbClr val="F9C35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38" name="Rechteck 14"/>
          <p:cNvSpPr/>
          <p:nvPr/>
        </p:nvSpPr>
        <p:spPr bwMode="gray">
          <a:xfrm>
            <a:off x="3358522" y="5768376"/>
            <a:ext cx="292431" cy="252000"/>
          </a:xfrm>
          <a:prstGeom prst="rect">
            <a:avLst/>
          </a:prstGeom>
          <a:solidFill>
            <a:srgbClr val="EF905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39" name="Rechteck 15"/>
          <p:cNvSpPr/>
          <p:nvPr/>
        </p:nvSpPr>
        <p:spPr bwMode="gray">
          <a:xfrm>
            <a:off x="4828378" y="5768376"/>
            <a:ext cx="292431" cy="252000"/>
          </a:xfrm>
          <a:prstGeom prst="rect">
            <a:avLst/>
          </a:prstGeom>
          <a:solidFill>
            <a:srgbClr val="AA627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40" name="Rechteck 16"/>
          <p:cNvSpPr/>
          <p:nvPr/>
        </p:nvSpPr>
        <p:spPr bwMode="gray">
          <a:xfrm>
            <a:off x="6256007" y="5769538"/>
            <a:ext cx="292431" cy="252000"/>
          </a:xfrm>
          <a:prstGeom prst="rect">
            <a:avLst/>
          </a:prstGeom>
          <a:solidFill>
            <a:srgbClr val="976A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41" name="Rechteck 17"/>
          <p:cNvSpPr/>
          <p:nvPr/>
        </p:nvSpPr>
        <p:spPr bwMode="gray">
          <a:xfrm>
            <a:off x="7700996" y="5768376"/>
            <a:ext cx="292431" cy="252000"/>
          </a:xfrm>
          <a:prstGeom prst="rect">
            <a:avLst/>
          </a:prstGeom>
          <a:solidFill>
            <a:srgbClr val="4CB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42" name="Rechteck 18"/>
          <p:cNvSpPr/>
          <p:nvPr/>
        </p:nvSpPr>
        <p:spPr bwMode="gray">
          <a:xfrm>
            <a:off x="9171337" y="5768376"/>
            <a:ext cx="292431" cy="252000"/>
          </a:xfrm>
          <a:prstGeom prst="rect">
            <a:avLst/>
          </a:prstGeom>
          <a:solidFill>
            <a:srgbClr val="97B1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43" name="Rechteck 19"/>
          <p:cNvSpPr/>
          <p:nvPr/>
        </p:nvSpPr>
        <p:spPr bwMode="gray">
          <a:xfrm>
            <a:off x="10624985" y="5768376"/>
            <a:ext cx="292431" cy="252000"/>
          </a:xfrm>
          <a:prstGeom prst="rect">
            <a:avLst/>
          </a:prstGeom>
          <a:solidFill>
            <a:srgbClr val="4CA27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44" name="Rechteck 13"/>
          <p:cNvSpPr/>
          <p:nvPr/>
        </p:nvSpPr>
        <p:spPr bwMode="gray">
          <a:xfrm>
            <a:off x="1878646" y="6007002"/>
            <a:ext cx="292431" cy="252000"/>
          </a:xfrm>
          <a:prstGeom prst="rect">
            <a:avLst/>
          </a:prstGeom>
          <a:solidFill>
            <a:srgbClr val="FBD4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45" name="Rechteck 14"/>
          <p:cNvSpPr/>
          <p:nvPr/>
        </p:nvSpPr>
        <p:spPr bwMode="gray">
          <a:xfrm>
            <a:off x="3358522" y="6004486"/>
            <a:ext cx="292431" cy="252000"/>
          </a:xfrm>
          <a:prstGeom prst="rect">
            <a:avLst/>
          </a:prstGeom>
          <a:solidFill>
            <a:srgbClr val="F3B08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46" name="Rechteck 15"/>
          <p:cNvSpPr/>
          <p:nvPr/>
        </p:nvSpPr>
        <p:spPr bwMode="gray">
          <a:xfrm>
            <a:off x="4828378" y="6004486"/>
            <a:ext cx="292431" cy="252000"/>
          </a:xfrm>
          <a:prstGeom prst="rect">
            <a:avLst/>
          </a:prstGeom>
          <a:solidFill>
            <a:srgbClr val="C28FA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47" name="Rechteck 16"/>
          <p:cNvSpPr/>
          <p:nvPr/>
        </p:nvSpPr>
        <p:spPr bwMode="gray">
          <a:xfrm>
            <a:off x="6256007" y="6007458"/>
            <a:ext cx="292431" cy="252000"/>
          </a:xfrm>
          <a:prstGeom prst="rect">
            <a:avLst/>
          </a:prstGeom>
          <a:solidFill>
            <a:srgbClr val="B594A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48" name="Rechteck 17"/>
          <p:cNvSpPr/>
          <p:nvPr/>
        </p:nvSpPr>
        <p:spPr bwMode="gray">
          <a:xfrm>
            <a:off x="7700996" y="6004486"/>
            <a:ext cx="292431" cy="252000"/>
          </a:xfrm>
          <a:prstGeom prst="rect">
            <a:avLst/>
          </a:prstGeom>
          <a:solidFill>
            <a:srgbClr val="80C9D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49" name="Rechteck 18"/>
          <p:cNvSpPr/>
          <p:nvPr/>
        </p:nvSpPr>
        <p:spPr bwMode="gray">
          <a:xfrm>
            <a:off x="9171337" y="6004496"/>
            <a:ext cx="292431" cy="252000"/>
          </a:xfrm>
          <a:prstGeom prst="rect">
            <a:avLst/>
          </a:prstGeom>
          <a:solidFill>
            <a:srgbClr val="B5C7C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0" name="Rechteck 19"/>
          <p:cNvSpPr/>
          <p:nvPr/>
        </p:nvSpPr>
        <p:spPr bwMode="gray">
          <a:xfrm>
            <a:off x="10624985" y="6004486"/>
            <a:ext cx="292431" cy="252000"/>
          </a:xfrm>
          <a:prstGeom prst="rect">
            <a:avLst/>
          </a:prstGeom>
          <a:solidFill>
            <a:srgbClr val="80BC9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1" name="Rechteck 13"/>
          <p:cNvSpPr/>
          <p:nvPr/>
        </p:nvSpPr>
        <p:spPr bwMode="gray">
          <a:xfrm>
            <a:off x="1878646" y="6245640"/>
            <a:ext cx="292431" cy="237600"/>
          </a:xfrm>
          <a:prstGeom prst="rect">
            <a:avLst/>
          </a:prstGeom>
          <a:solidFill>
            <a:srgbClr val="FDEED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2" name="Rechteck 14"/>
          <p:cNvSpPr/>
          <p:nvPr/>
        </p:nvSpPr>
        <p:spPr bwMode="gray">
          <a:xfrm>
            <a:off x="3358522" y="6245640"/>
            <a:ext cx="292431" cy="237600"/>
          </a:xfrm>
          <a:prstGeom prst="rect">
            <a:avLst/>
          </a:prstGeom>
          <a:solidFill>
            <a:srgbClr val="FADFC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3" name="Rechteck 15"/>
          <p:cNvSpPr/>
          <p:nvPr/>
        </p:nvSpPr>
        <p:spPr bwMode="gray">
          <a:xfrm>
            <a:off x="4828378" y="6245640"/>
            <a:ext cx="292431" cy="237600"/>
          </a:xfrm>
          <a:prstGeom prst="rect">
            <a:avLst/>
          </a:prstGeom>
          <a:solidFill>
            <a:srgbClr val="E7D2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4" name="Rechteck 16"/>
          <p:cNvSpPr/>
          <p:nvPr/>
        </p:nvSpPr>
        <p:spPr bwMode="gray">
          <a:xfrm>
            <a:off x="6256007" y="6245640"/>
            <a:ext cx="292431" cy="237600"/>
          </a:xfrm>
          <a:prstGeom prst="rect">
            <a:avLst/>
          </a:prstGeom>
          <a:solidFill>
            <a:srgbClr val="E1D4D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5" name="Rechteck 17"/>
          <p:cNvSpPr/>
          <p:nvPr/>
        </p:nvSpPr>
        <p:spPr bwMode="gray">
          <a:xfrm>
            <a:off x="7700996" y="6245640"/>
            <a:ext cx="292431" cy="237600"/>
          </a:xfrm>
          <a:prstGeom prst="rect">
            <a:avLst/>
          </a:prstGeom>
          <a:solidFill>
            <a:srgbClr val="CCE9F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6" name="Rechteck 18"/>
          <p:cNvSpPr/>
          <p:nvPr/>
        </p:nvSpPr>
        <p:spPr bwMode="gray">
          <a:xfrm>
            <a:off x="9171337" y="6245640"/>
            <a:ext cx="292431" cy="237600"/>
          </a:xfrm>
          <a:prstGeom prst="rect">
            <a:avLst/>
          </a:prstGeom>
          <a:solidFill>
            <a:srgbClr val="E1E9E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7" name="Rechteck 19"/>
          <p:cNvSpPr/>
          <p:nvPr/>
        </p:nvSpPr>
        <p:spPr bwMode="gray">
          <a:xfrm>
            <a:off x="10624985" y="6245640"/>
            <a:ext cx="292431" cy="237600"/>
          </a:xfrm>
          <a:prstGeom prst="rect">
            <a:avLst/>
          </a:prstGeom>
          <a:solidFill>
            <a:srgbClr val="CCE4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58" name="Rechteck 218"/>
          <p:cNvSpPr/>
          <p:nvPr/>
        </p:nvSpPr>
        <p:spPr bwMode="gray">
          <a:xfrm>
            <a:off x="9169519" y="3647581"/>
            <a:ext cx="292431" cy="486000"/>
          </a:xfrm>
          <a:prstGeom prst="rect">
            <a:avLst/>
          </a:prstGeom>
          <a:solidFill>
            <a:schemeClr val="accent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59" name="Rechteck 19"/>
          <p:cNvSpPr/>
          <p:nvPr/>
        </p:nvSpPr>
        <p:spPr bwMode="gray">
          <a:xfrm>
            <a:off x="9169519" y="4122431"/>
            <a:ext cx="292431" cy="252000"/>
          </a:xfrm>
          <a:prstGeom prst="rect">
            <a:avLst/>
          </a:prstGeom>
          <a:solidFill>
            <a:srgbClr val="6A8C9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0" name="Rechteck 19"/>
          <p:cNvSpPr/>
          <p:nvPr/>
        </p:nvSpPr>
        <p:spPr bwMode="gray">
          <a:xfrm>
            <a:off x="9169519" y="4359858"/>
            <a:ext cx="292431" cy="252000"/>
          </a:xfrm>
          <a:prstGeom prst="rect">
            <a:avLst/>
          </a:prstGeom>
          <a:solidFill>
            <a:srgbClr val="95A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61" name="Rechteck 19"/>
          <p:cNvSpPr/>
          <p:nvPr/>
        </p:nvSpPr>
        <p:spPr bwMode="gray">
          <a:xfrm>
            <a:off x="9169519" y="4597284"/>
            <a:ext cx="292431" cy="237600"/>
          </a:xfrm>
          <a:prstGeom prst="rect">
            <a:avLst/>
          </a:prstGeom>
          <a:solidFill>
            <a:srgbClr val="D4DEE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62" name="Rechteck 222"/>
          <p:cNvSpPr/>
          <p:nvPr/>
        </p:nvSpPr>
        <p:spPr bwMode="gray">
          <a:xfrm>
            <a:off x="7700677" y="3647580"/>
            <a:ext cx="292431" cy="486000"/>
          </a:xfrm>
          <a:prstGeom prst="rect">
            <a:avLst/>
          </a:prstGeom>
          <a:solidFill>
            <a:schemeClr val="accent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3" name="Rechteck 19"/>
          <p:cNvSpPr/>
          <p:nvPr/>
        </p:nvSpPr>
        <p:spPr bwMode="gray">
          <a:xfrm>
            <a:off x="7700677" y="4122430"/>
            <a:ext cx="292431" cy="252000"/>
          </a:xfrm>
          <a:prstGeom prst="rect">
            <a:avLst/>
          </a:prstGeom>
          <a:solidFill>
            <a:srgbClr val="4D9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4" name="Rechteck 19"/>
          <p:cNvSpPr/>
          <p:nvPr/>
        </p:nvSpPr>
        <p:spPr bwMode="gray">
          <a:xfrm>
            <a:off x="7700677" y="4359857"/>
            <a:ext cx="292431" cy="252000"/>
          </a:xfrm>
          <a:prstGeom prst="rect">
            <a:avLst/>
          </a:prstGeom>
          <a:solidFill>
            <a:srgbClr val="80B9C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65" name="Rechteck 19"/>
          <p:cNvSpPr/>
          <p:nvPr/>
        </p:nvSpPr>
        <p:spPr bwMode="gray">
          <a:xfrm>
            <a:off x="7700677" y="4597283"/>
            <a:ext cx="292431" cy="237600"/>
          </a:xfrm>
          <a:prstGeom prst="rect">
            <a:avLst/>
          </a:prstGeom>
          <a:solidFill>
            <a:srgbClr val="CCE3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66" name="Rechteck 146"/>
          <p:cNvSpPr/>
          <p:nvPr/>
        </p:nvSpPr>
        <p:spPr bwMode="gray">
          <a:xfrm>
            <a:off x="3349661" y="1587600"/>
            <a:ext cx="292431" cy="486000"/>
          </a:xfrm>
          <a:prstGeom prst="rect">
            <a:avLst/>
          </a:prstGeom>
          <a:solidFill>
            <a:srgbClr val="EDEDE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7" name="Rechteck 13"/>
          <p:cNvSpPr/>
          <p:nvPr/>
        </p:nvSpPr>
        <p:spPr bwMode="gray">
          <a:xfrm>
            <a:off x="3349661" y="2062800"/>
            <a:ext cx="292431" cy="252000"/>
          </a:xfrm>
          <a:prstGeom prst="rect">
            <a:avLst/>
          </a:prstGeom>
          <a:solidFill>
            <a:srgbClr val="4C4C4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8" name="Rechteck 13"/>
          <p:cNvSpPr/>
          <p:nvPr/>
        </p:nvSpPr>
        <p:spPr bwMode="gray">
          <a:xfrm>
            <a:off x="3349661" y="2562973"/>
            <a:ext cx="292431" cy="252000"/>
          </a:xfrm>
          <a:prstGeom prst="rect">
            <a:avLst/>
          </a:prstGeom>
          <a:solidFill>
            <a:srgbClr val="B2B2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69" name="Rechteck 155"/>
          <p:cNvSpPr/>
          <p:nvPr/>
        </p:nvSpPr>
        <p:spPr bwMode="gray">
          <a:xfrm>
            <a:off x="398770" y="1587600"/>
            <a:ext cx="292431" cy="486000"/>
          </a:xfrm>
          <a:prstGeom prst="rect">
            <a:avLst/>
          </a:prstGeom>
          <a:solidFill>
            <a:schemeClr val="tx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70" name="Rechteck 13"/>
          <p:cNvSpPr/>
          <p:nvPr/>
        </p:nvSpPr>
        <p:spPr bwMode="gray">
          <a:xfrm>
            <a:off x="3349661" y="2316066"/>
            <a:ext cx="292431" cy="252000"/>
          </a:xfrm>
          <a:prstGeom prst="rect">
            <a:avLst/>
          </a:prstGeom>
          <a:solidFill>
            <a:srgbClr val="87878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71" name="Rechteck 13"/>
          <p:cNvSpPr/>
          <p:nvPr/>
        </p:nvSpPr>
        <p:spPr bwMode="gray">
          <a:xfrm>
            <a:off x="3349661" y="2814973"/>
            <a:ext cx="292431" cy="252000"/>
          </a:xfrm>
          <a:prstGeom prst="rect">
            <a:avLst/>
          </a:prstGeom>
          <a:solidFill>
            <a:srgbClr val="DADADA"/>
          </a:solidFill>
          <a:ln w="3175" cap="flat" cmpd="sng" algn="ctr">
            <a:noFill/>
            <a:prstDash val="sysDot"/>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R="0" lvl="0" indent="0" fontAlgn="base">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w="3175">
                <a:noFill/>
              </a:ln>
              <a:solidFill>
                <a:schemeClr val="bg1"/>
              </a:solidFill>
              <a:effectLst/>
              <a:latin typeface="Arial" panose="020B0604020202020204" pitchFamily="34" charset="0"/>
            </a:endParaRPr>
          </a:p>
        </p:txBody>
      </p:sp>
      <p:sp>
        <p:nvSpPr>
          <p:cNvPr id="372" name="Textfeld 152"/>
          <p:cNvSpPr txBox="1"/>
          <p:nvPr/>
        </p:nvSpPr>
        <p:spPr bwMode="gray">
          <a:xfrm>
            <a:off x="691200"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lu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0 / 98 / 149</a:t>
            </a:r>
          </a:p>
        </p:txBody>
      </p:sp>
      <p:sp>
        <p:nvSpPr>
          <p:cNvPr id="373" name="Textfeld 153"/>
          <p:cNvSpPr txBox="1"/>
          <p:nvPr/>
        </p:nvSpPr>
        <p:spPr bwMode="gray">
          <a:xfrm>
            <a:off x="691200"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Roya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3 / 131 / 201</a:t>
            </a:r>
          </a:p>
        </p:txBody>
      </p:sp>
      <p:sp>
        <p:nvSpPr>
          <p:cNvPr id="374" name="Textfeld 48"/>
          <p:cNvSpPr txBox="1"/>
          <p:nvPr/>
        </p:nvSpPr>
        <p:spPr bwMode="gray">
          <a:xfrm>
            <a:off x="691200"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2 / 145 / 181</a:t>
            </a:r>
          </a:p>
        </p:txBody>
      </p:sp>
      <p:sp>
        <p:nvSpPr>
          <p:cNvPr id="375" name="Textfeld 48"/>
          <p:cNvSpPr txBox="1"/>
          <p:nvPr/>
        </p:nvSpPr>
        <p:spPr bwMode="gray">
          <a:xfrm>
            <a:off x="691200"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3 / 177 / 202</a:t>
            </a:r>
          </a:p>
        </p:txBody>
      </p:sp>
      <p:sp>
        <p:nvSpPr>
          <p:cNvPr id="376" name="Textfeld 48"/>
          <p:cNvSpPr txBox="1"/>
          <p:nvPr/>
        </p:nvSpPr>
        <p:spPr bwMode="gray">
          <a:xfrm>
            <a:off x="691200"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4 / 224 / 234</a:t>
            </a:r>
          </a:p>
        </p:txBody>
      </p:sp>
      <p:sp>
        <p:nvSpPr>
          <p:cNvPr id="377" name="Textfeld 48"/>
          <p:cNvSpPr txBox="1"/>
          <p:nvPr/>
        </p:nvSpPr>
        <p:spPr bwMode="gray">
          <a:xfrm>
            <a:off x="691200"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4 / 168 / 217</a:t>
            </a:r>
          </a:p>
        </p:txBody>
      </p:sp>
      <p:sp>
        <p:nvSpPr>
          <p:cNvPr id="378" name="Textfeld 48"/>
          <p:cNvSpPr txBox="1"/>
          <p:nvPr/>
        </p:nvSpPr>
        <p:spPr bwMode="gray">
          <a:xfrm>
            <a:off x="691200"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4 / 193 / 228</a:t>
            </a:r>
          </a:p>
        </p:txBody>
      </p:sp>
      <p:sp>
        <p:nvSpPr>
          <p:cNvPr id="379" name="Textfeld 48"/>
          <p:cNvSpPr txBox="1"/>
          <p:nvPr/>
        </p:nvSpPr>
        <p:spPr bwMode="gray">
          <a:xfrm>
            <a:off x="691200"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5 / 230 / 244</a:t>
            </a:r>
          </a:p>
        </p:txBody>
      </p:sp>
      <p:sp>
        <p:nvSpPr>
          <p:cNvPr id="380" name="Rechteck 226"/>
          <p:cNvSpPr/>
          <p:nvPr/>
        </p:nvSpPr>
        <p:spPr bwMode="gray">
          <a:xfrm>
            <a:off x="398770" y="3647583"/>
            <a:ext cx="292431" cy="486000"/>
          </a:xfrm>
          <a:prstGeom prst="rect">
            <a:avLst/>
          </a:prstGeom>
          <a:solidFill>
            <a:srgbClr val="32629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81" name="Rechteck 228"/>
          <p:cNvSpPr/>
          <p:nvPr/>
        </p:nvSpPr>
        <p:spPr bwMode="gray">
          <a:xfrm>
            <a:off x="398770" y="5293698"/>
            <a:ext cx="292431" cy="486000"/>
          </a:xfrm>
          <a:prstGeom prst="rect">
            <a:avLst/>
          </a:prstGeom>
          <a:solidFill>
            <a:srgbClr val="358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82" name="Rechteck 13"/>
          <p:cNvSpPr/>
          <p:nvPr/>
        </p:nvSpPr>
        <p:spPr bwMode="gray">
          <a:xfrm>
            <a:off x="398770" y="4122896"/>
            <a:ext cx="292431" cy="252000"/>
          </a:xfrm>
          <a:prstGeom prst="rect">
            <a:avLst/>
          </a:prstGeom>
          <a:solidFill>
            <a:srgbClr val="7091B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83" name="Rechteck 13"/>
          <p:cNvSpPr/>
          <p:nvPr/>
        </p:nvSpPr>
        <p:spPr bwMode="gray">
          <a:xfrm>
            <a:off x="398770" y="4360552"/>
            <a:ext cx="292431" cy="252000"/>
          </a:xfrm>
          <a:prstGeom prst="rect">
            <a:avLst/>
          </a:prstGeom>
          <a:solidFill>
            <a:srgbClr val="99B1C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84" name="Rechteck 13"/>
          <p:cNvSpPr/>
          <p:nvPr/>
        </p:nvSpPr>
        <p:spPr bwMode="gray">
          <a:xfrm>
            <a:off x="398770" y="4598210"/>
            <a:ext cx="292431" cy="237600"/>
          </a:xfrm>
          <a:prstGeom prst="rect">
            <a:avLst/>
          </a:prstGeom>
          <a:solidFill>
            <a:srgbClr val="D6E0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85" name="Rechteck 13"/>
          <p:cNvSpPr/>
          <p:nvPr/>
        </p:nvSpPr>
        <p:spPr bwMode="gray">
          <a:xfrm>
            <a:off x="398770" y="5769234"/>
            <a:ext cx="292431" cy="252000"/>
          </a:xfrm>
          <a:prstGeom prst="rect">
            <a:avLst/>
          </a:prstGeom>
          <a:solidFill>
            <a:srgbClr val="72A8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86" name="Rechteck 13"/>
          <p:cNvSpPr/>
          <p:nvPr/>
        </p:nvSpPr>
        <p:spPr bwMode="gray">
          <a:xfrm>
            <a:off x="398770" y="6007002"/>
            <a:ext cx="292431" cy="252000"/>
          </a:xfrm>
          <a:prstGeom prst="rect">
            <a:avLst/>
          </a:prstGeom>
          <a:solidFill>
            <a:srgbClr val="9AC1E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87" name="Rechteck 13"/>
          <p:cNvSpPr/>
          <p:nvPr/>
        </p:nvSpPr>
        <p:spPr bwMode="gray">
          <a:xfrm>
            <a:off x="398770" y="6245640"/>
            <a:ext cx="292431" cy="237600"/>
          </a:xfrm>
          <a:prstGeom prst="rect">
            <a:avLst/>
          </a:prstGeom>
          <a:solidFill>
            <a:srgbClr val="D7E6F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388" name="Textfeld 48"/>
          <p:cNvSpPr txBox="1"/>
          <p:nvPr/>
        </p:nvSpPr>
        <p:spPr bwMode="gray">
          <a:xfrm>
            <a:off x="3642092" y="3065539"/>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60 / 60 / 60</a:t>
            </a:r>
          </a:p>
        </p:txBody>
      </p:sp>
      <p:sp>
        <p:nvSpPr>
          <p:cNvPr id="389" name="Rechteck 13"/>
          <p:cNvSpPr/>
          <p:nvPr/>
        </p:nvSpPr>
        <p:spPr bwMode="gray">
          <a:xfrm>
            <a:off x="3349661" y="3062717"/>
            <a:ext cx="292431" cy="252000"/>
          </a:xfrm>
          <a:prstGeom prst="rect">
            <a:avLst/>
          </a:prstGeom>
          <a:solidFill>
            <a:srgbClr val="3C3C3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390" name="Textfeld 237"/>
          <p:cNvSpPr txBox="1"/>
          <p:nvPr/>
        </p:nvSpPr>
        <p:spPr bwMode="gray">
          <a:xfrm>
            <a:off x="398771" y="5019265"/>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Lighter/brighter</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391" name="Textfeld 156"/>
          <p:cNvSpPr txBox="1"/>
          <p:nvPr/>
        </p:nvSpPr>
        <p:spPr bwMode="gray">
          <a:xfrm>
            <a:off x="5068801" y="20628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Green</a:t>
            </a:r>
            <a:br>
              <a:rPr lang="en-US" sz="700" b="1" baseline="0" noProof="0" dirty="0">
                <a:solidFill>
                  <a:sysClr val="windowText" lastClr="000000"/>
                </a:solidFill>
                <a:latin typeface="Arial" panose="020B0604020202020204" pitchFamily="34" charset="0"/>
                <a:ea typeface="Allianz Sans" pitchFamily="50" charset="0"/>
              </a:rPr>
            </a:br>
            <a:r>
              <a:rPr lang="en-US" sz="700" b="0" baseline="0" noProof="0" dirty="0">
                <a:solidFill>
                  <a:sysClr val="windowText" lastClr="000000"/>
                </a:solidFill>
                <a:latin typeface="Arial" panose="020B0604020202020204" pitchFamily="34" charset="0"/>
                <a:ea typeface="Allianz Sans" pitchFamily="50" charset="0"/>
              </a:rPr>
              <a:t>0 / 126 / 98</a:t>
            </a:r>
            <a:endParaRPr lang="en-US" sz="700" noProof="0" dirty="0">
              <a:solidFill>
                <a:sysClr val="windowText" lastClr="000000"/>
              </a:solidFill>
              <a:latin typeface="Arial" panose="020B0604020202020204" pitchFamily="34" charset="0"/>
              <a:ea typeface="Allianz Sans" pitchFamily="50" charset="0"/>
            </a:endParaRPr>
          </a:p>
        </p:txBody>
      </p:sp>
      <p:sp>
        <p:nvSpPr>
          <p:cNvPr id="392" name="Rechteck 157"/>
          <p:cNvSpPr/>
          <p:nvPr/>
        </p:nvSpPr>
        <p:spPr bwMode="gray">
          <a:xfrm>
            <a:off x="4776370" y="2062800"/>
            <a:ext cx="292431" cy="475200"/>
          </a:xfrm>
          <a:prstGeom prst="rect">
            <a:avLst/>
          </a:prstGeom>
          <a:solidFill>
            <a:srgbClr val="007E6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369690130"/>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Abschnitts-&#10;überschrift">
    <p:spTree>
      <p:nvGrpSpPr>
        <p:cNvPr id="1" name=""/>
        <p:cNvGrpSpPr/>
        <p:nvPr/>
      </p:nvGrpSpPr>
      <p:grpSpPr>
        <a:xfrm>
          <a:off x="0" y="0"/>
          <a:ext cx="0" cy="0"/>
          <a:chOff x="0" y="0"/>
          <a:chExt cx="0" cy="0"/>
        </a:xfrm>
      </p:grpSpPr>
      <p:sp>
        <p:nvSpPr>
          <p:cNvPr id="12" name="Textplatzhalter 11"/>
          <p:cNvSpPr txBox="1">
            <a:spLocks/>
          </p:cNvSpPr>
          <p:nvPr/>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
        <p:nvSpPr>
          <p:cNvPr id="7" name="Textplatzhalter 11"/>
          <p:cNvSpPr txBox="1">
            <a:spLocks/>
          </p:cNvSpPr>
          <p:nvPr/>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9032488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el und Inhalt">
    <p:spTree>
      <p:nvGrpSpPr>
        <p:cNvPr id="1" name=""/>
        <p:cNvGrpSpPr/>
        <p:nvPr/>
      </p:nvGrpSpPr>
      <p:grpSpPr>
        <a:xfrm>
          <a:off x="0" y="0"/>
          <a:ext cx="0" cy="0"/>
          <a:chOff x="0" y="0"/>
          <a:chExt cx="0" cy="0"/>
        </a:xfrm>
      </p:grpSpPr>
      <p:sp>
        <p:nvSpPr>
          <p:cNvPr id="6"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p:nvPr>
        </p:nvSpPr>
        <p:spPr bwMode="gray"/>
        <p:txBody>
          <a:bodyPr/>
          <a:lstStyle/>
          <a:p>
            <a:r>
              <a:rPr lang="en-US" noProof="0"/>
              <a:t>Click to edit Master title style</a:t>
            </a:r>
            <a:endParaRPr lang="en-GB" noProof="0" dirty="0"/>
          </a:p>
        </p:txBody>
      </p:sp>
      <p:sp>
        <p:nvSpPr>
          <p:cNvPr id="5"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5019265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Leer">
    <p:spTree>
      <p:nvGrpSpPr>
        <p:cNvPr id="1" name=""/>
        <p:cNvGrpSpPr/>
        <p:nvPr/>
      </p:nvGrpSpPr>
      <p:grpSpPr>
        <a:xfrm>
          <a:off x="0" y="0"/>
          <a:ext cx="0" cy="0"/>
          <a:chOff x="0" y="0"/>
          <a:chExt cx="0" cy="0"/>
        </a:xfrm>
      </p:grpSpPr>
      <p:sp>
        <p:nvSpPr>
          <p:cNvPr id="3" name="Rechteck 2"/>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Rechteck 2"/>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212420878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Zwei Inhalte">
    <p:spTree>
      <p:nvGrpSpPr>
        <p:cNvPr id="1" name=""/>
        <p:cNvGrpSpPr/>
        <p:nvPr/>
      </p:nvGrpSpPr>
      <p:grpSpPr>
        <a:xfrm>
          <a:off x="0" y="0"/>
          <a:ext cx="0" cy="0"/>
          <a:chOff x="0" y="0"/>
          <a:chExt cx="0" cy="0"/>
        </a:xfrm>
      </p:grpSpPr>
      <p:sp>
        <p:nvSpPr>
          <p:cNvPr id="6"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7" name="Rechteck 5"/>
          <p:cNvSpPr/>
          <p:nvPr/>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155546691"/>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cSld name="1_Title Slide">
    <p:bg>
      <p:bgRef idx="1001">
        <a:schemeClr val="bg1"/>
      </p:bgRef>
    </p:bg>
    <p:spTree>
      <p:nvGrpSpPr>
        <p:cNvPr id="1" name=""/>
        <p:cNvGrpSpPr/>
        <p:nvPr/>
      </p:nvGrpSpPr>
      <p:grpSpPr>
        <a:xfrm>
          <a:off x="0" y="0"/>
          <a:ext cx="0" cy="0"/>
          <a:chOff x="0" y="0"/>
          <a:chExt cx="0" cy="0"/>
        </a:xfrm>
      </p:grpSpPr>
      <p:sp>
        <p:nvSpPr>
          <p:cNvPr id="17" name="Rechteck 40"/>
          <p:cNvSpPr/>
          <p:nvPr userDrawn="1"/>
        </p:nvSpPr>
        <p:spPr bwMode="gray">
          <a:xfrm>
            <a:off x="4368740" y="1"/>
            <a:ext cx="7404171" cy="5697538"/>
          </a:xfrm>
          <a:prstGeom prst="rect">
            <a:avLst/>
          </a:prstGeom>
          <a:blipFill dpi="0" rotWithShape="1">
            <a:blip r:embed="rId4" cstate="print">
              <a:extLst>
                <a:ext uri="{28A0092B-C50C-407E-A947-70E740481C1C}">
                  <a14:useLocalDpi xmlns:a14="http://schemas.microsoft.com/office/drawing/2010/main"/>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aphicFrame>
        <p:nvGraphicFramePr>
          <p:cNvPr id="4" name="Objekt 3" hidden="1"/>
          <p:cNvGraphicFramePr>
            <a:graphicFrameLocks noChangeAspect="1"/>
          </p:cNvGraphicFramePr>
          <p:nvPr>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486" name="think-cell Folie" r:id="rId5" imgW="270" imgH="270" progId="TCLayout.ActiveDocument.1">
                  <p:embed/>
                </p:oleObj>
              </mc:Choice>
              <mc:Fallback>
                <p:oleObj name="think-cell Folie" r:id="rId5" imgW="270" imgH="270" progId="TCLayout.ActiveDocument.1">
                  <p:embed/>
                  <p:pic>
                    <p:nvPicPr>
                      <p:cNvPr id="4" name="Objekt 3" hidden="1"/>
                      <p:cNvPicPr/>
                      <p:nvPr/>
                    </p:nvPicPr>
                    <p:blipFill>
                      <a:blip r:embed="rId6"/>
                      <a:stretch>
                        <a:fillRect/>
                      </a:stretch>
                    </p:blipFill>
                    <p:spPr>
                      <a:xfrm>
                        <a:off x="1956" y="1591"/>
                        <a:ext cx="1953" cy="1587"/>
                      </a:xfrm>
                      <a:prstGeom prst="rect">
                        <a:avLst/>
                      </a:prstGeom>
                    </p:spPr>
                  </p:pic>
                </p:oleObj>
              </mc:Fallback>
            </mc:AlternateContent>
          </a:graphicData>
        </a:graphic>
      </p:graphicFrame>
      <p:sp>
        <p:nvSpPr>
          <p:cNvPr id="2" name="Rechteck 1"/>
          <p:cNvSpPr/>
          <p:nvPr/>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7" name="Freihandform: Form 46">
            <a:extLst>
              <a:ext uri="{FF2B5EF4-FFF2-40B4-BE49-F238E27FC236}">
                <a16:creationId xmlns:a16="http://schemas.microsoft.com/office/drawing/2014/main" id="{4C487715-2AE3-4356-AF7A-FD071E21CA50}"/>
              </a:ext>
            </a:extLst>
          </p:cNvPr>
          <p:cNvSpPr/>
          <p:nvPr/>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 name="Textplatzhalter 2"/>
          <p:cNvSpPr>
            <a:spLocks noGrp="1"/>
          </p:cNvSpPr>
          <p:nvPr>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43" name="Freeform 614"/>
          <p:cNvSpPr>
            <a:spLocks noEditPoints="1"/>
          </p:cNvSpPr>
          <p:nvPr/>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
        <p:nvSpPr>
          <p:cNvPr id="107" name="Textplatzhalter 20"/>
          <p:cNvSpPr>
            <a:spLocks noGrp="1"/>
          </p:cNvSpPr>
          <p:nvPr>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2" name="Textplatzhalter 20"/>
          <p:cNvSpPr>
            <a:spLocks noGrp="1"/>
          </p:cNvSpPr>
          <p:nvPr>
            <p:ph type="body" sz="quarter" idx="15" hasCustomPrompt="1"/>
          </p:nvPr>
        </p:nvSpPr>
        <p:spPr bwMode="gray">
          <a:xfrm>
            <a:off x="398771" y="1458916"/>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
        <p:nvSpPr>
          <p:cNvPr id="16" name="Rectangle 14"/>
          <p:cNvSpPr/>
          <p:nvPr userDrawn="1"/>
        </p:nvSpPr>
        <p:spPr bwMode="auto">
          <a:xfrm>
            <a:off x="4368738" y="-1"/>
            <a:ext cx="7411001" cy="5697539"/>
          </a:xfrm>
          <a:custGeom>
            <a:avLst/>
            <a:gdLst/>
            <a:ahLst/>
            <a:cxnLst/>
            <a:rect l="l" t="t" r="r" b="b"/>
            <a:pathLst>
              <a:path w="6021438" h="5697539">
                <a:moveTo>
                  <a:pt x="0" y="0"/>
                </a:moveTo>
                <a:lnTo>
                  <a:pt x="6021438" y="0"/>
                </a:lnTo>
                <a:lnTo>
                  <a:pt x="6021438" y="806825"/>
                </a:lnTo>
                <a:lnTo>
                  <a:pt x="6021437" y="806825"/>
                </a:lnTo>
                <a:lnTo>
                  <a:pt x="6021437" y="3926543"/>
                </a:lnTo>
                <a:lnTo>
                  <a:pt x="6021438" y="3926543"/>
                </a:lnTo>
                <a:lnTo>
                  <a:pt x="6021438" y="5697539"/>
                </a:lnTo>
                <a:lnTo>
                  <a:pt x="0" y="5697539"/>
                </a:lnTo>
                <a:lnTo>
                  <a:pt x="0" y="3926543"/>
                </a:lnTo>
                <a:lnTo>
                  <a:pt x="3010718" y="3926543"/>
                </a:lnTo>
                <a:lnTo>
                  <a:pt x="3010718" y="806825"/>
                </a:lnTo>
                <a:lnTo>
                  <a:pt x="0" y="806825"/>
                </a:lnTo>
                <a:close/>
              </a:path>
            </a:pathLst>
          </a:custGeom>
          <a:solidFill>
            <a:srgbClr val="007396">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de-DE" sz="2400" b="0" i="0" u="none" strike="noStrike" cap="none" normalizeH="0" dirty="0" err="1">
              <a:ln>
                <a:noFill/>
              </a:ln>
              <a:solidFill>
                <a:schemeClr val="bg1"/>
              </a:solidFill>
              <a:effectLst/>
              <a:latin typeface="Arial" charset="0"/>
            </a:endParaRPr>
          </a:p>
        </p:txBody>
      </p:sp>
    </p:spTree>
    <p:extLst>
      <p:ext uri="{BB962C8B-B14F-4D97-AF65-F5344CB8AC3E}">
        <p14:creationId xmlns:p14="http://schemas.microsoft.com/office/powerpoint/2010/main" val="20249288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 Co Branding">
    <p:bg>
      <p:bgRef idx="1001">
        <a:schemeClr val="bg1"/>
      </p:bgRef>
    </p:bg>
    <p:spTree>
      <p:nvGrpSpPr>
        <p:cNvPr id="1" name=""/>
        <p:cNvGrpSpPr/>
        <p:nvPr/>
      </p:nvGrpSpPr>
      <p:grpSpPr>
        <a:xfrm>
          <a:off x="0" y="0"/>
          <a:ext cx="0" cy="0"/>
          <a:chOff x="0" y="0"/>
          <a:chExt cx="0" cy="0"/>
        </a:xfrm>
      </p:grpSpPr>
      <p:sp>
        <p:nvSpPr>
          <p:cNvPr id="50" name="Rechteck 49"/>
          <p:cNvSpPr/>
          <p:nvPr userDrawn="1"/>
        </p:nvSpPr>
        <p:spPr bwMode="gray">
          <a:xfrm>
            <a:off x="4368740"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2" name="Textfeld 21"/>
          <p:cNvSpPr txBox="1"/>
          <p:nvPr userDrawn="1"/>
        </p:nvSpPr>
        <p:spPr bwMode="gray">
          <a:xfrm>
            <a:off x="4498217" y="2674421"/>
            <a:ext cx="7145216"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51" name="L-Form 50"/>
          <p:cNvSpPr/>
          <p:nvPr userDrawn="1"/>
        </p:nvSpPr>
        <p:spPr bwMode="auto">
          <a:xfrm>
            <a:off x="4368740" y="0"/>
            <a:ext cx="7403817" cy="5697538"/>
          </a:xfrm>
          <a:prstGeom prst="corner">
            <a:avLst>
              <a:gd name="adj1" fmla="val 36794"/>
              <a:gd name="adj2" fmla="val 42477"/>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2" name="Rechteck 1"/>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6" name="Textplatzhalter 20"/>
          <p:cNvSpPr>
            <a:spLocks noGrp="1"/>
          </p:cNvSpPr>
          <p:nvPr>
            <p:ph type="body" sz="quarter" idx="15" hasCustomPrompt="1"/>
          </p:nvPr>
        </p:nvSpPr>
        <p:spPr bwMode="gray">
          <a:xfrm>
            <a:off x="398771" y="1461356"/>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graphicFrame>
        <p:nvGraphicFramePr>
          <p:cNvPr id="7" name="Objekt 6"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1510"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7" name="Freihandform: Form 46">
            <a:extLst>
              <a:ext uri="{FF2B5EF4-FFF2-40B4-BE49-F238E27FC236}">
                <a16:creationId xmlns:a16="http://schemas.microsoft.com/office/drawing/2014/main" id="{4C487715-2AE3-4356-AF7A-FD071E21CA50}"/>
              </a:ext>
            </a:extLst>
          </p:cNvPr>
          <p:cNvSpPr/>
          <p:nvPr userDrawn="1"/>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grpSp>
        <p:nvGrpSpPr>
          <p:cNvPr id="6" name="Gruppieren 5"/>
          <p:cNvGrpSpPr/>
          <p:nvPr userDrawn="1"/>
        </p:nvGrpSpPr>
        <p:grpSpPr bwMode="gray">
          <a:xfrm>
            <a:off x="4362968" y="6002251"/>
            <a:ext cx="1657597" cy="512330"/>
            <a:chOff x="3544910" y="6002251"/>
            <a:chExt cx="1346798" cy="512330"/>
          </a:xfrm>
        </p:grpSpPr>
        <p:sp>
          <p:nvSpPr>
            <p:cNvPr id="4" name="Ellipse 3"/>
            <p:cNvSpPr/>
            <p:nvPr userDrawn="1"/>
          </p:nvSpPr>
          <p:spPr bwMode="gray">
            <a:xfrm>
              <a:off x="3551281" y="6002251"/>
              <a:ext cx="512330" cy="51233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63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r>
                <a:rPr kumimoji="0" lang="en-GB" sz="3000" b="0" i="0" u="none" strike="noStrike" cap="none" normalizeH="0" baseline="0" noProof="0" dirty="0">
                  <a:ln>
                    <a:noFill/>
                  </a:ln>
                  <a:solidFill>
                    <a:schemeClr val="bg1"/>
                  </a:solidFill>
                  <a:effectLst/>
                  <a:latin typeface="Arial" charset="0"/>
                </a:rPr>
                <a:t>CO</a:t>
              </a:r>
            </a:p>
          </p:txBody>
        </p:sp>
        <p:grpSp>
          <p:nvGrpSpPr>
            <p:cNvPr id="5" name="Gruppieren 4"/>
            <p:cNvGrpSpPr/>
            <p:nvPr userDrawn="1"/>
          </p:nvGrpSpPr>
          <p:grpSpPr bwMode="gray">
            <a:xfrm>
              <a:off x="3544910" y="6079550"/>
              <a:ext cx="1346798" cy="369332"/>
              <a:chOff x="3544910" y="6152092"/>
              <a:chExt cx="1346798" cy="369332"/>
            </a:xfrm>
          </p:grpSpPr>
          <p:sp>
            <p:nvSpPr>
              <p:cNvPr id="42" name="TextBox 2"/>
              <p:cNvSpPr txBox="1"/>
              <p:nvPr userDrawn="1"/>
            </p:nvSpPr>
            <p:spPr bwMode="gray">
              <a:xfrm>
                <a:off x="4124571" y="6332141"/>
                <a:ext cx="53" cy="189283"/>
              </a:xfrm>
              <a:prstGeom prst="rect">
                <a:avLst/>
              </a:prstGeom>
            </p:spPr>
            <p:txBody>
              <a:bodyPr vert="horz" wrap="none" lIns="0" tIns="0" rIns="0" bIns="0" rtlCol="0" anchor="b">
                <a:spAutoFit/>
              </a:bodyPr>
              <a:lstStyle/>
              <a:p>
                <a:pPr algn="l"/>
                <a:endParaRPr lang="en-GB" sz="1230" b="1" noProof="0" dirty="0">
                  <a:solidFill>
                    <a:schemeClr val="accent2"/>
                  </a:solidFill>
                  <a:latin typeface="+mj-lt"/>
                  <a:ea typeface="Allianz Sans" panose="02000506030000020004" pitchFamily="2" charset="0"/>
                </a:endParaRPr>
              </a:p>
            </p:txBody>
          </p:sp>
          <p:sp>
            <p:nvSpPr>
              <p:cNvPr id="43" name="TextBox 2"/>
              <p:cNvSpPr txBox="1"/>
              <p:nvPr userDrawn="1"/>
            </p:nvSpPr>
            <p:spPr bwMode="gray">
              <a:xfrm>
                <a:off x="4124571" y="6236317"/>
                <a:ext cx="767137" cy="189283"/>
              </a:xfrm>
              <a:prstGeom prst="rect">
                <a:avLst/>
              </a:prstGeom>
            </p:spPr>
            <p:txBody>
              <a:bodyPr vert="horz" wrap="none" lIns="0" tIns="0" rIns="0" bIns="0" rtlCol="0" anchor="b">
                <a:spAutoFit/>
              </a:bodyPr>
              <a:lstStyle/>
              <a:p>
                <a:pPr algn="l"/>
                <a:r>
                  <a:rPr lang="en-GB" sz="1230" b="1" noProof="0" dirty="0">
                    <a:solidFill>
                      <a:schemeClr val="accent2"/>
                    </a:solidFill>
                    <a:latin typeface="+mj-lt"/>
                    <a:ea typeface="Allianz Sans" panose="02000506030000020004" pitchFamily="2" charset="0"/>
                  </a:rPr>
                  <a:t>Co</a:t>
                </a:r>
                <a:r>
                  <a:rPr lang="en-GB" sz="1230" b="1" baseline="0" noProof="0" dirty="0">
                    <a:solidFill>
                      <a:schemeClr val="accent2"/>
                    </a:solidFill>
                    <a:latin typeface="+mj-lt"/>
                    <a:ea typeface="Allianz Sans" panose="02000506030000020004" pitchFamily="2" charset="0"/>
                  </a:rPr>
                  <a:t> </a:t>
                </a:r>
                <a:r>
                  <a:rPr lang="en-GB" sz="1230" b="1" noProof="0" dirty="0">
                    <a:solidFill>
                      <a:schemeClr val="accent2"/>
                    </a:solidFill>
                    <a:latin typeface="+mj-lt"/>
                    <a:ea typeface="Allianz Sans" panose="02000506030000020004" pitchFamily="2" charset="0"/>
                  </a:rPr>
                  <a:t>Branding</a:t>
                </a:r>
              </a:p>
            </p:txBody>
          </p:sp>
          <p:sp>
            <p:nvSpPr>
              <p:cNvPr id="44" name="TextBox 2"/>
              <p:cNvSpPr txBox="1"/>
              <p:nvPr userDrawn="1"/>
            </p:nvSpPr>
            <p:spPr bwMode="gray">
              <a:xfrm>
                <a:off x="3544910" y="6152092"/>
                <a:ext cx="53" cy="369332"/>
              </a:xfrm>
              <a:prstGeom prst="rect">
                <a:avLst/>
              </a:prstGeom>
            </p:spPr>
            <p:txBody>
              <a:bodyPr vert="horz" wrap="none" lIns="0" tIns="0" rIns="0" bIns="0" rtlCol="0" anchor="b">
                <a:spAutoFit/>
              </a:bodyPr>
              <a:lstStyle/>
              <a:p>
                <a:pPr algn="l"/>
                <a:endParaRPr lang="en-GB" sz="2400" b="0" noProof="0" dirty="0">
                  <a:solidFill>
                    <a:schemeClr val="bg1"/>
                  </a:solidFill>
                  <a:latin typeface="+mj-lt"/>
                  <a:ea typeface="Allianz Sans" panose="02000506030000020004" pitchFamily="2" charset="0"/>
                </a:endParaRPr>
              </a:p>
            </p:txBody>
          </p:sp>
        </p:grpSp>
      </p:grpSp>
      <p:sp>
        <p:nvSpPr>
          <p:cNvPr id="49"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617687158"/>
      </p:ext>
    </p:extLst>
  </p:cSld>
  <p:clrMapOvr>
    <a:overrideClrMapping bg1="lt1" tx1="dk1" bg2="lt2" tx2="dk2" accent1="accent1" accent2="accent2" accent3="accent3" accent4="accent4" accent5="accent5" accent6="accent6" hlink="hlink" folHlink="folHlink"/>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 Box right side">
    <p:bg>
      <p:bgRef idx="1001">
        <a:schemeClr val="bg1"/>
      </p:bgRef>
    </p:bg>
    <p:spTree>
      <p:nvGrpSpPr>
        <p:cNvPr id="1" name=""/>
        <p:cNvGrpSpPr/>
        <p:nvPr/>
      </p:nvGrpSpPr>
      <p:grpSpPr>
        <a:xfrm>
          <a:off x="0" y="0"/>
          <a:ext cx="0" cy="0"/>
          <a:chOff x="0" y="0"/>
          <a:chExt cx="0" cy="0"/>
        </a:xfrm>
      </p:grpSpPr>
      <p:sp>
        <p:nvSpPr>
          <p:cNvPr id="39" name="Rechteck 38"/>
          <p:cNvSpPr/>
          <p:nvPr userDrawn="1"/>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Textfeld 12"/>
          <p:cNvSpPr txBox="1"/>
          <p:nvPr userDrawn="1"/>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14" name="L-Form 13"/>
          <p:cNvSpPr/>
          <p:nvPr userDrawn="1"/>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43" name="Freihandform: Form 42">
            <a:extLst>
              <a:ext uri="{FF2B5EF4-FFF2-40B4-BE49-F238E27FC236}">
                <a16:creationId xmlns:a16="http://schemas.microsoft.com/office/drawing/2014/main" id="{9B0A8140-6550-4414-B287-547857EB93C9}"/>
              </a:ext>
            </a:extLst>
          </p:cNvPr>
          <p:cNvSpPr/>
          <p:nvPr userDrawn="1"/>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7" name="Rechteck 36"/>
          <p:cNvSpPr/>
          <p:nvPr userDrawn="1"/>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6215185" y="906710"/>
            <a:ext cx="5139882"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0" name="Textplatzhalter 20"/>
          <p:cNvSpPr>
            <a:spLocks noGrp="1"/>
          </p:cNvSpPr>
          <p:nvPr>
            <p:ph type="body" sz="quarter" idx="15" hasCustomPrompt="1"/>
          </p:nvPr>
        </p:nvSpPr>
        <p:spPr bwMode="gray">
          <a:xfrm>
            <a:off x="6215185" y="1460160"/>
            <a:ext cx="5139882"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
        <p:nvSpPr>
          <p:cNvPr id="38"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255705402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Matrix">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r>
              <a:rPr lang="nl-NL" smtClean="0"/>
              <a:t>Beleidsopties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2" name="Titel 1">
            <a:extLst>
              <a:ext uri="{FF2B5EF4-FFF2-40B4-BE49-F238E27FC236}">
                <a16:creationId xmlns:a16="http://schemas.microsoft.com/office/drawing/2014/main" id="{4C1F537F-4893-4B26-A8A3-BDBA97A5C8E2}"/>
              </a:ext>
            </a:extLst>
          </p:cNvPr>
          <p:cNvSpPr>
            <a:spLocks noGrp="1"/>
          </p:cNvSpPr>
          <p:nvPr>
            <p:ph type="title"/>
          </p:nvPr>
        </p:nvSpPr>
        <p:spPr/>
        <p:txBody>
          <a:bodyPr/>
          <a:lstStyle/>
          <a:p>
            <a:r>
              <a:rPr lang="nl-NL" smtClean="0"/>
              <a:t>Klik om de stijl te bewerken</a:t>
            </a:r>
            <a:endParaRPr lang="nl-NL"/>
          </a:p>
        </p:txBody>
      </p:sp>
      <p:sp>
        <p:nvSpPr>
          <p:cNvPr id="17" name="Tijdelijke aanduiding voor tekst 7">
            <a:extLst>
              <a:ext uri="{FF2B5EF4-FFF2-40B4-BE49-F238E27FC236}">
                <a16:creationId xmlns:a16="http://schemas.microsoft.com/office/drawing/2014/main" id="{43BC3A88-E031-4B38-947C-CB668FD1D3DA}"/>
              </a:ext>
            </a:extLst>
          </p:cNvPr>
          <p:cNvSpPr>
            <a:spLocks noGrp="1"/>
          </p:cNvSpPr>
          <p:nvPr>
            <p:ph type="body" sz="quarter" idx="19"/>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8" name="Text Placeholder 2">
            <a:extLst>
              <a:ext uri="{FF2B5EF4-FFF2-40B4-BE49-F238E27FC236}">
                <a16:creationId xmlns:a16="http://schemas.microsoft.com/office/drawing/2014/main" id="{E3790B26-34CB-4168-9656-3223E16D3587}"/>
              </a:ext>
            </a:extLst>
          </p:cNvPr>
          <p:cNvSpPr>
            <a:spLocks noGrp="1"/>
          </p:cNvSpPr>
          <p:nvPr>
            <p:ph type="body" idx="1" hasCustomPrompt="1"/>
          </p:nvPr>
        </p:nvSpPr>
        <p:spPr>
          <a:xfrm>
            <a:off x="503768" y="138085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9" name="Text Placeholder 4">
            <a:extLst>
              <a:ext uri="{FF2B5EF4-FFF2-40B4-BE49-F238E27FC236}">
                <a16:creationId xmlns:a16="http://schemas.microsoft.com/office/drawing/2014/main" id="{1974534E-5B4B-4773-A5ED-3850F79C9E3B}"/>
              </a:ext>
            </a:extLst>
          </p:cNvPr>
          <p:cNvSpPr>
            <a:spLocks noGrp="1"/>
          </p:cNvSpPr>
          <p:nvPr>
            <p:ph type="body" sz="quarter" idx="3" hasCustomPrompt="1"/>
          </p:nvPr>
        </p:nvSpPr>
        <p:spPr>
          <a:xfrm>
            <a:off x="6142566" y="138085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20" name="Content Placeholder 2">
            <a:extLst>
              <a:ext uri="{FF2B5EF4-FFF2-40B4-BE49-F238E27FC236}">
                <a16:creationId xmlns:a16="http://schemas.microsoft.com/office/drawing/2014/main" id="{C1121371-7B92-401E-B83D-D7F95CECEA9F}"/>
              </a:ext>
            </a:extLst>
          </p:cNvPr>
          <p:cNvSpPr>
            <a:spLocks noGrp="1"/>
          </p:cNvSpPr>
          <p:nvPr>
            <p:ph sz="half" idx="13" hasCustomPrompt="1"/>
          </p:nvPr>
        </p:nvSpPr>
        <p:spPr>
          <a:xfrm>
            <a:off x="503767" y="186316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1" name="Content Placeholder 2">
            <a:extLst>
              <a:ext uri="{FF2B5EF4-FFF2-40B4-BE49-F238E27FC236}">
                <a16:creationId xmlns:a16="http://schemas.microsoft.com/office/drawing/2014/main" id="{88939C3D-C210-4D49-8FF6-D51E8E384A6A}"/>
              </a:ext>
            </a:extLst>
          </p:cNvPr>
          <p:cNvSpPr>
            <a:spLocks noGrp="1"/>
          </p:cNvSpPr>
          <p:nvPr>
            <p:ph sz="half" idx="14" hasCustomPrompt="1"/>
          </p:nvPr>
        </p:nvSpPr>
        <p:spPr>
          <a:xfrm>
            <a:off x="6140729" y="186316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30" name="Text Placeholder 2">
            <a:extLst>
              <a:ext uri="{FF2B5EF4-FFF2-40B4-BE49-F238E27FC236}">
                <a16:creationId xmlns:a16="http://schemas.microsoft.com/office/drawing/2014/main" id="{D515387A-18BE-4223-B7EE-6B6400C631FD}"/>
              </a:ext>
            </a:extLst>
          </p:cNvPr>
          <p:cNvSpPr>
            <a:spLocks noGrp="1"/>
          </p:cNvSpPr>
          <p:nvPr>
            <p:ph type="body" idx="20" hasCustomPrompt="1"/>
          </p:nvPr>
        </p:nvSpPr>
        <p:spPr>
          <a:xfrm>
            <a:off x="503768" y="392841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1" name="Text Placeholder 4">
            <a:extLst>
              <a:ext uri="{FF2B5EF4-FFF2-40B4-BE49-F238E27FC236}">
                <a16:creationId xmlns:a16="http://schemas.microsoft.com/office/drawing/2014/main" id="{462B6881-AD43-4D96-85BE-6F401AAD23D0}"/>
              </a:ext>
            </a:extLst>
          </p:cNvPr>
          <p:cNvSpPr>
            <a:spLocks noGrp="1"/>
          </p:cNvSpPr>
          <p:nvPr>
            <p:ph type="body" sz="quarter" idx="21" hasCustomPrompt="1"/>
          </p:nvPr>
        </p:nvSpPr>
        <p:spPr>
          <a:xfrm>
            <a:off x="6142566" y="392841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2" name="Content Placeholder 2">
            <a:extLst>
              <a:ext uri="{FF2B5EF4-FFF2-40B4-BE49-F238E27FC236}">
                <a16:creationId xmlns:a16="http://schemas.microsoft.com/office/drawing/2014/main" id="{9516B78D-4024-43DB-A8F1-B3006055421A}"/>
              </a:ext>
            </a:extLst>
          </p:cNvPr>
          <p:cNvSpPr>
            <a:spLocks noGrp="1"/>
          </p:cNvSpPr>
          <p:nvPr>
            <p:ph sz="half" idx="22" hasCustomPrompt="1"/>
          </p:nvPr>
        </p:nvSpPr>
        <p:spPr>
          <a:xfrm>
            <a:off x="503767" y="441072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33" name="Content Placeholder 2">
            <a:extLst>
              <a:ext uri="{FF2B5EF4-FFF2-40B4-BE49-F238E27FC236}">
                <a16:creationId xmlns:a16="http://schemas.microsoft.com/office/drawing/2014/main" id="{374099B1-6681-458D-B810-D1618E5F49B3}"/>
              </a:ext>
            </a:extLst>
          </p:cNvPr>
          <p:cNvSpPr>
            <a:spLocks noGrp="1"/>
          </p:cNvSpPr>
          <p:nvPr>
            <p:ph sz="half" idx="23" hasCustomPrompt="1"/>
          </p:nvPr>
        </p:nvSpPr>
        <p:spPr>
          <a:xfrm>
            <a:off x="6140729" y="441072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4" name="Tijdelijke aanduiding voor tekst 2">
            <a:extLst>
              <a:ext uri="{FF2B5EF4-FFF2-40B4-BE49-F238E27FC236}">
                <a16:creationId xmlns:a16="http://schemas.microsoft.com/office/drawing/2014/main" id="{8C1B6BB5-D0B9-49A7-BB9B-BE768FCE7F11}"/>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221501339"/>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Title Slide - Box right side - Alternative">
    <p:bg>
      <p:bgRef idx="1001">
        <a:schemeClr val="bg1"/>
      </p:bgRef>
    </p:bg>
    <p:spTree>
      <p:nvGrpSpPr>
        <p:cNvPr id="1" name=""/>
        <p:cNvGrpSpPr/>
        <p:nvPr/>
      </p:nvGrpSpPr>
      <p:grpSpPr>
        <a:xfrm>
          <a:off x="0" y="0"/>
          <a:ext cx="0" cy="0"/>
          <a:chOff x="0" y="0"/>
          <a:chExt cx="0" cy="0"/>
        </a:xfrm>
      </p:grpSpPr>
      <p:sp>
        <p:nvSpPr>
          <p:cNvPr id="53" name="Rechteck 52"/>
          <p:cNvSpPr/>
          <p:nvPr userDrawn="1"/>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58" name="Textfeld 57"/>
          <p:cNvSpPr txBox="1"/>
          <p:nvPr userDrawn="1"/>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2534"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3" name="Freihandform: Form 42">
            <a:extLst>
              <a:ext uri="{FF2B5EF4-FFF2-40B4-BE49-F238E27FC236}">
                <a16:creationId xmlns:a16="http://schemas.microsoft.com/office/drawing/2014/main" id="{9B0A8140-6550-4414-B287-547857EB93C9}"/>
              </a:ext>
            </a:extLst>
          </p:cNvPr>
          <p:cNvSpPr/>
          <p:nvPr userDrawn="1"/>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8" name="L-Form 37"/>
          <p:cNvSpPr/>
          <p:nvPr userDrawn="1"/>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37" name="Rechteck 36"/>
          <p:cNvSpPr/>
          <p:nvPr userDrawn="1"/>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6215185" y="906710"/>
            <a:ext cx="5139882" cy="553998"/>
          </a:xfrm>
        </p:spPr>
        <p:txBody>
          <a:bodyPr lIns="0" tIns="0" rIns="0" bIns="0" anchor="b">
            <a:spAutoFit/>
          </a:bodyPr>
          <a:lstStyle>
            <a:lvl1pPr marL="1295400" indent="-1295400">
              <a:spcBef>
                <a:spcPts val="0"/>
              </a:spcBef>
              <a:spcAft>
                <a:spcPts val="0"/>
              </a:spcAft>
              <a:buNone/>
              <a:tabLst/>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39" name="Textplatzhalter 20"/>
          <p:cNvSpPr>
            <a:spLocks noGrp="1"/>
          </p:cNvSpPr>
          <p:nvPr>
            <p:ph type="body" sz="quarter" idx="15" hasCustomPrompt="1"/>
          </p:nvPr>
        </p:nvSpPr>
        <p:spPr bwMode="gray">
          <a:xfrm>
            <a:off x="7819385" y="1460072"/>
            <a:ext cx="3535682" cy="1661993"/>
          </a:xfrm>
        </p:spPr>
        <p:txBody>
          <a:bodyPr lIns="0" tIns="0" rIns="0" bIns="0">
            <a:spAutoFit/>
          </a:bodyPr>
          <a:lstStyle>
            <a:lvl1pPr marL="0" indent="0">
              <a:spcBef>
                <a:spcPts val="0"/>
              </a:spcBef>
              <a:spcAft>
                <a:spcPts val="0"/>
              </a:spcAft>
              <a:buNone/>
              <a:tabLst/>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36pt)</a:t>
            </a:r>
          </a:p>
        </p:txBody>
      </p:sp>
      <p:sp>
        <p:nvSpPr>
          <p:cNvPr id="40"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65567048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Visual - 1">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3558"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35" name="Rechteck 34"/>
          <p:cNvSpPr/>
          <p:nvPr userDrawn="1"/>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userDrawn="1"/>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3"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2868617"/>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100" name="Textplatzhalter 20"/>
          <p:cNvSpPr>
            <a:spLocks noGrp="1"/>
          </p:cNvSpPr>
          <p:nvPr>
            <p:ph type="body" sz="quarter" idx="12" hasCustomPrompt="1"/>
          </p:nvPr>
        </p:nvSpPr>
        <p:spPr bwMode="gray">
          <a:xfrm>
            <a:off x="398769" y="1029823"/>
            <a:ext cx="5261408" cy="430887"/>
          </a:xfrm>
        </p:spPr>
        <p:txBody>
          <a:bodyPr wrap="square" lIns="0" tIns="0" rIns="0" bIns="0" anchor="b">
            <a:spAutoFit/>
          </a:bodyPr>
          <a:lstStyle>
            <a:lvl1pPr marL="0" indent="0">
              <a:spcBef>
                <a:spcPts val="0"/>
              </a:spcBef>
              <a:spcAft>
                <a:spcPts val="0"/>
              </a:spcAft>
              <a:buNone/>
              <a:defRPr sz="28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Placeholder (28pt)</a:t>
            </a:r>
            <a:endParaRPr lang="en-GB" noProof="0" dirty="0">
              <a:solidFill>
                <a:schemeClr val="bg1"/>
              </a:solidFill>
            </a:endParaRPr>
          </a:p>
        </p:txBody>
      </p:sp>
      <p:sp>
        <p:nvSpPr>
          <p:cNvPr id="36" name="Textplatzhalter 20"/>
          <p:cNvSpPr>
            <a:spLocks noGrp="1"/>
          </p:cNvSpPr>
          <p:nvPr>
            <p:ph type="body" sz="quarter" idx="15" hasCustomPrompt="1"/>
          </p:nvPr>
        </p:nvSpPr>
        <p:spPr bwMode="gray">
          <a:xfrm>
            <a:off x="398771" y="1458916"/>
            <a:ext cx="8602783" cy="430887"/>
          </a:xfrm>
        </p:spPr>
        <p:txBody>
          <a:bodyPr lIns="0" tIns="0" rIns="0" bIns="0">
            <a:spAutoFit/>
          </a:bodyPr>
          <a:lstStyle>
            <a:lvl1pPr marL="0" indent="0">
              <a:spcBef>
                <a:spcPts val="0"/>
              </a:spcBef>
              <a:spcAft>
                <a:spcPts val="0"/>
              </a:spcAft>
              <a:buNone/>
              <a:defRPr sz="28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Lorem ipsum </a:t>
            </a:r>
            <a:r>
              <a:rPr lang="en-GB" noProof="0" dirty="0" err="1"/>
              <a:t>dolor</a:t>
            </a:r>
            <a:r>
              <a:rPr lang="en-GB" noProof="0" dirty="0"/>
              <a:t> (28pt)</a:t>
            </a:r>
          </a:p>
        </p:txBody>
      </p:sp>
      <p:sp>
        <p:nvSpPr>
          <p:cNvPr id="37"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1399701364"/>
      </p:ext>
    </p:extLst>
  </p:cSld>
  <p:clrMapOvr>
    <a:overrideClrMapping bg1="lt1" tx1="dk1" bg2="lt2" tx2="dk2" accent1="accent1" accent2="accent2" accent3="accent3" accent4="accent4" accent5="accent5" accent6="accent6" hlink="hlink" folHlink="folHlink"/>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Visual - 2">
    <p:bg>
      <p:bgRef idx="1001">
        <a:schemeClr val="bg1"/>
      </p:bgRef>
    </p:bg>
    <p:spTree>
      <p:nvGrpSpPr>
        <p:cNvPr id="1" name=""/>
        <p:cNvGrpSpPr/>
        <p:nvPr/>
      </p:nvGrpSpPr>
      <p:grpSpPr>
        <a:xfrm>
          <a:off x="0" y="0"/>
          <a:ext cx="0" cy="0"/>
          <a:chOff x="0" y="0"/>
          <a:chExt cx="0" cy="0"/>
        </a:xfrm>
      </p:grpSpPr>
      <p:sp>
        <p:nvSpPr>
          <p:cNvPr id="35" name="Rechteck 34"/>
          <p:cNvSpPr/>
          <p:nvPr userDrawn="1"/>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userDrawn="1"/>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0" name="Textplatzhalter 20"/>
          <p:cNvSpPr>
            <a:spLocks noGrp="1"/>
          </p:cNvSpPr>
          <p:nvPr>
            <p:ph type="body" sz="quarter" idx="12" hasCustomPrompt="1"/>
          </p:nvPr>
        </p:nvSpPr>
        <p:spPr bwMode="gray">
          <a:xfrm>
            <a:off x="398771" y="1632606"/>
            <a:ext cx="8602783"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br>
              <a:rPr lang="en-GB" noProof="0" dirty="0"/>
            </a:br>
            <a:r>
              <a:rPr lang="en-GB" noProof="0" dirty="0"/>
              <a:t>max. three lines</a:t>
            </a:r>
          </a:p>
        </p:txBody>
      </p:sp>
      <p:sp>
        <p:nvSpPr>
          <p:cNvPr id="33"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3419361"/>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34"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2326754235"/>
      </p:ext>
    </p:extLst>
  </p:cSld>
  <p:clrMapOvr>
    <a:overrideClrMapping bg1="lt1" tx1="dk1" bg2="lt2" tx2="dk2" accent1="accent1" accent2="accent2" accent3="accent3" accent4="accent4" accent5="accent5" accent6="accent6" hlink="hlink" folHlink="folHlink"/>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Agenda Slide with Lis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Content Placeholder 12"/>
          <p:cNvSpPr>
            <a:spLocks noGrp="1"/>
          </p:cNvSpPr>
          <p:nvPr>
            <p:ph sz="quarter" idx="21" hasCustomPrompt="1"/>
          </p:nvPr>
        </p:nvSpPr>
        <p:spPr bwMode="gray">
          <a:xfrm>
            <a:off x="398769" y="2368800"/>
            <a:ext cx="11369354" cy="3794400"/>
          </a:xfrm>
        </p:spPr>
        <p:txBody>
          <a:bodyPr/>
          <a:lstStyle>
            <a:lvl1pPr marL="357188" indent="-357188">
              <a:buFont typeface="+mj-lt"/>
              <a:buAutoNum type="arabicPeriod"/>
              <a:tabLst/>
              <a:defRPr/>
            </a:lvl1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
        <p:nvSpPr>
          <p:cNvPr id="3" name="Titel 2"/>
          <p:cNvSpPr>
            <a:spLocks noGrp="1"/>
          </p:cNvSpPr>
          <p:nvPr>
            <p:ph type="title" hasCustomPrompt="1"/>
          </p:nvPr>
        </p:nvSpPr>
        <p:spPr bwMode="gray"/>
        <p:txBody>
          <a:bodyPr/>
          <a:lstStyle>
            <a:lvl1pPr>
              <a:defRPr/>
            </a:lvl1pPr>
          </a:lstStyle>
          <a:p>
            <a:r>
              <a:rPr lang="en-GB" noProof="0" dirty="0"/>
              <a:t>Agenda title (20pt)</a:t>
            </a:r>
          </a:p>
        </p:txBody>
      </p:sp>
    </p:spTree>
    <p:extLst>
      <p:ext uri="{BB962C8B-B14F-4D97-AF65-F5344CB8AC3E}">
        <p14:creationId xmlns:p14="http://schemas.microsoft.com/office/powerpoint/2010/main" val="3275020582"/>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Textplatzhalter 11"/>
          <p:cNvSpPr txBox="1">
            <a:spLocks/>
          </p:cNvSpPr>
          <p:nvPr userDrawn="1"/>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Tree>
    <p:extLst>
      <p:ext uri="{BB962C8B-B14F-4D97-AF65-F5344CB8AC3E}">
        <p14:creationId xmlns:p14="http://schemas.microsoft.com/office/powerpoint/2010/main" val="14549410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Section/Introduction Slide">
    <p:spTree>
      <p:nvGrpSpPr>
        <p:cNvPr id="1" name=""/>
        <p:cNvGrpSpPr/>
        <p:nvPr/>
      </p:nvGrpSpPr>
      <p:grpSpPr>
        <a:xfrm>
          <a:off x="0" y="0"/>
          <a:ext cx="0" cy="0"/>
          <a:chOff x="0" y="0"/>
          <a:chExt cx="0" cy="0"/>
        </a:xfrm>
      </p:grpSpPr>
      <p:sp>
        <p:nvSpPr>
          <p:cNvPr id="6" name="Rechteck 5"/>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 name="Bildplatzhalter 3"/>
          <p:cNvSpPr>
            <a:spLocks noGrp="1"/>
          </p:cNvSpPr>
          <p:nvPr>
            <p:ph type="pic" sz="quarter" idx="23" hasCustomPrompt="1"/>
          </p:nvPr>
        </p:nvSpPr>
        <p:spPr bwMode="gray">
          <a:xfrm>
            <a:off x="4370548" y="3584448"/>
            <a:ext cx="7412113" cy="2113090"/>
          </a:xfrm>
          <a:solidFill>
            <a:srgbClr val="E1E1E1"/>
          </a:solidFill>
        </p:spPr>
        <p:txBody>
          <a:bodyPr/>
          <a:lstStyle>
            <a:lvl1pPr marL="0" indent="0">
              <a:buNone/>
              <a:defRPr>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3" name="Textplatzhalter 2"/>
          <p:cNvSpPr>
            <a:spLocks noGrp="1"/>
          </p:cNvSpPr>
          <p:nvPr>
            <p:ph type="body" sz="quarter" idx="24" hasCustomPrompt="1"/>
          </p:nvPr>
        </p:nvSpPr>
        <p:spPr bwMode="gray">
          <a:xfrm>
            <a:off x="389066" y="2079299"/>
            <a:ext cx="7222154" cy="1514475"/>
          </a:xfrm>
        </p:spPr>
        <p:txBody>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1pPr>
            <a:lvl2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2pPr>
            <a:lvl3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3pPr>
            <a:lvl4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4pPr>
            <a:lvl5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5pPr>
          </a:lstStyle>
          <a:p>
            <a:pPr>
              <a:buClrTx/>
              <a:tabLst/>
            </a:pPr>
            <a:r>
              <a:rPr lang="en-GB" sz="4400" b="1" noProof="0" dirty="0">
                <a:solidFill>
                  <a:schemeClr val="tx2"/>
                </a:solidFill>
              </a:rPr>
              <a:t>Name of chapter (44pt) max. two lines</a:t>
            </a:r>
          </a:p>
        </p:txBody>
      </p:sp>
      <p:sp>
        <p:nvSpPr>
          <p:cNvPr id="8" name="Text Placeholder 2"/>
          <p:cNvSpPr>
            <a:spLocks noGrp="1"/>
          </p:cNvSpPr>
          <p:nvPr>
            <p:ph type="body" idx="1" hasCustomPrompt="1"/>
          </p:nvPr>
        </p:nvSpPr>
        <p:spPr bwMode="gray">
          <a:xfrm>
            <a:off x="389066" y="114782"/>
            <a:ext cx="7222154" cy="1844805"/>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tabLst/>
              <a:defRPr lang="en-GB" sz="12000" b="1" strike="noStrike" kern="0" spc="0" noProof="0" dirty="0" smtClean="0">
                <a:solidFill>
                  <a:schemeClr val="tx2"/>
                </a:solidFill>
              </a:defRPr>
            </a:lvl1pPr>
          </a:lstStyle>
          <a:p>
            <a:pPr marL="0" lvl="0" indent="0">
              <a:spcBef>
                <a:spcPts val="0"/>
              </a:spcBef>
              <a:spcAft>
                <a:spcPct val="0"/>
              </a:spcAft>
              <a:buClrTx/>
            </a:pPr>
            <a:r>
              <a:rPr lang="en-GB" noProof="0" dirty="0"/>
              <a:t>01</a:t>
            </a:r>
          </a:p>
        </p:txBody>
      </p:sp>
      <p:sp>
        <p:nvSpPr>
          <p:cNvPr id="7" name="Textplatzhalter 5"/>
          <p:cNvSpPr>
            <a:spLocks noGrp="1"/>
          </p:cNvSpPr>
          <p:nvPr>
            <p:ph type="body" sz="quarter" idx="11" hasCustomPrompt="1"/>
          </p:nvPr>
        </p:nvSpPr>
        <p:spPr bwMode="gray">
          <a:xfrm>
            <a:off x="394677" y="3697787"/>
            <a:ext cx="3589216" cy="708025"/>
          </a:xfrm>
        </p:spPr>
        <p:txBody>
          <a:bodyPr/>
          <a:lstStyle>
            <a:lvl1pPr marL="0" indent="0">
              <a:buFont typeface="Arial" panose="020B0604020202020204" pitchFamily="34" charse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Tree>
    <p:extLst>
      <p:ext uri="{BB962C8B-B14F-4D97-AF65-F5344CB8AC3E}">
        <p14:creationId xmlns:p14="http://schemas.microsoft.com/office/powerpoint/2010/main" val="143939239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Section/Introduction Slide - Alternative">
    <p:spTree>
      <p:nvGrpSpPr>
        <p:cNvPr id="1" name=""/>
        <p:cNvGrpSpPr/>
        <p:nvPr/>
      </p:nvGrpSpPr>
      <p:grpSpPr>
        <a:xfrm>
          <a:off x="0" y="0"/>
          <a:ext cx="0" cy="0"/>
          <a:chOff x="0" y="0"/>
          <a:chExt cx="0" cy="0"/>
        </a:xfrm>
      </p:grpSpPr>
      <p:sp>
        <p:nvSpPr>
          <p:cNvPr id="9" name="Rechteck 8"/>
          <p:cNvSpPr/>
          <p:nvPr userDrawn="1"/>
        </p:nvSpPr>
        <p:spPr bwMode="gray">
          <a:xfrm>
            <a:off x="4370694" y="3585886"/>
            <a:ext cx="7404171" cy="2111655"/>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userDrawn="1"/>
        </p:nvSpPr>
        <p:spPr bwMode="gray">
          <a:xfrm>
            <a:off x="0" y="0"/>
            <a:ext cx="4370693"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Freihandform: Form 14">
            <a:extLst>
              <a:ext uri="{FF2B5EF4-FFF2-40B4-BE49-F238E27FC236}">
                <a16:creationId xmlns:a16="http://schemas.microsoft.com/office/drawing/2014/main" id="{BD9FCD38-CC46-4426-9E28-976D7ACF23BE}"/>
              </a:ext>
            </a:extLst>
          </p:cNvPr>
          <p:cNvSpPr/>
          <p:nvPr userDrawn="1"/>
        </p:nvSpPr>
        <p:spPr bwMode="gray">
          <a:xfrm flipH="1">
            <a:off x="-4" y="860615"/>
            <a:ext cx="12192001" cy="5558117"/>
          </a:xfrm>
          <a:custGeom>
            <a:avLst/>
            <a:gdLst>
              <a:gd name="connsiteX0" fmla="*/ 9906001 w 9906001"/>
              <a:gd name="connsiteY0" fmla="*/ 3984989 h 5558117"/>
              <a:gd name="connsiteX1" fmla="*/ 6354931 w 9906001"/>
              <a:gd name="connsiteY1" fmla="*/ 3984989 h 5558117"/>
              <a:gd name="connsiteX2" fmla="*/ 6354931 w 9906001"/>
              <a:gd name="connsiteY2" fmla="*/ 5558117 h 5558117"/>
              <a:gd name="connsiteX3" fmla="*/ 9906001 w 9906001"/>
              <a:gd name="connsiteY3" fmla="*/ 5558117 h 5558117"/>
              <a:gd name="connsiteX4" fmla="*/ 6354931 w 9906001"/>
              <a:gd name="connsiteY4" fmla="*/ 0 h 5558117"/>
              <a:gd name="connsiteX5" fmla="*/ 1 w 9906001"/>
              <a:gd name="connsiteY5" fmla="*/ 0 h 5558117"/>
              <a:gd name="connsiteX6" fmla="*/ 1 w 9906001"/>
              <a:gd name="connsiteY6" fmla="*/ 2723838 h 5558117"/>
              <a:gd name="connsiteX7" fmla="*/ 1 w 9906001"/>
              <a:gd name="connsiteY7" fmla="*/ 4849903 h 5558117"/>
              <a:gd name="connsiteX8" fmla="*/ 0 w 9906001"/>
              <a:gd name="connsiteY8" fmla="*/ 4849903 h 5558117"/>
              <a:gd name="connsiteX9" fmla="*/ 0 w 9906001"/>
              <a:gd name="connsiteY9" fmla="*/ 5558116 h 5558117"/>
              <a:gd name="connsiteX10" fmla="*/ 6354930 w 9906001"/>
              <a:gd name="connsiteY10" fmla="*/ 5558116 h 5558117"/>
              <a:gd name="connsiteX11" fmla="*/ 6354930 w 9906001"/>
              <a:gd name="connsiteY11" fmla="*/ 4849903 h 5558117"/>
              <a:gd name="connsiteX12" fmla="*/ 336547 w 9906001"/>
              <a:gd name="connsiteY12" fmla="*/ 4849903 h 5558117"/>
              <a:gd name="connsiteX13" fmla="*/ 336547 w 9906001"/>
              <a:gd name="connsiteY13" fmla="*/ 2723838 h 5558117"/>
              <a:gd name="connsiteX14" fmla="*/ 6354931 w 9906001"/>
              <a:gd name="connsiteY14" fmla="*/ 2723838 h 555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6001" h="5558117">
                <a:moveTo>
                  <a:pt x="9906001" y="3984989"/>
                </a:moveTo>
                <a:lnTo>
                  <a:pt x="6354931" y="3984989"/>
                </a:lnTo>
                <a:lnTo>
                  <a:pt x="6354931" y="5558117"/>
                </a:lnTo>
                <a:lnTo>
                  <a:pt x="9906001" y="5558117"/>
                </a:lnTo>
                <a:close/>
                <a:moveTo>
                  <a:pt x="6354931" y="0"/>
                </a:moveTo>
                <a:lnTo>
                  <a:pt x="1" y="0"/>
                </a:lnTo>
                <a:lnTo>
                  <a:pt x="1" y="2723838"/>
                </a:lnTo>
                <a:lnTo>
                  <a:pt x="1" y="4849903"/>
                </a:lnTo>
                <a:lnTo>
                  <a:pt x="0" y="4849903"/>
                </a:lnTo>
                <a:lnTo>
                  <a:pt x="0" y="5558116"/>
                </a:lnTo>
                <a:lnTo>
                  <a:pt x="6354930" y="5558116"/>
                </a:lnTo>
                <a:lnTo>
                  <a:pt x="6354930" y="4849903"/>
                </a:lnTo>
                <a:lnTo>
                  <a:pt x="336547" y="4849903"/>
                </a:lnTo>
                <a:lnTo>
                  <a:pt x="336547" y="2723838"/>
                </a:lnTo>
                <a:lnTo>
                  <a:pt x="6354931" y="2723838"/>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2"/>
          <p:cNvSpPr>
            <a:spLocks noGrp="1"/>
          </p:cNvSpPr>
          <p:nvPr>
            <p:ph type="body" idx="1" hasCustomPrompt="1"/>
          </p:nvPr>
        </p:nvSpPr>
        <p:spPr bwMode="gray">
          <a:xfrm>
            <a:off x="389507" y="114508"/>
            <a:ext cx="7222431" cy="1843200"/>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Font typeface="Arial" panose="020B0604020202020204" pitchFamily="34" charset="0"/>
              <a:buNone/>
              <a:defRPr lang="en-GB" sz="12000" b="1" strike="noStrike" kern="0" spc="0" noProof="0" dirty="0" smtClean="0">
                <a:solidFill>
                  <a:schemeClr val="tx2"/>
                </a:solidFill>
              </a:defRPr>
            </a:lvl1pPr>
          </a:lstStyle>
          <a:p>
            <a:pPr marL="0" lvl="0" indent="0">
              <a:spcBef>
                <a:spcPts val="0"/>
              </a:spcBef>
              <a:spcAft>
                <a:spcPct val="0"/>
              </a:spcAft>
              <a:buClrTx/>
              <a:tabLst/>
            </a:pPr>
            <a:r>
              <a:rPr lang="en-GB" noProof="0" dirty="0"/>
              <a:t>01</a:t>
            </a:r>
          </a:p>
        </p:txBody>
      </p:sp>
      <p:sp>
        <p:nvSpPr>
          <p:cNvPr id="13" name="Title 1"/>
          <p:cNvSpPr>
            <a:spLocks noGrp="1"/>
          </p:cNvSpPr>
          <p:nvPr>
            <p:ph type="title" hasCustomPrompt="1"/>
          </p:nvPr>
        </p:nvSpPr>
        <p:spPr bwMode="gray">
          <a:xfrm>
            <a:off x="389508" y="2082798"/>
            <a:ext cx="7222154" cy="1162575"/>
          </a:xfrm>
        </p:spPr>
        <p:txBody>
          <a:bodyPr anchor="t"/>
          <a:lstStyle>
            <a:lvl1pPr marL="0" indent="0" algn="l">
              <a:buFont typeface="Wingdings" panose="05000000000000000000" pitchFamily="2" charset="2"/>
              <a:buNone/>
              <a:defRPr lang="en-US" sz="4400" b="1" kern="1200" baseline="0" dirty="0" smtClean="0">
                <a:solidFill>
                  <a:schemeClr val="tx2"/>
                </a:solidFill>
                <a:latin typeface="Arial" panose="020B0604020202020204" pitchFamily="34" charset="0"/>
                <a:ea typeface="+mn-ea"/>
                <a:cs typeface="+mn-cs"/>
              </a:defRPr>
            </a:lvl1pPr>
          </a:lstStyle>
          <a:p>
            <a:pPr>
              <a:tabLst/>
            </a:pPr>
            <a:r>
              <a:rPr lang="en-GB" sz="4400" b="1" noProof="0" dirty="0">
                <a:solidFill>
                  <a:schemeClr val="tx2"/>
                </a:solidFill>
              </a:rPr>
              <a:t>Name of chapter (44pt) max. two lines</a:t>
            </a:r>
          </a:p>
        </p:txBody>
      </p:sp>
      <p:sp>
        <p:nvSpPr>
          <p:cNvPr id="19" name="Textplatzhalter 5"/>
          <p:cNvSpPr>
            <a:spLocks noGrp="1"/>
          </p:cNvSpPr>
          <p:nvPr>
            <p:ph type="body" sz="quarter" idx="11" hasCustomPrompt="1"/>
          </p:nvPr>
        </p:nvSpPr>
        <p:spPr bwMode="gray">
          <a:xfrm>
            <a:off x="394677" y="3697787"/>
            <a:ext cx="3589216" cy="708025"/>
          </a:xfrm>
        </p:spPr>
        <p:txBody>
          <a:bodyPr/>
          <a:lstStyle>
            <a:lvl1pPr marL="0" inden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Tree>
    <p:extLst>
      <p:ext uri="{BB962C8B-B14F-4D97-AF65-F5344CB8AC3E}">
        <p14:creationId xmlns:p14="http://schemas.microsoft.com/office/powerpoint/2010/main" val="4114914805"/>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Section Header - 2">
    <p:spTree>
      <p:nvGrpSpPr>
        <p:cNvPr id="1" name=""/>
        <p:cNvGrpSpPr/>
        <p:nvPr/>
      </p:nvGrpSpPr>
      <p:grpSpPr>
        <a:xfrm>
          <a:off x="0" y="0"/>
          <a:ext cx="0" cy="0"/>
          <a:chOff x="0" y="0"/>
          <a:chExt cx="0" cy="0"/>
        </a:xfrm>
      </p:grpSpPr>
      <p:sp>
        <p:nvSpPr>
          <p:cNvPr id="6" name="Rechteck 5"/>
          <p:cNvSpPr/>
          <p:nvPr userDrawn="1"/>
        </p:nvSpPr>
        <p:spPr bwMode="gray">
          <a:xfrm>
            <a:off x="0" y="0"/>
            <a:ext cx="4368738" cy="685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a:xfrm>
            <a:off x="398769" y="660011"/>
            <a:ext cx="9459692" cy="607190"/>
          </a:xfrm>
        </p:spPr>
        <p:txBody>
          <a:bodyPr/>
          <a:lstStyle>
            <a:lvl1pPr>
              <a:defRPr baseline="0">
                <a:solidFill>
                  <a:schemeClr val="tx2"/>
                </a:solidFill>
                <a:latin typeface="Arial" panose="020B0604020202020204" pitchFamily="34" charset="0"/>
              </a:defRPr>
            </a:lvl1pPr>
          </a:lstStyle>
          <a:p>
            <a:r>
              <a:rPr lang="en-GB" noProof="0" dirty="0"/>
              <a:t>Chapter slide (20pt)</a:t>
            </a:r>
          </a:p>
        </p:txBody>
      </p:sp>
      <p:sp>
        <p:nvSpPr>
          <p:cNvPr id="7" name="Text Placeholder 2"/>
          <p:cNvSpPr>
            <a:spLocks noGrp="1"/>
          </p:cNvSpPr>
          <p:nvPr>
            <p:ph type="body" idx="1" hasCustomPrompt="1"/>
          </p:nvPr>
        </p:nvSpPr>
        <p:spPr bwMode="gray">
          <a:xfrm>
            <a:off x="398769" y="2010305"/>
            <a:ext cx="3606752" cy="2515658"/>
          </a:xfrm>
        </p:spPr>
        <p:txBody>
          <a:bodyPr wrap="none" lIns="0" tIns="0" rIns="0" bIns="0" anchor="t" anchorCtr="0"/>
          <a:lstStyle>
            <a:lvl1pPr marL="0" indent="0" algn="l"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
        <p:nvSpPr>
          <p:cNvPr id="16" name="Textplatzhalter 15"/>
          <p:cNvSpPr>
            <a:spLocks noGrp="1"/>
          </p:cNvSpPr>
          <p:nvPr>
            <p:ph type="body" sz="quarter" idx="10" hasCustomPrompt="1"/>
          </p:nvPr>
        </p:nvSpPr>
        <p:spPr bwMode="gray">
          <a:xfrm>
            <a:off x="5495723" y="2368800"/>
            <a:ext cx="6278400" cy="3351600"/>
          </a:xfrm>
        </p:spPr>
        <p:txBody>
          <a:bodyPr/>
          <a:lstStyle>
            <a:lvl1pPr marL="358775" indent="-358775">
              <a:lnSpc>
                <a:spcPct val="120000"/>
              </a:lnSpc>
              <a:spcBef>
                <a:spcPts val="360"/>
              </a:spcBef>
              <a:spcAft>
                <a:spcPts val="360"/>
              </a:spcAft>
              <a:buFont typeface="+mj-lt"/>
              <a:buAutoNum type="arabicPeriod"/>
              <a:tabLst/>
              <a:defRPr sz="1200" b="0">
                <a:latin typeface="Arial" panose="020B0604020202020204" pitchFamily="34" charset="0"/>
              </a:defRPr>
            </a:lvl1pPr>
            <a:lvl2pPr marL="184150" indent="0">
              <a:lnSpc>
                <a:spcPct val="120000"/>
              </a:lnSpc>
              <a:spcBef>
                <a:spcPts val="360"/>
              </a:spcBef>
              <a:spcAft>
                <a:spcPts val="360"/>
              </a:spcAft>
              <a:buFont typeface="+mj-lt"/>
              <a:buNone/>
              <a:defRPr/>
            </a:lvl2pPr>
            <a:lvl3pPr marL="360362" indent="0">
              <a:lnSpc>
                <a:spcPct val="120000"/>
              </a:lnSpc>
              <a:spcBef>
                <a:spcPts val="360"/>
              </a:spcBef>
              <a:spcAft>
                <a:spcPts val="360"/>
              </a:spcAft>
              <a:buFont typeface="+mj-lt"/>
              <a:buNone/>
              <a:defRPr/>
            </a:lvl3pPr>
            <a:lvl4pPr marL="539750" indent="0">
              <a:lnSpc>
                <a:spcPct val="120000"/>
              </a:lnSpc>
              <a:spcBef>
                <a:spcPts val="360"/>
              </a:spcBef>
              <a:spcAft>
                <a:spcPts val="360"/>
              </a:spcAft>
              <a:buFont typeface="+mj-lt"/>
              <a:buNone/>
              <a:defRPr/>
            </a:lvl4pPr>
            <a:lvl5pPr marL="717550" indent="0">
              <a:lnSpc>
                <a:spcPct val="120000"/>
              </a:lnSpc>
              <a:spcBef>
                <a:spcPts val="360"/>
              </a:spcBef>
              <a:spcAft>
                <a:spcPts val="360"/>
              </a:spcAft>
              <a:buClr>
                <a:schemeClr val="tx2"/>
              </a:buClr>
              <a:buFont typeface="+mj-lt"/>
              <a:buNone/>
              <a:defRPr baseline="0"/>
            </a:lvl5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Tree>
    <p:extLst>
      <p:ext uri="{BB962C8B-B14F-4D97-AF65-F5344CB8AC3E}">
        <p14:creationId xmlns:p14="http://schemas.microsoft.com/office/powerpoint/2010/main" val="349925940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2140166063"/>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amp; disclaimer">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363818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ussendia met visua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4797414"/>
            <a:ext cx="7423151"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5342946"/>
            <a:ext cx="7423151"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sp>
        <p:nvSpPr>
          <p:cNvPr id="7" name="Picture Placeholder 12">
            <a:extLst>
              <a:ext uri="{FF2B5EF4-FFF2-40B4-BE49-F238E27FC236}">
                <a16:creationId xmlns:a16="http://schemas.microsoft.com/office/drawing/2014/main" id="{824A2FD1-5E58-45B8-B525-732E685AAC19}"/>
              </a:ext>
            </a:extLst>
          </p:cNvPr>
          <p:cNvSpPr>
            <a:spLocks noGrp="1"/>
          </p:cNvSpPr>
          <p:nvPr>
            <p:ph type="pic" sz="quarter" idx="13"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8" name="Tijdelijke aanduiding voor tekst 2">
            <a:extLst>
              <a:ext uri="{FF2B5EF4-FFF2-40B4-BE49-F238E27FC236}">
                <a16:creationId xmlns:a16="http://schemas.microsoft.com/office/drawing/2014/main" id="{BFF96810-E495-4FC3-B2F6-9706123D1243}"/>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1" name="Footer Placeholder 4">
            <a:extLst>
              <a:ext uri="{FF2B5EF4-FFF2-40B4-BE49-F238E27FC236}">
                <a16:creationId xmlns:a16="http://schemas.microsoft.com/office/drawing/2014/main" id="{40D26F61-5E28-4F82-AF85-D0BF0605C2E5}"/>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Tree>
    <p:extLst>
      <p:ext uri="{BB962C8B-B14F-4D97-AF65-F5344CB8AC3E}">
        <p14:creationId xmlns:p14="http://schemas.microsoft.com/office/powerpoint/2010/main" val="1113903498"/>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91049968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Content (Disclaimer)">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Text Placeholder 3"/>
          <p:cNvSpPr>
            <a:spLocks noGrp="1"/>
          </p:cNvSpPr>
          <p:nvPr>
            <p:ph type="body" sz="quarter" idx="26"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262368822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4582"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 name="Rechteck 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60990510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only (Disclaimer)">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Tree>
    <p:extLst>
      <p:ext uri="{BB962C8B-B14F-4D97-AF65-F5344CB8AC3E}">
        <p14:creationId xmlns:p14="http://schemas.microsoft.com/office/powerpoint/2010/main" val="257132065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baseline="0">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Tree>
    <p:extLst>
      <p:ext uri="{BB962C8B-B14F-4D97-AF65-F5344CB8AC3E}">
        <p14:creationId xmlns:p14="http://schemas.microsoft.com/office/powerpoint/2010/main" val="295404074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with subheading (Disclaimer)">
    <p:spTree>
      <p:nvGrpSpPr>
        <p:cNvPr id="1" name=""/>
        <p:cNvGrpSpPr/>
        <p:nvPr/>
      </p:nvGrpSpPr>
      <p:grpSpPr>
        <a:xfrm>
          <a:off x="0" y="0"/>
          <a:ext cx="0" cy="0"/>
          <a:chOff x="0" y="0"/>
          <a:chExt cx="0" cy="0"/>
        </a:xfrm>
      </p:grpSpPr>
      <p:sp>
        <p:nvSpPr>
          <p:cNvPr id="8" name="Rechteck 7"/>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Text Placeholder 3"/>
          <p:cNvSpPr>
            <a:spLocks noGrp="1"/>
          </p:cNvSpPr>
          <p:nvPr>
            <p:ph type="body" sz="quarter" idx="10"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7"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9897519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hteck 2"/>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120024519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Content with Notepad">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7" name="Inhaltsplatzhalter 3"/>
          <p:cNvSpPr>
            <a:spLocks noGrp="1"/>
          </p:cNvSpPr>
          <p:nvPr>
            <p:ph sz="quarter" idx="25" hasCustomPrompt="1"/>
          </p:nvPr>
        </p:nvSpPr>
        <p:spPr bwMode="gray">
          <a:xfrm>
            <a:off x="398770" y="2368800"/>
            <a:ext cx="8453908"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1"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Titel 3"/>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1486141815"/>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11369354" cy="37944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Text Placeholder 19"/>
          <p:cNvSpPr>
            <a:spLocks noGrp="1"/>
          </p:cNvSpPr>
          <p:nvPr>
            <p:ph type="body" sz="quarter" idx="24"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5"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82220023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wo images with text">
    <p:spTree>
      <p:nvGrpSpPr>
        <p:cNvPr id="1" name=""/>
        <p:cNvGrpSpPr/>
        <p:nvPr/>
      </p:nvGrpSpPr>
      <p:grpSpPr>
        <a:xfrm>
          <a:off x="0" y="0"/>
          <a:ext cx="0" cy="0"/>
          <a:chOff x="0" y="0"/>
          <a:chExt cx="0" cy="0"/>
        </a:xfrm>
      </p:grpSpPr>
      <p:sp>
        <p:nvSpPr>
          <p:cNvPr id="12" name="Rechteck 11"/>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Inhaltsplatzhalter 3"/>
          <p:cNvSpPr>
            <a:spLocks noGrp="1"/>
          </p:cNvSpPr>
          <p:nvPr>
            <p:ph sz="quarter" idx="29" hasCustomPrompt="1"/>
          </p:nvPr>
        </p:nvSpPr>
        <p:spPr bwMode="gray">
          <a:xfrm>
            <a:off x="398769" y="5369303"/>
            <a:ext cx="11369354" cy="790199"/>
          </a:xfrm>
        </p:spPr>
        <p:txBody>
          <a:bodyPr/>
          <a:lstStyle/>
          <a:p>
            <a:pPr lvl="0"/>
            <a:r>
              <a:rPr lang="en-GB" noProof="0" dirty="0"/>
              <a:t>1st Level (12pt)</a:t>
            </a:r>
          </a:p>
          <a:p>
            <a:pPr lvl="1"/>
            <a:r>
              <a:rPr lang="en-GB" noProof="0" dirty="0"/>
              <a:t>2nd Level</a:t>
            </a: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4" name="Bildplatzhalter 3"/>
          <p:cNvSpPr>
            <a:spLocks noGrp="1"/>
          </p:cNvSpPr>
          <p:nvPr>
            <p:ph type="pic" sz="quarter" idx="23" hasCustomPrompt="1"/>
          </p:nvPr>
        </p:nvSpPr>
        <p:spPr bwMode="gray">
          <a:xfrm>
            <a:off x="398769"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7" name="Bildplatzhalter 3"/>
          <p:cNvSpPr>
            <a:spLocks noGrp="1"/>
          </p:cNvSpPr>
          <p:nvPr>
            <p:ph type="pic" sz="quarter" idx="24" hasCustomPrompt="1"/>
          </p:nvPr>
        </p:nvSpPr>
        <p:spPr bwMode="gray">
          <a:xfrm>
            <a:off x="6203463" y="2368800"/>
            <a:ext cx="5569477" cy="2880000"/>
          </a:xfrm>
        </p:spPr>
        <p:txBody>
          <a:bodyPr/>
          <a:lstStyle>
            <a:lvl1pPr marL="0" indent="0">
              <a:buNone/>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9"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2096990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eldia met visual - donker">
    <p:bg>
      <p:bgPr>
        <a:solidFill>
          <a:schemeClr val="accent3"/>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BE2E5C7-E2A8-477C-BEAA-BB6E91787399}"/>
              </a:ext>
            </a:extLst>
          </p:cNvPr>
          <p:cNvSpPr>
            <a:spLocks noGrp="1"/>
          </p:cNvSpPr>
          <p:nvPr>
            <p:ph type="pic" sz="quarter" idx="11"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2" name="Title 1"/>
          <p:cNvSpPr>
            <a:spLocks noGrp="1"/>
          </p:cNvSpPr>
          <p:nvPr>
            <p:ph type="ctrTitle" hasCustomPrompt="1"/>
          </p:nvPr>
        </p:nvSpPr>
        <p:spPr>
          <a:xfrm>
            <a:off x="4066420" y="4746614"/>
            <a:ext cx="7310664" cy="453457"/>
          </a:xfrm>
          <a:prstGeom prst="rect">
            <a:avLst/>
          </a:prstGeom>
        </p:spPr>
        <p:txBody>
          <a:bodyPr wrap="square" anchor="b">
            <a:spAutoFit/>
          </a:bodyPr>
          <a:lstStyle>
            <a:lvl1pPr algn="l">
              <a:lnSpc>
                <a:spcPct val="85000"/>
              </a:lnSpc>
              <a:defRPr sz="3467">
                <a:solidFill>
                  <a:schemeClr val="bg1"/>
                </a:solidFill>
              </a:defRPr>
            </a:lvl1pPr>
          </a:lstStyle>
          <a:p>
            <a:r>
              <a:rPr lang="nl-NL" dirty="0"/>
              <a:t>Titel van de presentatie</a:t>
            </a:r>
          </a:p>
        </p:txBody>
      </p:sp>
      <p:sp>
        <p:nvSpPr>
          <p:cNvPr id="3" name="Subtitle 2"/>
          <p:cNvSpPr>
            <a:spLocks noGrp="1"/>
          </p:cNvSpPr>
          <p:nvPr>
            <p:ph type="subTitle" idx="1" hasCustomPrompt="1"/>
          </p:nvPr>
        </p:nvSpPr>
        <p:spPr>
          <a:xfrm>
            <a:off x="4066420" y="5292146"/>
            <a:ext cx="7310664" cy="378052"/>
          </a:xfrm>
        </p:spPr>
        <p:txBody>
          <a:bodyPr wrap="square">
            <a:spAutoFit/>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sp>
        <p:nvSpPr>
          <p:cNvPr id="11" name="Text Placeholder 10">
            <a:extLst>
              <a:ext uri="{FF2B5EF4-FFF2-40B4-BE49-F238E27FC236}">
                <a16:creationId xmlns:a16="http://schemas.microsoft.com/office/drawing/2014/main" id="{85DA0B01-6242-4284-8948-B741BFFB1C30}"/>
              </a:ext>
            </a:extLst>
          </p:cNvPr>
          <p:cNvSpPr>
            <a:spLocks noGrp="1"/>
          </p:cNvSpPr>
          <p:nvPr>
            <p:ph type="body" sz="quarter" idx="10" hasCustomPrompt="1"/>
          </p:nvPr>
        </p:nvSpPr>
        <p:spPr>
          <a:xfrm>
            <a:off x="1" y="0"/>
            <a:ext cx="3415113" cy="6858000"/>
          </a:xfrm>
          <a:custGeom>
            <a:avLst/>
            <a:gdLst>
              <a:gd name="connsiteX0" fmla="*/ 0 w 2561335"/>
              <a:gd name="connsiteY0" fmla="*/ 0 h 5143500"/>
              <a:gd name="connsiteX1" fmla="*/ 2561335 w 2561335"/>
              <a:gd name="connsiteY1" fmla="*/ 5143500 h 5143500"/>
              <a:gd name="connsiteX2" fmla="*/ 0 w 2561335"/>
              <a:gd name="connsiteY2" fmla="*/ 5143500 h 5143500"/>
            </a:gdLst>
            <a:ahLst/>
            <a:cxnLst>
              <a:cxn ang="0">
                <a:pos x="connsiteX0" y="connsiteY0"/>
              </a:cxn>
              <a:cxn ang="0">
                <a:pos x="connsiteX1" y="connsiteY1"/>
              </a:cxn>
              <a:cxn ang="0">
                <a:pos x="connsiteX2" y="connsiteY2"/>
              </a:cxn>
            </a:cxnLst>
            <a:rect l="l" t="t" r="r" b="b"/>
            <a:pathLst>
              <a:path w="2561335" h="5143500">
                <a:moveTo>
                  <a:pt x="0" y="0"/>
                </a:moveTo>
                <a:lnTo>
                  <a:pt x="2561335" y="5143500"/>
                </a:lnTo>
                <a:lnTo>
                  <a:pt x="0" y="5143500"/>
                </a:lnTo>
                <a:close/>
              </a:path>
            </a:pathLst>
          </a:custGeom>
          <a:solidFill>
            <a:schemeClr val="bg2">
              <a:alpha val="20000"/>
            </a:schemeClr>
          </a:solidFill>
        </p:spPr>
        <p:txBody>
          <a:bodyPr wrap="square">
            <a:noAutofit/>
          </a:bodyPr>
          <a:lstStyle>
            <a:lvl1pPr marL="0" indent="0">
              <a:buNone/>
              <a:defRPr/>
            </a:lvl1pPr>
          </a:lstStyle>
          <a:p>
            <a:pPr lvl="0"/>
            <a:r>
              <a:rPr lang="nl-NL" dirty="0"/>
              <a:t> </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lum bright="100000"/>
          </a:blip>
          <a:srcRect l="8924" t="8924" r="8924" b="11794"/>
          <a:stretch/>
        </p:blipFill>
        <p:spPr>
          <a:xfrm>
            <a:off x="4066420" y="6115943"/>
            <a:ext cx="1329669" cy="484820"/>
          </a:xfrm>
          <a:prstGeom prst="rect">
            <a:avLst/>
          </a:prstGeom>
        </p:spPr>
      </p:pic>
    </p:spTree>
    <p:extLst>
      <p:ext uri="{BB962C8B-B14F-4D97-AF65-F5344CB8AC3E}">
        <p14:creationId xmlns:p14="http://schemas.microsoft.com/office/powerpoint/2010/main" val="2322920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ussendia Gee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2888637"/>
            <a:ext cx="7621815"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3434169"/>
            <a:ext cx="7621815"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cxnSp>
        <p:nvCxnSpPr>
          <p:cNvPr id="11" name="Straight Connector 10">
            <a:extLst>
              <a:ext uri="{FF2B5EF4-FFF2-40B4-BE49-F238E27FC236}">
                <a16:creationId xmlns:a16="http://schemas.microsoft.com/office/drawing/2014/main" id="{B1A919A1-5C29-4B86-8589-A7E862BB90BA}"/>
              </a:ext>
            </a:extLst>
          </p:cNvPr>
          <p:cNvCxnSpPr/>
          <p:nvPr/>
        </p:nvCxnSpPr>
        <p:spPr>
          <a:xfrm>
            <a:off x="0" y="1373271"/>
            <a:ext cx="1219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Isosceles Triangle 1">
            <a:extLst>
              <a:ext uri="{FF2B5EF4-FFF2-40B4-BE49-F238E27FC236}">
                <a16:creationId xmlns:a16="http://schemas.microsoft.com/office/drawing/2014/main" id="{5B33379B-10D7-4BFF-86D3-98734A90E853}"/>
              </a:ext>
            </a:extLst>
          </p:cNvPr>
          <p:cNvSpPr/>
          <p:nvPr/>
        </p:nvSpPr>
        <p:spPr>
          <a:xfrm>
            <a:off x="10833296" y="1270108"/>
            <a:ext cx="119669" cy="1031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lnSpc>
                <a:spcPct val="114000"/>
              </a:lnSpc>
            </a:pPr>
            <a:endParaRPr lang="nl-NL" sz="1600" dirty="0" err="1"/>
          </a:p>
        </p:txBody>
      </p:sp>
      <p:sp>
        <p:nvSpPr>
          <p:cNvPr id="8" name="Tijdelijke aanduiding voor tekst 2">
            <a:extLst>
              <a:ext uri="{FF2B5EF4-FFF2-40B4-BE49-F238E27FC236}">
                <a16:creationId xmlns:a16="http://schemas.microsoft.com/office/drawing/2014/main" id="{1F6EB4DD-2438-426C-A3C3-36D0BD92E73B}"/>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2" name="Footer Placeholder 4">
            <a:extLst>
              <a:ext uri="{FF2B5EF4-FFF2-40B4-BE49-F238E27FC236}">
                <a16:creationId xmlns:a16="http://schemas.microsoft.com/office/drawing/2014/main" id="{D295BD33-878D-4F66-A16C-47178FBE5343}"/>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Tree>
    <p:extLst>
      <p:ext uri="{BB962C8B-B14F-4D97-AF65-F5344CB8AC3E}">
        <p14:creationId xmlns:p14="http://schemas.microsoft.com/office/powerpoint/2010/main" val="204540730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Content with Image">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4359011"/>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8" name="Bildplatzhalter 3"/>
          <p:cNvSpPr>
            <a:spLocks noGrp="1"/>
          </p:cNvSpPr>
          <p:nvPr>
            <p:ph type="pic" sz="quarter" idx="23" hasCustomPrompt="1"/>
          </p:nvPr>
        </p:nvSpPr>
        <p:spPr bwMode="gray">
          <a:xfrm>
            <a:off x="398769" y="2368800"/>
            <a:ext cx="2671754" cy="1800000"/>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9" name="Inhaltsplatzhalter 3"/>
          <p:cNvSpPr>
            <a:spLocks noGrp="1"/>
          </p:cNvSpPr>
          <p:nvPr>
            <p:ph sz="quarter" idx="25" hasCustomPrompt="1"/>
          </p:nvPr>
        </p:nvSpPr>
        <p:spPr bwMode="gray">
          <a:xfrm>
            <a:off x="3323078" y="2368800"/>
            <a:ext cx="8445046"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4" name="Text Placeholder 19"/>
          <p:cNvSpPr>
            <a:spLocks noGrp="1"/>
          </p:cNvSpPr>
          <p:nvPr>
            <p:ph type="body" sz="quarter" idx="30"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5" name="Text Placeholder 21"/>
          <p:cNvSpPr>
            <a:spLocks noGrp="1"/>
          </p:cNvSpPr>
          <p:nvPr>
            <p:ph type="body" sz="quarter" idx="31"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1727328232"/>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176675250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wo Content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5"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Tree>
    <p:extLst>
      <p:ext uri="{BB962C8B-B14F-4D97-AF65-F5344CB8AC3E}">
        <p14:creationId xmlns:p14="http://schemas.microsoft.com/office/powerpoint/2010/main" val="1510472165"/>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wo Content with subheading (Disclaimer)">
    <p:spTree>
      <p:nvGrpSpPr>
        <p:cNvPr id="1" name=""/>
        <p:cNvGrpSpPr/>
        <p:nvPr/>
      </p:nvGrpSpPr>
      <p:grpSpPr>
        <a:xfrm>
          <a:off x="0" y="0"/>
          <a:ext cx="0" cy="0"/>
          <a:chOff x="0" y="0"/>
          <a:chExt cx="0" cy="0"/>
        </a:xfrm>
      </p:grpSpPr>
      <p:sp>
        <p:nvSpPr>
          <p:cNvPr id="11" name="Rechteck 10"/>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9"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1791104685"/>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wo Content with subheading and description">
    <p:spTree>
      <p:nvGrpSpPr>
        <p:cNvPr id="1" name=""/>
        <p:cNvGrpSpPr/>
        <p:nvPr/>
      </p:nvGrpSpPr>
      <p:grpSpPr>
        <a:xfrm>
          <a:off x="0" y="0"/>
          <a:ext cx="0" cy="0"/>
          <a:chOff x="0" y="0"/>
          <a:chExt cx="0" cy="0"/>
        </a:xfrm>
      </p:grpSpPr>
      <p:sp>
        <p:nvSpPr>
          <p:cNvPr id="11" name="Rechteck 10"/>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2" name="Inhaltsplatzhalter 3"/>
          <p:cNvSpPr>
            <a:spLocks noGrp="1"/>
          </p:cNvSpPr>
          <p:nvPr>
            <p:ph sz="quarter" idx="26" hasCustomPrompt="1"/>
          </p:nvPr>
        </p:nvSpPr>
        <p:spPr bwMode="gray">
          <a:xfrm>
            <a:off x="398769"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3" name="Inhaltsplatzhalter 3"/>
          <p:cNvSpPr>
            <a:spLocks noGrp="1"/>
          </p:cNvSpPr>
          <p:nvPr>
            <p:ph sz="quarter" idx="27" hasCustomPrompt="1"/>
          </p:nvPr>
        </p:nvSpPr>
        <p:spPr bwMode="gray">
          <a:xfrm>
            <a:off x="6203078" y="2368800"/>
            <a:ext cx="5569477" cy="35712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6"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52" name="Text Placeholder 51"/>
          <p:cNvSpPr>
            <a:spLocks noGrp="1"/>
          </p:cNvSpPr>
          <p:nvPr>
            <p:ph type="body" sz="quarter" idx="48" hasCustomPrompt="1"/>
          </p:nvPr>
        </p:nvSpPr>
        <p:spPr bwMode="gray">
          <a:xfrm>
            <a:off x="398771" y="5947200"/>
            <a:ext cx="5565046"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54" name="Text Placeholder 53"/>
          <p:cNvSpPr>
            <a:spLocks noGrp="1"/>
          </p:cNvSpPr>
          <p:nvPr>
            <p:ph type="body" sz="quarter" idx="49" hasCustomPrompt="1"/>
          </p:nvPr>
        </p:nvSpPr>
        <p:spPr bwMode="gray">
          <a:xfrm>
            <a:off x="6203078" y="5947200"/>
            <a:ext cx="5569477" cy="216000"/>
          </a:xfrm>
        </p:spPr>
        <p:txBody>
          <a:bodyPr anchor="b"/>
          <a:lstStyle>
            <a:lvl1pPr marL="0" indent="0">
              <a:buNone/>
              <a:defRPr sz="800">
                <a:latin typeface="Arial Narrow" panose="020B0606020202030204" pitchFamily="34" charset="0"/>
              </a:defRPr>
            </a:lvl1pPr>
          </a:lstStyle>
          <a:p>
            <a:pPr lvl="0"/>
            <a:r>
              <a:rPr lang="en-GB" noProof="0" dirty="0"/>
              <a:t>Description (8pt) </a:t>
            </a:r>
          </a:p>
        </p:txBody>
      </p:sp>
      <p:sp>
        <p:nvSpPr>
          <p:cNvPr id="14"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5" name="Text Placeholder 21"/>
          <p:cNvSpPr>
            <a:spLocks noGrp="1"/>
          </p:cNvSpPr>
          <p:nvPr>
            <p:ph type="body" sz="quarter" idx="24" hasCustomPrompt="1"/>
          </p:nvPr>
        </p:nvSpPr>
        <p:spPr bwMode="gray">
          <a:xfrm>
            <a:off x="398769" y="1842087"/>
            <a:ext cx="11368062"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262627439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Subhead, Two Content with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988590"/>
            <a:ext cx="7488000" cy="244800"/>
          </a:xfrm>
        </p:spPr>
        <p:txBody>
          <a:bodyPr/>
          <a:lstStyle>
            <a:lvl1pPr marL="0" indent="0">
              <a:spcBef>
                <a:spcPts val="1800"/>
              </a:spcBef>
              <a:spcAft>
                <a:spcPts val="1200"/>
              </a:spcAft>
              <a:buFontTx/>
              <a:buNone/>
              <a:defRPr sz="1400" b="0">
                <a:solidFill>
                  <a:schemeClr val="tx2"/>
                </a:solidFill>
              </a:defRPr>
            </a:lvl1pPr>
          </a:lstStyle>
          <a:p>
            <a:pPr>
              <a:spcBef>
                <a:spcPts val="1800"/>
              </a:spcBef>
              <a:spcAft>
                <a:spcPts val="1200"/>
              </a:spcAft>
              <a:buFontTx/>
            </a:pPr>
            <a:r>
              <a:rPr lang="en-GB" sz="1400" noProof="0" dirty="0"/>
              <a:t>Subhead appears here (14 </a:t>
            </a:r>
            <a:r>
              <a:rPr lang="en-GB" sz="1400" noProof="0" dirty="0" err="1"/>
              <a:t>pt</a:t>
            </a:r>
            <a:r>
              <a:rPr lang="en-GB" sz="1400" noProof="0" dirty="0"/>
              <a:t>)</a:t>
            </a:r>
          </a:p>
        </p:txBody>
      </p:sp>
      <p:sp>
        <p:nvSpPr>
          <p:cNvPr id="6" name="Text Placeholder 19"/>
          <p:cNvSpPr>
            <a:spLocks noGrp="1"/>
          </p:cNvSpPr>
          <p:nvPr>
            <p:ph type="body" sz="quarter" idx="24" hasCustomPrompt="1"/>
          </p:nvPr>
        </p:nvSpPr>
        <p:spPr bwMode="gray">
          <a:xfrm>
            <a:off x="398772"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8" name="Text Placeholder 17"/>
          <p:cNvSpPr>
            <a:spLocks noGrp="1"/>
          </p:cNvSpPr>
          <p:nvPr>
            <p:ph type="body" sz="quarter" idx="25" hasCustomPrompt="1"/>
          </p:nvPr>
        </p:nvSpPr>
        <p:spPr bwMode="gray">
          <a:xfrm>
            <a:off x="398772"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9" name="Content Placeholder 12"/>
          <p:cNvSpPr>
            <a:spLocks noGrp="1"/>
          </p:cNvSpPr>
          <p:nvPr>
            <p:ph sz="quarter" idx="26" hasCustomPrompt="1"/>
          </p:nvPr>
        </p:nvSpPr>
        <p:spPr bwMode="gray">
          <a:xfrm>
            <a:off x="6196940" y="2378076"/>
            <a:ext cx="5576092" cy="3416551"/>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1591200"/>
            <a:ext cx="5576092" cy="153888"/>
          </a:xfrm>
        </p:spPr>
        <p:txBody>
          <a:bodyPr>
            <a:spAutoFit/>
          </a:bodyPr>
          <a:lstStyle>
            <a:lvl1pPr marL="0" indent="0">
              <a:spcBef>
                <a:spcPts val="0"/>
              </a:spcBef>
              <a:spcAft>
                <a:spcPts val="0"/>
              </a:spcAft>
              <a:buNone/>
              <a:defRPr sz="1000" b="1"/>
            </a:lvl1pPr>
          </a:lstStyle>
          <a:p>
            <a:pPr lvl="0"/>
            <a:r>
              <a:rPr lang="en-GB" noProof="0" dirty="0"/>
              <a:t>Chart title (10pt)</a:t>
            </a:r>
          </a:p>
        </p:txBody>
      </p:sp>
      <p:sp>
        <p:nvSpPr>
          <p:cNvPr id="11" name="Text Placeholder 17"/>
          <p:cNvSpPr>
            <a:spLocks noGrp="1"/>
          </p:cNvSpPr>
          <p:nvPr>
            <p:ph type="body" sz="quarter" idx="28" hasCustomPrompt="1"/>
          </p:nvPr>
        </p:nvSpPr>
        <p:spPr bwMode="gray">
          <a:xfrm>
            <a:off x="6207556" y="5794625"/>
            <a:ext cx="5576092" cy="374400"/>
          </a:xfrm>
        </p:spPr>
        <p:txBody>
          <a:bodyPr anchor="t"/>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escription (8pt)</a:t>
            </a:r>
          </a:p>
        </p:txBody>
      </p:sp>
      <p:sp>
        <p:nvSpPr>
          <p:cNvPr id="2" name="Titel 1"/>
          <p:cNvSpPr>
            <a:spLocks noGrp="1"/>
          </p:cNvSpPr>
          <p:nvPr>
            <p:ph type="title" hasCustomPrompt="1"/>
          </p:nvPr>
        </p:nvSpPr>
        <p:spPr>
          <a:xfrm>
            <a:off x="398769" y="660014"/>
            <a:ext cx="7488000" cy="307777"/>
          </a:xfrm>
        </p:spPr>
        <p:txBody>
          <a:bodyPr>
            <a:spAutoFit/>
          </a:bodyPr>
          <a:lstStyle/>
          <a:p>
            <a:r>
              <a:rPr lang="en-GB" noProof="0" dirty="0"/>
              <a:t>Main slide heading appears here (20pt)</a:t>
            </a:r>
            <a:endParaRPr lang="en-GB" dirty="0"/>
          </a:p>
        </p:txBody>
      </p:sp>
    </p:spTree>
    <p:extLst>
      <p:ext uri="{BB962C8B-B14F-4D97-AF65-F5344CB8AC3E}">
        <p14:creationId xmlns:p14="http://schemas.microsoft.com/office/powerpoint/2010/main" val="21335557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wo Content with subheading &amp;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6196940" y="2755960"/>
            <a:ext cx="5576092" cy="3254975"/>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6196940" y="2364762"/>
            <a:ext cx="5576092"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785163171"/>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Three Content with subheading &amp; chart title (Disclaimer)">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7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19"/>
          <p:cNvSpPr>
            <a:spLocks noGrp="1"/>
          </p:cNvSpPr>
          <p:nvPr>
            <p:ph type="body" sz="quarter" idx="24" hasCustomPrompt="1"/>
          </p:nvPr>
        </p:nvSpPr>
        <p:spPr bwMode="gray">
          <a:xfrm>
            <a:off x="39877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9" name="Content Placeholder 12"/>
          <p:cNvSpPr>
            <a:spLocks noGrp="1"/>
          </p:cNvSpPr>
          <p:nvPr>
            <p:ph sz="quarter" idx="26" hasCustomPrompt="1"/>
          </p:nvPr>
        </p:nvSpPr>
        <p:spPr bwMode="gray">
          <a:xfrm>
            <a:off x="8134892"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 name="Text Placeholder 19"/>
          <p:cNvSpPr>
            <a:spLocks noGrp="1"/>
          </p:cNvSpPr>
          <p:nvPr>
            <p:ph type="body" sz="quarter" idx="27" hasCustomPrompt="1"/>
          </p:nvPr>
        </p:nvSpPr>
        <p:spPr bwMode="gray">
          <a:xfrm>
            <a:off x="8134892"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2"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1" name="Content Placeholder 12"/>
          <p:cNvSpPr>
            <a:spLocks noGrp="1"/>
          </p:cNvSpPr>
          <p:nvPr>
            <p:ph sz="quarter" idx="28" hasCustomPrompt="1"/>
          </p:nvPr>
        </p:nvSpPr>
        <p:spPr bwMode="gray">
          <a:xfrm>
            <a:off x="4266833" y="2755960"/>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5" name="Text Placeholder 19"/>
          <p:cNvSpPr>
            <a:spLocks noGrp="1"/>
          </p:cNvSpPr>
          <p:nvPr>
            <p:ph type="body" sz="quarter" idx="29" hasCustomPrompt="1"/>
          </p:nvPr>
        </p:nvSpPr>
        <p:spPr bwMode="gray">
          <a:xfrm>
            <a:off x="4266833" y="2364762"/>
            <a:ext cx="3633231" cy="184666"/>
          </a:xfrm>
        </p:spPr>
        <p:txBody>
          <a:bodyPr>
            <a:spAutoFit/>
          </a:bodyPr>
          <a:lstStyle>
            <a:lvl1pPr marL="0" indent="0">
              <a:spcBef>
                <a:spcPts val="0"/>
              </a:spcBef>
              <a:spcAft>
                <a:spcPts val="0"/>
              </a:spcAft>
              <a:buNone/>
              <a:defRPr sz="1200" b="1">
                <a:solidFill>
                  <a:schemeClr val="tx2"/>
                </a:solidFill>
              </a:defRPr>
            </a:lvl1pPr>
          </a:lstStyle>
          <a:p>
            <a:pPr lvl="0"/>
            <a:r>
              <a:rPr lang="en-GB" noProof="0" dirty="0"/>
              <a:t>Chart title (12pt)</a:t>
            </a:r>
          </a:p>
        </p:txBody>
      </p:sp>
      <p:sp>
        <p:nvSpPr>
          <p:cNvPr id="16" name="Content Placeholder 12"/>
          <p:cNvSpPr>
            <a:spLocks noGrp="1"/>
          </p:cNvSpPr>
          <p:nvPr>
            <p:ph sz="quarter" idx="30" hasCustomPrompt="1"/>
          </p:nvPr>
        </p:nvSpPr>
        <p:spPr bwMode="gray">
          <a:xfrm>
            <a:off x="39877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7" name="Content Placeholder 12"/>
          <p:cNvSpPr>
            <a:spLocks noGrp="1"/>
          </p:cNvSpPr>
          <p:nvPr>
            <p:ph sz="quarter" idx="31" hasCustomPrompt="1"/>
          </p:nvPr>
        </p:nvSpPr>
        <p:spPr bwMode="gray">
          <a:xfrm>
            <a:off x="8134892"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9" name="Content Placeholder 12"/>
          <p:cNvSpPr>
            <a:spLocks noGrp="1"/>
          </p:cNvSpPr>
          <p:nvPr>
            <p:ph sz="quarter" idx="32" hasCustomPrompt="1"/>
          </p:nvPr>
        </p:nvSpPr>
        <p:spPr bwMode="gray">
          <a:xfrm>
            <a:off x="4266833" y="4460935"/>
            <a:ext cx="3633231" cy="1558866"/>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p:txBody>
          <a:bodyPr/>
          <a:lstStyle/>
          <a:p>
            <a:r>
              <a:rPr lang="en-GB" noProof="0" dirty="0"/>
              <a:t>Main slide heading appears here</a:t>
            </a:r>
            <a:br>
              <a:rPr lang="en-GB" noProof="0" dirty="0"/>
            </a:br>
            <a:r>
              <a:rPr lang="en-GB" noProof="0" dirty="0"/>
              <a:t>Second line if required (20pt)</a:t>
            </a:r>
            <a:endParaRPr lang="en-GB" dirty="0"/>
          </a:p>
        </p:txBody>
      </p:sp>
    </p:spTree>
    <p:extLst>
      <p:ext uri="{BB962C8B-B14F-4D97-AF65-F5344CB8AC3E}">
        <p14:creationId xmlns:p14="http://schemas.microsoft.com/office/powerpoint/2010/main" val="370933845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Content with video">
    <p:spTree>
      <p:nvGrpSpPr>
        <p:cNvPr id="1" name=""/>
        <p:cNvGrpSpPr/>
        <p:nvPr/>
      </p:nvGrpSpPr>
      <p:grpSpPr>
        <a:xfrm>
          <a:off x="0" y="0"/>
          <a:ext cx="0" cy="0"/>
          <a:chOff x="0" y="0"/>
          <a:chExt cx="0" cy="0"/>
        </a:xfrm>
      </p:grpSpPr>
      <p:sp>
        <p:nvSpPr>
          <p:cNvPr id="12" name="Rechteck 11"/>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9" name="Medienplatzhalter 8"/>
          <p:cNvSpPr>
            <a:spLocks noGrp="1"/>
          </p:cNvSpPr>
          <p:nvPr>
            <p:ph type="media" sz="quarter" idx="23" hasCustomPrompt="1"/>
          </p:nvPr>
        </p:nvSpPr>
        <p:spPr bwMode="gray">
          <a:xfrm>
            <a:off x="3323078" y="2368800"/>
            <a:ext cx="8445046" cy="3794400"/>
          </a:xfrm>
        </p:spPr>
        <p:txBody>
          <a:bodyPr/>
          <a:lstStyle>
            <a:lvl1pPr marL="0" indent="0">
              <a:buNone/>
              <a:defRPr sz="800">
                <a:latin typeface="Arial" panose="020B0604020202020204" pitchFamily="34" charset="0"/>
              </a:defRPr>
            </a:lvl1pPr>
          </a:lstStyle>
          <a:p>
            <a:r>
              <a:rPr lang="en-GB" noProof="0" dirty="0"/>
              <a:t>Click the video button below to insert a video (only this action guarantees correct view)</a:t>
            </a:r>
            <a:br>
              <a:rPr lang="en-GB" noProof="0" dirty="0"/>
            </a:br>
            <a:r>
              <a:rPr lang="en-GB" noProof="0" dirty="0"/>
              <a:t>Note: All photography and video must comply with AllianzGI guidelines.</a:t>
            </a:r>
            <a:br>
              <a:rPr lang="en-GB" noProof="0" dirty="0"/>
            </a:br>
            <a:r>
              <a:rPr lang="en-GB" noProof="0" dirty="0"/>
              <a:t>Imagery is an expression of our brand personality and needs to reflect</a:t>
            </a:r>
            <a:br>
              <a:rPr lang="en-GB" noProof="0" dirty="0"/>
            </a:br>
            <a:r>
              <a:rPr lang="en-GB" noProof="0" dirty="0"/>
              <a:t>the business we are in. Our imagery needs to be thoughtful and serious,</a:t>
            </a:r>
            <a:br>
              <a:rPr lang="en-GB" noProof="0" dirty="0"/>
            </a:br>
            <a:r>
              <a:rPr lang="en-GB" noProof="0" dirty="0"/>
              <a:t>and must convey professionalism that inspires confidence and trust.</a:t>
            </a:r>
          </a:p>
          <a:p>
            <a:endParaRPr lang="en-GB" noProof="0" dirty="0"/>
          </a:p>
        </p:txBody>
      </p:sp>
      <p:sp>
        <p:nvSpPr>
          <p:cNvPr id="1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Inhaltsplatzhalter 3"/>
          <p:cNvSpPr>
            <a:spLocks noGrp="1"/>
          </p:cNvSpPr>
          <p:nvPr>
            <p:ph sz="quarter" idx="25" hasCustomPrompt="1"/>
          </p:nvPr>
        </p:nvSpPr>
        <p:spPr bwMode="gray">
          <a:xfrm>
            <a:off x="398769" y="2368800"/>
            <a:ext cx="26717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8" name="Text Placeholder 19"/>
          <p:cNvSpPr>
            <a:spLocks noGrp="1"/>
          </p:cNvSpPr>
          <p:nvPr>
            <p:ph type="body" sz="quarter" idx="26"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4236549490"/>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Combination of elements">
    <p:spTree>
      <p:nvGrpSpPr>
        <p:cNvPr id="1" name=""/>
        <p:cNvGrpSpPr/>
        <p:nvPr/>
      </p:nvGrpSpPr>
      <p:grpSpPr>
        <a:xfrm>
          <a:off x="0" y="0"/>
          <a:ext cx="0" cy="0"/>
          <a:chOff x="0" y="0"/>
          <a:chExt cx="0" cy="0"/>
        </a:xfrm>
      </p:grpSpPr>
      <p:sp>
        <p:nvSpPr>
          <p:cNvPr id="35" name="Rechteck 34"/>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6" name="Bildplatzhalter 3"/>
          <p:cNvSpPr>
            <a:spLocks noGrp="1"/>
          </p:cNvSpPr>
          <p:nvPr>
            <p:ph type="pic" sz="quarter" idx="21" hasCustomPrompt="1"/>
          </p:nvPr>
        </p:nvSpPr>
        <p:spPr bwMode="gray">
          <a:xfrm>
            <a:off x="398769" y="2368551"/>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7" name="Rechteck 6"/>
          <p:cNvSpPr/>
          <p:nvPr userDrawn="1"/>
        </p:nvSpPr>
        <p:spPr bwMode="gray">
          <a:xfrm>
            <a:off x="2250724" y="2373043"/>
            <a:ext cx="9526153"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8" name="Flussdiagramm: Prozess 18"/>
          <p:cNvSpPr/>
          <p:nvPr userDrawn="1"/>
        </p:nvSpPr>
        <p:spPr bwMode="gray">
          <a:xfrm>
            <a:off x="1878647" y="237304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7" name="Bildplatzhalter 3"/>
          <p:cNvSpPr>
            <a:spLocks noGrp="1"/>
          </p:cNvSpPr>
          <p:nvPr>
            <p:ph type="pic" sz="quarter" idx="29" hasCustomPrompt="1"/>
          </p:nvPr>
        </p:nvSpPr>
        <p:spPr bwMode="gray">
          <a:xfrm>
            <a:off x="398769" y="3366000"/>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28" name="Rechteck 27"/>
          <p:cNvSpPr/>
          <p:nvPr userDrawn="1"/>
        </p:nvSpPr>
        <p:spPr bwMode="gray">
          <a:xfrm>
            <a:off x="2250724" y="3367113"/>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29" name="Flussdiagramm: Prozess 18"/>
          <p:cNvSpPr/>
          <p:nvPr userDrawn="1"/>
        </p:nvSpPr>
        <p:spPr bwMode="gray">
          <a:xfrm>
            <a:off x="1878648" y="3367113"/>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2" name="Bildplatzhalter 3"/>
          <p:cNvSpPr>
            <a:spLocks noGrp="1"/>
          </p:cNvSpPr>
          <p:nvPr>
            <p:ph type="pic" sz="quarter" idx="32" hasCustomPrompt="1"/>
          </p:nvPr>
        </p:nvSpPr>
        <p:spPr bwMode="gray">
          <a:xfrm>
            <a:off x="398769" y="4345853"/>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3" name="Rechteck 32"/>
          <p:cNvSpPr/>
          <p:nvPr userDrawn="1"/>
        </p:nvSpPr>
        <p:spPr bwMode="gray">
          <a:xfrm>
            <a:off x="2259584" y="4345200"/>
            <a:ext cx="9517292" cy="828000"/>
          </a:xfrm>
          <a:prstGeom prst="rect">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4" name="Flussdiagramm: Prozess 18"/>
          <p:cNvSpPr/>
          <p:nvPr userDrawn="1"/>
        </p:nvSpPr>
        <p:spPr bwMode="gray">
          <a:xfrm>
            <a:off x="1878648" y="434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7" name="Bildplatzhalter 3"/>
          <p:cNvSpPr>
            <a:spLocks noGrp="1"/>
          </p:cNvSpPr>
          <p:nvPr>
            <p:ph type="pic" sz="quarter" idx="35" hasCustomPrompt="1"/>
          </p:nvPr>
        </p:nvSpPr>
        <p:spPr bwMode="gray">
          <a:xfrm>
            <a:off x="398769" y="5334505"/>
            <a:ext cx="1284923" cy="828896"/>
          </a:xfrm>
        </p:spPr>
        <p:txBody>
          <a:bodyPr/>
          <a:lstStyle>
            <a:lvl1pPr marL="0" indent="0">
              <a:buNone/>
              <a:defRPr sz="800">
                <a:latin typeface="Arial" panose="020B0604020202020204" pitchFamily="34" charset="0"/>
              </a:defRPr>
            </a:lvl1pPr>
          </a:lstStyle>
          <a:p>
            <a:r>
              <a:rPr lang="en-GB" noProof="0" dirty="0"/>
              <a:t>Click the image button below to insert an image (only this action guarantees a correct view)</a:t>
            </a:r>
          </a:p>
        </p:txBody>
      </p:sp>
      <p:sp>
        <p:nvSpPr>
          <p:cNvPr id="38" name="Rechteck 37"/>
          <p:cNvSpPr/>
          <p:nvPr userDrawn="1"/>
        </p:nvSpPr>
        <p:spPr bwMode="gray">
          <a:xfrm>
            <a:off x="2259584" y="5335200"/>
            <a:ext cx="9517292" cy="82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39" name="Flussdiagramm: Prozess 18"/>
          <p:cNvSpPr/>
          <p:nvPr userDrawn="1"/>
        </p:nvSpPr>
        <p:spPr bwMode="gray">
          <a:xfrm>
            <a:off x="1878648" y="5335200"/>
            <a:ext cx="3833348" cy="828000"/>
          </a:xfrm>
          <a:custGeom>
            <a:avLst/>
            <a:gdLst>
              <a:gd name="connsiteX0" fmla="*/ 0 w 10000"/>
              <a:gd name="connsiteY0" fmla="*/ 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9964 w 10000"/>
              <a:gd name="connsiteY2" fmla="*/ 9570 h 10000"/>
              <a:gd name="connsiteX3" fmla="*/ 10000 w 10000"/>
              <a:gd name="connsiteY3" fmla="*/ 10000 h 10000"/>
              <a:gd name="connsiteX4" fmla="*/ 0 w 10000"/>
              <a:gd name="connsiteY4" fmla="*/ 10000 h 10000"/>
              <a:gd name="connsiteX5" fmla="*/ 0 w 10000"/>
              <a:gd name="connsiteY5" fmla="*/ 0 h 10000"/>
              <a:gd name="connsiteX0" fmla="*/ 0 w 11606"/>
              <a:gd name="connsiteY0" fmla="*/ 0 h 10000"/>
              <a:gd name="connsiteX1" fmla="*/ 10000 w 11606"/>
              <a:gd name="connsiteY1" fmla="*/ 0 h 10000"/>
              <a:gd name="connsiteX2" fmla="*/ 11606 w 11606"/>
              <a:gd name="connsiteY2" fmla="*/ 5100 h 10000"/>
              <a:gd name="connsiteX3" fmla="*/ 10000 w 11606"/>
              <a:gd name="connsiteY3" fmla="*/ 10000 h 10000"/>
              <a:gd name="connsiteX4" fmla="*/ 0 w 11606"/>
              <a:gd name="connsiteY4" fmla="*/ 10000 h 10000"/>
              <a:gd name="connsiteX5" fmla="*/ 0 w 11606"/>
              <a:gd name="connsiteY5" fmla="*/ 0 h 10000"/>
              <a:gd name="connsiteX0" fmla="*/ 0 w 11934"/>
              <a:gd name="connsiteY0" fmla="*/ 0 h 10000"/>
              <a:gd name="connsiteX1" fmla="*/ 10000 w 11934"/>
              <a:gd name="connsiteY1" fmla="*/ 0 h 10000"/>
              <a:gd name="connsiteX2" fmla="*/ 11934 w 11934"/>
              <a:gd name="connsiteY2" fmla="*/ 4901 h 10000"/>
              <a:gd name="connsiteX3" fmla="*/ 10000 w 11934"/>
              <a:gd name="connsiteY3" fmla="*/ 10000 h 10000"/>
              <a:gd name="connsiteX4" fmla="*/ 0 w 11934"/>
              <a:gd name="connsiteY4" fmla="*/ 10000 h 10000"/>
              <a:gd name="connsiteX5" fmla="*/ 0 w 1193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4" h="10000">
                <a:moveTo>
                  <a:pt x="0" y="0"/>
                </a:moveTo>
                <a:lnTo>
                  <a:pt x="10000" y="0"/>
                </a:lnTo>
                <a:lnTo>
                  <a:pt x="11934" y="4901"/>
                </a:lnTo>
                <a:cubicBezTo>
                  <a:pt x="11946" y="5044"/>
                  <a:pt x="9988" y="9857"/>
                  <a:pt x="10000" y="10000"/>
                </a:cubicBezTo>
                <a:lnTo>
                  <a:pt x="0" y="10000"/>
                </a:lnTo>
                <a:lnTo>
                  <a:pt x="0" y="0"/>
                </a:lnTo>
                <a:close/>
              </a:path>
            </a:pathLst>
          </a:cu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300" b="1" i="0" u="none" strike="noStrike" cap="none" normalizeH="0" baseline="0" noProof="0" dirty="0">
              <a:ln>
                <a:noFill/>
              </a:ln>
              <a:solidFill>
                <a:schemeClr val="bg1"/>
              </a:solidFill>
              <a:effectLst/>
              <a:latin typeface="Arial" panose="020B0604020202020204" pitchFamily="34" charset="0"/>
            </a:endParaRPr>
          </a:p>
        </p:txBody>
      </p:sp>
      <p:sp>
        <p:nvSpPr>
          <p:cNvPr id="48"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11" name="Text Placeholder 10"/>
          <p:cNvSpPr>
            <a:spLocks noGrp="1"/>
          </p:cNvSpPr>
          <p:nvPr>
            <p:ph type="body" sz="quarter" idx="47" hasCustomPrompt="1"/>
          </p:nvPr>
        </p:nvSpPr>
        <p:spPr bwMode="gray">
          <a:xfrm>
            <a:off x="1878647" y="236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3" name="Text Placeholder 12"/>
          <p:cNvSpPr>
            <a:spLocks noGrp="1"/>
          </p:cNvSpPr>
          <p:nvPr>
            <p:ph type="body" sz="quarter" idx="48" hasCustomPrompt="1"/>
          </p:nvPr>
        </p:nvSpPr>
        <p:spPr bwMode="gray">
          <a:xfrm>
            <a:off x="5975540" y="23688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15" name="Text Placeholder 14"/>
          <p:cNvSpPr>
            <a:spLocks noGrp="1"/>
          </p:cNvSpPr>
          <p:nvPr>
            <p:ph type="body" sz="quarter" idx="49" hasCustomPrompt="1"/>
          </p:nvPr>
        </p:nvSpPr>
        <p:spPr bwMode="gray">
          <a:xfrm>
            <a:off x="1878647" y="33588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17" name="Text Placeholder 16"/>
          <p:cNvSpPr>
            <a:spLocks noGrp="1"/>
          </p:cNvSpPr>
          <p:nvPr>
            <p:ph type="body" sz="quarter" idx="50" hasCustomPrompt="1"/>
          </p:nvPr>
        </p:nvSpPr>
        <p:spPr bwMode="gray">
          <a:xfrm>
            <a:off x="5975540" y="33588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19" name="Text Placeholder 18"/>
          <p:cNvSpPr>
            <a:spLocks noGrp="1"/>
          </p:cNvSpPr>
          <p:nvPr>
            <p:ph type="body" sz="quarter" idx="51" hasCustomPrompt="1"/>
          </p:nvPr>
        </p:nvSpPr>
        <p:spPr bwMode="gray">
          <a:xfrm>
            <a:off x="1878647" y="434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1" name="Text Placeholder 20"/>
          <p:cNvSpPr>
            <a:spLocks noGrp="1"/>
          </p:cNvSpPr>
          <p:nvPr>
            <p:ph type="body" sz="quarter" idx="52" hasCustomPrompt="1"/>
          </p:nvPr>
        </p:nvSpPr>
        <p:spPr bwMode="gray">
          <a:xfrm>
            <a:off x="5975540" y="4345200"/>
            <a:ext cx="5795446" cy="828000"/>
          </a:xfrm>
        </p:spPr>
        <p:txBody>
          <a:bodyPr lIns="72000" tIns="72000" rIns="72000" bIns="72000" anchor="ctr"/>
          <a:lstStyle>
            <a:lvl1pPr marL="0" indent="0">
              <a:spcBef>
                <a:spcPts val="100"/>
              </a:spcBef>
              <a:spcAft>
                <a:spcPts val="100"/>
              </a:spcAft>
              <a:buNone/>
              <a:defRPr sz="1400">
                <a:solidFill>
                  <a:schemeClr val="bg1"/>
                </a:solidFill>
              </a:defRPr>
            </a:lvl1pPr>
          </a:lstStyle>
          <a:p>
            <a:pPr lvl="0"/>
            <a:r>
              <a:rPr lang="en-GB" noProof="0" dirty="0"/>
              <a:t>Long description</a:t>
            </a:r>
            <a:br>
              <a:rPr lang="en-GB" noProof="0" dirty="0"/>
            </a:br>
            <a:r>
              <a:rPr lang="en-GB" noProof="0" dirty="0"/>
              <a:t>(14pt)</a:t>
            </a:r>
          </a:p>
        </p:txBody>
      </p:sp>
      <p:sp>
        <p:nvSpPr>
          <p:cNvPr id="23" name="Text Placeholder 22"/>
          <p:cNvSpPr>
            <a:spLocks noGrp="1"/>
          </p:cNvSpPr>
          <p:nvPr>
            <p:ph type="body" sz="quarter" idx="53" hasCustomPrompt="1"/>
          </p:nvPr>
        </p:nvSpPr>
        <p:spPr bwMode="gray">
          <a:xfrm>
            <a:off x="1878647" y="5335200"/>
            <a:ext cx="3190154" cy="828000"/>
          </a:xfrm>
        </p:spPr>
        <p:txBody>
          <a:bodyPr lIns="72000" tIns="72000" rIns="72000" bIns="72000" anchor="ctr"/>
          <a:lstStyle>
            <a:lvl1pPr marL="0" indent="0" algn="ctr">
              <a:spcBef>
                <a:spcPts val="100"/>
              </a:spcBef>
              <a:spcAft>
                <a:spcPts val="100"/>
              </a:spcAft>
              <a:buNone/>
              <a:defRPr sz="1600" b="1">
                <a:solidFill>
                  <a:schemeClr val="bg1"/>
                </a:solidFill>
              </a:defRPr>
            </a:lvl1pPr>
          </a:lstStyle>
          <a:p>
            <a:pPr lvl="0"/>
            <a:r>
              <a:rPr lang="en-GB" noProof="0" dirty="0"/>
              <a:t>Short description</a:t>
            </a:r>
            <a:br>
              <a:rPr lang="en-GB" noProof="0" dirty="0"/>
            </a:br>
            <a:r>
              <a:rPr lang="en-GB" noProof="0" dirty="0"/>
              <a:t>(16pt)</a:t>
            </a:r>
          </a:p>
        </p:txBody>
      </p:sp>
      <p:sp>
        <p:nvSpPr>
          <p:cNvPr id="25" name="Text Placeholder 24"/>
          <p:cNvSpPr>
            <a:spLocks noGrp="1"/>
          </p:cNvSpPr>
          <p:nvPr>
            <p:ph type="body" sz="quarter" idx="54" hasCustomPrompt="1"/>
          </p:nvPr>
        </p:nvSpPr>
        <p:spPr bwMode="gray">
          <a:xfrm>
            <a:off x="5975540" y="5335200"/>
            <a:ext cx="5795446" cy="828000"/>
          </a:xfrm>
        </p:spPr>
        <p:txBody>
          <a:bodyPr lIns="72000" tIns="72000" rIns="72000" bIns="72000" anchor="ctr"/>
          <a:lstStyle>
            <a:lvl1pPr marL="0" indent="0">
              <a:spcBef>
                <a:spcPts val="100"/>
              </a:spcBef>
              <a:spcAft>
                <a:spcPts val="100"/>
              </a:spcAft>
              <a:buNone/>
              <a:defRPr sz="1400">
                <a:solidFill>
                  <a:sysClr val="windowText" lastClr="000000"/>
                </a:solidFill>
              </a:defRPr>
            </a:lvl1pPr>
          </a:lstStyle>
          <a:p>
            <a:pPr lvl="0"/>
            <a:r>
              <a:rPr lang="en-GB" noProof="0" dirty="0"/>
              <a:t>Long description</a:t>
            </a:r>
            <a:br>
              <a:rPr lang="en-GB" noProof="0" dirty="0"/>
            </a:br>
            <a:r>
              <a:rPr lang="en-GB" noProof="0" dirty="0"/>
              <a:t>(14pt)</a:t>
            </a:r>
          </a:p>
        </p:txBody>
      </p:sp>
      <p:sp>
        <p:nvSpPr>
          <p:cNvPr id="26"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3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Tree>
    <p:extLst>
      <p:ext uri="{BB962C8B-B14F-4D97-AF65-F5344CB8AC3E}">
        <p14:creationId xmlns:p14="http://schemas.microsoft.com/office/powerpoint/2010/main" val="39374816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ussendia Blauw">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2888637"/>
            <a:ext cx="7621815"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3434169"/>
            <a:ext cx="7621815"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cxnSp>
        <p:nvCxnSpPr>
          <p:cNvPr id="11" name="Straight Connector 10">
            <a:extLst>
              <a:ext uri="{FF2B5EF4-FFF2-40B4-BE49-F238E27FC236}">
                <a16:creationId xmlns:a16="http://schemas.microsoft.com/office/drawing/2014/main" id="{B1A919A1-5C29-4B86-8589-A7E862BB90BA}"/>
              </a:ext>
            </a:extLst>
          </p:cNvPr>
          <p:cNvCxnSpPr>
            <a:cxnSpLocks/>
          </p:cNvCxnSpPr>
          <p:nvPr/>
        </p:nvCxnSpPr>
        <p:spPr>
          <a:xfrm>
            <a:off x="1" y="1363820"/>
            <a:ext cx="1019870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F665B12-E119-4C8F-AABE-B04DCB29D135}"/>
              </a:ext>
            </a:extLst>
          </p:cNvPr>
          <p:cNvSpPr>
            <a:spLocks/>
          </p:cNvSpPr>
          <p:nvPr/>
        </p:nvSpPr>
        <p:spPr bwMode="auto">
          <a:xfrm>
            <a:off x="7579563" y="1"/>
            <a:ext cx="4612437" cy="6858000"/>
          </a:xfrm>
          <a:custGeom>
            <a:avLst/>
            <a:gdLst>
              <a:gd name="connsiteX0" fmla="*/ 2551178 w 3459328"/>
              <a:gd name="connsiteY0" fmla="*/ 0 h 5143500"/>
              <a:gd name="connsiteX1" fmla="*/ 3459328 w 3459328"/>
              <a:gd name="connsiteY1" fmla="*/ 0 h 5143500"/>
              <a:gd name="connsiteX2" fmla="*/ 3459328 w 3459328"/>
              <a:gd name="connsiteY2" fmla="*/ 1996762 h 5143500"/>
              <a:gd name="connsiteX3" fmla="*/ 3452609 w 3459328"/>
              <a:gd name="connsiteY3" fmla="*/ 2010153 h 5143500"/>
              <a:gd name="connsiteX4" fmla="*/ 2508344 w 3459328"/>
              <a:gd name="connsiteY4" fmla="*/ 3891995 h 5143500"/>
              <a:gd name="connsiteX5" fmla="*/ 3415272 w 3459328"/>
              <a:gd name="connsiteY5" fmla="*/ 3891995 h 5143500"/>
              <a:gd name="connsiteX6" fmla="*/ 3459328 w 3459328"/>
              <a:gd name="connsiteY6" fmla="*/ 3891995 h 5143500"/>
              <a:gd name="connsiteX7" fmla="*/ 3459328 w 3459328"/>
              <a:gd name="connsiteY7" fmla="*/ 5143500 h 5143500"/>
              <a:gd name="connsiteX8" fmla="*/ 0 w 3459328"/>
              <a:gd name="connsiteY8" fmla="*/ 5143500 h 5143500"/>
              <a:gd name="connsiteX9" fmla="*/ 27810 w 3459328"/>
              <a:gd name="connsiteY9" fmla="*/ 5087432 h 5143500"/>
              <a:gd name="connsiteX10" fmla="*/ 2544314 w 3459328"/>
              <a:gd name="connsiteY10" fmla="*/ 1383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9328" h="5143500">
                <a:moveTo>
                  <a:pt x="2551178" y="0"/>
                </a:moveTo>
                <a:lnTo>
                  <a:pt x="3459328" y="0"/>
                </a:lnTo>
                <a:lnTo>
                  <a:pt x="3459328" y="1996762"/>
                </a:lnTo>
                <a:lnTo>
                  <a:pt x="3452609" y="2010153"/>
                </a:lnTo>
                <a:cubicBezTo>
                  <a:pt x="3407644" y="2099764"/>
                  <a:pt x="3227784" y="2458210"/>
                  <a:pt x="2508344" y="3891995"/>
                </a:cubicBezTo>
                <a:cubicBezTo>
                  <a:pt x="2508344" y="3891995"/>
                  <a:pt x="2508344" y="3891995"/>
                  <a:pt x="3415272" y="3891995"/>
                </a:cubicBezTo>
                <a:lnTo>
                  <a:pt x="3459328" y="3891995"/>
                </a:lnTo>
                <a:lnTo>
                  <a:pt x="3459328" y="5143500"/>
                </a:lnTo>
                <a:lnTo>
                  <a:pt x="0" y="5143500"/>
                </a:lnTo>
                <a:lnTo>
                  <a:pt x="27810" y="5087432"/>
                </a:lnTo>
                <a:cubicBezTo>
                  <a:pt x="268610" y="4601951"/>
                  <a:pt x="898199" y="3332617"/>
                  <a:pt x="2544314" y="13839"/>
                </a:cubicBezTo>
                <a:close/>
              </a:path>
            </a:pathLst>
          </a:custGeom>
          <a:solidFill>
            <a:srgbClr val="EDF1F5"/>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12" name="Tijdelijke aanduiding voor tekst 2">
            <a:extLst>
              <a:ext uri="{FF2B5EF4-FFF2-40B4-BE49-F238E27FC236}">
                <a16:creationId xmlns:a16="http://schemas.microsoft.com/office/drawing/2014/main" id="{7D0BE1EB-E62D-4907-9604-6333697DCDD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A781D090-E174-41F2-9F80-11A7A20CB97B}"/>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Tree>
    <p:extLst>
      <p:ext uri="{BB962C8B-B14F-4D97-AF65-F5344CB8AC3E}">
        <p14:creationId xmlns:p14="http://schemas.microsoft.com/office/powerpoint/2010/main" val="615053330"/>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Background Visual with Content">
    <p:bg>
      <p:bgRef idx="1001">
        <a:schemeClr val="bg1"/>
      </p:bgRef>
    </p:bg>
    <p:spTree>
      <p:nvGrpSpPr>
        <p:cNvPr id="1" name=""/>
        <p:cNvGrpSpPr/>
        <p:nvPr/>
      </p:nvGrpSpPr>
      <p:grpSpPr>
        <a:xfrm>
          <a:off x="0" y="0"/>
          <a:ext cx="0" cy="0"/>
          <a:chOff x="0" y="0"/>
          <a:chExt cx="0" cy="0"/>
        </a:xfrm>
      </p:grpSpPr>
      <p:sp>
        <p:nvSpPr>
          <p:cNvPr id="14" name="Rechteck 1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3"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9"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10"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11"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5" name="Textfeld 14"/>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4" name="Bildplatzhalter 3"/>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1029981623"/>
      </p:ext>
    </p:extLst>
  </p:cSld>
  <p:clrMapOvr>
    <a:overrideClrMapping bg1="lt1" tx1="dk1" bg2="lt2" tx2="dk2" accent1="accent1" accent2="accent2" accent3="accent3" accent4="accent4" accent5="accent5" accent6="accent6" hlink="hlink" folHlink="folHlink"/>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Background Visual">
    <p:bg>
      <p:bgRef idx="1001">
        <a:schemeClr val="bg1"/>
      </p:bgRef>
    </p:bg>
    <p:spTree>
      <p:nvGrpSpPr>
        <p:cNvPr id="1" name=""/>
        <p:cNvGrpSpPr/>
        <p:nvPr/>
      </p:nvGrpSpPr>
      <p:grpSpPr>
        <a:xfrm>
          <a:off x="0" y="0"/>
          <a:ext cx="0" cy="0"/>
          <a:chOff x="0" y="0"/>
          <a:chExt cx="0" cy="0"/>
        </a:xfrm>
      </p:grpSpPr>
      <p:sp>
        <p:nvSpPr>
          <p:cNvPr id="13"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8" name="Text Placeholder 7"/>
          <p:cNvSpPr>
            <a:spLocks noGrp="1"/>
          </p:cNvSpPr>
          <p:nvPr>
            <p:ph type="body" sz="quarter" idx="30"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7" name="Textfeld 6"/>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3" name="Bildplatzhalter 2"/>
          <p:cNvSpPr>
            <a:spLocks noGrp="1"/>
          </p:cNvSpPr>
          <p:nvPr>
            <p:ph type="pic" sz="quarter" idx="31"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857883141"/>
      </p:ext>
    </p:extLst>
  </p:cSld>
  <p:clrMapOvr>
    <a:overrideClrMapping bg1="lt1" tx1="dk1" bg2="lt2" tx2="dk2" accent1="accent1" accent2="accent2" accent3="accent3" accent4="accent4" accent5="accent5" accent6="accent6" hlink="hlink" folHlink="folHlink"/>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ackground Visual - 2">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5606"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9" name="Rechteck 8"/>
          <p:cNvSpPr/>
          <p:nvPr userDrawn="1"/>
        </p:nvSpPr>
        <p:spPr bwMode="gray">
          <a:xfrm>
            <a:off x="6642160" y="1592264"/>
            <a:ext cx="5549842" cy="4573587"/>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Bildplatzhalter 10"/>
          <p:cNvSpPr>
            <a:spLocks noGrp="1"/>
          </p:cNvSpPr>
          <p:nvPr>
            <p:ph type="pic" sz="quarter" idx="31" hasCustomPrompt="1"/>
          </p:nvPr>
        </p:nvSpPr>
        <p:spPr bwMode="gray">
          <a:xfrm>
            <a:off x="2" y="1"/>
            <a:ext cx="6642158" cy="5303373"/>
          </a:xfrm>
          <a:prstGeom prst="rect">
            <a:avLst/>
          </a:prstGeom>
          <a:solidFill>
            <a:srgbClr val="B2B2B2"/>
          </a:solidFill>
        </p:spPr>
        <p:txBody>
          <a:bodyPr anchor="ctr"/>
          <a:lstStyle>
            <a:lvl1pPr marL="0" indent="0" algn="ctr">
              <a:buNone/>
              <a:defRPr sz="1300"/>
            </a:lvl1pPr>
          </a:lstStyle>
          <a:p>
            <a:r>
              <a:rPr lang="en-GB" noProof="0" dirty="0"/>
              <a:t>New Picture</a:t>
            </a:r>
          </a:p>
        </p:txBody>
      </p:sp>
      <p:sp>
        <p:nvSpPr>
          <p:cNvPr id="35" name="Textplatzhalter 20"/>
          <p:cNvSpPr>
            <a:spLocks noGrp="1"/>
          </p:cNvSpPr>
          <p:nvPr>
            <p:ph type="body" sz="quarter" idx="12" hasCustomPrompt="1"/>
          </p:nvPr>
        </p:nvSpPr>
        <p:spPr bwMode="gray">
          <a:xfrm>
            <a:off x="6203462" y="2092326"/>
            <a:ext cx="5564555" cy="675891"/>
          </a:xfrm>
        </p:spPr>
        <p:txBody>
          <a:bodyPr lIns="0" tIns="0" rIns="0" bIns="0"/>
          <a:lstStyle>
            <a:lvl1pPr marL="0" indent="0">
              <a:spcBef>
                <a:spcPts val="0"/>
              </a:spcBef>
              <a:spcAft>
                <a:spcPts val="0"/>
              </a:spcAft>
              <a:buNone/>
              <a:defRPr sz="20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20pt)</a:t>
            </a:r>
          </a:p>
        </p:txBody>
      </p:sp>
      <p:sp>
        <p:nvSpPr>
          <p:cNvPr id="8" name="Text Placeholder 7"/>
          <p:cNvSpPr>
            <a:spLocks noGrp="1"/>
          </p:cNvSpPr>
          <p:nvPr>
            <p:ph type="body" sz="quarter" idx="30" hasCustomPrompt="1"/>
          </p:nvPr>
        </p:nvSpPr>
        <p:spPr bwMode="gray">
          <a:xfrm>
            <a:off x="412263" y="239714"/>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8" name="Textplatzhalter 20"/>
          <p:cNvSpPr>
            <a:spLocks noGrp="1"/>
          </p:cNvSpPr>
          <p:nvPr>
            <p:ph type="body" sz="quarter" idx="32" hasCustomPrompt="1"/>
          </p:nvPr>
        </p:nvSpPr>
        <p:spPr bwMode="gray">
          <a:xfrm>
            <a:off x="7063080" y="2866827"/>
            <a:ext cx="4704937" cy="879788"/>
          </a:xfrm>
        </p:spPr>
        <p:txBody>
          <a:bodyPr lIns="0" tIns="0" rIns="0" bIns="0"/>
          <a:lstStyle>
            <a:lvl1pPr marL="0" indent="0">
              <a:spcBef>
                <a:spcPts val="0"/>
              </a:spcBef>
              <a:spcAft>
                <a:spcPts val="0"/>
              </a:spcAft>
              <a:buNone/>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Main slide heading appears here (12pt)</a:t>
            </a:r>
          </a:p>
        </p:txBody>
      </p:sp>
    </p:spTree>
    <p:extLst>
      <p:ext uri="{BB962C8B-B14F-4D97-AF65-F5344CB8AC3E}">
        <p14:creationId xmlns:p14="http://schemas.microsoft.com/office/powerpoint/2010/main" val="1623121250"/>
      </p:ext>
    </p:extLst>
  </p:cSld>
  <p:clrMapOvr>
    <a:overrideClrMapping bg1="lt1" tx1="dk1" bg2="lt2" tx2="dk2" accent1="accent1" accent2="accent2" accent3="accent3" accent4="accent4" accent5="accent5" accent6="accent6" hlink="hlink" folHlink="folHlink"/>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Background Visual - 3">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6630"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16" name="Rechteck 15"/>
          <p:cNvSpPr/>
          <p:nvPr userDrawn="1"/>
        </p:nvSpPr>
        <p:spPr bwMode="gray">
          <a:xfrm>
            <a:off x="4368742" y="1592264"/>
            <a:ext cx="7823260" cy="4573587"/>
          </a:xfrm>
          <a:prstGeom prst="rect">
            <a:avLst/>
          </a:prstGeom>
          <a:blipFill dpi="0" rotWithShape="1">
            <a:blip r:embed="rId6" cstate="print">
              <a:extLst>
                <a:ext uri="{28A0092B-C50C-407E-A947-70E740481C1C}">
                  <a14:useLocalDpi xmlns:a14="http://schemas.microsoft.com/office/drawing/2010/main"/>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Rechteck 11"/>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8" name="Textplatzhalter 20"/>
          <p:cNvSpPr>
            <a:spLocks noGrp="1"/>
          </p:cNvSpPr>
          <p:nvPr>
            <p:ph type="body" sz="quarter" idx="32" hasCustomPrompt="1"/>
          </p:nvPr>
        </p:nvSpPr>
        <p:spPr bwMode="gray">
          <a:xfrm>
            <a:off x="389506" y="2842101"/>
            <a:ext cx="3626684" cy="879788"/>
          </a:xfrm>
        </p:spPr>
        <p:txBody>
          <a:bodyPr lIns="0" tIns="0" rIns="0" bIns="0"/>
          <a:lstStyle>
            <a:lvl1pPr marL="0" marR="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sz="1200" b="0"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marL="0" marR="0" lvl="0" indent="0" algn="l" defTabSz="914400" rtl="0" eaLnBrk="1" fontAlgn="base" latinLnBrk="0" hangingPunct="1">
              <a:lnSpc>
                <a:spcPct val="100000"/>
              </a:lnSpc>
              <a:spcBef>
                <a:spcPts val="0"/>
              </a:spcBef>
              <a:spcAft>
                <a:spcPts val="0"/>
              </a:spcAft>
              <a:buClr>
                <a:schemeClr val="tx2"/>
              </a:buClr>
              <a:buSzTx/>
              <a:buFont typeface="Wingdings" panose="05000000000000000000" pitchFamily="2" charset="2"/>
              <a:buNone/>
              <a:tabLst>
                <a:tab pos="179388" algn="l"/>
              </a:tabLst>
              <a:defRPr/>
            </a:pPr>
            <a:r>
              <a:rPr lang="en-GB" noProof="0" dirty="0"/>
              <a:t>Subtitle of the presentation (12pt)</a:t>
            </a:r>
          </a:p>
        </p:txBody>
      </p:sp>
      <p:grpSp>
        <p:nvGrpSpPr>
          <p:cNvPr id="5" name="Gruppieren 4"/>
          <p:cNvGrpSpPr/>
          <p:nvPr userDrawn="1"/>
        </p:nvGrpSpPr>
        <p:grpSpPr bwMode="gray">
          <a:xfrm>
            <a:off x="2" y="762003"/>
            <a:ext cx="12192001" cy="5638801"/>
            <a:chOff x="0" y="762000"/>
            <a:chExt cx="9906001" cy="5638801"/>
          </a:xfrm>
        </p:grpSpPr>
        <p:sp>
          <p:nvSpPr>
            <p:cNvPr id="3" name="Rechteck 2"/>
            <p:cNvSpPr/>
            <p:nvPr userDrawn="1"/>
          </p:nvSpPr>
          <p:spPr bwMode="gray">
            <a:xfrm>
              <a:off x="0" y="4845600"/>
              <a:ext cx="3549601" cy="1555201"/>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Rechteck 12"/>
            <p:cNvSpPr/>
            <p:nvPr userDrawn="1"/>
          </p:nvSpPr>
          <p:spPr bwMode="gray">
            <a:xfrm>
              <a:off x="3549601" y="6175375"/>
              <a:ext cx="6356400" cy="225426"/>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userDrawn="1"/>
          </p:nvSpPr>
          <p:spPr bwMode="gray">
            <a:xfrm>
              <a:off x="3549601" y="762000"/>
              <a:ext cx="6356400" cy="839788"/>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grpSp>
      <p:sp>
        <p:nvSpPr>
          <p:cNvPr id="4" name="Textplatzhalter 3"/>
          <p:cNvSpPr>
            <a:spLocks noGrp="1"/>
          </p:cNvSpPr>
          <p:nvPr>
            <p:ph type="body" sz="quarter" idx="33" hasCustomPrompt="1"/>
          </p:nvPr>
        </p:nvSpPr>
        <p:spPr bwMode="gray">
          <a:xfrm>
            <a:off x="388816" y="993802"/>
            <a:ext cx="9409723" cy="1076325"/>
          </a:xfrm>
        </p:spPr>
        <p:txBody>
          <a:bodyPr/>
          <a:lstStyle>
            <a:lvl1pPr marL="0" indent="0">
              <a:buNone/>
              <a:tabLst/>
              <a:defRPr sz="3600" b="1">
                <a:solidFill>
                  <a:schemeClr val="tx2"/>
                </a:solidFill>
              </a:defRPr>
            </a:lvl1pPr>
            <a:lvl5pPr>
              <a:defRPr/>
            </a:lvl5pPr>
          </a:lstStyle>
          <a:p>
            <a:pPr lvl="0"/>
            <a:r>
              <a:rPr lang="en-GB" noProof="0" dirty="0"/>
              <a:t>Headline (36pt) max. two lines</a:t>
            </a:r>
          </a:p>
        </p:txBody>
      </p:sp>
      <p:sp>
        <p:nvSpPr>
          <p:cNvPr id="37"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21" name="L-Form 20"/>
          <p:cNvSpPr/>
          <p:nvPr userDrawn="1"/>
        </p:nvSpPr>
        <p:spPr bwMode="auto">
          <a:xfrm>
            <a:off x="4367262" y="1601788"/>
            <a:ext cx="7824738" cy="4564060"/>
          </a:xfrm>
          <a:prstGeom prst="corner">
            <a:avLst>
              <a:gd name="adj1" fmla="val 35487"/>
              <a:gd name="adj2" fmla="val 32594"/>
            </a:avLst>
          </a:prstGeom>
          <a:solidFill>
            <a:schemeClr val="bg2">
              <a:alpha val="40000"/>
            </a:scheme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Tree>
    <p:extLst>
      <p:ext uri="{BB962C8B-B14F-4D97-AF65-F5344CB8AC3E}">
        <p14:creationId xmlns:p14="http://schemas.microsoft.com/office/powerpoint/2010/main" val="3743690541"/>
      </p:ext>
    </p:extLst>
  </p:cSld>
  <p:clrMapOvr>
    <a:overrideClrMapping bg1="lt1" tx1="dk1" bg2="lt2" tx2="dk2" accent1="accent1" accent2="accent2" accent3="accent3" accent4="accent4" accent5="accent5" accent6="accent6" hlink="hlink" folHlink="folHlink"/>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Key Point">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4" name="Text Placeholder 3"/>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6" name="Text Placeholder 5"/>
          <p:cNvSpPr>
            <a:spLocks noGrp="1"/>
          </p:cNvSpPr>
          <p:nvPr>
            <p:ph type="body" sz="quarter" idx="23"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12" name="Text Placeholder 11"/>
          <p:cNvSpPr>
            <a:spLocks noGrp="1"/>
          </p:cNvSpPr>
          <p:nvPr>
            <p:ph type="body" sz="quarter" idx="24"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Tree>
    <p:extLst>
      <p:ext uri="{BB962C8B-B14F-4D97-AF65-F5344CB8AC3E}">
        <p14:creationId xmlns:p14="http://schemas.microsoft.com/office/powerpoint/2010/main" val="28282557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Key Point with Background">
    <p:bg>
      <p:bgRef idx="1001">
        <a:schemeClr val="bg1"/>
      </p:bgRef>
    </p:bg>
    <p:spTree>
      <p:nvGrpSpPr>
        <p:cNvPr id="1" name=""/>
        <p:cNvGrpSpPr/>
        <p:nvPr/>
      </p:nvGrpSpPr>
      <p:grpSpPr>
        <a:xfrm>
          <a:off x="0" y="0"/>
          <a:ext cx="0" cy="0"/>
          <a:chOff x="0" y="0"/>
          <a:chExt cx="0" cy="0"/>
        </a:xfrm>
      </p:grpSpPr>
      <p:sp>
        <p:nvSpPr>
          <p:cNvPr id="10" name="Rechteck 9"/>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2" name="Titel 1"/>
          <p:cNvSpPr>
            <a:spLocks noGrp="1"/>
          </p:cNvSpPr>
          <p:nvPr>
            <p:ph type="title" hasCustomPrompt="1"/>
          </p:nvPr>
        </p:nvSpPr>
        <p:spPr bwMode="gray">
          <a:xfrm>
            <a:off x="398769" y="660011"/>
            <a:ext cx="9459692" cy="607190"/>
          </a:xfrm>
        </p:spPr>
        <p:txBody>
          <a:bodyPr/>
          <a:lstStyle>
            <a:lvl1pPr>
              <a:defRPr>
                <a:solidFill>
                  <a:schemeClr val="tx2"/>
                </a:solidFill>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14" name="Textplatzhalter 7"/>
          <p:cNvSpPr>
            <a:spLocks noGrp="1"/>
          </p:cNvSpPr>
          <p:nvPr>
            <p:ph type="body" sz="quarter" idx="22" hasCustomPrompt="1"/>
          </p:nvPr>
        </p:nvSpPr>
        <p:spPr bwMode="gray">
          <a:xfrm>
            <a:off x="398771" y="6235340"/>
            <a:ext cx="10633846" cy="373805"/>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stStyle>
          <a:p>
            <a:pPr lvl="0"/>
            <a:r>
              <a:rPr lang="en-GB" noProof="0" dirty="0"/>
              <a:t>Disclaimer (optional) (8pt)</a:t>
            </a:r>
          </a:p>
        </p:txBody>
      </p:sp>
      <p:sp>
        <p:nvSpPr>
          <p:cNvPr id="3" name="Text Placeholder 2"/>
          <p:cNvSpPr>
            <a:spLocks noGrp="1"/>
          </p:cNvSpPr>
          <p:nvPr>
            <p:ph type="body" sz="quarter" idx="30" hasCustomPrompt="1"/>
          </p:nvPr>
        </p:nvSpPr>
        <p:spPr bwMode="gray">
          <a:xfrm>
            <a:off x="398769" y="2368800"/>
            <a:ext cx="11369354" cy="2581200"/>
          </a:xfrm>
        </p:spPr>
        <p:txBody>
          <a:bodyPr/>
          <a:lstStyle>
            <a:lvl1pPr marL="0" indent="0">
              <a:buNone/>
              <a:defRPr sz="4800">
                <a:solidFill>
                  <a:schemeClr val="tx2"/>
                </a:solidFill>
              </a:defRPr>
            </a:lvl1pPr>
          </a:lstStyle>
          <a:p>
            <a:pPr lvl="0"/>
            <a:r>
              <a:rPr lang="en-GB" noProof="0" dirty="0"/>
              <a:t>“Lorem ipsum </a:t>
            </a:r>
            <a:r>
              <a:rPr lang="en-GB" noProof="0" dirty="0" err="1"/>
              <a:t>dolor</a:t>
            </a:r>
            <a:r>
              <a:rPr lang="en-GB" noProof="0" dirty="0"/>
              <a:t> </a:t>
            </a:r>
            <a:r>
              <a:rPr lang="en-GB" noProof="0" dirty="0" err="1"/>
              <a:t>expe</a:t>
            </a:r>
            <a:r>
              <a:rPr lang="en-GB" noProof="0" dirty="0"/>
              <a:t> </a:t>
            </a:r>
            <a:br>
              <a:rPr lang="en-GB" noProof="0" dirty="0"/>
            </a:br>
            <a:r>
              <a:rPr lang="en-GB" noProof="0" dirty="0" err="1"/>
              <a:t>voluptat</a:t>
            </a:r>
            <a:r>
              <a:rPr lang="en-GB" noProof="0" dirty="0"/>
              <a:t> </a:t>
            </a:r>
            <a:r>
              <a:rPr lang="en-GB" noProof="0" dirty="0" err="1"/>
              <a:t>fero</a:t>
            </a:r>
            <a:r>
              <a:rPr lang="en-GB" noProof="0" dirty="0"/>
              <a:t> </a:t>
            </a:r>
            <a:r>
              <a:rPr lang="en-GB" noProof="0" dirty="0" err="1"/>
              <a:t>ipicatis</a:t>
            </a:r>
            <a:r>
              <a:rPr lang="en-GB" noProof="0" dirty="0"/>
              <a:t> </a:t>
            </a:r>
            <a:r>
              <a:rPr lang="en-GB" noProof="0" dirty="0" err="1"/>
              <a:t>quas</a:t>
            </a:r>
            <a:r>
              <a:rPr lang="en-GB" noProof="0" dirty="0"/>
              <a:t> et </a:t>
            </a:r>
            <a:r>
              <a:rPr lang="en-GB" noProof="0" dirty="0" err="1"/>
              <a:t>valute</a:t>
            </a:r>
            <a:r>
              <a:rPr lang="en-GB" noProof="0" dirty="0"/>
              <a:t> </a:t>
            </a:r>
            <a:r>
              <a:rPr lang="en-GB" noProof="0" dirty="0" err="1"/>
              <a:t>dolestor</a:t>
            </a:r>
            <a:r>
              <a:rPr lang="en-GB" noProof="0" dirty="0"/>
              <a:t>.” (48pt)</a:t>
            </a:r>
          </a:p>
        </p:txBody>
      </p:sp>
      <p:sp>
        <p:nvSpPr>
          <p:cNvPr id="5" name="Text Placeholder 4"/>
          <p:cNvSpPr>
            <a:spLocks noGrp="1"/>
          </p:cNvSpPr>
          <p:nvPr>
            <p:ph type="body" sz="quarter" idx="31" hasCustomPrompt="1"/>
          </p:nvPr>
        </p:nvSpPr>
        <p:spPr bwMode="gray">
          <a:xfrm>
            <a:off x="398769" y="4957200"/>
            <a:ext cx="11369354" cy="464400"/>
          </a:xfrm>
        </p:spPr>
        <p:txBody>
          <a:bodyPr anchor="ctr"/>
          <a:lstStyle>
            <a:lvl1pPr marL="0" indent="0">
              <a:spcBef>
                <a:spcPts val="0"/>
              </a:spcBef>
              <a:spcAft>
                <a:spcPts val="0"/>
              </a:spcAft>
              <a:buNone/>
              <a:defRPr sz="1600">
                <a:solidFill>
                  <a:schemeClr val="tx2"/>
                </a:solidFill>
              </a:defRPr>
            </a:lvl1pPr>
          </a:lstStyle>
          <a:p>
            <a:pPr lvl="0"/>
            <a:r>
              <a:rPr lang="en-GB" noProof="0" dirty="0"/>
              <a:t>Name of speaker (16pt)</a:t>
            </a:r>
          </a:p>
        </p:txBody>
      </p:sp>
      <p:sp>
        <p:nvSpPr>
          <p:cNvPr id="7" name="Text Placeholder 7"/>
          <p:cNvSpPr>
            <a:spLocks noGrp="1"/>
          </p:cNvSpPr>
          <p:nvPr>
            <p:ph type="body" sz="quarter" idx="32" hasCustomPrompt="1"/>
          </p:nvPr>
        </p:nvSpPr>
        <p:spPr bwMode="gray">
          <a:xfrm>
            <a:off x="5268992" y="162125"/>
            <a:ext cx="4696050" cy="1380201"/>
          </a:xfrm>
        </p:spPr>
        <p:txBody>
          <a:bodyPr/>
          <a:lstStyle>
            <a:lvl1pPr marL="0" marR="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sz="800" i="1" baseline="0"/>
            </a:lvl1pPr>
          </a:lstStyle>
          <a:p>
            <a:pPr marL="0" marR="0" lvl="0" indent="0" algn="l" defTabSz="914400" rtl="0" eaLnBrk="1" fontAlgn="base" latinLnBrk="0" hangingPunct="1">
              <a:lnSpc>
                <a:spcPct val="120000"/>
              </a:lnSpc>
              <a:spcBef>
                <a:spcPts val="360"/>
              </a:spcBef>
              <a:spcAft>
                <a:spcPts val="360"/>
              </a:spcAft>
              <a:buClr>
                <a:schemeClr val="tx2"/>
              </a:buClr>
              <a:buSzTx/>
              <a:buFont typeface="Wingdings" panose="05000000000000000000" pitchFamily="2" charset="2"/>
              <a:buNone/>
              <a:tabLst>
                <a:tab pos="179388" algn="l"/>
              </a:tabLst>
              <a:defRPr/>
            </a:pPr>
            <a:r>
              <a:rPr lang="en-GB" noProof="0" dirty="0"/>
              <a:t>Click the image button below to insert an image (only this action guarantees a correct view). Click then on “send to back”.</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br>
              <a:rPr lang="en-GB" noProof="0" dirty="0"/>
            </a:br>
            <a:r>
              <a:rPr lang="en-GB" noProof="0" dirty="0"/>
              <a:t>Find pictures in the Image Data Base at the AllianzGI Brand </a:t>
            </a:r>
            <a:r>
              <a:rPr lang="en-GB" noProof="0" dirty="0" err="1"/>
              <a:t>Center</a:t>
            </a:r>
            <a:r>
              <a:rPr lang="en-GB" noProof="0" dirty="0"/>
              <a:t>.</a:t>
            </a:r>
          </a:p>
        </p:txBody>
      </p:sp>
      <p:sp>
        <p:nvSpPr>
          <p:cNvPr id="11" name="Textfeld 10"/>
          <p:cNvSpPr txBox="1"/>
          <p:nvPr userDrawn="1"/>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Bildplatzhalter 7"/>
          <p:cNvSpPr>
            <a:spLocks noGrp="1"/>
          </p:cNvSpPr>
          <p:nvPr>
            <p:ph type="pic" sz="quarter" idx="33" hasCustomPrompt="1"/>
          </p:nvPr>
        </p:nvSpPr>
        <p:spPr>
          <a:xfrm>
            <a:off x="0" y="2097088"/>
            <a:ext cx="12192000" cy="4760912"/>
          </a:xfrm>
        </p:spPr>
        <p:txBody>
          <a:bodyPr/>
          <a:lstStyle>
            <a:lvl1pPr marL="0" marR="0" indent="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None/>
              <a:tabLst>
                <a:tab pos="179388" algn="l"/>
              </a:tabLst>
              <a:defRPr/>
            </a:lvl1pPr>
          </a:lstStyle>
          <a:p>
            <a:r>
              <a:rPr lang="en-GB" noProof="0" dirty="0"/>
              <a:t>New picture – send to back</a:t>
            </a:r>
          </a:p>
        </p:txBody>
      </p:sp>
    </p:spTree>
    <p:extLst>
      <p:ext uri="{BB962C8B-B14F-4D97-AF65-F5344CB8AC3E}">
        <p14:creationId xmlns:p14="http://schemas.microsoft.com/office/powerpoint/2010/main" val="996848275"/>
      </p:ext>
    </p:extLst>
  </p:cSld>
  <p:clrMapOvr>
    <a:overrideClrMapping bg1="lt1" tx1="dk1" bg2="lt2" tx2="dk2" accent1="accent1" accent2="accent2" accent3="accent3" accent4="accent4" accent5="accent5" accent6="accent6" hlink="hlink" folHlink="folHlink"/>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Breaking Slide">
    <p:bg>
      <p:bgRef idx="1001">
        <a:schemeClr val="bg1"/>
      </p:bgRef>
    </p:bg>
    <p:spTree>
      <p:nvGrpSpPr>
        <p:cNvPr id="1" name=""/>
        <p:cNvGrpSpPr/>
        <p:nvPr/>
      </p:nvGrpSpPr>
      <p:grpSpPr>
        <a:xfrm>
          <a:off x="0" y="0"/>
          <a:ext cx="0" cy="0"/>
          <a:chOff x="0" y="0"/>
          <a:chExt cx="0" cy="0"/>
        </a:xfrm>
      </p:grpSpPr>
      <p:sp>
        <p:nvSpPr>
          <p:cNvPr id="43" name="Freeform 614"/>
          <p:cNvSpPr>
            <a:spLocks noEditPoints="1"/>
          </p:cNvSpPr>
          <p:nvPr userDrawn="1"/>
        </p:nvSpPr>
        <p:spPr bwMode="gray">
          <a:xfrm>
            <a:off x="2344617" y="2306638"/>
            <a:ext cx="7502769" cy="2251913"/>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1089694314"/>
      </p:ext>
    </p:extLst>
  </p:cSld>
  <p:clrMapOvr>
    <a:overrideClrMapping bg1="lt1" tx1="dk1" bg2="lt2" tx2="dk2" accent1="accent1" accent2="accent2" accent3="accent3" accent4="accent4" accent5="accent5" accent6="accent6" hlink="hlink" folHlink="folHlink"/>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losing page">
    <p:spTree>
      <p:nvGrpSpPr>
        <p:cNvPr id="1" name=""/>
        <p:cNvGrpSpPr/>
        <p:nvPr/>
      </p:nvGrpSpPr>
      <p:grpSpPr>
        <a:xfrm>
          <a:off x="0" y="0"/>
          <a:ext cx="0" cy="0"/>
          <a:chOff x="0" y="0"/>
          <a:chExt cx="0" cy="0"/>
        </a:xfrm>
      </p:grpSpPr>
      <p:sp>
        <p:nvSpPr>
          <p:cNvPr id="7" name="Rechteck 6"/>
          <p:cNvSpPr/>
          <p:nvPr userDrawn="1"/>
        </p:nvSpPr>
        <p:spPr bwMode="gray">
          <a:xfrm>
            <a:off x="1008184" y="3507366"/>
            <a:ext cx="11183817" cy="198946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Freeform 614"/>
          <p:cNvSpPr>
            <a:spLocks noEditPoints="1"/>
          </p:cNvSpPr>
          <p:nvPr userDrawn="1"/>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
        <p:nvSpPr>
          <p:cNvPr id="6" name="Rechteck 5"/>
          <p:cNvSpPr/>
          <p:nvPr userDrawn="1"/>
        </p:nvSpPr>
        <p:spPr bwMode="gray">
          <a:xfrm>
            <a:off x="0" y="2174214"/>
            <a:ext cx="6432522" cy="1333155"/>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Rectangle 1"/>
          <p:cNvSpPr/>
          <p:nvPr userDrawn="1"/>
        </p:nvSpPr>
        <p:spPr bwMode="gray">
          <a:xfrm>
            <a:off x="1376436" y="2642712"/>
            <a:ext cx="7232749" cy="1723549"/>
          </a:xfrm>
          <a:prstGeom prst="rect">
            <a:avLst/>
          </a:prstGeom>
        </p:spPr>
        <p:txBody>
          <a:bodyPr wrap="none" lIns="0" tIns="0" rIns="0" bIns="0" anchor="ctr" anchorCtr="0">
            <a:spAutoFit/>
          </a:bodyPr>
          <a:lstStyle/>
          <a:p>
            <a:r>
              <a:rPr lang="en-GB" sz="5800" b="1" noProof="0" dirty="0">
                <a:solidFill>
                  <a:schemeClr val="tx2"/>
                </a:solidFill>
              </a:rPr>
              <a:t>Active is:</a:t>
            </a:r>
            <a:r>
              <a:rPr lang="en-GB" sz="5800" b="1" noProof="0" dirty="0">
                <a:solidFill>
                  <a:schemeClr val="bg1"/>
                </a:solidFill>
              </a:rPr>
              <a:t> </a:t>
            </a:r>
          </a:p>
          <a:p>
            <a:r>
              <a:rPr lang="en-GB" sz="5400" noProof="0" dirty="0">
                <a:solidFill>
                  <a:srgbClr val="326295"/>
                </a:solidFill>
              </a:rPr>
              <a:t>Allianz Global Investors</a:t>
            </a:r>
          </a:p>
        </p:txBody>
      </p:sp>
    </p:spTree>
    <p:extLst>
      <p:ext uri="{BB962C8B-B14F-4D97-AF65-F5344CB8AC3E}">
        <p14:creationId xmlns:p14="http://schemas.microsoft.com/office/powerpoint/2010/main" val="67945751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olor Palette">
    <p:spTree>
      <p:nvGrpSpPr>
        <p:cNvPr id="1" name=""/>
        <p:cNvGrpSpPr/>
        <p:nvPr/>
      </p:nvGrpSpPr>
      <p:grpSpPr>
        <a:xfrm>
          <a:off x="0" y="0"/>
          <a:ext cx="0" cy="0"/>
          <a:chOff x="0" y="0"/>
          <a:chExt cx="0" cy="0"/>
        </a:xfrm>
      </p:grpSpPr>
      <p:sp>
        <p:nvSpPr>
          <p:cNvPr id="4" name="Rechteck 3"/>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charset="0"/>
            </a:endParaRPr>
          </a:p>
        </p:txBody>
      </p:sp>
      <p:sp>
        <p:nvSpPr>
          <p:cNvPr id="242" name="Rechteck 241"/>
          <p:cNvSpPr/>
          <p:nvPr userDrawn="1"/>
        </p:nvSpPr>
        <p:spPr bwMode="gray">
          <a:xfrm>
            <a:off x="1873783" y="1587600"/>
            <a:ext cx="292431" cy="486000"/>
          </a:xfrm>
          <a:prstGeom prst="rect">
            <a:avLst/>
          </a:prstGeom>
          <a:solidFill>
            <a:schemeClr val="bg1"/>
          </a:solidFill>
          <a:ln w="6350" cap="flat" cmpd="sng" algn="ctr">
            <a:solidFill>
              <a:schemeClr val="tx2"/>
            </a:solid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lvl="0">
              <a:spcBef>
                <a:spcPct val="50000"/>
              </a:spcBef>
              <a:spcAft>
                <a:spcPct val="25000"/>
              </a:spcAft>
              <a:tabLst/>
            </a:pPr>
            <a:endParaRPr kumimoji="0" lang="en-US" sz="2400" b="0" i="0" u="none" strike="noStrike" kern="1200" cap="none" normalizeH="0" noProof="0" dirty="0">
              <a:ln>
                <a:noFill/>
              </a:ln>
              <a:solidFill>
                <a:schemeClr val="bg1"/>
              </a:solidFill>
              <a:effectLst/>
            </a:endParaRPr>
          </a:p>
        </p:txBody>
      </p:sp>
      <p:sp>
        <p:nvSpPr>
          <p:cNvPr id="132" name="Textfeld 131"/>
          <p:cNvSpPr txBox="1"/>
          <p:nvPr userDrawn="1"/>
        </p:nvSpPr>
        <p:spPr bwMode="gray">
          <a:xfrm>
            <a:off x="691201" y="1587600"/>
            <a:ext cx="982139"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Allianz</a:t>
            </a:r>
            <a:r>
              <a:rPr lang="en-US" sz="700" b="1" baseline="0" noProof="0" dirty="0">
                <a:solidFill>
                  <a:sysClr val="windowText" lastClr="000000"/>
                </a:solidFill>
                <a:latin typeface="Arial" panose="020B0604020202020204" pitchFamily="34" charset="0"/>
                <a:ea typeface="Allianz Sans" pitchFamily="50" charset="0"/>
              </a:rPr>
              <a:t>GI </a:t>
            </a:r>
            <a:r>
              <a:rPr lang="en-US" sz="700" b="1" noProof="0" dirty="0">
                <a:solidFill>
                  <a:sysClr val="windowText" lastClr="000000"/>
                </a:solidFill>
                <a:latin typeface="Arial" panose="020B0604020202020204" pitchFamily="34" charset="0"/>
                <a:ea typeface="Allianz Sans" pitchFamily="50" charset="0"/>
              </a:rPr>
              <a:t>Blue</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0 / 55 / 129</a:t>
            </a:r>
          </a:p>
        </p:txBody>
      </p:sp>
      <p:sp>
        <p:nvSpPr>
          <p:cNvPr id="3" name="Rechteck 2"/>
          <p:cNvSpPr/>
          <p:nvPr userDrawn="1"/>
        </p:nvSpPr>
        <p:spPr bwMode="gray">
          <a:xfrm>
            <a:off x="9366548" y="2525382"/>
            <a:ext cx="2414700" cy="579768"/>
          </a:xfrm>
          <a:prstGeom prst="rect">
            <a:avLst/>
          </a:prstGeom>
          <a:solidFill>
            <a:srgbClr val="FDDFD5"/>
          </a:solidFill>
          <a:ln w="63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400" b="0" i="0" u="none" strike="noStrike" cap="none" normalizeH="0" baseline="0" noProof="0" dirty="0">
              <a:ln>
                <a:noFill/>
              </a:ln>
              <a:solidFill>
                <a:schemeClr val="tx1"/>
              </a:solidFill>
              <a:effectLst/>
              <a:latin typeface="Arial" panose="020B0604020202020204" pitchFamily="34" charset="0"/>
            </a:endParaRPr>
          </a:p>
        </p:txBody>
      </p:sp>
      <p:sp>
        <p:nvSpPr>
          <p:cNvPr id="6" name="Textfeld 5"/>
          <p:cNvSpPr txBox="1"/>
          <p:nvPr userDrawn="1"/>
        </p:nvSpPr>
        <p:spPr bwMode="gray">
          <a:xfrm>
            <a:off x="9445634" y="1588644"/>
            <a:ext cx="2320713" cy="1922462"/>
          </a:xfrm>
          <a:prstGeom prst="rect">
            <a:avLst/>
          </a:prstGeom>
          <a:noFill/>
        </p:spPr>
        <p:txBody>
          <a:bodyPr wrap="square" lIns="0" tIns="0" rIns="0" bIns="0" rtlCol="0">
            <a:noAutofit/>
          </a:bodyPr>
          <a:lstStyle/>
          <a:p>
            <a:r>
              <a:rPr lang="en-US" sz="800" kern="1200" baseline="0" noProof="0" dirty="0">
                <a:solidFill>
                  <a:srgbClr val="DD0031"/>
                </a:solidFill>
                <a:latin typeface="Arial" panose="020B0604020202020204" pitchFamily="34" charset="0"/>
                <a:ea typeface="Allianz Sans" pitchFamily="50" charset="0"/>
                <a:cs typeface="+mn-cs"/>
              </a:rPr>
              <a:t>Headlines must always have the full tone; for boxes, tables and graphics all shades of colors can be used (see AllianzGI color guidelines for WCAG standards)</a:t>
            </a: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b="1" kern="1200" baseline="0" noProof="0" dirty="0">
                <a:solidFill>
                  <a:srgbClr val="E4002B"/>
                </a:solidFill>
                <a:latin typeface="Arial" panose="020B0604020202020204" pitchFamily="34" charset="0"/>
                <a:ea typeface="Allianz Sans" pitchFamily="50" charset="0"/>
                <a:cs typeface="+mn-cs"/>
              </a:rPr>
              <a:t/>
            </a:r>
            <a:br>
              <a:rPr lang="en-US" sz="800" b="1" kern="1200" baseline="0" noProof="0" dirty="0">
                <a:solidFill>
                  <a:srgbClr val="E4002B"/>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For color usage in tables and graphics different shades of colors can be used.</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b="1" i="0" kern="1200" baseline="0" noProof="0" dirty="0">
                <a:solidFill>
                  <a:schemeClr val="tx2"/>
                </a:solidFill>
                <a:latin typeface="Arial" panose="020B0604020202020204" pitchFamily="34" charset="0"/>
                <a:ea typeface="Allianz Sans" pitchFamily="50" charset="0"/>
                <a:cs typeface="+mn-cs"/>
              </a:rPr>
              <a:t>Note</a:t>
            </a:r>
            <a:r>
              <a:rPr lang="en-US" sz="800" kern="1200" baseline="0" noProof="0" dirty="0">
                <a:solidFill>
                  <a:sysClr val="windowText" lastClr="000000"/>
                </a:solidFill>
                <a:latin typeface="Arial" panose="020B0604020202020204" pitchFamily="34" charset="0"/>
                <a:ea typeface="Allianz Sans" pitchFamily="50" charset="0"/>
                <a:cs typeface="+mn-cs"/>
              </a:rPr>
              <a:t/>
            </a:r>
            <a:br>
              <a:rPr lang="en-US" sz="800" kern="1200" baseline="0" noProof="0" dirty="0">
                <a:solidFill>
                  <a:sysClr val="windowText" lastClr="000000"/>
                </a:solidFill>
                <a:latin typeface="Arial" panose="020B0604020202020204" pitchFamily="34" charset="0"/>
                <a:ea typeface="Allianz Sans" pitchFamily="50" charset="0"/>
                <a:cs typeface="+mn-cs"/>
              </a:rPr>
            </a:br>
            <a:r>
              <a:rPr lang="en-US" sz="800" kern="1200" baseline="0" noProof="0" dirty="0">
                <a:solidFill>
                  <a:sysClr val="windowText" lastClr="000000"/>
                </a:solidFill>
                <a:latin typeface="Arial" panose="020B0604020202020204" pitchFamily="34" charset="0"/>
                <a:ea typeface="Allianz Sans" pitchFamily="50" charset="0"/>
                <a:cs typeface="+mn-cs"/>
              </a:rPr>
              <a:t>Please do not use this slide in your presentation. See color recommendation for use in the guidelines</a:t>
            </a:r>
          </a:p>
        </p:txBody>
      </p:sp>
      <p:sp>
        <p:nvSpPr>
          <p:cNvPr id="7" name="Textfeld 6"/>
          <p:cNvSpPr txBox="1"/>
          <p:nvPr userDrawn="1"/>
        </p:nvSpPr>
        <p:spPr bwMode="gray">
          <a:xfrm>
            <a:off x="398770" y="1299133"/>
            <a:ext cx="1138773"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Primary colors</a:t>
            </a:r>
          </a:p>
        </p:txBody>
      </p:sp>
      <p:sp>
        <p:nvSpPr>
          <p:cNvPr id="8" name="Textfeld 7"/>
          <p:cNvSpPr txBox="1"/>
          <p:nvPr userDrawn="1"/>
        </p:nvSpPr>
        <p:spPr bwMode="gray">
          <a:xfrm>
            <a:off x="398771" y="3373204"/>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Richer/muted</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21" name="Textfeld 20"/>
          <p:cNvSpPr txBox="1"/>
          <p:nvPr userDrawn="1"/>
        </p:nvSpPr>
        <p:spPr bwMode="gray">
          <a:xfrm>
            <a:off x="2177562"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hit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55 / 255 / 255</a:t>
            </a:r>
          </a:p>
        </p:txBody>
      </p:sp>
      <p:sp>
        <p:nvSpPr>
          <p:cNvPr id="22" name="Textfeld 21"/>
          <p:cNvSpPr txBox="1"/>
          <p:nvPr userDrawn="1"/>
        </p:nvSpPr>
        <p:spPr bwMode="gray">
          <a:xfrm>
            <a:off x="5068801" y="15876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Red</a:t>
            </a:r>
            <a:br>
              <a:rPr lang="en-US" sz="700" b="1" baseline="0"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21 / 0 / 49</a:t>
            </a:r>
          </a:p>
        </p:txBody>
      </p:sp>
      <p:sp>
        <p:nvSpPr>
          <p:cNvPr id="23" name="Textfeld 22"/>
          <p:cNvSpPr txBox="1"/>
          <p:nvPr userDrawn="1"/>
        </p:nvSpPr>
        <p:spPr bwMode="gray">
          <a:xfrm>
            <a:off x="21710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utterscotch</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08 / 130 / 47</a:t>
            </a:r>
          </a:p>
        </p:txBody>
      </p:sp>
      <p:sp>
        <p:nvSpPr>
          <p:cNvPr id="24" name="Textfeld 23"/>
          <p:cNvSpPr txBox="1"/>
          <p:nvPr userDrawn="1"/>
        </p:nvSpPr>
        <p:spPr bwMode="gray">
          <a:xfrm>
            <a:off x="3659814"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err="1">
                <a:solidFill>
                  <a:sysClr val="windowText" lastClr="000000"/>
                </a:solidFill>
                <a:latin typeface="Arial" panose="020B0604020202020204" pitchFamily="34" charset="0"/>
                <a:ea typeface="Allianz Sans" pitchFamily="50" charset="0"/>
              </a:rPr>
              <a:t>Maro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58 / 83 / 48</a:t>
            </a:r>
          </a:p>
        </p:txBody>
      </p:sp>
      <p:sp>
        <p:nvSpPr>
          <p:cNvPr id="25" name="Textfeld 24"/>
          <p:cNvSpPr txBox="1"/>
          <p:nvPr userDrawn="1"/>
        </p:nvSpPr>
        <p:spPr bwMode="gray">
          <a:xfrm>
            <a:off x="5121968"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Wine</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50 / 70 / 97</a:t>
            </a:r>
            <a:endParaRPr lang="en-US" sz="700" noProof="0" dirty="0">
              <a:solidFill>
                <a:sysClr val="windowText" lastClr="000000"/>
              </a:solidFill>
              <a:latin typeface="Arial" panose="020B0604020202020204" pitchFamily="34" charset="0"/>
              <a:ea typeface="Allianz Sans" pitchFamily="50" charset="0"/>
            </a:endParaRPr>
          </a:p>
        </p:txBody>
      </p:sp>
      <p:sp>
        <p:nvSpPr>
          <p:cNvPr id="26" name="Textfeld 25"/>
          <p:cNvSpPr txBox="1"/>
          <p:nvPr userDrawn="1"/>
        </p:nvSpPr>
        <p:spPr bwMode="gray">
          <a:xfrm>
            <a:off x="6548676"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lum</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26 / 84 / 117</a:t>
            </a:r>
          </a:p>
        </p:txBody>
      </p:sp>
      <p:sp>
        <p:nvSpPr>
          <p:cNvPr id="27" name="Textfeld 26"/>
          <p:cNvSpPr txBox="1"/>
          <p:nvPr userDrawn="1"/>
        </p:nvSpPr>
        <p:spPr bwMode="gray">
          <a:xfrm>
            <a:off x="7997537"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etro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a:t>
            </a:r>
            <a:r>
              <a:rPr lang="en-US" sz="700" baseline="0" noProof="0" dirty="0">
                <a:solidFill>
                  <a:sysClr val="windowText" lastClr="000000"/>
                </a:solidFill>
                <a:latin typeface="Arial" panose="020B0604020202020204" pitchFamily="34" charset="0"/>
                <a:ea typeface="Allianz Sans" pitchFamily="50" charset="0"/>
              </a:rPr>
              <a:t> / 115 / 150</a:t>
            </a:r>
            <a:endParaRPr lang="en-US" sz="700" noProof="0" dirty="0">
              <a:solidFill>
                <a:sysClr val="windowText" lastClr="000000"/>
              </a:solidFill>
              <a:latin typeface="Arial" panose="020B0604020202020204" pitchFamily="34" charset="0"/>
              <a:ea typeface="Allianz Sans" pitchFamily="50" charset="0"/>
            </a:endParaRPr>
          </a:p>
        </p:txBody>
      </p:sp>
      <p:sp>
        <p:nvSpPr>
          <p:cNvPr id="28" name="Textfeld 27"/>
          <p:cNvSpPr txBox="1"/>
          <p:nvPr userDrawn="1"/>
        </p:nvSpPr>
        <p:spPr bwMode="gray">
          <a:xfrm>
            <a:off x="9468553"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ce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42 / 91 / 108</a:t>
            </a:r>
          </a:p>
        </p:txBody>
      </p:sp>
      <p:sp>
        <p:nvSpPr>
          <p:cNvPr id="29" name="Textfeld 28"/>
          <p:cNvSpPr txBox="1"/>
          <p:nvPr userDrawn="1"/>
        </p:nvSpPr>
        <p:spPr bwMode="gray">
          <a:xfrm>
            <a:off x="10921845"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Dark Gree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39 / 93 / 56</a:t>
            </a:r>
          </a:p>
        </p:txBody>
      </p:sp>
      <p:sp>
        <p:nvSpPr>
          <p:cNvPr id="39" name="Textfeld 38"/>
          <p:cNvSpPr txBox="1"/>
          <p:nvPr userDrawn="1"/>
        </p:nvSpPr>
        <p:spPr bwMode="gray">
          <a:xfrm>
            <a:off x="21710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Yellow</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47 / 169 / 25</a:t>
            </a:r>
          </a:p>
        </p:txBody>
      </p:sp>
      <p:sp>
        <p:nvSpPr>
          <p:cNvPr id="40" name="Textfeld 39"/>
          <p:cNvSpPr txBox="1"/>
          <p:nvPr userDrawn="1"/>
        </p:nvSpPr>
        <p:spPr bwMode="gray">
          <a:xfrm>
            <a:off x="3659814"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Orang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32 / 97 / 12</a:t>
            </a:r>
          </a:p>
        </p:txBody>
      </p:sp>
      <p:sp>
        <p:nvSpPr>
          <p:cNvPr id="41" name="Textfeld 40"/>
          <p:cNvSpPr txBox="1"/>
          <p:nvPr userDrawn="1"/>
        </p:nvSpPr>
        <p:spPr bwMode="gray">
          <a:xfrm>
            <a:off x="5121968"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erry</a:t>
            </a:r>
          </a:p>
          <a:p>
            <a:pPr>
              <a:lnSpc>
                <a:spcPct val="120000"/>
              </a:lnSpc>
              <a:spcBef>
                <a:spcPts val="0"/>
              </a:spcBef>
              <a:spcAft>
                <a:spcPts val="0"/>
              </a:spcAft>
            </a:pPr>
            <a:r>
              <a:rPr lang="en-US" sz="700" baseline="0" noProof="0" dirty="0">
                <a:solidFill>
                  <a:sysClr val="windowText" lastClr="000000"/>
                </a:solidFill>
                <a:latin typeface="Arial" panose="020B0604020202020204" pitchFamily="34" charset="0"/>
                <a:ea typeface="Allianz Sans" pitchFamily="50" charset="0"/>
              </a:rPr>
              <a:t>134 / 31 / 65</a:t>
            </a:r>
            <a:endParaRPr lang="en-US" sz="700" noProof="0" dirty="0">
              <a:solidFill>
                <a:sysClr val="windowText" lastClr="000000"/>
              </a:solidFill>
              <a:latin typeface="Arial" panose="020B0604020202020204" pitchFamily="34" charset="0"/>
              <a:ea typeface="Allianz Sans" pitchFamily="50" charset="0"/>
            </a:endParaRPr>
          </a:p>
        </p:txBody>
      </p:sp>
      <p:sp>
        <p:nvSpPr>
          <p:cNvPr id="42" name="Textfeld 41"/>
          <p:cNvSpPr txBox="1"/>
          <p:nvPr userDrawn="1"/>
        </p:nvSpPr>
        <p:spPr bwMode="gray">
          <a:xfrm>
            <a:off x="6548676"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Purpl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6 / 42 / 91</a:t>
            </a:r>
          </a:p>
        </p:txBody>
      </p:sp>
      <p:sp>
        <p:nvSpPr>
          <p:cNvPr id="43" name="Textfeld 42"/>
          <p:cNvSpPr txBox="1"/>
          <p:nvPr userDrawn="1"/>
        </p:nvSpPr>
        <p:spPr bwMode="gray">
          <a:xfrm>
            <a:off x="7997537"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Cyan</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47 /</a:t>
            </a:r>
            <a:r>
              <a:rPr lang="en-US" sz="700" baseline="0" noProof="0" dirty="0">
                <a:solidFill>
                  <a:sysClr val="windowText" lastClr="000000"/>
                </a:solidFill>
                <a:latin typeface="Arial" panose="020B0604020202020204" pitchFamily="34" charset="0"/>
                <a:ea typeface="Allianz Sans" pitchFamily="50" charset="0"/>
              </a:rPr>
              <a:t> 178</a:t>
            </a:r>
            <a:endParaRPr lang="en-US" sz="700" noProof="0" dirty="0">
              <a:solidFill>
                <a:sysClr val="windowText" lastClr="000000"/>
              </a:solidFill>
              <a:latin typeface="Arial" panose="020B0604020202020204" pitchFamily="34" charset="0"/>
              <a:ea typeface="Allianz Sans" pitchFamily="50" charset="0"/>
            </a:endParaRPr>
          </a:p>
        </p:txBody>
      </p:sp>
      <p:sp>
        <p:nvSpPr>
          <p:cNvPr id="44" name="Textfeld 43"/>
          <p:cNvSpPr txBox="1"/>
          <p:nvPr userDrawn="1"/>
        </p:nvSpPr>
        <p:spPr bwMode="gray">
          <a:xfrm>
            <a:off x="9468553"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Stee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07 / 143 / 156</a:t>
            </a:r>
          </a:p>
        </p:txBody>
      </p:sp>
      <p:sp>
        <p:nvSpPr>
          <p:cNvPr id="45" name="Textfeld 44"/>
          <p:cNvSpPr txBox="1"/>
          <p:nvPr userDrawn="1"/>
        </p:nvSpPr>
        <p:spPr bwMode="gray">
          <a:xfrm>
            <a:off x="10921845"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a:t>
            </a:r>
            <a:r>
              <a:rPr lang="en-US" sz="700" b="1" baseline="0" noProof="0" dirty="0">
                <a:solidFill>
                  <a:sysClr val="windowText" lastClr="000000"/>
                </a:solidFill>
                <a:latin typeface="Arial" panose="020B0604020202020204" pitchFamily="34" charset="0"/>
                <a:ea typeface="Allianz Sans" pitchFamily="50" charset="0"/>
              </a:rPr>
              <a:t> Green</a:t>
            </a:r>
            <a:endParaRPr lang="en-US" sz="700" b="1" noProof="0" dirty="0">
              <a:solidFill>
                <a:sysClr val="windowText" lastClr="000000"/>
              </a:solidFill>
              <a:latin typeface="Arial" panose="020B0604020202020204" pitchFamily="34" charset="0"/>
              <a:ea typeface="Allianz Sans" pitchFamily="50" charset="0"/>
            </a:endParaRP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0 / 122 / 51</a:t>
            </a:r>
          </a:p>
        </p:txBody>
      </p:sp>
      <p:sp>
        <p:nvSpPr>
          <p:cNvPr id="53" name="Textfeld 48"/>
          <p:cNvSpPr txBox="1"/>
          <p:nvPr userDrawn="1"/>
        </p:nvSpPr>
        <p:spPr bwMode="gray">
          <a:xfrm>
            <a:off x="21710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2 / 168 / 109</a:t>
            </a:r>
          </a:p>
        </p:txBody>
      </p:sp>
      <p:sp>
        <p:nvSpPr>
          <p:cNvPr id="54" name="Textfeld 49"/>
          <p:cNvSpPr txBox="1"/>
          <p:nvPr userDrawn="1"/>
        </p:nvSpPr>
        <p:spPr bwMode="gray">
          <a:xfrm>
            <a:off x="3659814"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7 / 135 / 110</a:t>
            </a:r>
          </a:p>
        </p:txBody>
      </p:sp>
      <p:sp>
        <p:nvSpPr>
          <p:cNvPr id="55" name="Textfeld 50"/>
          <p:cNvSpPr txBox="1"/>
          <p:nvPr userDrawn="1"/>
        </p:nvSpPr>
        <p:spPr bwMode="gray">
          <a:xfrm>
            <a:off x="5121968"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81 / 125 / 144</a:t>
            </a:r>
            <a:endParaRPr lang="en-US" sz="700" noProof="0" dirty="0">
              <a:solidFill>
                <a:schemeClr val="tx1"/>
              </a:solidFill>
              <a:latin typeface="Arial" panose="020B0604020202020204" pitchFamily="34" charset="0"/>
              <a:ea typeface="Allianz Sans" pitchFamily="50" charset="0"/>
            </a:endParaRPr>
          </a:p>
        </p:txBody>
      </p:sp>
      <p:sp>
        <p:nvSpPr>
          <p:cNvPr id="56" name="Textfeld 51"/>
          <p:cNvSpPr txBox="1"/>
          <p:nvPr userDrawn="1"/>
        </p:nvSpPr>
        <p:spPr bwMode="gray">
          <a:xfrm>
            <a:off x="6548676"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65 / 135 / 158</a:t>
            </a:r>
          </a:p>
        </p:txBody>
      </p:sp>
      <p:sp>
        <p:nvSpPr>
          <p:cNvPr id="57" name="Textfeld 52"/>
          <p:cNvSpPr txBox="1"/>
          <p:nvPr userDrawn="1"/>
        </p:nvSpPr>
        <p:spPr bwMode="gray">
          <a:xfrm>
            <a:off x="7997537"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7 / 157 / 182</a:t>
            </a:r>
          </a:p>
        </p:txBody>
      </p:sp>
      <p:sp>
        <p:nvSpPr>
          <p:cNvPr id="58" name="Textfeld 53"/>
          <p:cNvSpPr txBox="1"/>
          <p:nvPr userDrawn="1"/>
        </p:nvSpPr>
        <p:spPr bwMode="gray">
          <a:xfrm>
            <a:off x="9468553"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6 / 140 /</a:t>
            </a:r>
            <a:r>
              <a:rPr lang="en-US" sz="700" baseline="0" noProof="0" dirty="0">
                <a:solidFill>
                  <a:schemeClr val="tx1"/>
                </a:solidFill>
                <a:latin typeface="Arial" panose="020B0604020202020204" pitchFamily="34" charset="0"/>
                <a:ea typeface="Allianz Sans" pitchFamily="50" charset="0"/>
              </a:rPr>
              <a:t> 152</a:t>
            </a:r>
            <a:endParaRPr lang="en-US" sz="700" noProof="0" dirty="0">
              <a:solidFill>
                <a:schemeClr val="tx1"/>
              </a:solidFill>
              <a:latin typeface="Arial" panose="020B0604020202020204" pitchFamily="34" charset="0"/>
              <a:ea typeface="Allianz Sans" pitchFamily="50" charset="0"/>
            </a:endParaRPr>
          </a:p>
        </p:txBody>
      </p:sp>
      <p:sp>
        <p:nvSpPr>
          <p:cNvPr id="59" name="Textfeld 54"/>
          <p:cNvSpPr txBox="1"/>
          <p:nvPr userDrawn="1"/>
        </p:nvSpPr>
        <p:spPr bwMode="gray">
          <a:xfrm>
            <a:off x="10921845"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04 / 142 / 116</a:t>
            </a:r>
          </a:p>
        </p:txBody>
      </p:sp>
      <p:sp>
        <p:nvSpPr>
          <p:cNvPr id="67" name="Textfeld 48"/>
          <p:cNvSpPr txBox="1"/>
          <p:nvPr userDrawn="1"/>
        </p:nvSpPr>
        <p:spPr bwMode="gray">
          <a:xfrm>
            <a:off x="21710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2 / 193 / 151</a:t>
            </a:r>
          </a:p>
        </p:txBody>
      </p:sp>
      <p:sp>
        <p:nvSpPr>
          <p:cNvPr id="68" name="Textfeld 49"/>
          <p:cNvSpPr txBox="1"/>
          <p:nvPr userDrawn="1"/>
        </p:nvSpPr>
        <p:spPr bwMode="gray">
          <a:xfrm>
            <a:off x="3659814"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6 / 169 / 151</a:t>
            </a:r>
          </a:p>
        </p:txBody>
      </p:sp>
      <p:sp>
        <p:nvSpPr>
          <p:cNvPr id="69" name="Textfeld 50"/>
          <p:cNvSpPr txBox="1"/>
          <p:nvPr userDrawn="1"/>
        </p:nvSpPr>
        <p:spPr bwMode="gray">
          <a:xfrm>
            <a:off x="5121968"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02 / 162 / 176</a:t>
            </a:r>
            <a:endParaRPr lang="en-US" sz="700" noProof="0" dirty="0">
              <a:solidFill>
                <a:schemeClr val="tx1"/>
              </a:solidFill>
              <a:latin typeface="Arial" panose="020B0604020202020204" pitchFamily="34" charset="0"/>
              <a:ea typeface="Allianz Sans" pitchFamily="50" charset="0"/>
            </a:endParaRPr>
          </a:p>
        </p:txBody>
      </p:sp>
      <p:sp>
        <p:nvSpPr>
          <p:cNvPr id="70" name="Textfeld 51"/>
          <p:cNvSpPr txBox="1"/>
          <p:nvPr userDrawn="1"/>
        </p:nvSpPr>
        <p:spPr bwMode="gray">
          <a:xfrm>
            <a:off x="6548676"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90 / 169 / 186</a:t>
            </a:r>
          </a:p>
        </p:txBody>
      </p:sp>
      <p:sp>
        <p:nvSpPr>
          <p:cNvPr id="71" name="Textfeld 52"/>
          <p:cNvSpPr txBox="1"/>
          <p:nvPr userDrawn="1"/>
        </p:nvSpPr>
        <p:spPr bwMode="gray">
          <a:xfrm>
            <a:off x="7997537"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5 / 203</a:t>
            </a:r>
          </a:p>
        </p:txBody>
      </p:sp>
      <p:sp>
        <p:nvSpPr>
          <p:cNvPr id="72" name="Textfeld 53"/>
          <p:cNvSpPr txBox="1"/>
          <p:nvPr userDrawn="1"/>
        </p:nvSpPr>
        <p:spPr bwMode="gray">
          <a:xfrm>
            <a:off x="9468553"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9 / 173 / 182</a:t>
            </a:r>
          </a:p>
        </p:txBody>
      </p:sp>
      <p:sp>
        <p:nvSpPr>
          <p:cNvPr id="73" name="Textfeld 54"/>
          <p:cNvSpPr txBox="1"/>
          <p:nvPr userDrawn="1"/>
        </p:nvSpPr>
        <p:spPr bwMode="gray">
          <a:xfrm>
            <a:off x="10921845"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47 / 174 / 156</a:t>
            </a:r>
          </a:p>
        </p:txBody>
      </p:sp>
      <p:sp>
        <p:nvSpPr>
          <p:cNvPr id="81" name="Textfeld 48"/>
          <p:cNvSpPr txBox="1"/>
          <p:nvPr userDrawn="1"/>
        </p:nvSpPr>
        <p:spPr bwMode="gray">
          <a:xfrm>
            <a:off x="21710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6 / 230 / 213</a:t>
            </a:r>
          </a:p>
        </p:txBody>
      </p:sp>
      <p:sp>
        <p:nvSpPr>
          <p:cNvPr id="82" name="Textfeld 49"/>
          <p:cNvSpPr txBox="1"/>
          <p:nvPr userDrawn="1"/>
        </p:nvSpPr>
        <p:spPr bwMode="gray">
          <a:xfrm>
            <a:off x="3659814"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6 / 221 / 214</a:t>
            </a:r>
          </a:p>
        </p:txBody>
      </p:sp>
      <p:sp>
        <p:nvSpPr>
          <p:cNvPr id="83" name="Textfeld 50"/>
          <p:cNvSpPr txBox="1"/>
          <p:nvPr userDrawn="1"/>
        </p:nvSpPr>
        <p:spPr bwMode="gray">
          <a:xfrm>
            <a:off x="5121968"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43 / 218 / 223</a:t>
            </a:r>
            <a:endParaRPr lang="en-US" sz="700" noProof="0" dirty="0">
              <a:solidFill>
                <a:schemeClr val="tx1"/>
              </a:solidFill>
              <a:latin typeface="Arial" panose="020B0604020202020204" pitchFamily="34" charset="0"/>
              <a:ea typeface="Allianz Sans" pitchFamily="50" charset="0"/>
            </a:endParaRPr>
          </a:p>
        </p:txBody>
      </p:sp>
      <p:sp>
        <p:nvSpPr>
          <p:cNvPr id="84" name="Textfeld 51"/>
          <p:cNvSpPr txBox="1"/>
          <p:nvPr userDrawn="1"/>
        </p:nvSpPr>
        <p:spPr bwMode="gray">
          <a:xfrm>
            <a:off x="6548676"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9 / 221 / 227</a:t>
            </a:r>
          </a:p>
        </p:txBody>
      </p:sp>
      <p:sp>
        <p:nvSpPr>
          <p:cNvPr id="85" name="Textfeld 52"/>
          <p:cNvSpPr txBox="1"/>
          <p:nvPr userDrawn="1"/>
        </p:nvSpPr>
        <p:spPr bwMode="gray">
          <a:xfrm>
            <a:off x="7997537"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7 / 234</a:t>
            </a:r>
          </a:p>
        </p:txBody>
      </p:sp>
      <p:sp>
        <p:nvSpPr>
          <p:cNvPr id="86" name="Textfeld 53"/>
          <p:cNvSpPr txBox="1"/>
          <p:nvPr userDrawn="1"/>
        </p:nvSpPr>
        <p:spPr bwMode="gray">
          <a:xfrm>
            <a:off x="9468553"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a:t>
            </a:r>
            <a:r>
              <a:rPr lang="en-US" sz="700" baseline="0" noProof="0" dirty="0">
                <a:solidFill>
                  <a:schemeClr val="tx1"/>
                </a:solidFill>
                <a:latin typeface="Arial" panose="020B0604020202020204" pitchFamily="34" charset="0"/>
                <a:ea typeface="Allianz Sans" pitchFamily="50" charset="0"/>
              </a:rPr>
              <a:t> / 222 / 226</a:t>
            </a:r>
            <a:endParaRPr lang="en-US" sz="700" noProof="0" dirty="0">
              <a:solidFill>
                <a:schemeClr val="tx1"/>
              </a:solidFill>
              <a:latin typeface="Arial" panose="020B0604020202020204" pitchFamily="34" charset="0"/>
              <a:ea typeface="Allianz Sans" pitchFamily="50" charset="0"/>
            </a:endParaRPr>
          </a:p>
        </p:txBody>
      </p:sp>
      <p:sp>
        <p:nvSpPr>
          <p:cNvPr id="87" name="Textfeld 54"/>
          <p:cNvSpPr txBox="1"/>
          <p:nvPr userDrawn="1"/>
        </p:nvSpPr>
        <p:spPr bwMode="gray">
          <a:xfrm>
            <a:off x="10921845"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2 / 223 / 215</a:t>
            </a:r>
          </a:p>
        </p:txBody>
      </p:sp>
      <p:sp>
        <p:nvSpPr>
          <p:cNvPr id="95" name="Textfeld 48"/>
          <p:cNvSpPr txBox="1"/>
          <p:nvPr userDrawn="1"/>
        </p:nvSpPr>
        <p:spPr bwMode="gray">
          <a:xfrm>
            <a:off x="2171076"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9 / 195 / 94</a:t>
            </a:r>
          </a:p>
        </p:txBody>
      </p:sp>
      <p:sp>
        <p:nvSpPr>
          <p:cNvPr id="96" name="Textfeld 49"/>
          <p:cNvSpPr txBox="1"/>
          <p:nvPr userDrawn="1"/>
        </p:nvSpPr>
        <p:spPr bwMode="gray">
          <a:xfrm>
            <a:off x="3659814"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39 / 144 / 85</a:t>
            </a:r>
          </a:p>
        </p:txBody>
      </p:sp>
      <p:sp>
        <p:nvSpPr>
          <p:cNvPr id="97" name="Textfeld 50"/>
          <p:cNvSpPr txBox="1"/>
          <p:nvPr userDrawn="1"/>
        </p:nvSpPr>
        <p:spPr bwMode="gray">
          <a:xfrm>
            <a:off x="5121968"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70 / 98 / 122</a:t>
            </a:r>
            <a:endParaRPr lang="en-US" sz="700" noProof="0" dirty="0">
              <a:solidFill>
                <a:schemeClr val="tx1"/>
              </a:solidFill>
              <a:latin typeface="Arial" panose="020B0604020202020204" pitchFamily="34" charset="0"/>
              <a:ea typeface="Allianz Sans" pitchFamily="50" charset="0"/>
            </a:endParaRPr>
          </a:p>
        </p:txBody>
      </p:sp>
      <p:sp>
        <p:nvSpPr>
          <p:cNvPr id="98" name="Textfeld 51"/>
          <p:cNvSpPr txBox="1"/>
          <p:nvPr userDrawn="1"/>
        </p:nvSpPr>
        <p:spPr bwMode="gray">
          <a:xfrm>
            <a:off x="6548676"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06 / 140</a:t>
            </a:r>
          </a:p>
        </p:txBody>
      </p:sp>
      <p:sp>
        <p:nvSpPr>
          <p:cNvPr id="99" name="Textfeld 52"/>
          <p:cNvSpPr txBox="1"/>
          <p:nvPr userDrawn="1"/>
        </p:nvSpPr>
        <p:spPr bwMode="gray">
          <a:xfrm>
            <a:off x="7997537"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79 / 201</a:t>
            </a:r>
          </a:p>
        </p:txBody>
      </p:sp>
      <p:sp>
        <p:nvSpPr>
          <p:cNvPr id="100" name="Textfeld 53"/>
          <p:cNvSpPr txBox="1"/>
          <p:nvPr userDrawn="1"/>
        </p:nvSpPr>
        <p:spPr bwMode="gray">
          <a:xfrm>
            <a:off x="9468553"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1 / 177 / 186</a:t>
            </a:r>
          </a:p>
        </p:txBody>
      </p:sp>
      <p:sp>
        <p:nvSpPr>
          <p:cNvPr id="101" name="Textfeld 54"/>
          <p:cNvSpPr txBox="1"/>
          <p:nvPr userDrawn="1"/>
        </p:nvSpPr>
        <p:spPr bwMode="gray">
          <a:xfrm>
            <a:off x="10921845" y="57652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76 / 162 / 112</a:t>
            </a:r>
          </a:p>
        </p:txBody>
      </p:sp>
      <p:sp>
        <p:nvSpPr>
          <p:cNvPr id="109" name="Textfeld 48"/>
          <p:cNvSpPr txBox="1"/>
          <p:nvPr userDrawn="1"/>
        </p:nvSpPr>
        <p:spPr bwMode="gray">
          <a:xfrm>
            <a:off x="2171076"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1 / 212 / 140</a:t>
            </a:r>
          </a:p>
        </p:txBody>
      </p:sp>
      <p:sp>
        <p:nvSpPr>
          <p:cNvPr id="110" name="Textfeld 49"/>
          <p:cNvSpPr txBox="1"/>
          <p:nvPr userDrawn="1"/>
        </p:nvSpPr>
        <p:spPr bwMode="gray">
          <a:xfrm>
            <a:off x="3659814"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43 / 176 / 133</a:t>
            </a:r>
          </a:p>
        </p:txBody>
      </p:sp>
      <p:sp>
        <p:nvSpPr>
          <p:cNvPr id="111" name="Textfeld 50"/>
          <p:cNvSpPr txBox="1"/>
          <p:nvPr userDrawn="1"/>
        </p:nvSpPr>
        <p:spPr bwMode="gray">
          <a:xfrm>
            <a:off x="5121968"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194 / 143 / 160</a:t>
            </a:r>
            <a:endParaRPr lang="en-US" sz="700" noProof="0" dirty="0">
              <a:solidFill>
                <a:schemeClr val="tx1"/>
              </a:solidFill>
              <a:latin typeface="Arial" panose="020B0604020202020204" pitchFamily="34" charset="0"/>
              <a:ea typeface="Allianz Sans" pitchFamily="50" charset="0"/>
            </a:endParaRPr>
          </a:p>
        </p:txBody>
      </p:sp>
      <p:sp>
        <p:nvSpPr>
          <p:cNvPr id="112" name="Textfeld 51"/>
          <p:cNvSpPr txBox="1"/>
          <p:nvPr userDrawn="1"/>
        </p:nvSpPr>
        <p:spPr bwMode="gray">
          <a:xfrm>
            <a:off x="6548676"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48 / 173</a:t>
            </a:r>
          </a:p>
        </p:txBody>
      </p:sp>
      <p:sp>
        <p:nvSpPr>
          <p:cNvPr id="113" name="Textfeld 52"/>
          <p:cNvSpPr txBox="1"/>
          <p:nvPr userDrawn="1"/>
        </p:nvSpPr>
        <p:spPr bwMode="gray">
          <a:xfrm>
            <a:off x="7997537"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201 / 216</a:t>
            </a:r>
          </a:p>
        </p:txBody>
      </p:sp>
      <p:sp>
        <p:nvSpPr>
          <p:cNvPr id="114" name="Textfeld 53"/>
          <p:cNvSpPr txBox="1"/>
          <p:nvPr userDrawn="1"/>
        </p:nvSpPr>
        <p:spPr bwMode="gray">
          <a:xfrm>
            <a:off x="9468553"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81 / 199 / 205</a:t>
            </a:r>
          </a:p>
        </p:txBody>
      </p:sp>
      <p:sp>
        <p:nvSpPr>
          <p:cNvPr id="115" name="Textfeld 54"/>
          <p:cNvSpPr txBox="1"/>
          <p:nvPr userDrawn="1"/>
        </p:nvSpPr>
        <p:spPr bwMode="gray">
          <a:xfrm>
            <a:off x="10921845" y="6002898"/>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28 / 188 / 153</a:t>
            </a:r>
          </a:p>
        </p:txBody>
      </p:sp>
      <p:sp>
        <p:nvSpPr>
          <p:cNvPr id="123" name="Textfeld 48"/>
          <p:cNvSpPr txBox="1"/>
          <p:nvPr userDrawn="1"/>
        </p:nvSpPr>
        <p:spPr bwMode="gray">
          <a:xfrm>
            <a:off x="21710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3 / 238 /</a:t>
            </a:r>
            <a:r>
              <a:rPr lang="en-US" sz="700" baseline="0" noProof="0" dirty="0">
                <a:solidFill>
                  <a:schemeClr val="tx1"/>
                </a:solidFill>
                <a:latin typeface="Arial" panose="020B0604020202020204" pitchFamily="34" charset="0"/>
                <a:ea typeface="Allianz Sans" pitchFamily="50" charset="0"/>
              </a:rPr>
              <a:t> 209</a:t>
            </a:r>
            <a:endParaRPr lang="en-US" sz="700" noProof="0" dirty="0">
              <a:solidFill>
                <a:schemeClr val="tx1"/>
              </a:solidFill>
              <a:latin typeface="Arial" panose="020B0604020202020204" pitchFamily="34" charset="0"/>
              <a:ea typeface="Allianz Sans" pitchFamily="50" charset="0"/>
            </a:endParaRPr>
          </a:p>
        </p:txBody>
      </p:sp>
      <p:sp>
        <p:nvSpPr>
          <p:cNvPr id="124" name="Textfeld 49"/>
          <p:cNvSpPr txBox="1"/>
          <p:nvPr userDrawn="1"/>
        </p:nvSpPr>
        <p:spPr bwMode="gray">
          <a:xfrm>
            <a:off x="3659814"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50 / 223 / 206</a:t>
            </a:r>
          </a:p>
        </p:txBody>
      </p:sp>
      <p:sp>
        <p:nvSpPr>
          <p:cNvPr id="125" name="Textfeld 50"/>
          <p:cNvSpPr txBox="1"/>
          <p:nvPr userDrawn="1"/>
        </p:nvSpPr>
        <p:spPr bwMode="gray">
          <a:xfrm>
            <a:off x="5121968"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baseline="0" noProof="0" dirty="0">
                <a:solidFill>
                  <a:schemeClr val="tx1"/>
                </a:solidFill>
                <a:latin typeface="Arial" panose="020B0604020202020204" pitchFamily="34" charset="0"/>
                <a:ea typeface="Allianz Sans" pitchFamily="50" charset="0"/>
              </a:rPr>
              <a:t>231 / 210 / 217</a:t>
            </a:r>
            <a:endParaRPr lang="en-US" sz="700" noProof="0" dirty="0">
              <a:solidFill>
                <a:schemeClr val="tx1"/>
              </a:solidFill>
              <a:latin typeface="Arial" panose="020B0604020202020204" pitchFamily="34" charset="0"/>
              <a:ea typeface="Allianz Sans" pitchFamily="50" charset="0"/>
            </a:endParaRPr>
          </a:p>
        </p:txBody>
      </p:sp>
      <p:sp>
        <p:nvSpPr>
          <p:cNvPr id="126" name="Textfeld 51"/>
          <p:cNvSpPr txBox="1"/>
          <p:nvPr userDrawn="1"/>
        </p:nvSpPr>
        <p:spPr bwMode="gray">
          <a:xfrm>
            <a:off x="6548676"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12 / 222</a:t>
            </a:r>
          </a:p>
        </p:txBody>
      </p:sp>
      <p:sp>
        <p:nvSpPr>
          <p:cNvPr id="127" name="Textfeld 52"/>
          <p:cNvSpPr txBox="1"/>
          <p:nvPr userDrawn="1"/>
        </p:nvSpPr>
        <p:spPr bwMode="gray">
          <a:xfrm>
            <a:off x="7997537"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33 / 240</a:t>
            </a:r>
          </a:p>
        </p:txBody>
      </p:sp>
      <p:sp>
        <p:nvSpPr>
          <p:cNvPr id="128" name="Textfeld 53"/>
          <p:cNvSpPr txBox="1"/>
          <p:nvPr userDrawn="1"/>
        </p:nvSpPr>
        <p:spPr bwMode="gray">
          <a:xfrm>
            <a:off x="9468553"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25 / 233 / 235</a:t>
            </a:r>
          </a:p>
        </p:txBody>
      </p:sp>
      <p:sp>
        <p:nvSpPr>
          <p:cNvPr id="129" name="Textfeld 54"/>
          <p:cNvSpPr txBox="1"/>
          <p:nvPr userDrawn="1"/>
        </p:nvSpPr>
        <p:spPr bwMode="gray">
          <a:xfrm>
            <a:off x="10921845"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04 / 228 / 214</a:t>
            </a:r>
          </a:p>
        </p:txBody>
      </p:sp>
      <p:sp>
        <p:nvSpPr>
          <p:cNvPr id="142" name="Textfeld 141"/>
          <p:cNvSpPr txBox="1"/>
          <p:nvPr userDrawn="1"/>
        </p:nvSpPr>
        <p:spPr bwMode="gray">
          <a:xfrm>
            <a:off x="3642092" y="1587600"/>
            <a:ext cx="983631" cy="475200"/>
          </a:xfrm>
          <a:prstGeom prst="rect">
            <a:avLst/>
          </a:prstGeom>
          <a:noFill/>
        </p:spPr>
        <p:txBody>
          <a:bodyPr wrap="square" lIns="36000" tIns="0" rIns="0" bIns="0" rtlCol="0" anchor="t">
            <a:noAutofit/>
          </a:bodyPr>
          <a:lstStyle/>
          <a:p>
            <a:pPr algn="l">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Light Gray</a:t>
            </a:r>
            <a:br>
              <a:rPr lang="en-US" sz="700" b="1" noProof="0" dirty="0">
                <a:solidFill>
                  <a:sysClr val="windowText" lastClr="000000"/>
                </a:solidFill>
                <a:latin typeface="Arial" panose="020B0604020202020204" pitchFamily="34" charset="0"/>
                <a:ea typeface="Allianz Sans" pitchFamily="50" charset="0"/>
              </a:rPr>
            </a:br>
            <a:r>
              <a:rPr lang="en-US" sz="700" noProof="0" dirty="0">
                <a:solidFill>
                  <a:sysClr val="windowText" lastClr="000000"/>
                </a:solidFill>
                <a:latin typeface="Arial" panose="020B0604020202020204" pitchFamily="34" charset="0"/>
                <a:ea typeface="Allianz Sans" pitchFamily="50" charset="0"/>
              </a:rPr>
              <a:t>237 / 237 / 237</a:t>
            </a:r>
          </a:p>
        </p:txBody>
      </p:sp>
      <p:sp>
        <p:nvSpPr>
          <p:cNvPr id="144" name="Textfeld 48"/>
          <p:cNvSpPr txBox="1"/>
          <p:nvPr userDrawn="1"/>
        </p:nvSpPr>
        <p:spPr bwMode="gray">
          <a:xfrm>
            <a:off x="3642092" y="2071044"/>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77 / 77 / 77</a:t>
            </a:r>
          </a:p>
        </p:txBody>
      </p:sp>
      <p:sp>
        <p:nvSpPr>
          <p:cNvPr id="146" name="Textfeld 48"/>
          <p:cNvSpPr txBox="1"/>
          <p:nvPr userDrawn="1"/>
        </p:nvSpPr>
        <p:spPr bwMode="gray">
          <a:xfrm>
            <a:off x="3642092" y="2323266"/>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35 / 135 / 135</a:t>
            </a:r>
          </a:p>
        </p:txBody>
      </p:sp>
      <p:sp>
        <p:nvSpPr>
          <p:cNvPr id="148" name="Textfeld 48"/>
          <p:cNvSpPr txBox="1"/>
          <p:nvPr userDrawn="1"/>
        </p:nvSpPr>
        <p:spPr bwMode="gray">
          <a:xfrm>
            <a:off x="3642092" y="2570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178 / 178 / 178</a:t>
            </a:r>
          </a:p>
        </p:txBody>
      </p:sp>
      <p:sp>
        <p:nvSpPr>
          <p:cNvPr id="150" name="Textfeld 48"/>
          <p:cNvSpPr txBox="1"/>
          <p:nvPr userDrawn="1"/>
        </p:nvSpPr>
        <p:spPr bwMode="gray">
          <a:xfrm>
            <a:off x="3642092" y="282217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218 / 218 / 218</a:t>
            </a:r>
          </a:p>
        </p:txBody>
      </p:sp>
      <p:sp>
        <p:nvSpPr>
          <p:cNvPr id="152" name="Titel 1"/>
          <p:cNvSpPr txBox="1">
            <a:spLocks/>
          </p:cNvSpPr>
          <p:nvPr userDrawn="1"/>
        </p:nvSpPr>
        <p:spPr bwMode="gray">
          <a:xfrm>
            <a:off x="398769" y="658800"/>
            <a:ext cx="9459692"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baseline="0">
                <a:solidFill>
                  <a:schemeClr val="tx2"/>
                </a:solidFill>
                <a:latin typeface="+mj-lt"/>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a:lstStyle>
          <a:p>
            <a:r>
              <a:rPr lang="en-US" sz="2000" kern="0" noProof="0" dirty="0">
                <a:latin typeface="Arial" panose="020B0604020202020204" pitchFamily="34" charset="0"/>
              </a:rPr>
              <a:t>PowerPoint color </a:t>
            </a:r>
            <a:r>
              <a:rPr lang="en-US" sz="2000" kern="0" baseline="0" noProof="0" dirty="0">
                <a:solidFill>
                  <a:schemeClr val="tx2"/>
                </a:solidFill>
                <a:latin typeface="Arial" panose="020B0604020202020204" pitchFamily="34" charset="0"/>
                <a:ea typeface="+mj-ea"/>
                <a:cs typeface="+mj-cs"/>
              </a:rPr>
              <a:t>palette (RGB)</a:t>
            </a:r>
          </a:p>
        </p:txBody>
      </p:sp>
      <p:pic>
        <p:nvPicPr>
          <p:cNvPr id="151" name="Picture 81"/>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gray">
          <a:xfrm>
            <a:off x="6220800" y="1587600"/>
            <a:ext cx="297388" cy="237600"/>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6350">
                <a:solidFill>
                  <a:schemeClr val="accent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2" name="Rechteck 1"/>
          <p:cNvSpPr/>
          <p:nvPr userDrawn="1"/>
        </p:nvSpPr>
        <p:spPr bwMode="gray">
          <a:xfrm>
            <a:off x="6517662" y="1587600"/>
            <a:ext cx="1913339" cy="505387"/>
          </a:xfrm>
          <a:prstGeom prst="rect">
            <a:avLst/>
          </a:prstGeom>
        </p:spPr>
        <p:txBody>
          <a:bodyPr wrap="square" lIns="36000" tIns="0" rIns="0" bIns="0">
            <a:noAutofit/>
          </a:bodyPr>
          <a:lstStyle/>
          <a:p>
            <a:pPr marL="0" algn="l" defTabSz="914400" rtl="0" eaLnBrk="1" latinLnBrk="0" hangingPunct="1">
              <a:lnSpc>
                <a:spcPct val="120000"/>
              </a:lnSpc>
              <a:spcBef>
                <a:spcPts val="0"/>
              </a:spcBef>
              <a:spcAft>
                <a:spcPts val="0"/>
              </a:spcAft>
            </a:pPr>
            <a:r>
              <a:rPr lang="en-US" altLang="de-DE" sz="700" kern="1200" noProof="0" dirty="0">
                <a:solidFill>
                  <a:sysClr val="windowText" lastClr="000000"/>
                </a:solidFill>
                <a:latin typeface="Arial" panose="020B0604020202020204" pitchFamily="34" charset="0"/>
                <a:ea typeface="Allianz Sans" pitchFamily="50" charset="0"/>
                <a:cs typeface="+mn-cs"/>
              </a:rPr>
              <a:t>Please use the Format Painter </a:t>
            </a:r>
            <a:br>
              <a:rPr lang="en-US" altLang="de-DE" sz="700" kern="1200" noProof="0" dirty="0">
                <a:solidFill>
                  <a:sysClr val="windowText" lastClr="000000"/>
                </a:solidFill>
                <a:latin typeface="Arial" panose="020B0604020202020204" pitchFamily="34" charset="0"/>
                <a:ea typeface="Allianz Sans" pitchFamily="50" charset="0"/>
                <a:cs typeface="+mn-cs"/>
              </a:rPr>
            </a:br>
            <a:r>
              <a:rPr lang="en-US" altLang="de-DE" sz="700" kern="1200" noProof="0" dirty="0">
                <a:solidFill>
                  <a:sysClr val="windowText" lastClr="000000"/>
                </a:solidFill>
                <a:latin typeface="Arial" panose="020B0604020202020204" pitchFamily="34" charset="0"/>
                <a:ea typeface="Allianz Sans" pitchFamily="50" charset="0"/>
                <a:cs typeface="+mn-cs"/>
              </a:rPr>
              <a:t>to copy the color. </a:t>
            </a:r>
          </a:p>
        </p:txBody>
      </p:sp>
      <p:sp>
        <p:nvSpPr>
          <p:cNvPr id="168" name="Rechteck 167"/>
          <p:cNvSpPr/>
          <p:nvPr userDrawn="1"/>
        </p:nvSpPr>
        <p:spPr bwMode="gray">
          <a:xfrm>
            <a:off x="4776370" y="1587600"/>
            <a:ext cx="292431" cy="475200"/>
          </a:xfrm>
          <a:prstGeom prst="rect">
            <a:avLst/>
          </a:prstGeom>
          <a:solidFill>
            <a:srgbClr val="DD003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9" name="Rechteck 168"/>
          <p:cNvSpPr/>
          <p:nvPr userDrawn="1"/>
        </p:nvSpPr>
        <p:spPr bwMode="gray">
          <a:xfrm>
            <a:off x="1878646" y="3647583"/>
            <a:ext cx="292431" cy="486000"/>
          </a:xfrm>
          <a:prstGeom prst="rect">
            <a:avLst/>
          </a:prstGeom>
          <a:solidFill>
            <a:schemeClr val="accent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0" name="Rechteck 169"/>
          <p:cNvSpPr/>
          <p:nvPr userDrawn="1"/>
        </p:nvSpPr>
        <p:spPr bwMode="gray">
          <a:xfrm>
            <a:off x="3358522" y="3647583"/>
            <a:ext cx="292431" cy="486000"/>
          </a:xfrm>
          <a:prstGeom prst="rect">
            <a:avLst/>
          </a:prstGeom>
          <a:solidFill>
            <a:schemeClr val="bg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1" name="Rechteck 170"/>
          <p:cNvSpPr/>
          <p:nvPr userDrawn="1"/>
        </p:nvSpPr>
        <p:spPr bwMode="gray">
          <a:xfrm>
            <a:off x="4828378" y="3647582"/>
            <a:ext cx="292431" cy="486000"/>
          </a:xfrm>
          <a:prstGeom prst="rect">
            <a:avLst/>
          </a:prstGeom>
          <a:solidFill>
            <a:schemeClr val="accent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2" name="Rechteck 171"/>
          <p:cNvSpPr/>
          <p:nvPr userDrawn="1"/>
        </p:nvSpPr>
        <p:spPr bwMode="gray">
          <a:xfrm>
            <a:off x="6256007" y="3647583"/>
            <a:ext cx="292431" cy="486000"/>
          </a:xfrm>
          <a:prstGeom prst="rect">
            <a:avLst/>
          </a:prstGeom>
          <a:solidFill>
            <a:schemeClr val="accent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3" name="Rechteck 172"/>
          <p:cNvSpPr/>
          <p:nvPr userDrawn="1"/>
        </p:nvSpPr>
        <p:spPr bwMode="gray">
          <a:xfrm>
            <a:off x="10624985" y="3647583"/>
            <a:ext cx="292431" cy="486000"/>
          </a:xfrm>
          <a:prstGeom prst="rect">
            <a:avLst/>
          </a:prstGeom>
          <a:solidFill>
            <a:schemeClr val="accent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4" name="Rechteck 173"/>
          <p:cNvSpPr/>
          <p:nvPr userDrawn="1"/>
        </p:nvSpPr>
        <p:spPr bwMode="gray">
          <a:xfrm>
            <a:off x="1878646" y="5293698"/>
            <a:ext cx="292431" cy="486000"/>
          </a:xfrm>
          <a:prstGeom prst="rect">
            <a:avLst/>
          </a:prstGeom>
          <a:solidFill>
            <a:srgbClr val="F7A91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5" name="Rechteck 174"/>
          <p:cNvSpPr/>
          <p:nvPr userDrawn="1"/>
        </p:nvSpPr>
        <p:spPr bwMode="gray">
          <a:xfrm>
            <a:off x="3358522" y="5293698"/>
            <a:ext cx="292431" cy="486000"/>
          </a:xfrm>
          <a:prstGeom prst="rect">
            <a:avLst/>
          </a:prstGeom>
          <a:solidFill>
            <a:srgbClr val="E8610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6" name="Rechteck 175"/>
          <p:cNvSpPr/>
          <p:nvPr userDrawn="1"/>
        </p:nvSpPr>
        <p:spPr bwMode="gray">
          <a:xfrm>
            <a:off x="4828378" y="5293698"/>
            <a:ext cx="292431" cy="486000"/>
          </a:xfrm>
          <a:prstGeom prst="rect">
            <a:avLst/>
          </a:prstGeom>
          <a:solidFill>
            <a:srgbClr val="861F4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7" name="Rechteck 176"/>
          <p:cNvSpPr/>
          <p:nvPr userDrawn="1"/>
        </p:nvSpPr>
        <p:spPr bwMode="gray">
          <a:xfrm>
            <a:off x="6256007" y="5293698"/>
            <a:ext cx="292431" cy="486000"/>
          </a:xfrm>
          <a:prstGeom prst="rect">
            <a:avLst/>
          </a:prstGeom>
          <a:solidFill>
            <a:srgbClr val="6A2A5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8" name="Rechteck 177"/>
          <p:cNvSpPr/>
          <p:nvPr userDrawn="1"/>
        </p:nvSpPr>
        <p:spPr bwMode="gray">
          <a:xfrm>
            <a:off x="7700996" y="5293698"/>
            <a:ext cx="292431" cy="486000"/>
          </a:xfrm>
          <a:prstGeom prst="rect">
            <a:avLst/>
          </a:prstGeom>
          <a:solidFill>
            <a:srgbClr val="0093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79" name="Rechteck 178"/>
          <p:cNvSpPr/>
          <p:nvPr userDrawn="1"/>
        </p:nvSpPr>
        <p:spPr bwMode="gray">
          <a:xfrm>
            <a:off x="9171337" y="5293698"/>
            <a:ext cx="292431" cy="486000"/>
          </a:xfrm>
          <a:prstGeom prst="rect">
            <a:avLst/>
          </a:prstGeom>
          <a:solidFill>
            <a:srgbClr val="6B8F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0" name="Rechteck 179"/>
          <p:cNvSpPr/>
          <p:nvPr userDrawn="1"/>
        </p:nvSpPr>
        <p:spPr bwMode="gray">
          <a:xfrm>
            <a:off x="10624985" y="5293698"/>
            <a:ext cx="292431" cy="486000"/>
          </a:xfrm>
          <a:prstGeom prst="rect">
            <a:avLst/>
          </a:prstGeom>
          <a:solidFill>
            <a:srgbClr val="007A3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1" name="Rechteck 13"/>
          <p:cNvSpPr/>
          <p:nvPr userDrawn="1"/>
        </p:nvSpPr>
        <p:spPr bwMode="gray">
          <a:xfrm>
            <a:off x="1878646" y="4122896"/>
            <a:ext cx="292431" cy="252000"/>
          </a:xfrm>
          <a:prstGeom prst="rect">
            <a:avLst/>
          </a:prstGeom>
          <a:solidFill>
            <a:srgbClr val="DEA86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2" name="Rechteck 14"/>
          <p:cNvSpPr/>
          <p:nvPr userDrawn="1"/>
        </p:nvSpPr>
        <p:spPr bwMode="gray">
          <a:xfrm>
            <a:off x="3358522" y="4123656"/>
            <a:ext cx="292431" cy="252000"/>
          </a:xfrm>
          <a:prstGeom prst="rect">
            <a:avLst/>
          </a:prstGeom>
          <a:solidFill>
            <a:srgbClr val="BB876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3" name="Rechteck 15"/>
          <p:cNvSpPr/>
          <p:nvPr userDrawn="1"/>
        </p:nvSpPr>
        <p:spPr bwMode="gray">
          <a:xfrm>
            <a:off x="4828378" y="4121462"/>
            <a:ext cx="292431" cy="252000"/>
          </a:xfrm>
          <a:prstGeom prst="rect">
            <a:avLst/>
          </a:prstGeom>
          <a:solidFill>
            <a:srgbClr val="B57D9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4" name="Rechteck 16"/>
          <p:cNvSpPr/>
          <p:nvPr userDrawn="1"/>
        </p:nvSpPr>
        <p:spPr bwMode="gray">
          <a:xfrm>
            <a:off x="6256007" y="4122229"/>
            <a:ext cx="292431" cy="252000"/>
          </a:xfrm>
          <a:prstGeom prst="rect">
            <a:avLst/>
          </a:prstGeom>
          <a:solidFill>
            <a:srgbClr val="A5879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5" name="Rechteck 19"/>
          <p:cNvSpPr/>
          <p:nvPr userDrawn="1"/>
        </p:nvSpPr>
        <p:spPr bwMode="gray">
          <a:xfrm>
            <a:off x="10624985" y="4122433"/>
            <a:ext cx="292431" cy="252000"/>
          </a:xfrm>
          <a:prstGeom prst="rect">
            <a:avLst/>
          </a:prstGeom>
          <a:solidFill>
            <a:srgbClr val="688E7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86" name="Rechteck 13"/>
          <p:cNvSpPr/>
          <p:nvPr userDrawn="1"/>
        </p:nvSpPr>
        <p:spPr bwMode="gray">
          <a:xfrm>
            <a:off x="1878646" y="4360552"/>
            <a:ext cx="292431" cy="252000"/>
          </a:xfrm>
          <a:prstGeom prst="rect">
            <a:avLst/>
          </a:prstGeom>
          <a:solidFill>
            <a:srgbClr val="E8C1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7" name="Rechteck 14"/>
          <p:cNvSpPr/>
          <p:nvPr userDrawn="1"/>
        </p:nvSpPr>
        <p:spPr bwMode="gray">
          <a:xfrm>
            <a:off x="3358522" y="4363047"/>
            <a:ext cx="292431" cy="252000"/>
          </a:xfrm>
          <a:prstGeom prst="rect">
            <a:avLst/>
          </a:prstGeom>
          <a:solidFill>
            <a:srgbClr val="CEA99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8" name="Rechteck 15"/>
          <p:cNvSpPr/>
          <p:nvPr userDrawn="1"/>
        </p:nvSpPr>
        <p:spPr bwMode="gray">
          <a:xfrm>
            <a:off x="4828378" y="4358401"/>
            <a:ext cx="292431" cy="252000"/>
          </a:xfrm>
          <a:prstGeom prst="rect">
            <a:avLst/>
          </a:prstGeom>
          <a:solidFill>
            <a:srgbClr val="CAA2B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89" name="Rechteck 16"/>
          <p:cNvSpPr/>
          <p:nvPr userDrawn="1"/>
        </p:nvSpPr>
        <p:spPr bwMode="gray">
          <a:xfrm>
            <a:off x="6256007" y="4359554"/>
            <a:ext cx="292431" cy="252000"/>
          </a:xfrm>
          <a:prstGeom prst="rect">
            <a:avLst/>
          </a:prstGeom>
          <a:solidFill>
            <a:srgbClr val="BEA9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0" name="Rechteck 19"/>
          <p:cNvSpPr/>
          <p:nvPr userDrawn="1"/>
        </p:nvSpPr>
        <p:spPr bwMode="gray">
          <a:xfrm>
            <a:off x="10624985" y="4359860"/>
            <a:ext cx="292431" cy="252000"/>
          </a:xfrm>
          <a:prstGeom prst="rect">
            <a:avLst/>
          </a:prstGeom>
          <a:solidFill>
            <a:srgbClr val="93AE9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1" name="Rechteck 13"/>
          <p:cNvSpPr/>
          <p:nvPr userDrawn="1"/>
        </p:nvSpPr>
        <p:spPr bwMode="gray">
          <a:xfrm>
            <a:off x="1878646" y="4598210"/>
            <a:ext cx="292431" cy="237600"/>
          </a:xfrm>
          <a:prstGeom prst="rect">
            <a:avLst/>
          </a:prstGeom>
          <a:solidFill>
            <a:srgbClr val="F6E6D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2" name="Rechteck 14"/>
          <p:cNvSpPr/>
          <p:nvPr userDrawn="1"/>
        </p:nvSpPr>
        <p:spPr bwMode="gray">
          <a:xfrm>
            <a:off x="3358522" y="4599732"/>
            <a:ext cx="292431" cy="237600"/>
          </a:xfrm>
          <a:prstGeom prst="rect">
            <a:avLst/>
          </a:prstGeom>
          <a:solidFill>
            <a:srgbClr val="ECDD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3" name="Rechteck 15"/>
          <p:cNvSpPr/>
          <p:nvPr userDrawn="1"/>
        </p:nvSpPr>
        <p:spPr bwMode="gray">
          <a:xfrm>
            <a:off x="4828378" y="4597962"/>
            <a:ext cx="292431" cy="237600"/>
          </a:xfrm>
          <a:prstGeom prst="rect">
            <a:avLst/>
          </a:prstGeom>
          <a:solidFill>
            <a:srgbClr val="EADADF"/>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4" name="Rechteck 16"/>
          <p:cNvSpPr/>
          <p:nvPr userDrawn="1"/>
        </p:nvSpPr>
        <p:spPr bwMode="gray">
          <a:xfrm>
            <a:off x="6256007" y="4596878"/>
            <a:ext cx="292431" cy="237600"/>
          </a:xfrm>
          <a:prstGeom prst="rect">
            <a:avLst/>
          </a:prstGeom>
          <a:solidFill>
            <a:srgbClr val="E5DDE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5" name="Rechteck 19"/>
          <p:cNvSpPr/>
          <p:nvPr userDrawn="1"/>
        </p:nvSpPr>
        <p:spPr bwMode="gray">
          <a:xfrm>
            <a:off x="10624985" y="4597286"/>
            <a:ext cx="292431" cy="237600"/>
          </a:xfrm>
          <a:prstGeom prst="rect">
            <a:avLst/>
          </a:prstGeom>
          <a:solidFill>
            <a:srgbClr val="D4DFD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96" name="Rechteck 13"/>
          <p:cNvSpPr/>
          <p:nvPr userDrawn="1"/>
        </p:nvSpPr>
        <p:spPr bwMode="gray">
          <a:xfrm>
            <a:off x="1878646" y="5769234"/>
            <a:ext cx="292431" cy="252000"/>
          </a:xfrm>
          <a:prstGeom prst="rect">
            <a:avLst/>
          </a:prstGeom>
          <a:solidFill>
            <a:srgbClr val="F9C35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7" name="Rechteck 14"/>
          <p:cNvSpPr/>
          <p:nvPr userDrawn="1"/>
        </p:nvSpPr>
        <p:spPr bwMode="gray">
          <a:xfrm>
            <a:off x="3358522" y="5768376"/>
            <a:ext cx="292431" cy="252000"/>
          </a:xfrm>
          <a:prstGeom prst="rect">
            <a:avLst/>
          </a:prstGeom>
          <a:solidFill>
            <a:srgbClr val="EF905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8" name="Rechteck 15"/>
          <p:cNvSpPr/>
          <p:nvPr userDrawn="1"/>
        </p:nvSpPr>
        <p:spPr bwMode="gray">
          <a:xfrm>
            <a:off x="4828378" y="5768376"/>
            <a:ext cx="292431" cy="252000"/>
          </a:xfrm>
          <a:prstGeom prst="rect">
            <a:avLst/>
          </a:prstGeom>
          <a:solidFill>
            <a:srgbClr val="AA627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99" name="Rechteck 16"/>
          <p:cNvSpPr/>
          <p:nvPr userDrawn="1"/>
        </p:nvSpPr>
        <p:spPr bwMode="gray">
          <a:xfrm>
            <a:off x="6256007" y="5769538"/>
            <a:ext cx="292431" cy="252000"/>
          </a:xfrm>
          <a:prstGeom prst="rect">
            <a:avLst/>
          </a:prstGeom>
          <a:solidFill>
            <a:srgbClr val="976A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0" name="Rechteck 17"/>
          <p:cNvSpPr/>
          <p:nvPr userDrawn="1"/>
        </p:nvSpPr>
        <p:spPr bwMode="gray">
          <a:xfrm>
            <a:off x="7700996" y="5768376"/>
            <a:ext cx="292431" cy="252000"/>
          </a:xfrm>
          <a:prstGeom prst="rect">
            <a:avLst/>
          </a:prstGeom>
          <a:solidFill>
            <a:srgbClr val="4CB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1" name="Rechteck 18"/>
          <p:cNvSpPr/>
          <p:nvPr userDrawn="1"/>
        </p:nvSpPr>
        <p:spPr bwMode="gray">
          <a:xfrm>
            <a:off x="9171337" y="5768376"/>
            <a:ext cx="292431" cy="252000"/>
          </a:xfrm>
          <a:prstGeom prst="rect">
            <a:avLst/>
          </a:prstGeom>
          <a:solidFill>
            <a:srgbClr val="97B1B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2" name="Rechteck 19"/>
          <p:cNvSpPr/>
          <p:nvPr userDrawn="1"/>
        </p:nvSpPr>
        <p:spPr bwMode="gray">
          <a:xfrm>
            <a:off x="10624985" y="5768376"/>
            <a:ext cx="292431" cy="252000"/>
          </a:xfrm>
          <a:prstGeom prst="rect">
            <a:avLst/>
          </a:prstGeom>
          <a:solidFill>
            <a:srgbClr val="4CA27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03" name="Rechteck 13"/>
          <p:cNvSpPr/>
          <p:nvPr userDrawn="1"/>
        </p:nvSpPr>
        <p:spPr bwMode="gray">
          <a:xfrm>
            <a:off x="1878646" y="6007002"/>
            <a:ext cx="292431" cy="252000"/>
          </a:xfrm>
          <a:prstGeom prst="rect">
            <a:avLst/>
          </a:prstGeom>
          <a:solidFill>
            <a:srgbClr val="FBD48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4" name="Rechteck 14"/>
          <p:cNvSpPr/>
          <p:nvPr userDrawn="1"/>
        </p:nvSpPr>
        <p:spPr bwMode="gray">
          <a:xfrm>
            <a:off x="3358522" y="6004486"/>
            <a:ext cx="292431" cy="252000"/>
          </a:xfrm>
          <a:prstGeom prst="rect">
            <a:avLst/>
          </a:prstGeom>
          <a:solidFill>
            <a:srgbClr val="F3B08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5" name="Rechteck 15"/>
          <p:cNvSpPr/>
          <p:nvPr userDrawn="1"/>
        </p:nvSpPr>
        <p:spPr bwMode="gray">
          <a:xfrm>
            <a:off x="4828378" y="6004486"/>
            <a:ext cx="292431" cy="252000"/>
          </a:xfrm>
          <a:prstGeom prst="rect">
            <a:avLst/>
          </a:prstGeom>
          <a:solidFill>
            <a:srgbClr val="C28FA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6" name="Rechteck 16"/>
          <p:cNvSpPr/>
          <p:nvPr userDrawn="1"/>
        </p:nvSpPr>
        <p:spPr bwMode="gray">
          <a:xfrm>
            <a:off x="6256007" y="6007458"/>
            <a:ext cx="292431" cy="252000"/>
          </a:xfrm>
          <a:prstGeom prst="rect">
            <a:avLst/>
          </a:prstGeom>
          <a:solidFill>
            <a:srgbClr val="B594A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7" name="Rechteck 17"/>
          <p:cNvSpPr/>
          <p:nvPr userDrawn="1"/>
        </p:nvSpPr>
        <p:spPr bwMode="gray">
          <a:xfrm>
            <a:off x="7700996" y="6004486"/>
            <a:ext cx="292431" cy="252000"/>
          </a:xfrm>
          <a:prstGeom prst="rect">
            <a:avLst/>
          </a:prstGeom>
          <a:solidFill>
            <a:srgbClr val="80C9D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8" name="Rechteck 18"/>
          <p:cNvSpPr/>
          <p:nvPr userDrawn="1"/>
        </p:nvSpPr>
        <p:spPr bwMode="gray">
          <a:xfrm>
            <a:off x="9171337" y="6004496"/>
            <a:ext cx="292431" cy="252000"/>
          </a:xfrm>
          <a:prstGeom prst="rect">
            <a:avLst/>
          </a:prstGeom>
          <a:solidFill>
            <a:srgbClr val="B5C7C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09" name="Rechteck 19"/>
          <p:cNvSpPr/>
          <p:nvPr userDrawn="1"/>
        </p:nvSpPr>
        <p:spPr bwMode="gray">
          <a:xfrm>
            <a:off x="10624985" y="6004486"/>
            <a:ext cx="292431" cy="252000"/>
          </a:xfrm>
          <a:prstGeom prst="rect">
            <a:avLst/>
          </a:prstGeom>
          <a:solidFill>
            <a:srgbClr val="80BC9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0" name="Rechteck 13"/>
          <p:cNvSpPr/>
          <p:nvPr userDrawn="1"/>
        </p:nvSpPr>
        <p:spPr bwMode="gray">
          <a:xfrm>
            <a:off x="1878646" y="6245640"/>
            <a:ext cx="292431" cy="237600"/>
          </a:xfrm>
          <a:prstGeom prst="rect">
            <a:avLst/>
          </a:prstGeom>
          <a:solidFill>
            <a:srgbClr val="FDEED1"/>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1" name="Rechteck 14"/>
          <p:cNvSpPr/>
          <p:nvPr userDrawn="1"/>
        </p:nvSpPr>
        <p:spPr bwMode="gray">
          <a:xfrm>
            <a:off x="3358522" y="6245640"/>
            <a:ext cx="292431" cy="237600"/>
          </a:xfrm>
          <a:prstGeom prst="rect">
            <a:avLst/>
          </a:prstGeom>
          <a:solidFill>
            <a:srgbClr val="FADFC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2" name="Rechteck 15"/>
          <p:cNvSpPr/>
          <p:nvPr userDrawn="1"/>
        </p:nvSpPr>
        <p:spPr bwMode="gray">
          <a:xfrm>
            <a:off x="4828378" y="6245640"/>
            <a:ext cx="292431" cy="237600"/>
          </a:xfrm>
          <a:prstGeom prst="rect">
            <a:avLst/>
          </a:prstGeom>
          <a:solidFill>
            <a:srgbClr val="E7D2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3" name="Rechteck 16"/>
          <p:cNvSpPr/>
          <p:nvPr userDrawn="1"/>
        </p:nvSpPr>
        <p:spPr bwMode="gray">
          <a:xfrm>
            <a:off x="6256007" y="6245640"/>
            <a:ext cx="292431" cy="237600"/>
          </a:xfrm>
          <a:prstGeom prst="rect">
            <a:avLst/>
          </a:prstGeom>
          <a:solidFill>
            <a:srgbClr val="E1D4DE"/>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4" name="Rechteck 17"/>
          <p:cNvSpPr/>
          <p:nvPr userDrawn="1"/>
        </p:nvSpPr>
        <p:spPr bwMode="gray">
          <a:xfrm>
            <a:off x="7700996" y="6245640"/>
            <a:ext cx="292431" cy="237600"/>
          </a:xfrm>
          <a:prstGeom prst="rect">
            <a:avLst/>
          </a:prstGeom>
          <a:solidFill>
            <a:srgbClr val="CCE9F0"/>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5" name="Rechteck 18"/>
          <p:cNvSpPr/>
          <p:nvPr userDrawn="1"/>
        </p:nvSpPr>
        <p:spPr bwMode="gray">
          <a:xfrm>
            <a:off x="9171337" y="6245640"/>
            <a:ext cx="292431" cy="237600"/>
          </a:xfrm>
          <a:prstGeom prst="rect">
            <a:avLst/>
          </a:prstGeom>
          <a:solidFill>
            <a:srgbClr val="E1E9E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6" name="Rechteck 19"/>
          <p:cNvSpPr/>
          <p:nvPr userDrawn="1"/>
        </p:nvSpPr>
        <p:spPr bwMode="gray">
          <a:xfrm>
            <a:off x="10624985" y="6245640"/>
            <a:ext cx="292431" cy="237600"/>
          </a:xfrm>
          <a:prstGeom prst="rect">
            <a:avLst/>
          </a:prstGeom>
          <a:solidFill>
            <a:srgbClr val="CCE4D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19" name="Rechteck 218"/>
          <p:cNvSpPr/>
          <p:nvPr userDrawn="1"/>
        </p:nvSpPr>
        <p:spPr bwMode="gray">
          <a:xfrm>
            <a:off x="9169519" y="3647581"/>
            <a:ext cx="292431" cy="486000"/>
          </a:xfrm>
          <a:prstGeom prst="rect">
            <a:avLst/>
          </a:prstGeom>
          <a:solidFill>
            <a:schemeClr val="accent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0" name="Rechteck 19"/>
          <p:cNvSpPr/>
          <p:nvPr userDrawn="1"/>
        </p:nvSpPr>
        <p:spPr bwMode="gray">
          <a:xfrm>
            <a:off x="9169519" y="4122431"/>
            <a:ext cx="292431" cy="252000"/>
          </a:xfrm>
          <a:prstGeom prst="rect">
            <a:avLst/>
          </a:prstGeom>
          <a:solidFill>
            <a:srgbClr val="6A8C98"/>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1" name="Rechteck 19"/>
          <p:cNvSpPr/>
          <p:nvPr userDrawn="1"/>
        </p:nvSpPr>
        <p:spPr bwMode="gray">
          <a:xfrm>
            <a:off x="9169519" y="4359858"/>
            <a:ext cx="292431" cy="252000"/>
          </a:xfrm>
          <a:prstGeom prst="rect">
            <a:avLst/>
          </a:prstGeom>
          <a:solidFill>
            <a:srgbClr val="95A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2" name="Rechteck 19"/>
          <p:cNvSpPr/>
          <p:nvPr userDrawn="1"/>
        </p:nvSpPr>
        <p:spPr bwMode="gray">
          <a:xfrm>
            <a:off x="9169519" y="4597284"/>
            <a:ext cx="292431" cy="237600"/>
          </a:xfrm>
          <a:prstGeom prst="rect">
            <a:avLst/>
          </a:prstGeom>
          <a:solidFill>
            <a:srgbClr val="D4DEE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3" name="Rechteck 222"/>
          <p:cNvSpPr/>
          <p:nvPr userDrawn="1"/>
        </p:nvSpPr>
        <p:spPr bwMode="gray">
          <a:xfrm>
            <a:off x="7700677" y="3647580"/>
            <a:ext cx="292431" cy="486000"/>
          </a:xfrm>
          <a:prstGeom prst="rect">
            <a:avLst/>
          </a:prstGeom>
          <a:solidFill>
            <a:schemeClr val="accent3"/>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4" name="Rechteck 19"/>
          <p:cNvSpPr/>
          <p:nvPr userDrawn="1"/>
        </p:nvSpPr>
        <p:spPr bwMode="gray">
          <a:xfrm>
            <a:off x="7700677" y="4122430"/>
            <a:ext cx="292431" cy="252000"/>
          </a:xfrm>
          <a:prstGeom prst="rect">
            <a:avLst/>
          </a:prstGeom>
          <a:solidFill>
            <a:srgbClr val="4D9DB6"/>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5" name="Rechteck 19"/>
          <p:cNvSpPr/>
          <p:nvPr userDrawn="1"/>
        </p:nvSpPr>
        <p:spPr bwMode="gray">
          <a:xfrm>
            <a:off x="7700677" y="4359857"/>
            <a:ext cx="292431" cy="252000"/>
          </a:xfrm>
          <a:prstGeom prst="rect">
            <a:avLst/>
          </a:prstGeom>
          <a:solidFill>
            <a:srgbClr val="80B9CB"/>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6" name="Rechteck 19"/>
          <p:cNvSpPr/>
          <p:nvPr userDrawn="1"/>
        </p:nvSpPr>
        <p:spPr bwMode="gray">
          <a:xfrm>
            <a:off x="7700677" y="4597283"/>
            <a:ext cx="292431" cy="237600"/>
          </a:xfrm>
          <a:prstGeom prst="rect">
            <a:avLst/>
          </a:prstGeom>
          <a:solidFill>
            <a:srgbClr val="CCE3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147" name="Rechteck 146"/>
          <p:cNvSpPr/>
          <p:nvPr userDrawn="1"/>
        </p:nvSpPr>
        <p:spPr bwMode="gray">
          <a:xfrm>
            <a:off x="3349661" y="1587600"/>
            <a:ext cx="292431" cy="486000"/>
          </a:xfrm>
          <a:prstGeom prst="rect">
            <a:avLst/>
          </a:prstGeom>
          <a:solidFill>
            <a:srgbClr val="EDEDED"/>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49" name="Rechteck 13"/>
          <p:cNvSpPr/>
          <p:nvPr userDrawn="1"/>
        </p:nvSpPr>
        <p:spPr bwMode="gray">
          <a:xfrm>
            <a:off x="3349661" y="2062800"/>
            <a:ext cx="292431" cy="252000"/>
          </a:xfrm>
          <a:prstGeom prst="rect">
            <a:avLst/>
          </a:prstGeom>
          <a:solidFill>
            <a:srgbClr val="4C4C4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5" name="Rechteck 13"/>
          <p:cNvSpPr/>
          <p:nvPr userDrawn="1"/>
        </p:nvSpPr>
        <p:spPr bwMode="gray">
          <a:xfrm>
            <a:off x="3349661" y="2562973"/>
            <a:ext cx="292431" cy="252000"/>
          </a:xfrm>
          <a:prstGeom prst="rect">
            <a:avLst/>
          </a:prstGeom>
          <a:solidFill>
            <a:srgbClr val="B2B2B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56" name="Rechteck 155"/>
          <p:cNvSpPr/>
          <p:nvPr userDrawn="1"/>
        </p:nvSpPr>
        <p:spPr bwMode="gray">
          <a:xfrm>
            <a:off x="398770" y="1587600"/>
            <a:ext cx="292431" cy="486000"/>
          </a:xfrm>
          <a:prstGeom prst="rect">
            <a:avLst/>
          </a:prstGeom>
          <a:solidFill>
            <a:schemeClr val="tx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1" name="Rechteck 13"/>
          <p:cNvSpPr/>
          <p:nvPr userDrawn="1"/>
        </p:nvSpPr>
        <p:spPr bwMode="gray">
          <a:xfrm>
            <a:off x="3349661" y="2316066"/>
            <a:ext cx="292431" cy="252000"/>
          </a:xfrm>
          <a:prstGeom prst="rect">
            <a:avLst/>
          </a:prstGeom>
          <a:solidFill>
            <a:srgbClr val="878787"/>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162" name="Rechteck 13"/>
          <p:cNvSpPr/>
          <p:nvPr userDrawn="1"/>
        </p:nvSpPr>
        <p:spPr bwMode="gray">
          <a:xfrm>
            <a:off x="3349661" y="2814973"/>
            <a:ext cx="292431" cy="252000"/>
          </a:xfrm>
          <a:prstGeom prst="rect">
            <a:avLst/>
          </a:prstGeom>
          <a:solidFill>
            <a:srgbClr val="DADADA"/>
          </a:solidFill>
          <a:ln w="3175" cap="flat" cmpd="sng" algn="ctr">
            <a:noFill/>
            <a:prstDash val="sysDot"/>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R="0" lvl="0" indent="0" fontAlgn="base">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w="3175">
                <a:noFill/>
              </a:ln>
              <a:solidFill>
                <a:schemeClr val="bg1"/>
              </a:solidFill>
              <a:effectLst/>
              <a:latin typeface="Arial" panose="020B0604020202020204" pitchFamily="34" charset="0"/>
            </a:endParaRPr>
          </a:p>
        </p:txBody>
      </p:sp>
      <p:sp>
        <p:nvSpPr>
          <p:cNvPr id="153" name="Textfeld 152"/>
          <p:cNvSpPr txBox="1"/>
          <p:nvPr userDrawn="1"/>
        </p:nvSpPr>
        <p:spPr bwMode="gray">
          <a:xfrm>
            <a:off x="691200" y="3647582"/>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Blue</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0 / 98 / 149</a:t>
            </a:r>
          </a:p>
        </p:txBody>
      </p:sp>
      <p:sp>
        <p:nvSpPr>
          <p:cNvPr id="154" name="Textfeld 153"/>
          <p:cNvSpPr txBox="1"/>
          <p:nvPr userDrawn="1"/>
        </p:nvSpPr>
        <p:spPr bwMode="gray">
          <a:xfrm>
            <a:off x="691200" y="5292915"/>
            <a:ext cx="982139" cy="475200"/>
          </a:xfrm>
          <a:prstGeom prst="rect">
            <a:avLst/>
          </a:prstGeom>
          <a:noFill/>
        </p:spPr>
        <p:txBody>
          <a:bodyPr wrap="square" lIns="36000" tIns="0" rIns="0" bIns="0" rtlCol="0">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Royal</a:t>
            </a:r>
          </a:p>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53 / 131 / 201</a:t>
            </a:r>
          </a:p>
        </p:txBody>
      </p:sp>
      <p:sp>
        <p:nvSpPr>
          <p:cNvPr id="163" name="Textfeld 48"/>
          <p:cNvSpPr txBox="1"/>
          <p:nvPr userDrawn="1"/>
        </p:nvSpPr>
        <p:spPr bwMode="gray">
          <a:xfrm>
            <a:off x="691200" y="41227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2 / 145 / 181</a:t>
            </a:r>
          </a:p>
        </p:txBody>
      </p:sp>
      <p:sp>
        <p:nvSpPr>
          <p:cNvPr id="165" name="Textfeld 48"/>
          <p:cNvSpPr txBox="1"/>
          <p:nvPr userDrawn="1"/>
        </p:nvSpPr>
        <p:spPr bwMode="gray">
          <a:xfrm>
            <a:off x="691200" y="43603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3 / 177 / 202</a:t>
            </a:r>
          </a:p>
        </p:txBody>
      </p:sp>
      <p:sp>
        <p:nvSpPr>
          <p:cNvPr id="166" name="Textfeld 48"/>
          <p:cNvSpPr txBox="1"/>
          <p:nvPr userDrawn="1"/>
        </p:nvSpPr>
        <p:spPr bwMode="gray">
          <a:xfrm>
            <a:off x="691200" y="4597983"/>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4 / 224 / 234</a:t>
            </a:r>
          </a:p>
        </p:txBody>
      </p:sp>
      <p:sp>
        <p:nvSpPr>
          <p:cNvPr id="167" name="Textfeld 48"/>
          <p:cNvSpPr txBox="1"/>
          <p:nvPr userDrawn="1"/>
        </p:nvSpPr>
        <p:spPr bwMode="gray">
          <a:xfrm>
            <a:off x="691200" y="5765735"/>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14 / 168 / 217</a:t>
            </a:r>
          </a:p>
        </p:txBody>
      </p:sp>
      <p:sp>
        <p:nvSpPr>
          <p:cNvPr id="217" name="Textfeld 48"/>
          <p:cNvSpPr txBox="1"/>
          <p:nvPr userDrawn="1"/>
        </p:nvSpPr>
        <p:spPr bwMode="gray">
          <a:xfrm>
            <a:off x="691200" y="600345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154 / 193 / 228</a:t>
            </a:r>
          </a:p>
        </p:txBody>
      </p:sp>
      <p:sp>
        <p:nvSpPr>
          <p:cNvPr id="218" name="Textfeld 48"/>
          <p:cNvSpPr txBox="1"/>
          <p:nvPr userDrawn="1"/>
        </p:nvSpPr>
        <p:spPr bwMode="gray">
          <a:xfrm>
            <a:off x="691200" y="6245640"/>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chemeClr val="tx1"/>
                </a:solidFill>
                <a:latin typeface="Arial" panose="020B0604020202020204" pitchFamily="34" charset="0"/>
                <a:ea typeface="Allianz Sans" pitchFamily="50" charset="0"/>
              </a:rPr>
              <a:t>215 / 230 / 244</a:t>
            </a:r>
          </a:p>
        </p:txBody>
      </p:sp>
      <p:sp>
        <p:nvSpPr>
          <p:cNvPr id="227" name="Rechteck 226"/>
          <p:cNvSpPr/>
          <p:nvPr userDrawn="1"/>
        </p:nvSpPr>
        <p:spPr bwMode="gray">
          <a:xfrm>
            <a:off x="398770" y="3647583"/>
            <a:ext cx="292431" cy="486000"/>
          </a:xfrm>
          <a:prstGeom prst="rect">
            <a:avLst/>
          </a:prstGeom>
          <a:solidFill>
            <a:srgbClr val="32629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29" name="Rechteck 228"/>
          <p:cNvSpPr/>
          <p:nvPr userDrawn="1"/>
        </p:nvSpPr>
        <p:spPr bwMode="gray">
          <a:xfrm>
            <a:off x="398770" y="5293698"/>
            <a:ext cx="292431" cy="486000"/>
          </a:xfrm>
          <a:prstGeom prst="rect">
            <a:avLst/>
          </a:prstGeom>
          <a:solidFill>
            <a:srgbClr val="3583C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0" name="Rechteck 13"/>
          <p:cNvSpPr/>
          <p:nvPr userDrawn="1"/>
        </p:nvSpPr>
        <p:spPr bwMode="gray">
          <a:xfrm>
            <a:off x="398770" y="4122896"/>
            <a:ext cx="292431" cy="252000"/>
          </a:xfrm>
          <a:prstGeom prst="rect">
            <a:avLst/>
          </a:prstGeom>
          <a:solidFill>
            <a:srgbClr val="7091B5"/>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1" name="Rechteck 13"/>
          <p:cNvSpPr/>
          <p:nvPr userDrawn="1"/>
        </p:nvSpPr>
        <p:spPr bwMode="gray">
          <a:xfrm>
            <a:off x="398770" y="4360552"/>
            <a:ext cx="292431" cy="252000"/>
          </a:xfrm>
          <a:prstGeom prst="rect">
            <a:avLst/>
          </a:prstGeom>
          <a:solidFill>
            <a:srgbClr val="99B1C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2" name="Rechteck 13"/>
          <p:cNvSpPr/>
          <p:nvPr userDrawn="1"/>
        </p:nvSpPr>
        <p:spPr bwMode="gray">
          <a:xfrm>
            <a:off x="398770" y="4598210"/>
            <a:ext cx="292431" cy="237600"/>
          </a:xfrm>
          <a:prstGeom prst="rect">
            <a:avLst/>
          </a:prstGeom>
          <a:solidFill>
            <a:srgbClr val="D6E0EA"/>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3" name="Rechteck 13"/>
          <p:cNvSpPr/>
          <p:nvPr userDrawn="1"/>
        </p:nvSpPr>
        <p:spPr bwMode="gray">
          <a:xfrm>
            <a:off x="398770" y="5769234"/>
            <a:ext cx="292431" cy="252000"/>
          </a:xfrm>
          <a:prstGeom prst="rect">
            <a:avLst/>
          </a:prstGeom>
          <a:solidFill>
            <a:srgbClr val="72A8D9"/>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4" name="Rechteck 13"/>
          <p:cNvSpPr/>
          <p:nvPr userDrawn="1"/>
        </p:nvSpPr>
        <p:spPr bwMode="gray">
          <a:xfrm>
            <a:off x="398770" y="6007002"/>
            <a:ext cx="292431" cy="252000"/>
          </a:xfrm>
          <a:prstGeom prst="rect">
            <a:avLst/>
          </a:prstGeom>
          <a:solidFill>
            <a:srgbClr val="9AC1E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35" name="Rechteck 13"/>
          <p:cNvSpPr/>
          <p:nvPr userDrawn="1"/>
        </p:nvSpPr>
        <p:spPr bwMode="gray">
          <a:xfrm>
            <a:off x="398770" y="6245640"/>
            <a:ext cx="292431" cy="237600"/>
          </a:xfrm>
          <a:prstGeom prst="rect">
            <a:avLst/>
          </a:prstGeom>
          <a:solidFill>
            <a:srgbClr val="D7E6F4"/>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effectLst/>
              <a:latin typeface="Arial" panose="020B0604020202020204" pitchFamily="34" charset="0"/>
            </a:endParaRPr>
          </a:p>
        </p:txBody>
      </p:sp>
      <p:sp>
        <p:nvSpPr>
          <p:cNvPr id="228" name="Textfeld 48"/>
          <p:cNvSpPr txBox="1"/>
          <p:nvPr userDrawn="1"/>
        </p:nvSpPr>
        <p:spPr bwMode="gray">
          <a:xfrm>
            <a:off x="3642092" y="3065539"/>
            <a:ext cx="982139" cy="237600"/>
          </a:xfrm>
          <a:prstGeom prst="rect">
            <a:avLst/>
          </a:prstGeom>
          <a:noFill/>
        </p:spPr>
        <p:txBody>
          <a:bodyPr wrap="square" lIns="36000" tIns="0" rIns="0" bIns="0" rtlCol="0" anchor="ctr">
            <a:noAutofit/>
          </a:bodyPr>
          <a:lstStyle/>
          <a:p>
            <a:pPr>
              <a:lnSpc>
                <a:spcPct val="120000"/>
              </a:lnSpc>
              <a:spcBef>
                <a:spcPts val="0"/>
              </a:spcBef>
              <a:spcAft>
                <a:spcPts val="0"/>
              </a:spcAft>
            </a:pPr>
            <a:r>
              <a:rPr lang="en-US" sz="700" noProof="0" dirty="0">
                <a:solidFill>
                  <a:sysClr val="windowText" lastClr="000000"/>
                </a:solidFill>
                <a:latin typeface="Arial" panose="020B0604020202020204" pitchFamily="34" charset="0"/>
                <a:ea typeface="Allianz Sans" pitchFamily="50" charset="0"/>
              </a:rPr>
              <a:t>60 / 60 / 60</a:t>
            </a:r>
          </a:p>
        </p:txBody>
      </p:sp>
      <p:sp>
        <p:nvSpPr>
          <p:cNvPr id="237" name="Rechteck 13"/>
          <p:cNvSpPr/>
          <p:nvPr userDrawn="1"/>
        </p:nvSpPr>
        <p:spPr bwMode="gray">
          <a:xfrm>
            <a:off x="3349661" y="3062717"/>
            <a:ext cx="292431" cy="252000"/>
          </a:xfrm>
          <a:prstGeom prst="rect">
            <a:avLst/>
          </a:prstGeom>
          <a:solidFill>
            <a:srgbClr val="3C3C3C"/>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
        <p:nvSpPr>
          <p:cNvPr id="238" name="Textfeld 237"/>
          <p:cNvSpPr txBox="1"/>
          <p:nvPr userDrawn="1"/>
        </p:nvSpPr>
        <p:spPr bwMode="gray">
          <a:xfrm>
            <a:off x="398771" y="5019265"/>
            <a:ext cx="1874569" cy="246221"/>
          </a:xfrm>
          <a:prstGeom prst="rect">
            <a:avLst/>
          </a:prstGeom>
          <a:noFill/>
        </p:spPr>
        <p:txBody>
          <a:bodyPr wrap="square" lIns="0" tIns="0" rIns="0" bIns="0" rtlCol="0">
            <a:noAutofit/>
          </a:bodyPr>
          <a:lstStyle/>
          <a:p>
            <a:r>
              <a:rPr lang="en-US" sz="1000" b="0" noProof="0" dirty="0">
                <a:solidFill>
                  <a:srgbClr val="003781"/>
                </a:solidFill>
                <a:latin typeface="Arial" panose="020B0604020202020204" pitchFamily="34" charset="0"/>
                <a:ea typeface="Allianz Sans" pitchFamily="50" charset="0"/>
              </a:rPr>
              <a:t>Lighter/brighter</a:t>
            </a:r>
            <a:r>
              <a:rPr lang="en-US" sz="1000" b="0" baseline="0" noProof="0" dirty="0">
                <a:solidFill>
                  <a:srgbClr val="003781"/>
                </a:solidFill>
                <a:latin typeface="Arial" panose="020B0604020202020204" pitchFamily="34" charset="0"/>
                <a:ea typeface="Allianz Sans" pitchFamily="50" charset="0"/>
              </a:rPr>
              <a:t> tones</a:t>
            </a:r>
            <a:endParaRPr lang="en-US" sz="1000" b="0" noProof="0" dirty="0">
              <a:solidFill>
                <a:srgbClr val="003781"/>
              </a:solidFill>
              <a:latin typeface="Arial" panose="020B0604020202020204" pitchFamily="34" charset="0"/>
              <a:ea typeface="Allianz Sans" pitchFamily="50" charset="0"/>
            </a:endParaRPr>
          </a:p>
        </p:txBody>
      </p:sp>
      <p:sp>
        <p:nvSpPr>
          <p:cNvPr id="157" name="Textfeld 156"/>
          <p:cNvSpPr txBox="1"/>
          <p:nvPr userDrawn="1"/>
        </p:nvSpPr>
        <p:spPr bwMode="gray">
          <a:xfrm>
            <a:off x="5068801" y="2062800"/>
            <a:ext cx="983631" cy="475200"/>
          </a:xfrm>
          <a:prstGeom prst="rect">
            <a:avLst/>
          </a:prstGeom>
          <a:noFill/>
        </p:spPr>
        <p:txBody>
          <a:bodyPr wrap="square" lIns="36000" tIns="0" rIns="0" bIns="0" rtlCol="0" anchor="t">
            <a:noAutofit/>
          </a:bodyPr>
          <a:lstStyle/>
          <a:p>
            <a:pPr>
              <a:lnSpc>
                <a:spcPct val="120000"/>
              </a:lnSpc>
              <a:spcBef>
                <a:spcPts val="0"/>
              </a:spcBef>
              <a:spcAft>
                <a:spcPts val="0"/>
              </a:spcAft>
            </a:pPr>
            <a:r>
              <a:rPr lang="en-US" sz="700" b="1" noProof="0" dirty="0">
                <a:solidFill>
                  <a:sysClr val="windowText" lastClr="000000"/>
                </a:solidFill>
                <a:latin typeface="Arial" panose="020B0604020202020204" pitchFamily="34" charset="0"/>
                <a:ea typeface="Allianz Sans" pitchFamily="50" charset="0"/>
              </a:rPr>
              <a:t>Highlight</a:t>
            </a:r>
            <a:r>
              <a:rPr lang="en-US" sz="700" b="1" baseline="0" noProof="0" dirty="0">
                <a:solidFill>
                  <a:sysClr val="windowText" lastClr="000000"/>
                </a:solidFill>
                <a:latin typeface="Arial" panose="020B0604020202020204" pitchFamily="34" charset="0"/>
                <a:ea typeface="Allianz Sans" pitchFamily="50" charset="0"/>
              </a:rPr>
              <a:t> Green</a:t>
            </a:r>
            <a:br>
              <a:rPr lang="en-US" sz="700" b="1" baseline="0" noProof="0" dirty="0">
                <a:solidFill>
                  <a:sysClr val="windowText" lastClr="000000"/>
                </a:solidFill>
                <a:latin typeface="Arial" panose="020B0604020202020204" pitchFamily="34" charset="0"/>
                <a:ea typeface="Allianz Sans" pitchFamily="50" charset="0"/>
              </a:rPr>
            </a:br>
            <a:r>
              <a:rPr lang="en-US" sz="700" b="0" baseline="0" noProof="0" dirty="0">
                <a:solidFill>
                  <a:sysClr val="windowText" lastClr="000000"/>
                </a:solidFill>
                <a:latin typeface="Arial" panose="020B0604020202020204" pitchFamily="34" charset="0"/>
                <a:ea typeface="Allianz Sans" pitchFamily="50" charset="0"/>
              </a:rPr>
              <a:t>0 / 126 / 98</a:t>
            </a:r>
            <a:endParaRPr lang="en-US" sz="700" noProof="0" dirty="0">
              <a:solidFill>
                <a:sysClr val="windowText" lastClr="000000"/>
              </a:solidFill>
              <a:latin typeface="Arial" panose="020B0604020202020204" pitchFamily="34" charset="0"/>
              <a:ea typeface="Allianz Sans" pitchFamily="50" charset="0"/>
            </a:endParaRPr>
          </a:p>
        </p:txBody>
      </p:sp>
      <p:sp>
        <p:nvSpPr>
          <p:cNvPr id="158" name="Rechteck 157"/>
          <p:cNvSpPr/>
          <p:nvPr userDrawn="1"/>
        </p:nvSpPr>
        <p:spPr bwMode="gray">
          <a:xfrm>
            <a:off x="4776370" y="2062800"/>
            <a:ext cx="292431" cy="475200"/>
          </a:xfrm>
          <a:prstGeom prst="rect">
            <a:avLst/>
          </a:prstGeom>
          <a:solidFill>
            <a:srgbClr val="007E62"/>
          </a:solidFill>
          <a:ln w="6350" cap="flat" cmpd="sng" algn="ctr">
            <a:noFill/>
            <a:prstDash val="solid"/>
            <a:round/>
            <a:headEnd type="none" w="med" len="med"/>
            <a:tailEnd type="none" w="med" len="med"/>
          </a:ln>
          <a:effectLst/>
        </p:spPr>
        <p:txBody>
          <a:bodyPr vert="horz" wrap="square" lIns="72000" tIns="72000" rIns="72000" bIns="72000" numCol="1" rtlCol="0" anchor="t" anchorCtr="0" compatLnSpc="1">
            <a:prstTxWarp prst="textNoShape">
              <a:avLst/>
            </a:prstTxWarp>
          </a:bodyPr>
          <a:lstStyle/>
          <a:p>
            <a:pPr marL="0" marR="0" indent="0" algn="l" defTabSz="914400" rtl="0" eaLnBrk="1" fontAlgn="base" latinLnBrk="0" hangingPunct="1">
              <a:lnSpc>
                <a:spcPct val="100000"/>
              </a:lnSpc>
              <a:spcBef>
                <a:spcPct val="50000"/>
              </a:spcBef>
              <a:spcAft>
                <a:spcPct val="25000"/>
              </a:spcAft>
              <a:buClr>
                <a:schemeClr val="tx2"/>
              </a:buClr>
              <a:buSzTx/>
              <a:buFont typeface="Wingdings" pitchFamily="2" charset="2"/>
              <a:buNone/>
              <a:tabLst/>
            </a:pPr>
            <a:endParaRPr kumimoji="0" lang="en-US" sz="1200" b="0" i="0" u="none" strike="noStrike" cap="none" normalizeH="0" baseline="0" noProof="0" dirty="0">
              <a:ln>
                <a:noFill/>
              </a:ln>
              <a:solidFill>
                <a:schemeClr val="bg1"/>
              </a:solidFill>
              <a:effectLst/>
              <a:latin typeface="Arial" panose="020B0604020202020204" pitchFamily="34" charset="0"/>
            </a:endParaRPr>
          </a:p>
        </p:txBody>
      </p:sp>
    </p:spTree>
    <p:extLst>
      <p:ext uri="{BB962C8B-B14F-4D97-AF65-F5344CB8AC3E}">
        <p14:creationId xmlns:p14="http://schemas.microsoft.com/office/powerpoint/2010/main" val="259427828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sp>
        <p:nvSpPr>
          <p:cNvPr id="12" name="Textplatzhalter 11"/>
          <p:cNvSpPr txBox="1">
            <a:spLocks/>
          </p:cNvSpPr>
          <p:nvPr userDrawn="1"/>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Tree>
    <p:extLst>
      <p:ext uri="{BB962C8B-B14F-4D97-AF65-F5344CB8AC3E}">
        <p14:creationId xmlns:p14="http://schemas.microsoft.com/office/powerpoint/2010/main" val="15922213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7" name="Tijdelijke aanduiding voor tekst 2">
            <a:extLst>
              <a:ext uri="{FF2B5EF4-FFF2-40B4-BE49-F238E27FC236}">
                <a16:creationId xmlns:a16="http://schemas.microsoft.com/office/drawing/2014/main" id="{2E3B29D2-62C6-4375-B9FF-9FBB497CF464}"/>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3" name="Tijdelijke aanduiding voor voettekst 2">
            <a:extLst>
              <a:ext uri="{FF2B5EF4-FFF2-40B4-BE49-F238E27FC236}">
                <a16:creationId xmlns:a16="http://schemas.microsoft.com/office/drawing/2014/main" id="{51D10EF2-5DB6-439A-AB70-904FC41B9324}"/>
              </a:ext>
            </a:extLst>
          </p:cNvPr>
          <p:cNvSpPr>
            <a:spLocks noGrp="1"/>
          </p:cNvSpPr>
          <p:nvPr>
            <p:ph type="ftr" sz="quarter" idx="17"/>
          </p:nvPr>
        </p:nvSpPr>
        <p:spPr/>
        <p:txBody>
          <a:bodyPr/>
          <a:lstStyle/>
          <a:p>
            <a:r>
              <a:rPr lang="nl-NL" smtClean="0"/>
              <a:t>Beleidsopties Wet Toekomst Pensioenen</a:t>
            </a:r>
            <a:endParaRPr lang="nl-NL"/>
          </a:p>
        </p:txBody>
      </p:sp>
    </p:spTree>
    <p:extLst>
      <p:ext uri="{BB962C8B-B14F-4D97-AF65-F5344CB8AC3E}">
        <p14:creationId xmlns:p14="http://schemas.microsoft.com/office/powerpoint/2010/main" val="1208870784"/>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p:nvPr>
        </p:nvSpPr>
        <p:spPr bwMode="gray"/>
        <p:txBody>
          <a:bodyPr/>
          <a:lstStyle/>
          <a:p>
            <a:r>
              <a:rPr lang="de-DE" noProof="0"/>
              <a:t>Titelmasterformat durch Klicken bearbeiten</a:t>
            </a:r>
            <a:endParaRPr lang="en-GB" noProof="0" dirty="0"/>
          </a:p>
        </p:txBody>
      </p:sp>
    </p:spTree>
    <p:extLst>
      <p:ext uri="{BB962C8B-B14F-4D97-AF65-F5344CB8AC3E}">
        <p14:creationId xmlns:p14="http://schemas.microsoft.com/office/powerpoint/2010/main" val="394772277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3" name="Rechteck 2"/>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Tree>
    <p:extLst>
      <p:ext uri="{BB962C8B-B14F-4D97-AF65-F5344CB8AC3E}">
        <p14:creationId xmlns:p14="http://schemas.microsoft.com/office/powerpoint/2010/main" val="326479431"/>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p:txBody>
          <a:bodyPr/>
          <a:lstStyle>
            <a:lvl1pPr>
              <a:defRPr>
                <a:latin typeface="Arial" panose="020B0604020202020204" pitchFamily="34" charset="0"/>
              </a:defRPr>
            </a:lvl1pPr>
          </a:lstStyle>
          <a:p>
            <a:r>
              <a:rPr lang="en-GB" noProof="0" dirty="0"/>
              <a:t>Main slide heading appears here</a:t>
            </a:r>
            <a:br>
              <a:rPr lang="en-GB" noProof="0" dirty="0"/>
            </a:br>
            <a:r>
              <a:rPr lang="en-GB" noProof="0" dirty="0"/>
              <a:t>Second line if required (20pt)</a:t>
            </a:r>
          </a:p>
        </p:txBody>
      </p:sp>
      <p:sp>
        <p:nvSpPr>
          <p:cNvPr id="20" name="Inhaltsplatzhalter 3"/>
          <p:cNvSpPr>
            <a:spLocks noGrp="1"/>
          </p:cNvSpPr>
          <p:nvPr>
            <p:ph sz="quarter" idx="25" hasCustomPrompt="1"/>
          </p:nvPr>
        </p:nvSpPr>
        <p:spPr bwMode="gray">
          <a:xfrm>
            <a:off x="398769"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1" name="Inhaltsplatzhalter 3"/>
          <p:cNvSpPr>
            <a:spLocks noGrp="1"/>
          </p:cNvSpPr>
          <p:nvPr>
            <p:ph sz="quarter" idx="26" hasCustomPrompt="1"/>
          </p:nvPr>
        </p:nvSpPr>
        <p:spPr bwMode="gray">
          <a:xfrm>
            <a:off x="6203078" y="2368800"/>
            <a:ext cx="5569477"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Tree>
    <p:extLst>
      <p:ext uri="{BB962C8B-B14F-4D97-AF65-F5344CB8AC3E}">
        <p14:creationId xmlns:p14="http://schemas.microsoft.com/office/powerpoint/2010/main" val="7495776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usiness infographic">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30" name="Tijdelijke aanduiding voor tekst 63">
            <a:extLst>
              <a:ext uri="{FF2B5EF4-FFF2-40B4-BE49-F238E27FC236}">
                <a16:creationId xmlns:a16="http://schemas.microsoft.com/office/drawing/2014/main" id="{A56A32B0-B0A7-4B4F-B499-4076036008F5}"/>
              </a:ext>
            </a:extLst>
          </p:cNvPr>
          <p:cNvSpPr>
            <a:spLocks noGrp="1"/>
          </p:cNvSpPr>
          <p:nvPr>
            <p:ph type="body" sz="quarter" idx="21" hasCustomPrompt="1"/>
          </p:nvPr>
        </p:nvSpPr>
        <p:spPr>
          <a:xfrm>
            <a:off x="4022751" y="2798293"/>
            <a:ext cx="4142183" cy="4059706"/>
          </a:xfrm>
          <a:prstGeom prst="rect">
            <a:avLst/>
          </a:prstGeom>
          <a:blipFill>
            <a:blip r:embed="rId2">
              <a:extLst>
                <a:ext uri="{96DAC541-7B7A-43D3-8B79-37D633B846F1}">
                  <asvg:svgBlip xmlns="" xmlns:asvg="http://schemas.microsoft.com/office/drawing/2016/SVG/main" r:embed="rId3"/>
                </a:ext>
              </a:extLst>
            </a:blip>
            <a:stretch>
              <a:fillRect/>
            </a:stretch>
          </a:blip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53" name="Tijdelijke aanduiding voor tekst 13">
            <a:extLst>
              <a:ext uri="{FF2B5EF4-FFF2-40B4-BE49-F238E27FC236}">
                <a16:creationId xmlns:a16="http://schemas.microsoft.com/office/drawing/2014/main" id="{3FAFEA90-FADC-438E-AAF1-1807663AFAF6}"/>
              </a:ext>
            </a:extLst>
          </p:cNvPr>
          <p:cNvSpPr>
            <a:spLocks noGrp="1"/>
          </p:cNvSpPr>
          <p:nvPr>
            <p:ph type="body" sz="quarter" idx="25" hasCustomPrompt="1"/>
          </p:nvPr>
        </p:nvSpPr>
        <p:spPr>
          <a:xfrm>
            <a:off x="3064326" y="3262829"/>
            <a:ext cx="681276" cy="244682"/>
          </a:xfrm>
        </p:spPr>
        <p:txBody>
          <a:bodyPr wrap="none" anchor="b">
            <a:spAutoFit/>
          </a:bodyPr>
          <a:lstStyle>
            <a:lvl1pPr marL="0" indent="0" algn="r">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54" name="Tijdelijke aanduiding voor tekst 13">
            <a:extLst>
              <a:ext uri="{FF2B5EF4-FFF2-40B4-BE49-F238E27FC236}">
                <a16:creationId xmlns:a16="http://schemas.microsoft.com/office/drawing/2014/main" id="{E849981A-77D7-4146-8BEF-07109D042149}"/>
              </a:ext>
            </a:extLst>
          </p:cNvPr>
          <p:cNvSpPr>
            <a:spLocks noGrp="1"/>
          </p:cNvSpPr>
          <p:nvPr>
            <p:ph type="body" sz="quarter" idx="26" hasCustomPrompt="1"/>
          </p:nvPr>
        </p:nvSpPr>
        <p:spPr>
          <a:xfrm>
            <a:off x="503238" y="3546346"/>
            <a:ext cx="3244033" cy="924997"/>
          </a:xfrm>
        </p:spPr>
        <p:txBody>
          <a:bodyPr wrap="square">
            <a:noAutofit/>
          </a:bodyPr>
          <a:lstStyle>
            <a:lvl1pPr marL="0" indent="0" algn="r">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62" name="Tijdelijke aanduiding voor tekst 13">
            <a:extLst>
              <a:ext uri="{FF2B5EF4-FFF2-40B4-BE49-F238E27FC236}">
                <a16:creationId xmlns:a16="http://schemas.microsoft.com/office/drawing/2014/main" id="{C4871D02-3723-40F5-B7A9-37F5BF75ABF6}"/>
              </a:ext>
            </a:extLst>
          </p:cNvPr>
          <p:cNvSpPr>
            <a:spLocks noGrp="1"/>
          </p:cNvSpPr>
          <p:nvPr>
            <p:ph type="body" sz="quarter" idx="27" hasCustomPrompt="1"/>
          </p:nvPr>
        </p:nvSpPr>
        <p:spPr>
          <a:xfrm>
            <a:off x="4682529" y="1413376"/>
            <a:ext cx="681276" cy="244682"/>
          </a:xfrm>
        </p:spPr>
        <p:txBody>
          <a:bodyPr wrap="none" anchor="b">
            <a:spAutoFit/>
          </a:bodyPr>
          <a:lstStyle>
            <a:lvl1pPr marL="0" indent="0" algn="l">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63" name="Tijdelijke aanduiding voor tekst 13">
            <a:extLst>
              <a:ext uri="{FF2B5EF4-FFF2-40B4-BE49-F238E27FC236}">
                <a16:creationId xmlns:a16="http://schemas.microsoft.com/office/drawing/2014/main" id="{BD479577-8199-49B9-9D3E-A34AACCC0B60}"/>
              </a:ext>
            </a:extLst>
          </p:cNvPr>
          <p:cNvSpPr>
            <a:spLocks noGrp="1"/>
          </p:cNvSpPr>
          <p:nvPr>
            <p:ph type="body" sz="quarter" idx="28" hasCustomPrompt="1"/>
          </p:nvPr>
        </p:nvSpPr>
        <p:spPr>
          <a:xfrm>
            <a:off x="4682528" y="1697661"/>
            <a:ext cx="3244033" cy="924997"/>
          </a:xfrm>
        </p:spPr>
        <p:txBody>
          <a:bodyPr wrap="square">
            <a:noAutofit/>
          </a:bodyPr>
          <a:lstStyle>
            <a:lvl1pPr marL="0" indent="0" algn="l">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66" name="Tijdelijke aanduiding voor tekst 13">
            <a:extLst>
              <a:ext uri="{FF2B5EF4-FFF2-40B4-BE49-F238E27FC236}">
                <a16:creationId xmlns:a16="http://schemas.microsoft.com/office/drawing/2014/main" id="{F661AB0B-9A88-43DD-AC29-58514B41D33F}"/>
              </a:ext>
            </a:extLst>
          </p:cNvPr>
          <p:cNvSpPr>
            <a:spLocks noGrp="1"/>
          </p:cNvSpPr>
          <p:nvPr>
            <p:ph type="body" sz="quarter" idx="29" hasCustomPrompt="1"/>
          </p:nvPr>
        </p:nvSpPr>
        <p:spPr>
          <a:xfrm>
            <a:off x="8442085" y="3262059"/>
            <a:ext cx="681276" cy="244682"/>
          </a:xfrm>
        </p:spPr>
        <p:txBody>
          <a:bodyPr wrap="none" anchor="b">
            <a:spAutoFit/>
          </a:bodyPr>
          <a:lstStyle>
            <a:lvl1pPr marL="0" indent="0" algn="l">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67" name="Tijdelijke aanduiding voor tekst 13">
            <a:extLst>
              <a:ext uri="{FF2B5EF4-FFF2-40B4-BE49-F238E27FC236}">
                <a16:creationId xmlns:a16="http://schemas.microsoft.com/office/drawing/2014/main" id="{5E04A594-54EE-4AAF-B696-3BDFDD051F17}"/>
              </a:ext>
            </a:extLst>
          </p:cNvPr>
          <p:cNvSpPr>
            <a:spLocks noGrp="1"/>
          </p:cNvSpPr>
          <p:nvPr>
            <p:ph type="body" sz="quarter" idx="30" hasCustomPrompt="1"/>
          </p:nvPr>
        </p:nvSpPr>
        <p:spPr>
          <a:xfrm>
            <a:off x="8442084" y="3546345"/>
            <a:ext cx="3244033" cy="924997"/>
          </a:xfrm>
        </p:spPr>
        <p:txBody>
          <a:bodyPr wrap="square">
            <a:noAutofit/>
          </a:bodyPr>
          <a:lstStyle>
            <a:lvl1pPr marL="0" indent="0" algn="l">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13" name="Tijdelijke aanduiding voor tekst 2">
            <a:extLst>
              <a:ext uri="{FF2B5EF4-FFF2-40B4-BE49-F238E27FC236}">
                <a16:creationId xmlns:a16="http://schemas.microsoft.com/office/drawing/2014/main" id="{919BF3D1-253A-4C70-B08F-9E04EE3DC869}"/>
              </a:ext>
            </a:extLst>
          </p:cNvPr>
          <p:cNvSpPr>
            <a:spLocks noGrp="1"/>
          </p:cNvSpPr>
          <p:nvPr>
            <p:ph type="body" sz="quarter" idx="16"/>
          </p:nvPr>
        </p:nvSpPr>
        <p:spPr>
          <a:xfrm>
            <a:off x="329704" y="6326064"/>
            <a:ext cx="344261" cy="379536"/>
          </a:xfrm>
          <a:blipFill>
            <a:blip r:embed="rId4"/>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8851288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Stapp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87CF9-A7F0-46DC-BF76-FC983B254C65}"/>
              </a:ext>
            </a:extLst>
          </p:cNvPr>
          <p:cNvSpPr>
            <a:spLocks noGrp="1"/>
          </p:cNvSpPr>
          <p:nvPr>
            <p:ph type="title"/>
          </p:nvPr>
        </p:nvSpPr>
        <p:spPr/>
        <p:txBody>
          <a:bodyPr/>
          <a:lstStyle/>
          <a:p>
            <a:r>
              <a:rPr lang="nl-NL" smtClean="0"/>
              <a:t>Klik om de stijl te bewerken</a:t>
            </a:r>
            <a:endParaRPr lang="nl-NL"/>
          </a:p>
        </p:txBody>
      </p:sp>
      <p:sp>
        <p:nvSpPr>
          <p:cNvPr id="3" name="Tijdelijke aanduiding voor voettekst 2">
            <a:extLst>
              <a:ext uri="{FF2B5EF4-FFF2-40B4-BE49-F238E27FC236}">
                <a16:creationId xmlns:a16="http://schemas.microsoft.com/office/drawing/2014/main" id="{CBE2FCA4-8721-428B-99C9-8E9C1158BCF4}"/>
              </a:ext>
            </a:extLst>
          </p:cNvPr>
          <p:cNvSpPr>
            <a:spLocks noGrp="1"/>
          </p:cNvSpPr>
          <p:nvPr>
            <p:ph type="ftr" sz="quarter" idx="10"/>
          </p:nvPr>
        </p:nvSpPr>
        <p:spPr/>
        <p:txBody>
          <a:bodyPr/>
          <a:lstStyle/>
          <a:p>
            <a:r>
              <a:rPr lang="nl-NL" smtClean="0"/>
              <a:t>Beleidsopties Wet Toekomst Pensioenen</a:t>
            </a:r>
            <a:endParaRPr lang="nl-NL"/>
          </a:p>
        </p:txBody>
      </p:sp>
      <p:sp>
        <p:nvSpPr>
          <p:cNvPr id="4" name="Tijdelijke aanduiding voor dianummer 3">
            <a:extLst>
              <a:ext uri="{FF2B5EF4-FFF2-40B4-BE49-F238E27FC236}">
                <a16:creationId xmlns:a16="http://schemas.microsoft.com/office/drawing/2014/main" id="{4A2C0817-6ADE-412F-9DF7-02E248F41D07}"/>
              </a:ext>
            </a:extLst>
          </p:cNvPr>
          <p:cNvSpPr>
            <a:spLocks noGrp="1"/>
          </p:cNvSpPr>
          <p:nvPr>
            <p:ph type="sldNum" sz="quarter" idx="11"/>
          </p:nvPr>
        </p:nvSpPr>
        <p:spPr/>
        <p:txBody>
          <a:bodyPr/>
          <a:lstStyle/>
          <a:p>
            <a:fld id="{FFDD6BF4-F398-43E8-ACFA-0A2EC6044D72}" type="slidenum">
              <a:rPr lang="nl-NL" smtClean="0"/>
              <a:t>‹nr.›</a:t>
            </a:fld>
            <a:endParaRPr lang="nl-NL"/>
          </a:p>
        </p:txBody>
      </p:sp>
      <p:sp>
        <p:nvSpPr>
          <p:cNvPr id="24" name="Tijdelijke aanduiding voor tekst 13">
            <a:extLst>
              <a:ext uri="{FF2B5EF4-FFF2-40B4-BE49-F238E27FC236}">
                <a16:creationId xmlns:a16="http://schemas.microsoft.com/office/drawing/2014/main" id="{9ECB56B9-0480-4F03-B6A4-2621446FD59B}"/>
              </a:ext>
            </a:extLst>
          </p:cNvPr>
          <p:cNvSpPr>
            <a:spLocks noGrp="1"/>
          </p:cNvSpPr>
          <p:nvPr>
            <p:ph type="body" sz="quarter" idx="26" hasCustomPrompt="1"/>
          </p:nvPr>
        </p:nvSpPr>
        <p:spPr>
          <a:xfrm>
            <a:off x="503767"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47" name="Tijdelijke aanduiding voor tekst 7">
            <a:extLst>
              <a:ext uri="{FF2B5EF4-FFF2-40B4-BE49-F238E27FC236}">
                <a16:creationId xmlns:a16="http://schemas.microsoft.com/office/drawing/2014/main" id="{9BD50813-2BC3-4067-A41D-078D9FCA8242}"/>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5" name="Tijdelijke aanduiding voor tekst 60">
            <a:extLst>
              <a:ext uri="{FF2B5EF4-FFF2-40B4-BE49-F238E27FC236}">
                <a16:creationId xmlns:a16="http://schemas.microsoft.com/office/drawing/2014/main" id="{396BCA8D-8C99-439A-A8B0-C7CFBCEA2A7E}"/>
              </a:ext>
            </a:extLst>
          </p:cNvPr>
          <p:cNvSpPr>
            <a:spLocks noGrp="1"/>
          </p:cNvSpPr>
          <p:nvPr>
            <p:ph type="body" sz="quarter" idx="19" hasCustomPrompt="1"/>
          </p:nvPr>
        </p:nvSpPr>
        <p:spPr>
          <a:xfrm>
            <a:off x="503767"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26" name="Tijdelijke aanduiding voor tekst 13">
            <a:extLst>
              <a:ext uri="{FF2B5EF4-FFF2-40B4-BE49-F238E27FC236}">
                <a16:creationId xmlns:a16="http://schemas.microsoft.com/office/drawing/2014/main" id="{8C7BE58C-99FE-4D07-93DA-7BFC334ACBE8}"/>
              </a:ext>
            </a:extLst>
          </p:cNvPr>
          <p:cNvSpPr>
            <a:spLocks noGrp="1"/>
          </p:cNvSpPr>
          <p:nvPr>
            <p:ph type="body" sz="quarter" idx="27" hasCustomPrompt="1"/>
          </p:nvPr>
        </p:nvSpPr>
        <p:spPr>
          <a:xfrm>
            <a:off x="2752280"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27" name="Tijdelijke aanduiding voor tekst 60">
            <a:extLst>
              <a:ext uri="{FF2B5EF4-FFF2-40B4-BE49-F238E27FC236}">
                <a16:creationId xmlns:a16="http://schemas.microsoft.com/office/drawing/2014/main" id="{C2B396FD-77CF-40F0-BF3E-21FF6E30CBD4}"/>
              </a:ext>
            </a:extLst>
          </p:cNvPr>
          <p:cNvSpPr>
            <a:spLocks noGrp="1"/>
          </p:cNvSpPr>
          <p:nvPr>
            <p:ph type="body" sz="quarter" idx="28" hasCustomPrompt="1"/>
          </p:nvPr>
        </p:nvSpPr>
        <p:spPr>
          <a:xfrm>
            <a:off x="2712043"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28" name="Tijdelijke aanduiding voor tekst 13">
            <a:extLst>
              <a:ext uri="{FF2B5EF4-FFF2-40B4-BE49-F238E27FC236}">
                <a16:creationId xmlns:a16="http://schemas.microsoft.com/office/drawing/2014/main" id="{16D34D3A-B92E-455D-B5B6-B72CAB863F1A}"/>
              </a:ext>
            </a:extLst>
          </p:cNvPr>
          <p:cNvSpPr>
            <a:spLocks noGrp="1"/>
          </p:cNvSpPr>
          <p:nvPr>
            <p:ph type="body" sz="quarter" idx="29" hasCustomPrompt="1"/>
          </p:nvPr>
        </p:nvSpPr>
        <p:spPr>
          <a:xfrm>
            <a:off x="5000793"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29" name="Tijdelijke aanduiding voor tekst 60">
            <a:extLst>
              <a:ext uri="{FF2B5EF4-FFF2-40B4-BE49-F238E27FC236}">
                <a16:creationId xmlns:a16="http://schemas.microsoft.com/office/drawing/2014/main" id="{BAEEF51D-FBA2-4057-95FE-F3812E06B6F9}"/>
              </a:ext>
            </a:extLst>
          </p:cNvPr>
          <p:cNvSpPr>
            <a:spLocks noGrp="1"/>
          </p:cNvSpPr>
          <p:nvPr>
            <p:ph type="body" sz="quarter" idx="30" hasCustomPrompt="1"/>
          </p:nvPr>
        </p:nvSpPr>
        <p:spPr>
          <a:xfrm>
            <a:off x="4920319"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30" name="Tijdelijke aanduiding voor tekst 13">
            <a:extLst>
              <a:ext uri="{FF2B5EF4-FFF2-40B4-BE49-F238E27FC236}">
                <a16:creationId xmlns:a16="http://schemas.microsoft.com/office/drawing/2014/main" id="{F1475207-13E2-4DF8-97A6-8314C63272EF}"/>
              </a:ext>
            </a:extLst>
          </p:cNvPr>
          <p:cNvSpPr>
            <a:spLocks noGrp="1"/>
          </p:cNvSpPr>
          <p:nvPr>
            <p:ph type="body" sz="quarter" idx="31" hasCustomPrompt="1"/>
          </p:nvPr>
        </p:nvSpPr>
        <p:spPr>
          <a:xfrm>
            <a:off x="7249306"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31" name="Tijdelijke aanduiding voor tekst 60">
            <a:extLst>
              <a:ext uri="{FF2B5EF4-FFF2-40B4-BE49-F238E27FC236}">
                <a16:creationId xmlns:a16="http://schemas.microsoft.com/office/drawing/2014/main" id="{95D4C320-36E6-4F60-8ABA-034756BDC2D7}"/>
              </a:ext>
            </a:extLst>
          </p:cNvPr>
          <p:cNvSpPr>
            <a:spLocks noGrp="1"/>
          </p:cNvSpPr>
          <p:nvPr>
            <p:ph type="body" sz="quarter" idx="32" hasCustomPrompt="1"/>
          </p:nvPr>
        </p:nvSpPr>
        <p:spPr>
          <a:xfrm>
            <a:off x="7128595"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32" name="Tijdelijke aanduiding voor tekst 13">
            <a:extLst>
              <a:ext uri="{FF2B5EF4-FFF2-40B4-BE49-F238E27FC236}">
                <a16:creationId xmlns:a16="http://schemas.microsoft.com/office/drawing/2014/main" id="{A145C9CD-251D-4C42-B95F-90BC29CD317D}"/>
              </a:ext>
            </a:extLst>
          </p:cNvPr>
          <p:cNvSpPr>
            <a:spLocks noGrp="1"/>
          </p:cNvSpPr>
          <p:nvPr>
            <p:ph type="body" sz="quarter" idx="33" hasCustomPrompt="1"/>
          </p:nvPr>
        </p:nvSpPr>
        <p:spPr>
          <a:xfrm>
            <a:off x="9497818"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33" name="Tijdelijke aanduiding voor tekst 60">
            <a:extLst>
              <a:ext uri="{FF2B5EF4-FFF2-40B4-BE49-F238E27FC236}">
                <a16:creationId xmlns:a16="http://schemas.microsoft.com/office/drawing/2014/main" id="{80467A2B-1280-4FA0-A262-E1D558DD1389}"/>
              </a:ext>
            </a:extLst>
          </p:cNvPr>
          <p:cNvSpPr>
            <a:spLocks noGrp="1"/>
          </p:cNvSpPr>
          <p:nvPr>
            <p:ph type="body" sz="quarter" idx="34" hasCustomPrompt="1"/>
          </p:nvPr>
        </p:nvSpPr>
        <p:spPr>
          <a:xfrm>
            <a:off x="9336870"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55" name="Tijdelijke aanduiding voor tekst 10">
            <a:extLst>
              <a:ext uri="{FF2B5EF4-FFF2-40B4-BE49-F238E27FC236}">
                <a16:creationId xmlns:a16="http://schemas.microsoft.com/office/drawing/2014/main" id="{1A47F194-25B8-4077-B9E1-33F4A4EE98A9}"/>
              </a:ext>
            </a:extLst>
          </p:cNvPr>
          <p:cNvSpPr>
            <a:spLocks noGrp="1"/>
          </p:cNvSpPr>
          <p:nvPr>
            <p:ph type="body" sz="quarter" idx="35" hasCustomPrompt="1"/>
          </p:nvPr>
        </p:nvSpPr>
        <p:spPr>
          <a:xfrm rot="16200000">
            <a:off x="836043"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59" name="Tijdelijke aanduiding voor tekst 10">
            <a:extLst>
              <a:ext uri="{FF2B5EF4-FFF2-40B4-BE49-F238E27FC236}">
                <a16:creationId xmlns:a16="http://schemas.microsoft.com/office/drawing/2014/main" id="{159CAA04-6B1C-430C-99CA-78BA8B59B862}"/>
              </a:ext>
            </a:extLst>
          </p:cNvPr>
          <p:cNvSpPr>
            <a:spLocks noGrp="1"/>
          </p:cNvSpPr>
          <p:nvPr>
            <p:ph type="body" sz="quarter" idx="36" hasCustomPrompt="1"/>
          </p:nvPr>
        </p:nvSpPr>
        <p:spPr>
          <a:xfrm rot="16200000">
            <a:off x="3044318"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60" name="Tijdelijke aanduiding voor tekst 10">
            <a:extLst>
              <a:ext uri="{FF2B5EF4-FFF2-40B4-BE49-F238E27FC236}">
                <a16:creationId xmlns:a16="http://schemas.microsoft.com/office/drawing/2014/main" id="{952B5789-786C-41BF-8C96-C7D2E6C208C2}"/>
              </a:ext>
            </a:extLst>
          </p:cNvPr>
          <p:cNvSpPr>
            <a:spLocks noGrp="1"/>
          </p:cNvSpPr>
          <p:nvPr>
            <p:ph type="body" sz="quarter" idx="37" hasCustomPrompt="1"/>
          </p:nvPr>
        </p:nvSpPr>
        <p:spPr>
          <a:xfrm rot="16200000">
            <a:off x="5252593"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61" name="Tijdelijke aanduiding voor tekst 10">
            <a:extLst>
              <a:ext uri="{FF2B5EF4-FFF2-40B4-BE49-F238E27FC236}">
                <a16:creationId xmlns:a16="http://schemas.microsoft.com/office/drawing/2014/main" id="{C73ECF0E-99DC-479D-9854-26282F5F86D1}"/>
              </a:ext>
            </a:extLst>
          </p:cNvPr>
          <p:cNvSpPr>
            <a:spLocks noGrp="1"/>
          </p:cNvSpPr>
          <p:nvPr>
            <p:ph type="body" sz="quarter" idx="38" hasCustomPrompt="1"/>
          </p:nvPr>
        </p:nvSpPr>
        <p:spPr>
          <a:xfrm rot="16200000">
            <a:off x="7460870"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20" name="Tijdelijke aanduiding voor tekst 2">
            <a:extLst>
              <a:ext uri="{FF2B5EF4-FFF2-40B4-BE49-F238E27FC236}">
                <a16:creationId xmlns:a16="http://schemas.microsoft.com/office/drawing/2014/main" id="{5BCEF483-18EF-4CCF-A2CC-3C96E6BDECFA}"/>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8239468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 ADKAR">
    <p:spTree>
      <p:nvGrpSpPr>
        <p:cNvPr id="1" name=""/>
        <p:cNvGrpSpPr/>
        <p:nvPr/>
      </p:nvGrpSpPr>
      <p:grpSpPr>
        <a:xfrm>
          <a:off x="0" y="0"/>
          <a:ext cx="0" cy="0"/>
          <a:chOff x="0" y="0"/>
          <a:chExt cx="0" cy="0"/>
        </a:xfrm>
      </p:grpSpPr>
      <p:sp>
        <p:nvSpPr>
          <p:cNvPr id="35" name="Tijdelijke aanduiding voor tekst 58">
            <a:extLst>
              <a:ext uri="{FF2B5EF4-FFF2-40B4-BE49-F238E27FC236}">
                <a16:creationId xmlns:a16="http://schemas.microsoft.com/office/drawing/2014/main" id="{17F25C23-9326-4F4D-BAC2-BBCEAA417372}"/>
              </a:ext>
            </a:extLst>
          </p:cNvPr>
          <p:cNvSpPr>
            <a:spLocks noGrp="1"/>
          </p:cNvSpPr>
          <p:nvPr>
            <p:ph type="body" sz="quarter" idx="38"/>
          </p:nvPr>
        </p:nvSpPr>
        <p:spPr>
          <a:xfrm>
            <a:off x="9645612"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4" name="Tijdelijke aanduiding voor tekst 58">
            <a:extLst>
              <a:ext uri="{FF2B5EF4-FFF2-40B4-BE49-F238E27FC236}">
                <a16:creationId xmlns:a16="http://schemas.microsoft.com/office/drawing/2014/main" id="{4BB374D8-CB98-45FC-B14F-8F4DC2546E31}"/>
              </a:ext>
            </a:extLst>
          </p:cNvPr>
          <p:cNvSpPr>
            <a:spLocks noGrp="1"/>
          </p:cNvSpPr>
          <p:nvPr>
            <p:ph type="body" sz="quarter" idx="37"/>
          </p:nvPr>
        </p:nvSpPr>
        <p:spPr>
          <a:xfrm>
            <a:off x="7360151"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1" name="Tijdelijke aanduiding voor tekst 58">
            <a:extLst>
              <a:ext uri="{FF2B5EF4-FFF2-40B4-BE49-F238E27FC236}">
                <a16:creationId xmlns:a16="http://schemas.microsoft.com/office/drawing/2014/main" id="{4E79CF2D-9F8A-44F8-BB09-9AF4C1EAB583}"/>
              </a:ext>
            </a:extLst>
          </p:cNvPr>
          <p:cNvSpPr>
            <a:spLocks noGrp="1"/>
          </p:cNvSpPr>
          <p:nvPr>
            <p:ph type="body" sz="quarter" idx="36"/>
          </p:nvPr>
        </p:nvSpPr>
        <p:spPr>
          <a:xfrm>
            <a:off x="5074689"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59" name="Tijdelijke aanduiding voor tekst 58">
            <a:extLst>
              <a:ext uri="{FF2B5EF4-FFF2-40B4-BE49-F238E27FC236}">
                <a16:creationId xmlns:a16="http://schemas.microsoft.com/office/drawing/2014/main" id="{2473249E-A1C9-466E-B21E-20649059CEF5}"/>
              </a:ext>
            </a:extLst>
          </p:cNvPr>
          <p:cNvSpPr>
            <a:spLocks noGrp="1"/>
          </p:cNvSpPr>
          <p:nvPr>
            <p:ph type="body" sz="quarter" idx="35"/>
          </p:nvPr>
        </p:nvSpPr>
        <p:spPr>
          <a:xfrm>
            <a:off x="2789229"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0" name="Tijdelijke aanduiding voor tekst 29">
            <a:extLst>
              <a:ext uri="{FF2B5EF4-FFF2-40B4-BE49-F238E27FC236}">
                <a16:creationId xmlns:a16="http://schemas.microsoft.com/office/drawing/2014/main" id="{EC158ED7-1884-4D56-9214-1BA3D2D77827}"/>
              </a:ext>
            </a:extLst>
          </p:cNvPr>
          <p:cNvSpPr>
            <a:spLocks noGrp="1"/>
          </p:cNvSpPr>
          <p:nvPr>
            <p:ph type="body" sz="quarter" idx="24"/>
          </p:nvPr>
        </p:nvSpPr>
        <p:spPr>
          <a:xfrm>
            <a:off x="503765"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62" name="Tijdelijke aanduiding voor tekst 61">
            <a:extLst>
              <a:ext uri="{FF2B5EF4-FFF2-40B4-BE49-F238E27FC236}">
                <a16:creationId xmlns:a16="http://schemas.microsoft.com/office/drawing/2014/main" id="{9127930B-E165-4991-8CCF-6A2669EC732F}"/>
              </a:ext>
            </a:extLst>
          </p:cNvPr>
          <p:cNvSpPr>
            <a:spLocks noGrp="1"/>
          </p:cNvSpPr>
          <p:nvPr>
            <p:ph type="body" sz="quarter" idx="20" hasCustomPrompt="1"/>
          </p:nvPr>
        </p:nvSpPr>
        <p:spPr>
          <a:xfrm>
            <a:off x="2931123"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4" name="Tijdelijke aanduiding voor tekst 63">
            <a:extLst>
              <a:ext uri="{FF2B5EF4-FFF2-40B4-BE49-F238E27FC236}">
                <a16:creationId xmlns:a16="http://schemas.microsoft.com/office/drawing/2014/main" id="{34A11033-B8E6-4BC8-84A7-39F6722D59E6}"/>
              </a:ext>
            </a:extLst>
          </p:cNvPr>
          <p:cNvSpPr>
            <a:spLocks noGrp="1"/>
          </p:cNvSpPr>
          <p:nvPr>
            <p:ph type="body" sz="quarter" idx="21" hasCustomPrompt="1"/>
          </p:nvPr>
        </p:nvSpPr>
        <p:spPr>
          <a:xfrm>
            <a:off x="5216585"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5" name="Tijdelijke aanduiding voor tekst 64">
            <a:extLst>
              <a:ext uri="{FF2B5EF4-FFF2-40B4-BE49-F238E27FC236}">
                <a16:creationId xmlns:a16="http://schemas.microsoft.com/office/drawing/2014/main" id="{A50978B8-0A33-4265-8FCC-81FC63F586F0}"/>
              </a:ext>
            </a:extLst>
          </p:cNvPr>
          <p:cNvSpPr>
            <a:spLocks noGrp="1"/>
          </p:cNvSpPr>
          <p:nvPr>
            <p:ph type="body" sz="quarter" idx="22" hasCustomPrompt="1"/>
          </p:nvPr>
        </p:nvSpPr>
        <p:spPr>
          <a:xfrm>
            <a:off x="7502046"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6" name="Tijdelijke aanduiding voor tekst 65">
            <a:extLst>
              <a:ext uri="{FF2B5EF4-FFF2-40B4-BE49-F238E27FC236}">
                <a16:creationId xmlns:a16="http://schemas.microsoft.com/office/drawing/2014/main" id="{DED5DE8A-DA12-4889-B842-7ACE37CA4F21}"/>
              </a:ext>
            </a:extLst>
          </p:cNvPr>
          <p:cNvSpPr>
            <a:spLocks noGrp="1"/>
          </p:cNvSpPr>
          <p:nvPr>
            <p:ph type="body" sz="quarter" idx="23" hasCustomPrompt="1"/>
          </p:nvPr>
        </p:nvSpPr>
        <p:spPr>
          <a:xfrm>
            <a:off x="9787506"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61" name="Tijdelijke aanduiding voor tekst 60">
            <a:extLst>
              <a:ext uri="{FF2B5EF4-FFF2-40B4-BE49-F238E27FC236}">
                <a16:creationId xmlns:a16="http://schemas.microsoft.com/office/drawing/2014/main" id="{C7A60661-C638-49B1-9664-6DE9A7098048}"/>
              </a:ext>
            </a:extLst>
          </p:cNvPr>
          <p:cNvSpPr>
            <a:spLocks noGrp="1"/>
          </p:cNvSpPr>
          <p:nvPr>
            <p:ph type="body" sz="quarter" idx="19" hasCustomPrompt="1"/>
          </p:nvPr>
        </p:nvSpPr>
        <p:spPr>
          <a:xfrm>
            <a:off x="645662"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14" name="Tijdelijke aanduiding voor tekst 13">
            <a:extLst>
              <a:ext uri="{FF2B5EF4-FFF2-40B4-BE49-F238E27FC236}">
                <a16:creationId xmlns:a16="http://schemas.microsoft.com/office/drawing/2014/main" id="{9364E372-5F4F-4377-B585-C820F81E92A9}"/>
              </a:ext>
            </a:extLst>
          </p:cNvPr>
          <p:cNvSpPr>
            <a:spLocks noGrp="1"/>
          </p:cNvSpPr>
          <p:nvPr>
            <p:ph type="body" sz="quarter" idx="25" hasCustomPrompt="1"/>
          </p:nvPr>
        </p:nvSpPr>
        <p:spPr>
          <a:xfrm>
            <a:off x="754034"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37" name="Tijdelijke aanduiding voor tekst 13">
            <a:extLst>
              <a:ext uri="{FF2B5EF4-FFF2-40B4-BE49-F238E27FC236}">
                <a16:creationId xmlns:a16="http://schemas.microsoft.com/office/drawing/2014/main" id="{CE013FD7-C329-4372-B5C3-696A051F79E8}"/>
              </a:ext>
            </a:extLst>
          </p:cNvPr>
          <p:cNvSpPr>
            <a:spLocks noGrp="1"/>
          </p:cNvSpPr>
          <p:nvPr>
            <p:ph type="body" sz="quarter" idx="26" hasCustomPrompt="1"/>
          </p:nvPr>
        </p:nvSpPr>
        <p:spPr>
          <a:xfrm>
            <a:off x="754034"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39" name="Tijdelijke aanduiding voor tekst 13">
            <a:extLst>
              <a:ext uri="{FF2B5EF4-FFF2-40B4-BE49-F238E27FC236}">
                <a16:creationId xmlns:a16="http://schemas.microsoft.com/office/drawing/2014/main" id="{EB141049-5224-4BBE-868C-D2CCD68BBADF}"/>
              </a:ext>
            </a:extLst>
          </p:cNvPr>
          <p:cNvSpPr>
            <a:spLocks noGrp="1"/>
          </p:cNvSpPr>
          <p:nvPr>
            <p:ph type="body" sz="quarter" idx="27" hasCustomPrompt="1"/>
          </p:nvPr>
        </p:nvSpPr>
        <p:spPr>
          <a:xfrm>
            <a:off x="3039498"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40" name="Tijdelijke aanduiding voor tekst 13">
            <a:extLst>
              <a:ext uri="{FF2B5EF4-FFF2-40B4-BE49-F238E27FC236}">
                <a16:creationId xmlns:a16="http://schemas.microsoft.com/office/drawing/2014/main" id="{C1059622-8D17-44C0-B8D8-6DF04A55E1A9}"/>
              </a:ext>
            </a:extLst>
          </p:cNvPr>
          <p:cNvSpPr>
            <a:spLocks noGrp="1"/>
          </p:cNvSpPr>
          <p:nvPr>
            <p:ph type="body" sz="quarter" idx="28" hasCustomPrompt="1"/>
          </p:nvPr>
        </p:nvSpPr>
        <p:spPr>
          <a:xfrm>
            <a:off x="3039498"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41" name="Tijdelijke aanduiding voor tekst 13">
            <a:extLst>
              <a:ext uri="{FF2B5EF4-FFF2-40B4-BE49-F238E27FC236}">
                <a16:creationId xmlns:a16="http://schemas.microsoft.com/office/drawing/2014/main" id="{EC0EBEEE-32DA-4CCC-B452-84EBAE3068EA}"/>
              </a:ext>
            </a:extLst>
          </p:cNvPr>
          <p:cNvSpPr>
            <a:spLocks noGrp="1"/>
          </p:cNvSpPr>
          <p:nvPr>
            <p:ph type="body" sz="quarter" idx="29" hasCustomPrompt="1"/>
          </p:nvPr>
        </p:nvSpPr>
        <p:spPr>
          <a:xfrm>
            <a:off x="5324958"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44" name="Tijdelijke aanduiding voor tekst 13">
            <a:extLst>
              <a:ext uri="{FF2B5EF4-FFF2-40B4-BE49-F238E27FC236}">
                <a16:creationId xmlns:a16="http://schemas.microsoft.com/office/drawing/2014/main" id="{4F086A75-311C-40AB-80EB-237D64038FA3}"/>
              </a:ext>
            </a:extLst>
          </p:cNvPr>
          <p:cNvSpPr>
            <a:spLocks noGrp="1"/>
          </p:cNvSpPr>
          <p:nvPr>
            <p:ph type="body" sz="quarter" idx="30" hasCustomPrompt="1"/>
          </p:nvPr>
        </p:nvSpPr>
        <p:spPr>
          <a:xfrm>
            <a:off x="5324958"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48" name="Tijdelijke aanduiding voor tekst 13">
            <a:extLst>
              <a:ext uri="{FF2B5EF4-FFF2-40B4-BE49-F238E27FC236}">
                <a16:creationId xmlns:a16="http://schemas.microsoft.com/office/drawing/2014/main" id="{C14BFD65-019D-4773-83A6-74F05C7715B0}"/>
              </a:ext>
            </a:extLst>
          </p:cNvPr>
          <p:cNvSpPr>
            <a:spLocks noGrp="1"/>
          </p:cNvSpPr>
          <p:nvPr>
            <p:ph type="body" sz="quarter" idx="31" hasCustomPrompt="1"/>
          </p:nvPr>
        </p:nvSpPr>
        <p:spPr>
          <a:xfrm>
            <a:off x="7610419"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52" name="Tijdelijke aanduiding voor tekst 13">
            <a:extLst>
              <a:ext uri="{FF2B5EF4-FFF2-40B4-BE49-F238E27FC236}">
                <a16:creationId xmlns:a16="http://schemas.microsoft.com/office/drawing/2014/main" id="{5E6F733C-1F74-451B-BC14-131A9D31D476}"/>
              </a:ext>
            </a:extLst>
          </p:cNvPr>
          <p:cNvSpPr>
            <a:spLocks noGrp="1"/>
          </p:cNvSpPr>
          <p:nvPr>
            <p:ph type="body" sz="quarter" idx="32" hasCustomPrompt="1"/>
          </p:nvPr>
        </p:nvSpPr>
        <p:spPr>
          <a:xfrm>
            <a:off x="7610419"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56" name="Tijdelijke aanduiding voor tekst 13">
            <a:extLst>
              <a:ext uri="{FF2B5EF4-FFF2-40B4-BE49-F238E27FC236}">
                <a16:creationId xmlns:a16="http://schemas.microsoft.com/office/drawing/2014/main" id="{C10685A4-0961-4FF1-97CF-510A5DCD00FD}"/>
              </a:ext>
            </a:extLst>
          </p:cNvPr>
          <p:cNvSpPr>
            <a:spLocks noGrp="1"/>
          </p:cNvSpPr>
          <p:nvPr>
            <p:ph type="body" sz="quarter" idx="33" hasCustomPrompt="1"/>
          </p:nvPr>
        </p:nvSpPr>
        <p:spPr>
          <a:xfrm>
            <a:off x="9895879"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58" name="Tijdelijke aanduiding voor tekst 13">
            <a:extLst>
              <a:ext uri="{FF2B5EF4-FFF2-40B4-BE49-F238E27FC236}">
                <a16:creationId xmlns:a16="http://schemas.microsoft.com/office/drawing/2014/main" id="{8A93AC36-2AC4-483E-95DB-3E1E0DE9549F}"/>
              </a:ext>
            </a:extLst>
          </p:cNvPr>
          <p:cNvSpPr>
            <a:spLocks noGrp="1"/>
          </p:cNvSpPr>
          <p:nvPr>
            <p:ph type="body" sz="quarter" idx="34" hasCustomPrompt="1"/>
          </p:nvPr>
        </p:nvSpPr>
        <p:spPr>
          <a:xfrm>
            <a:off x="9895879"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29" name="Tijdelijke aanduiding voor tekst 2">
            <a:extLst>
              <a:ext uri="{FF2B5EF4-FFF2-40B4-BE49-F238E27FC236}">
                <a16:creationId xmlns:a16="http://schemas.microsoft.com/office/drawing/2014/main" id="{A3BE2510-13D3-4DE2-AF62-4A7BCCDAC184}"/>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1505335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dkar blokken">
    <p:spTree>
      <p:nvGrpSpPr>
        <p:cNvPr id="1" name=""/>
        <p:cNvGrpSpPr/>
        <p:nvPr/>
      </p:nvGrpSpPr>
      <p:grpSpPr>
        <a:xfrm>
          <a:off x="0" y="0"/>
          <a:ext cx="0" cy="0"/>
          <a:chOff x="0" y="0"/>
          <a:chExt cx="0" cy="0"/>
        </a:xfrm>
      </p:grpSpPr>
      <p:sp>
        <p:nvSpPr>
          <p:cNvPr id="12" name="Tijdelijke aanduiding voor tekst 11">
            <a:extLst>
              <a:ext uri="{FF2B5EF4-FFF2-40B4-BE49-F238E27FC236}">
                <a16:creationId xmlns:a16="http://schemas.microsoft.com/office/drawing/2014/main" id="{BCDEE299-1134-41D1-8DCF-8F1BDF96D083}"/>
              </a:ext>
            </a:extLst>
          </p:cNvPr>
          <p:cNvSpPr>
            <a:spLocks noGrp="1"/>
          </p:cNvSpPr>
          <p:nvPr>
            <p:ph type="body" sz="quarter" idx="19" hasCustomPrompt="1"/>
          </p:nvPr>
        </p:nvSpPr>
        <p:spPr>
          <a:xfrm>
            <a:off x="71393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2" name="Titel 1">
            <a:extLst>
              <a:ext uri="{FF2B5EF4-FFF2-40B4-BE49-F238E27FC236}">
                <a16:creationId xmlns:a16="http://schemas.microsoft.com/office/drawing/2014/main" id="{49687CF9-A7F0-46DC-BF76-FC983B254C65}"/>
              </a:ext>
            </a:extLst>
          </p:cNvPr>
          <p:cNvSpPr>
            <a:spLocks noGrp="1"/>
          </p:cNvSpPr>
          <p:nvPr>
            <p:ph type="title"/>
          </p:nvPr>
        </p:nvSpPr>
        <p:spPr/>
        <p:txBody>
          <a:bodyPr/>
          <a:lstStyle/>
          <a:p>
            <a:r>
              <a:rPr lang="nl-NL" smtClean="0"/>
              <a:t>Klik om de stijl te bewerken</a:t>
            </a:r>
            <a:endParaRPr lang="nl-NL"/>
          </a:p>
        </p:txBody>
      </p:sp>
      <p:sp>
        <p:nvSpPr>
          <p:cNvPr id="3" name="Tijdelijke aanduiding voor voettekst 2">
            <a:extLst>
              <a:ext uri="{FF2B5EF4-FFF2-40B4-BE49-F238E27FC236}">
                <a16:creationId xmlns:a16="http://schemas.microsoft.com/office/drawing/2014/main" id="{CBE2FCA4-8721-428B-99C9-8E9C1158BCF4}"/>
              </a:ext>
            </a:extLst>
          </p:cNvPr>
          <p:cNvSpPr>
            <a:spLocks noGrp="1"/>
          </p:cNvSpPr>
          <p:nvPr>
            <p:ph type="ftr" sz="quarter" idx="10"/>
          </p:nvPr>
        </p:nvSpPr>
        <p:spPr/>
        <p:txBody>
          <a:bodyPr/>
          <a:lstStyle/>
          <a:p>
            <a:r>
              <a:rPr lang="nl-NL" smtClean="0"/>
              <a:t>Beleidsopties Wet Toekomst Pensioenen</a:t>
            </a:r>
            <a:endParaRPr lang="nl-NL"/>
          </a:p>
        </p:txBody>
      </p:sp>
      <p:sp>
        <p:nvSpPr>
          <p:cNvPr id="4" name="Tijdelijke aanduiding voor dianummer 3">
            <a:extLst>
              <a:ext uri="{FF2B5EF4-FFF2-40B4-BE49-F238E27FC236}">
                <a16:creationId xmlns:a16="http://schemas.microsoft.com/office/drawing/2014/main" id="{4A2C0817-6ADE-412F-9DF7-02E248F41D07}"/>
              </a:ext>
            </a:extLst>
          </p:cNvPr>
          <p:cNvSpPr>
            <a:spLocks noGrp="1"/>
          </p:cNvSpPr>
          <p:nvPr>
            <p:ph type="sldNum" sz="quarter" idx="11"/>
          </p:nvPr>
        </p:nvSpPr>
        <p:spPr/>
        <p:txBody>
          <a:bodyPr/>
          <a:lstStyle/>
          <a:p>
            <a:fld id="{FFDD6BF4-F398-43E8-ACFA-0A2EC6044D72}" type="slidenum">
              <a:rPr lang="nl-NL" smtClean="0"/>
              <a:t>‹nr.›</a:t>
            </a:fld>
            <a:endParaRPr lang="nl-NL"/>
          </a:p>
        </p:txBody>
      </p:sp>
      <p:sp>
        <p:nvSpPr>
          <p:cNvPr id="23" name="Tijdelijke aanduiding voor tekst 13">
            <a:extLst>
              <a:ext uri="{FF2B5EF4-FFF2-40B4-BE49-F238E27FC236}">
                <a16:creationId xmlns:a16="http://schemas.microsoft.com/office/drawing/2014/main" id="{B0649A9A-CC07-4676-9127-594C298F1C92}"/>
              </a:ext>
            </a:extLst>
          </p:cNvPr>
          <p:cNvSpPr>
            <a:spLocks noGrp="1"/>
          </p:cNvSpPr>
          <p:nvPr>
            <p:ph type="body" sz="quarter" idx="25" hasCustomPrompt="1"/>
          </p:nvPr>
        </p:nvSpPr>
        <p:spPr>
          <a:xfrm>
            <a:off x="71393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24" name="Tijdelijke aanduiding voor tekst 13">
            <a:extLst>
              <a:ext uri="{FF2B5EF4-FFF2-40B4-BE49-F238E27FC236}">
                <a16:creationId xmlns:a16="http://schemas.microsoft.com/office/drawing/2014/main" id="{9ECB56B9-0480-4F03-B6A4-2621446FD59B}"/>
              </a:ext>
            </a:extLst>
          </p:cNvPr>
          <p:cNvSpPr>
            <a:spLocks noGrp="1"/>
          </p:cNvSpPr>
          <p:nvPr>
            <p:ph type="body" sz="quarter" idx="26" hasCustomPrompt="1"/>
          </p:nvPr>
        </p:nvSpPr>
        <p:spPr>
          <a:xfrm>
            <a:off x="71393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35" name="Tijdelijke aanduiding voor tekst 34">
            <a:extLst>
              <a:ext uri="{FF2B5EF4-FFF2-40B4-BE49-F238E27FC236}">
                <a16:creationId xmlns:a16="http://schemas.microsoft.com/office/drawing/2014/main" id="{D05E3FCA-7DAA-4D50-B87A-D8FFC9665952}"/>
              </a:ext>
            </a:extLst>
          </p:cNvPr>
          <p:cNvSpPr>
            <a:spLocks noGrp="1"/>
          </p:cNvSpPr>
          <p:nvPr>
            <p:ph type="body" sz="quarter" idx="27" hasCustomPrompt="1"/>
          </p:nvPr>
        </p:nvSpPr>
        <p:spPr>
          <a:xfrm>
            <a:off x="300496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6" name="Tijdelijke aanduiding voor tekst 35">
            <a:extLst>
              <a:ext uri="{FF2B5EF4-FFF2-40B4-BE49-F238E27FC236}">
                <a16:creationId xmlns:a16="http://schemas.microsoft.com/office/drawing/2014/main" id="{78DBD660-4BD6-472D-B035-65BE517A01A5}"/>
              </a:ext>
            </a:extLst>
          </p:cNvPr>
          <p:cNvSpPr>
            <a:spLocks noGrp="1"/>
          </p:cNvSpPr>
          <p:nvPr>
            <p:ph type="body" sz="quarter" idx="28" hasCustomPrompt="1"/>
          </p:nvPr>
        </p:nvSpPr>
        <p:spPr>
          <a:xfrm>
            <a:off x="529599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7" name="Tijdelijke aanduiding voor tekst 36">
            <a:extLst>
              <a:ext uri="{FF2B5EF4-FFF2-40B4-BE49-F238E27FC236}">
                <a16:creationId xmlns:a16="http://schemas.microsoft.com/office/drawing/2014/main" id="{45885DAC-136A-4ABF-8CB6-D4D74C88EECD}"/>
              </a:ext>
            </a:extLst>
          </p:cNvPr>
          <p:cNvSpPr>
            <a:spLocks noGrp="1"/>
          </p:cNvSpPr>
          <p:nvPr>
            <p:ph type="body" sz="quarter" idx="29" hasCustomPrompt="1"/>
          </p:nvPr>
        </p:nvSpPr>
        <p:spPr>
          <a:xfrm>
            <a:off x="758702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8" name="Tijdelijke aanduiding voor tekst 37">
            <a:extLst>
              <a:ext uri="{FF2B5EF4-FFF2-40B4-BE49-F238E27FC236}">
                <a16:creationId xmlns:a16="http://schemas.microsoft.com/office/drawing/2014/main" id="{8D1F8791-671A-490C-A53D-1AB942CE59E6}"/>
              </a:ext>
            </a:extLst>
          </p:cNvPr>
          <p:cNvSpPr>
            <a:spLocks noGrp="1"/>
          </p:cNvSpPr>
          <p:nvPr>
            <p:ph type="body" sz="quarter" idx="30" hasCustomPrompt="1"/>
          </p:nvPr>
        </p:nvSpPr>
        <p:spPr>
          <a:xfrm>
            <a:off x="9878052"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9" name="Tijdelijke aanduiding voor tekst 13">
            <a:extLst>
              <a:ext uri="{FF2B5EF4-FFF2-40B4-BE49-F238E27FC236}">
                <a16:creationId xmlns:a16="http://schemas.microsoft.com/office/drawing/2014/main" id="{CD0198C0-477D-4765-A90C-BC62D53C6EC1}"/>
              </a:ext>
            </a:extLst>
          </p:cNvPr>
          <p:cNvSpPr>
            <a:spLocks noGrp="1"/>
          </p:cNvSpPr>
          <p:nvPr>
            <p:ph type="body" sz="quarter" idx="31" hasCustomPrompt="1"/>
          </p:nvPr>
        </p:nvSpPr>
        <p:spPr>
          <a:xfrm>
            <a:off x="300496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0" name="Tijdelijke aanduiding voor tekst 13">
            <a:extLst>
              <a:ext uri="{FF2B5EF4-FFF2-40B4-BE49-F238E27FC236}">
                <a16:creationId xmlns:a16="http://schemas.microsoft.com/office/drawing/2014/main" id="{D30EBF78-4B60-4DC0-B302-0F99ABCB286C}"/>
              </a:ext>
            </a:extLst>
          </p:cNvPr>
          <p:cNvSpPr>
            <a:spLocks noGrp="1"/>
          </p:cNvSpPr>
          <p:nvPr>
            <p:ph type="body" sz="quarter" idx="32" hasCustomPrompt="1"/>
          </p:nvPr>
        </p:nvSpPr>
        <p:spPr>
          <a:xfrm>
            <a:off x="300496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1" name="Tijdelijke aanduiding voor tekst 13">
            <a:extLst>
              <a:ext uri="{FF2B5EF4-FFF2-40B4-BE49-F238E27FC236}">
                <a16:creationId xmlns:a16="http://schemas.microsoft.com/office/drawing/2014/main" id="{F62C5A00-ED32-4A0D-9746-B46183FD171F}"/>
              </a:ext>
            </a:extLst>
          </p:cNvPr>
          <p:cNvSpPr>
            <a:spLocks noGrp="1"/>
          </p:cNvSpPr>
          <p:nvPr>
            <p:ph type="body" sz="quarter" idx="33" hasCustomPrompt="1"/>
          </p:nvPr>
        </p:nvSpPr>
        <p:spPr>
          <a:xfrm>
            <a:off x="529599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2" name="Tijdelijke aanduiding voor tekst 13">
            <a:extLst>
              <a:ext uri="{FF2B5EF4-FFF2-40B4-BE49-F238E27FC236}">
                <a16:creationId xmlns:a16="http://schemas.microsoft.com/office/drawing/2014/main" id="{1108FA4A-063F-4715-9092-B228F574C079}"/>
              </a:ext>
            </a:extLst>
          </p:cNvPr>
          <p:cNvSpPr>
            <a:spLocks noGrp="1"/>
          </p:cNvSpPr>
          <p:nvPr>
            <p:ph type="body" sz="quarter" idx="34" hasCustomPrompt="1"/>
          </p:nvPr>
        </p:nvSpPr>
        <p:spPr>
          <a:xfrm>
            <a:off x="529599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3" name="Tijdelijke aanduiding voor tekst 13">
            <a:extLst>
              <a:ext uri="{FF2B5EF4-FFF2-40B4-BE49-F238E27FC236}">
                <a16:creationId xmlns:a16="http://schemas.microsoft.com/office/drawing/2014/main" id="{B22FB843-EBE8-4ECC-85CC-222BF341678B}"/>
              </a:ext>
            </a:extLst>
          </p:cNvPr>
          <p:cNvSpPr>
            <a:spLocks noGrp="1"/>
          </p:cNvSpPr>
          <p:nvPr>
            <p:ph type="body" sz="quarter" idx="35" hasCustomPrompt="1"/>
          </p:nvPr>
        </p:nvSpPr>
        <p:spPr>
          <a:xfrm>
            <a:off x="758702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4" name="Tijdelijke aanduiding voor tekst 13">
            <a:extLst>
              <a:ext uri="{FF2B5EF4-FFF2-40B4-BE49-F238E27FC236}">
                <a16:creationId xmlns:a16="http://schemas.microsoft.com/office/drawing/2014/main" id="{B71AF246-84BC-4479-84AF-EB5D75A9729C}"/>
              </a:ext>
            </a:extLst>
          </p:cNvPr>
          <p:cNvSpPr>
            <a:spLocks noGrp="1"/>
          </p:cNvSpPr>
          <p:nvPr>
            <p:ph type="body" sz="quarter" idx="36" hasCustomPrompt="1"/>
          </p:nvPr>
        </p:nvSpPr>
        <p:spPr>
          <a:xfrm>
            <a:off x="758702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5" name="Tijdelijke aanduiding voor tekst 13">
            <a:extLst>
              <a:ext uri="{FF2B5EF4-FFF2-40B4-BE49-F238E27FC236}">
                <a16:creationId xmlns:a16="http://schemas.microsoft.com/office/drawing/2014/main" id="{62E45C98-F33D-4D51-BAAE-D531C9213316}"/>
              </a:ext>
            </a:extLst>
          </p:cNvPr>
          <p:cNvSpPr>
            <a:spLocks noGrp="1"/>
          </p:cNvSpPr>
          <p:nvPr>
            <p:ph type="body" sz="quarter" idx="37" hasCustomPrompt="1"/>
          </p:nvPr>
        </p:nvSpPr>
        <p:spPr>
          <a:xfrm>
            <a:off x="9878052"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6" name="Tijdelijke aanduiding voor tekst 13">
            <a:extLst>
              <a:ext uri="{FF2B5EF4-FFF2-40B4-BE49-F238E27FC236}">
                <a16:creationId xmlns:a16="http://schemas.microsoft.com/office/drawing/2014/main" id="{8C6CB479-EB7D-4F19-A4C1-51894BAA78D5}"/>
              </a:ext>
            </a:extLst>
          </p:cNvPr>
          <p:cNvSpPr>
            <a:spLocks noGrp="1"/>
          </p:cNvSpPr>
          <p:nvPr>
            <p:ph type="body" sz="quarter" idx="38" hasCustomPrompt="1"/>
          </p:nvPr>
        </p:nvSpPr>
        <p:spPr>
          <a:xfrm>
            <a:off x="9878052"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7" name="Tijdelijke aanduiding voor tekst 7">
            <a:extLst>
              <a:ext uri="{FF2B5EF4-FFF2-40B4-BE49-F238E27FC236}">
                <a16:creationId xmlns:a16="http://schemas.microsoft.com/office/drawing/2014/main" id="{9BD50813-2BC3-4067-A41D-078D9FCA8242}"/>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1" name="Tijdelijke aanduiding voor tekst 2">
            <a:extLst>
              <a:ext uri="{FF2B5EF4-FFF2-40B4-BE49-F238E27FC236}">
                <a16:creationId xmlns:a16="http://schemas.microsoft.com/office/drawing/2014/main" id="{DC91894E-D09E-45B9-8D16-1ECAEBCD71A8}"/>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5813939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ee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FDD6BF4-F398-43E8-ACFA-0A2EC6044D72}" type="slidenum">
              <a:rPr lang="nl-NL" smtClean="0"/>
              <a:t>‹nr.›</a:t>
            </a:fld>
            <a:endParaRPr lang="nl-NL"/>
          </a:p>
        </p:txBody>
      </p:sp>
      <p:sp>
        <p:nvSpPr>
          <p:cNvPr id="2" name="Footer Placeholder 1">
            <a:extLst>
              <a:ext uri="{FF2B5EF4-FFF2-40B4-BE49-F238E27FC236}">
                <a16:creationId xmlns:a16="http://schemas.microsoft.com/office/drawing/2014/main" id="{534FAF25-D24D-44D2-894E-EBBB949A6FFD}"/>
              </a:ext>
            </a:extLst>
          </p:cNvPr>
          <p:cNvSpPr>
            <a:spLocks noGrp="1"/>
          </p:cNvSpPr>
          <p:nvPr>
            <p:ph type="ftr" sz="quarter" idx="13"/>
          </p:nvPr>
        </p:nvSpPr>
        <p:spPr/>
        <p:txBody>
          <a:bodyPr/>
          <a:lstStyle/>
          <a:p>
            <a:r>
              <a:rPr lang="nl-NL" smtClean="0"/>
              <a:t>Beleidsopties Wet Toekomst Pensioenen</a:t>
            </a:r>
            <a:endParaRPr lang="nl-NL"/>
          </a:p>
        </p:txBody>
      </p:sp>
      <p:sp>
        <p:nvSpPr>
          <p:cNvPr id="5" name="Tijdelijke aanduiding voor tekst 2">
            <a:extLst>
              <a:ext uri="{FF2B5EF4-FFF2-40B4-BE49-F238E27FC236}">
                <a16:creationId xmlns:a16="http://schemas.microsoft.com/office/drawing/2014/main" id="{7A44F8EE-C0E5-45A0-ADE6-DBE42C019653}"/>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61341216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Afsluit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06157A-3267-4B7C-B32B-E3F546CB1B9B}"/>
              </a:ext>
            </a:extLst>
          </p:cNvPr>
          <p:cNvSpPr/>
          <p:nvPr/>
        </p:nvSpPr>
        <p:spPr>
          <a:xfrm>
            <a:off x="0" y="1151467"/>
            <a:ext cx="12192000" cy="5706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p>
        </p:txBody>
      </p:sp>
      <p:sp>
        <p:nvSpPr>
          <p:cNvPr id="19" name="Freeform: Shape 18">
            <a:extLst>
              <a:ext uri="{FF2B5EF4-FFF2-40B4-BE49-F238E27FC236}">
                <a16:creationId xmlns:a16="http://schemas.microsoft.com/office/drawing/2014/main" id="{4ABF5EBF-192F-43EF-8C53-E28C2E7AE74F}"/>
              </a:ext>
            </a:extLst>
          </p:cNvPr>
          <p:cNvSpPr>
            <a:spLocks/>
          </p:cNvSpPr>
          <p:nvPr/>
        </p:nvSpPr>
        <p:spPr bwMode="auto">
          <a:xfrm flipH="1">
            <a:off x="2" y="1151466"/>
            <a:ext cx="12175905" cy="5706535"/>
          </a:xfrm>
          <a:custGeom>
            <a:avLst/>
            <a:gdLst>
              <a:gd name="connsiteX0" fmla="*/ 9131929 w 9131929"/>
              <a:gd name="connsiteY0" fmla="*/ 0 h 4279901"/>
              <a:gd name="connsiteX1" fmla="*/ 2122834 w 9131929"/>
              <a:gd name="connsiteY1" fmla="*/ 0 h 4279901"/>
              <a:gd name="connsiteX2" fmla="*/ 1881429 w 9131929"/>
              <a:gd name="connsiteY2" fmla="*/ 486705 h 4279901"/>
              <a:gd name="connsiteX3" fmla="*/ 67965 w 9131929"/>
              <a:gd name="connsiteY3" fmla="*/ 4142875 h 4279901"/>
              <a:gd name="connsiteX4" fmla="*/ 0 w 9131929"/>
              <a:gd name="connsiteY4" fmla="*/ 4279901 h 4279901"/>
              <a:gd name="connsiteX5" fmla="*/ 6984374 w 9131929"/>
              <a:gd name="connsiteY5" fmla="*/ 4279901 h 4279901"/>
              <a:gd name="connsiteX6" fmla="*/ 7057070 w 9131929"/>
              <a:gd name="connsiteY6" fmla="*/ 4135024 h 4279901"/>
              <a:gd name="connsiteX7" fmla="*/ 9125343 w 9131929"/>
              <a:gd name="connsiteY7" fmla="*/ 13125 h 427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31929" h="4279901">
                <a:moveTo>
                  <a:pt x="9131929" y="0"/>
                </a:moveTo>
                <a:lnTo>
                  <a:pt x="2122834" y="0"/>
                </a:lnTo>
                <a:lnTo>
                  <a:pt x="1881429" y="486705"/>
                </a:lnTo>
                <a:cubicBezTo>
                  <a:pt x="1202408" y="1855696"/>
                  <a:pt x="600867" y="3068477"/>
                  <a:pt x="67965" y="4142875"/>
                </a:cubicBezTo>
                <a:lnTo>
                  <a:pt x="0" y="4279901"/>
                </a:lnTo>
                <a:lnTo>
                  <a:pt x="6984374" y="4279901"/>
                </a:lnTo>
                <a:lnTo>
                  <a:pt x="7057070" y="4135024"/>
                </a:lnTo>
                <a:cubicBezTo>
                  <a:pt x="8551097" y="1157549"/>
                  <a:pt x="8994027" y="274822"/>
                  <a:pt x="9125343" y="13125"/>
                </a:cubicBezTo>
                <a:close/>
              </a:path>
            </a:pathLst>
          </a:custGeom>
          <a:solidFill>
            <a:srgbClr val="05548D"/>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2" name="Title 1"/>
          <p:cNvSpPr>
            <a:spLocks noGrp="1"/>
          </p:cNvSpPr>
          <p:nvPr>
            <p:ph type="ctrTitle" hasCustomPrompt="1"/>
          </p:nvPr>
        </p:nvSpPr>
        <p:spPr>
          <a:xfrm>
            <a:off x="2383367" y="1845734"/>
            <a:ext cx="7046384" cy="453457"/>
          </a:xfrm>
          <a:prstGeom prst="rect">
            <a:avLst/>
          </a:prstGeom>
        </p:spPr>
        <p:txBody>
          <a:bodyPr wrap="square" anchor="t" anchorCtr="0">
            <a:spAutoFit/>
          </a:bodyPr>
          <a:lstStyle>
            <a:lvl1pPr algn="l">
              <a:lnSpc>
                <a:spcPct val="85000"/>
              </a:lnSpc>
              <a:defRPr sz="3467">
                <a:solidFill>
                  <a:schemeClr val="bg1"/>
                </a:solidFill>
              </a:defRPr>
            </a:lvl1pPr>
          </a:lstStyle>
          <a:p>
            <a:r>
              <a:rPr lang="nl-NL" dirty="0"/>
              <a:t>Bedankt voor uw aandacht</a:t>
            </a:r>
          </a:p>
        </p:txBody>
      </p:sp>
      <p:sp>
        <p:nvSpPr>
          <p:cNvPr id="3" name="Subtitle 2"/>
          <p:cNvSpPr>
            <a:spLocks noGrp="1"/>
          </p:cNvSpPr>
          <p:nvPr>
            <p:ph type="subTitle" idx="1" hasCustomPrompt="1"/>
          </p:nvPr>
        </p:nvSpPr>
        <p:spPr>
          <a:xfrm>
            <a:off x="2383367" y="3091203"/>
            <a:ext cx="7046384" cy="315044"/>
          </a:xfrm>
        </p:spPr>
        <p:txBody>
          <a:bodyPr wrap="square">
            <a:sp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Contactgegevens</a:t>
            </a:r>
          </a:p>
        </p:txBody>
      </p:sp>
      <p:cxnSp>
        <p:nvCxnSpPr>
          <p:cNvPr id="5" name="Straight Connector 4">
            <a:extLst>
              <a:ext uri="{FF2B5EF4-FFF2-40B4-BE49-F238E27FC236}">
                <a16:creationId xmlns:a16="http://schemas.microsoft.com/office/drawing/2014/main" id="{F1DB84A9-5B68-484C-82CF-E77CF0C32F66}"/>
              </a:ext>
            </a:extLst>
          </p:cNvPr>
          <p:cNvCxnSpPr/>
          <p:nvPr/>
        </p:nvCxnSpPr>
        <p:spPr>
          <a:xfrm>
            <a:off x="0" y="1151467"/>
            <a:ext cx="1219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F608574-EC0E-4936-AEED-ADA71D0CA5CC}"/>
              </a:ext>
            </a:extLst>
          </p:cNvPr>
          <p:cNvPicPr>
            <a:picLocks noChangeAspect="1"/>
          </p:cNvPicPr>
          <p:nvPr/>
        </p:nvPicPr>
        <p:blipFill rotWithShape="1">
          <a:blip r:embed="rId2"/>
          <a:srcRect l="8924" t="8924" r="8924" b="11794"/>
          <a:stretch/>
        </p:blipFill>
        <p:spPr>
          <a:xfrm>
            <a:off x="2286001" y="258636"/>
            <a:ext cx="1978780" cy="721497"/>
          </a:xfrm>
          <a:prstGeom prst="rect">
            <a:avLst/>
          </a:prstGeom>
        </p:spPr>
      </p:pic>
    </p:spTree>
    <p:extLst>
      <p:ext uri="{BB962C8B-B14F-4D97-AF65-F5344CB8AC3E}">
        <p14:creationId xmlns:p14="http://schemas.microsoft.com/office/powerpoint/2010/main" val="87906582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Uitleg template">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B336A25F-C128-487B-872F-1EF01DF3E16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14917" y="1844713"/>
            <a:ext cx="1823515" cy="4272455"/>
          </a:xfrm>
          <a:prstGeom prst="rect">
            <a:avLst/>
          </a:prstGeom>
          <a:effectLst>
            <a:outerShdw blurRad="63500" sx="101000" sy="101000" algn="ctr" rotWithShape="0">
              <a:prstClr val="black">
                <a:alpha val="20000"/>
              </a:prstClr>
            </a:outerShdw>
          </a:effectLst>
        </p:spPr>
      </p:pic>
      <p:sp>
        <p:nvSpPr>
          <p:cNvPr id="5" name="Title 1">
            <a:extLst>
              <a:ext uri="{FF2B5EF4-FFF2-40B4-BE49-F238E27FC236}">
                <a16:creationId xmlns:a16="http://schemas.microsoft.com/office/drawing/2014/main" id="{DCD17A6D-F621-4580-8F26-40F8CAB32EAC}"/>
              </a:ext>
            </a:extLst>
          </p:cNvPr>
          <p:cNvSpPr txBox="1">
            <a:spLocks/>
          </p:cNvSpPr>
          <p:nvPr/>
        </p:nvSpPr>
        <p:spPr>
          <a:xfrm>
            <a:off x="817035" y="508880"/>
            <a:ext cx="7200000" cy="443198"/>
          </a:xfrm>
          <a:prstGeom prst="rect">
            <a:avLst/>
          </a:prstGeom>
        </p:spPr>
        <p:txBody>
          <a:bodyPr vert="horz" wrap="square" lIns="0" tIns="0" rIns="0" bIns="0" rtlCol="0" anchor="b" anchorCtr="0">
            <a:spAutoFit/>
          </a:bodyPr>
          <a:lstStyle>
            <a:lvl1pPr algn="l" defTabSz="685800" rtl="0" eaLnBrk="1" latinLnBrk="0" hangingPunct="1">
              <a:lnSpc>
                <a:spcPct val="90000"/>
              </a:lnSpc>
              <a:spcBef>
                <a:spcPct val="0"/>
              </a:spcBef>
              <a:buNone/>
              <a:defRPr sz="2600" b="0" kern="1200" cap="all" baseline="0">
                <a:solidFill>
                  <a:schemeClr val="tx1"/>
                </a:solidFill>
                <a:latin typeface="+mj-lt"/>
                <a:ea typeface="+mj-ea"/>
                <a:cs typeface="+mj-cs"/>
              </a:defRPr>
            </a:lvl1pPr>
          </a:lstStyle>
          <a:p>
            <a:r>
              <a:rPr lang="nl-NL" sz="3200" dirty="0"/>
              <a:t>Korte uitleg over de template</a:t>
            </a:r>
          </a:p>
        </p:txBody>
      </p:sp>
      <p:sp>
        <p:nvSpPr>
          <p:cNvPr id="3" name="Vrije vorm 29">
            <a:extLst>
              <a:ext uri="{FF2B5EF4-FFF2-40B4-BE49-F238E27FC236}">
                <a16:creationId xmlns:a16="http://schemas.microsoft.com/office/drawing/2014/main" id="{9E8933A5-E3E6-4514-92DD-3ACA6E7BCFF0}"/>
              </a:ext>
            </a:extLst>
          </p:cNvPr>
          <p:cNvSpPr/>
          <p:nvPr/>
        </p:nvSpPr>
        <p:spPr>
          <a:xfrm>
            <a:off x="4622802" y="6117168"/>
            <a:ext cx="3596639" cy="405553"/>
          </a:xfrm>
          <a:custGeom>
            <a:avLst/>
            <a:gdLst>
              <a:gd name="connsiteX0" fmla="*/ 3310759 w 3310759"/>
              <a:gd name="connsiteY0" fmla="*/ 0 h 938049"/>
              <a:gd name="connsiteX1" fmla="*/ 3310759 w 3310759"/>
              <a:gd name="connsiteY1" fmla="*/ 938049 h 938049"/>
              <a:gd name="connsiteX2" fmla="*/ 0 w 3310759"/>
              <a:gd name="connsiteY2" fmla="*/ 938049 h 938049"/>
            </a:gdLst>
            <a:ahLst/>
            <a:cxnLst>
              <a:cxn ang="0">
                <a:pos x="connsiteX0" y="connsiteY0"/>
              </a:cxn>
              <a:cxn ang="0">
                <a:pos x="connsiteX1" y="connsiteY1"/>
              </a:cxn>
              <a:cxn ang="0">
                <a:pos x="connsiteX2" y="connsiteY2"/>
              </a:cxn>
            </a:cxnLst>
            <a:rect l="l" t="t" r="r" b="b"/>
            <a:pathLst>
              <a:path w="3310759" h="938049">
                <a:moveTo>
                  <a:pt x="3310759" y="0"/>
                </a:moveTo>
                <a:lnTo>
                  <a:pt x="3310759" y="938049"/>
                </a:lnTo>
                <a:lnTo>
                  <a:pt x="0" y="938049"/>
                </a:lnTo>
              </a:path>
            </a:pathLst>
          </a:custGeom>
          <a:noFill/>
          <a:ln>
            <a:solidFill>
              <a:schemeClr val="tx1"/>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49" noProof="0" dirty="0">
              <a:solidFill>
                <a:schemeClr val="tx1"/>
              </a:solidFill>
              <a:latin typeface="+mn-lt"/>
            </a:endParaRPr>
          </a:p>
        </p:txBody>
      </p:sp>
      <p:sp>
        <p:nvSpPr>
          <p:cNvPr id="4" name="Content Placeholder 3">
            <a:extLst>
              <a:ext uri="{FF2B5EF4-FFF2-40B4-BE49-F238E27FC236}">
                <a16:creationId xmlns:a16="http://schemas.microsoft.com/office/drawing/2014/main" id="{E1F6C124-F418-48E8-B25E-68C1AFEEC348}"/>
              </a:ext>
            </a:extLst>
          </p:cNvPr>
          <p:cNvSpPr txBox="1">
            <a:spLocks/>
          </p:cNvSpPr>
          <p:nvPr/>
        </p:nvSpPr>
        <p:spPr>
          <a:xfrm>
            <a:off x="814920" y="1316568"/>
            <a:ext cx="5057561" cy="36503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Wanneer je een </a:t>
            </a:r>
            <a:r>
              <a:rPr lang="nl-NL" sz="1133" b="1" noProof="0" dirty="0">
                <a:solidFill>
                  <a:schemeClr val="tx1"/>
                </a:solidFill>
                <a:latin typeface="+mn-lt"/>
              </a:rPr>
              <a:t>nieuwe presentatie </a:t>
            </a:r>
            <a:r>
              <a:rPr lang="nl-NL" sz="1133" noProof="0" dirty="0">
                <a:solidFill>
                  <a:schemeClr val="tx1"/>
                </a:solidFill>
                <a:latin typeface="+mn-lt"/>
              </a:rPr>
              <a:t>start, staan hierin een aantal basis-dia’s. Deze zijn aan te vullen met diverse dia’s:</a:t>
            </a:r>
          </a:p>
        </p:txBody>
      </p:sp>
      <p:sp>
        <p:nvSpPr>
          <p:cNvPr id="6" name="Content Placeholder 4">
            <a:extLst>
              <a:ext uri="{FF2B5EF4-FFF2-40B4-BE49-F238E27FC236}">
                <a16:creationId xmlns:a16="http://schemas.microsoft.com/office/drawing/2014/main" id="{CA4929E9-2748-4F71-9BB2-88D3BF972835}"/>
              </a:ext>
            </a:extLst>
          </p:cNvPr>
          <p:cNvSpPr txBox="1">
            <a:spLocks/>
          </p:cNvSpPr>
          <p:nvPr/>
        </p:nvSpPr>
        <p:spPr>
          <a:xfrm>
            <a:off x="7998946" y="1316567"/>
            <a:ext cx="3175948" cy="74860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De meeste dia’s bevatten een blokje met verschillende </a:t>
            </a:r>
            <a:r>
              <a:rPr lang="nl-NL" sz="1133" b="1" noProof="0" dirty="0">
                <a:solidFill>
                  <a:schemeClr val="tx1"/>
                </a:solidFill>
                <a:latin typeface="+mn-lt"/>
              </a:rPr>
              <a:t>pictogrammen</a:t>
            </a:r>
            <a:r>
              <a:rPr lang="nl-NL" sz="1133" noProof="0" dirty="0">
                <a:solidFill>
                  <a:schemeClr val="tx1"/>
                </a:solidFill>
                <a:latin typeface="+mn-lt"/>
              </a:rPr>
              <a:t> (‘tijdelijke aanduidingen’). Door op het gewenste pictogram te klikken kun je die inhoud </a:t>
            </a:r>
          </a:p>
        </p:txBody>
      </p:sp>
      <p:sp>
        <p:nvSpPr>
          <p:cNvPr id="7" name="Content Placeholder 3">
            <a:extLst>
              <a:ext uri="{FF2B5EF4-FFF2-40B4-BE49-F238E27FC236}">
                <a16:creationId xmlns:a16="http://schemas.microsoft.com/office/drawing/2014/main" id="{FCFD544F-B37E-4D8A-A686-B520DBA518C1}"/>
              </a:ext>
            </a:extLst>
          </p:cNvPr>
          <p:cNvSpPr txBox="1">
            <a:spLocks/>
          </p:cNvSpPr>
          <p:nvPr/>
        </p:nvSpPr>
        <p:spPr>
          <a:xfrm>
            <a:off x="2997201" y="2113281"/>
            <a:ext cx="2885440" cy="3050002"/>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190834" indent="-190834">
              <a:lnSpc>
                <a:spcPct val="110000"/>
              </a:lnSpc>
              <a:buSzPct val="100000"/>
              <a:buFont typeface="+mj-lt"/>
              <a:buAutoNum type="arabicPeriod"/>
            </a:pPr>
            <a:r>
              <a:rPr lang="nl-NL" sz="1133" noProof="0" dirty="0">
                <a:solidFill>
                  <a:schemeClr val="tx1"/>
                </a:solidFill>
                <a:latin typeface="+mn-lt"/>
              </a:rPr>
              <a:t>Klik op het tabblad ‘</a:t>
            </a:r>
            <a:r>
              <a:rPr lang="nl-NL" sz="1133" b="1" noProof="0" dirty="0">
                <a:solidFill>
                  <a:schemeClr val="tx1"/>
                </a:solidFill>
                <a:latin typeface="+mn-lt"/>
              </a:rPr>
              <a:t>Start</a:t>
            </a:r>
            <a:r>
              <a:rPr lang="nl-NL" sz="1133" noProof="0" dirty="0">
                <a:solidFill>
                  <a:schemeClr val="tx1"/>
                </a:solidFill>
                <a:latin typeface="+mn-lt"/>
              </a:rPr>
              <a:t>’ op ‘</a:t>
            </a:r>
            <a:r>
              <a:rPr lang="nl-NL" sz="1133" b="1" noProof="0" dirty="0">
                <a:solidFill>
                  <a:schemeClr val="tx1"/>
                </a:solidFill>
                <a:latin typeface="+mn-lt"/>
              </a:rPr>
              <a:t>Nieuwe Dia</a:t>
            </a:r>
            <a:r>
              <a:rPr lang="nl-NL" sz="1133" noProof="0" dirty="0">
                <a:solidFill>
                  <a:schemeClr val="tx1"/>
                </a:solidFill>
                <a:latin typeface="+mn-lt"/>
              </a:rPr>
              <a:t>’ (onder het dia-pictogram). Hierdoor worden de indelingsopties weergegeven. </a:t>
            </a: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Klik op een</a:t>
            </a:r>
            <a:r>
              <a:rPr lang="nl-NL" sz="1133" b="1" noProof="0" dirty="0">
                <a:solidFill>
                  <a:schemeClr val="tx1"/>
                </a:solidFill>
                <a:latin typeface="+mn-lt"/>
              </a:rPr>
              <a:t> ‘Dia-indeling’ </a:t>
            </a:r>
            <a:r>
              <a:rPr lang="nl-NL" sz="1133" noProof="0" dirty="0">
                <a:solidFill>
                  <a:schemeClr val="tx1"/>
                </a:solidFill>
                <a:latin typeface="+mn-lt"/>
              </a:rPr>
              <a:t>van je keuze om deze in te voegen. Je voegt dan een ‘lege’ dia in, waarop je je eigen inhoud kunt invullen</a:t>
            </a:r>
            <a:endParaRPr lang="nl-NL" sz="1133" b="1" noProof="0" dirty="0">
              <a:solidFill>
                <a:schemeClr val="accent4"/>
              </a:solidFill>
              <a:latin typeface="+mn-lt"/>
            </a:endParaRP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De indeling van een dia veranderen:</a:t>
            </a:r>
          </a:p>
          <a:p>
            <a:pPr marL="383386" lvl="1" indent="-190834">
              <a:lnSpc>
                <a:spcPct val="110000"/>
              </a:lnSpc>
              <a:buSzPct val="100000"/>
            </a:pPr>
            <a:r>
              <a:rPr lang="nl-NL" sz="1133" noProof="0" dirty="0">
                <a:solidFill>
                  <a:schemeClr val="tx1"/>
                </a:solidFill>
                <a:latin typeface="+mn-lt"/>
              </a:rPr>
              <a:t>Klik op het tabblad ‘</a:t>
            </a:r>
            <a:r>
              <a:rPr lang="nl-NL" sz="1133" b="0" noProof="0" dirty="0">
                <a:solidFill>
                  <a:schemeClr val="tx1"/>
                </a:solidFill>
                <a:latin typeface="+mn-lt"/>
              </a:rPr>
              <a:t>Start</a:t>
            </a:r>
            <a:r>
              <a:rPr lang="nl-NL" sz="1133" noProof="0" dirty="0">
                <a:solidFill>
                  <a:schemeClr val="tx1"/>
                </a:solidFill>
                <a:latin typeface="+mn-lt"/>
              </a:rPr>
              <a:t>’ op ‘</a:t>
            </a:r>
            <a:r>
              <a:rPr lang="nl-NL" sz="1133" b="1" noProof="0" dirty="0">
                <a:solidFill>
                  <a:schemeClr val="tx1"/>
                </a:solidFill>
                <a:latin typeface="+mn-lt"/>
              </a:rPr>
              <a:t>Indeling</a:t>
            </a:r>
            <a:r>
              <a:rPr lang="nl-NL" sz="1133" noProof="0" dirty="0">
                <a:solidFill>
                  <a:schemeClr val="tx1"/>
                </a:solidFill>
                <a:latin typeface="+mn-lt"/>
              </a:rPr>
              <a:t>’.</a:t>
            </a:r>
          </a:p>
          <a:p>
            <a:pPr marL="383386" lvl="1" indent="-190834">
              <a:lnSpc>
                <a:spcPct val="110000"/>
              </a:lnSpc>
              <a:buSzPct val="100000"/>
            </a:pPr>
            <a:r>
              <a:rPr lang="nl-NL" sz="1133" noProof="0" dirty="0">
                <a:solidFill>
                  <a:schemeClr val="tx1"/>
                </a:solidFill>
                <a:latin typeface="+mn-lt"/>
              </a:rPr>
              <a:t>Kies een andere Indeling</a:t>
            </a:r>
            <a:r>
              <a:rPr lang="nl-NL" sz="1133" baseline="0" noProof="0" dirty="0">
                <a:solidFill>
                  <a:schemeClr val="tx1"/>
                </a:solidFill>
                <a:latin typeface="+mn-lt"/>
              </a:rPr>
              <a:t> uit de lijst en deze wordt toegepast</a:t>
            </a:r>
            <a:endParaRPr lang="nl-NL" sz="1133" noProof="0" dirty="0">
              <a:solidFill>
                <a:schemeClr val="tx1"/>
              </a:solidFill>
              <a:latin typeface="+mn-lt"/>
            </a:endParaRP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De ‘</a:t>
            </a:r>
            <a:r>
              <a:rPr lang="nl-NL" sz="1133" b="1" noProof="0" dirty="0">
                <a:solidFill>
                  <a:schemeClr val="tx1"/>
                </a:solidFill>
                <a:latin typeface="+mn-lt"/>
              </a:rPr>
              <a:t>Opnieuw</a:t>
            </a:r>
            <a:r>
              <a:rPr lang="nl-NL" sz="1133" b="1" baseline="0" noProof="0" dirty="0">
                <a:solidFill>
                  <a:schemeClr val="tx1"/>
                </a:solidFill>
                <a:latin typeface="+mn-lt"/>
              </a:rPr>
              <a:t> instellen</a:t>
            </a:r>
            <a:r>
              <a:rPr lang="nl-NL" sz="1133" noProof="0" dirty="0">
                <a:solidFill>
                  <a:schemeClr val="tx1"/>
                </a:solidFill>
                <a:latin typeface="+mn-lt"/>
              </a:rPr>
              <a:t>’-knop past de huidige indeling opnieuw toe. </a:t>
            </a:r>
          </a:p>
        </p:txBody>
      </p:sp>
      <p:sp>
        <p:nvSpPr>
          <p:cNvPr id="8" name="Content Placeholder 4">
            <a:extLst>
              <a:ext uri="{FF2B5EF4-FFF2-40B4-BE49-F238E27FC236}">
                <a16:creationId xmlns:a16="http://schemas.microsoft.com/office/drawing/2014/main" id="{473E0ECD-4AAE-4CC2-8C8E-861EE883B07E}"/>
              </a:ext>
            </a:extLst>
          </p:cNvPr>
          <p:cNvSpPr txBox="1">
            <a:spLocks/>
          </p:cNvSpPr>
          <p:nvPr/>
        </p:nvSpPr>
        <p:spPr>
          <a:xfrm>
            <a:off x="6680901" y="2099435"/>
            <a:ext cx="4493993" cy="94038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invoegen, bijvoorbeeld een tabel, een grafiek of een afbeelding uit bestand. Je kunt de pictogrammen ook negeren en gewoon een tekst typen. Bij tijdelijke aanduidingen met alleen het </a:t>
            </a:r>
            <a:r>
              <a:rPr lang="nl-NL" sz="1133" b="1" noProof="0" dirty="0" err="1">
                <a:solidFill>
                  <a:schemeClr val="tx1"/>
                </a:solidFill>
                <a:latin typeface="+mn-lt"/>
              </a:rPr>
              <a:t>Afbeeldings</a:t>
            </a:r>
            <a:r>
              <a:rPr lang="nl-NL" sz="1133" b="1" noProof="0" dirty="0">
                <a:solidFill>
                  <a:schemeClr val="tx1"/>
                </a:solidFill>
                <a:latin typeface="+mn-lt"/>
              </a:rPr>
              <a:t>-pictogram</a:t>
            </a:r>
            <a:r>
              <a:rPr lang="nl-NL" sz="1133" noProof="0" dirty="0">
                <a:solidFill>
                  <a:schemeClr val="tx1"/>
                </a:solidFill>
                <a:latin typeface="+mn-lt"/>
              </a:rPr>
              <a:t> (met grijze achtergrond) worden de foto’s op maat gemaakt.</a:t>
            </a:r>
          </a:p>
        </p:txBody>
      </p:sp>
      <p:sp>
        <p:nvSpPr>
          <p:cNvPr id="10" name="Content Placeholder 6">
            <a:extLst>
              <a:ext uri="{FF2B5EF4-FFF2-40B4-BE49-F238E27FC236}">
                <a16:creationId xmlns:a16="http://schemas.microsoft.com/office/drawing/2014/main" id="{00FF0DAC-F67F-4B88-B398-F25501B4C5F3}"/>
              </a:ext>
            </a:extLst>
          </p:cNvPr>
          <p:cNvSpPr txBox="1">
            <a:spLocks/>
          </p:cNvSpPr>
          <p:nvPr>
            <p:custDataLst>
              <p:tags r:id="rId1"/>
            </p:custDataLst>
          </p:nvPr>
        </p:nvSpPr>
        <p:spPr>
          <a:xfrm>
            <a:off x="6680900" y="5329905"/>
            <a:ext cx="4696181" cy="365036"/>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Ubuntu Light" panose="020B0304030602030204" pitchFamily="34" charset="0"/>
              <a:buChar char="•"/>
              <a:defRPr sz="1000">
                <a:solidFill>
                  <a:schemeClr val="tx2"/>
                </a:solidFill>
              </a:defRPr>
            </a:lvl2pPr>
            <a:lvl3pPr marL="628650" indent="-180975">
              <a:lnSpc>
                <a:spcPct val="120000"/>
              </a:lnSpc>
              <a:spcBef>
                <a:spcPts val="0"/>
              </a:spcBef>
              <a:buFont typeface="Ubuntu" panose="020B0504030602030204" pitchFamily="34" charset="0"/>
              <a:buChar char="-"/>
              <a:defRPr sz="1000">
                <a:solidFill>
                  <a:schemeClr val="tx2"/>
                </a:solidFill>
              </a:defRPr>
            </a:lvl3pPr>
            <a:lvl4pPr marL="806450" indent="-177800">
              <a:lnSpc>
                <a:spcPct val="120000"/>
              </a:lnSpc>
              <a:spcBef>
                <a:spcPts val="0"/>
              </a:spcBef>
              <a:buFont typeface="Ubuntu" panose="020B0504030602030204" pitchFamily="34" charset="0"/>
              <a:buChar char="·"/>
              <a:defRPr sz="1000">
                <a:solidFill>
                  <a:schemeClr val="tx2"/>
                </a:solidFill>
              </a:defRPr>
            </a:lvl4pPr>
            <a:lvl5pPr marL="2057400" indent="-228600">
              <a:lnSpc>
                <a:spcPct val="120000"/>
              </a:lnSpc>
              <a:spcBef>
                <a:spcPts val="0"/>
              </a:spcBef>
              <a:buFont typeface="Ubuntu Light" panose="020B0304030602030204" pitchFamily="34" charset="0"/>
              <a:buChar char="»"/>
              <a:defRPr sz="1000">
                <a:solidFill>
                  <a:schemeClr val="tx2"/>
                </a:solidFill>
              </a:defRPr>
            </a:lvl5pPr>
            <a:lvl6pPr marL="2514600" indent="-228600">
              <a:spcBef>
                <a:spcPct val="20000"/>
              </a:spcBef>
              <a:buFont typeface="Ubuntu Light" panose="020B0304030602030204" pitchFamily="34" charset="0"/>
              <a:buChar char="•"/>
              <a:defRPr sz="2000"/>
            </a:lvl6pPr>
            <a:lvl7pPr marL="2971800" indent="-228600">
              <a:spcBef>
                <a:spcPct val="20000"/>
              </a:spcBef>
              <a:buFont typeface="Ubuntu Light" panose="020B0304030602030204" pitchFamily="34" charset="0"/>
              <a:buChar char="•"/>
              <a:defRPr sz="2000"/>
            </a:lvl7pPr>
            <a:lvl8pPr marL="3429000" indent="-228600">
              <a:spcBef>
                <a:spcPct val="20000"/>
              </a:spcBef>
              <a:buFont typeface="Ubuntu Light" panose="020B0304030602030204" pitchFamily="34" charset="0"/>
              <a:buChar char="•"/>
              <a:defRPr sz="2000"/>
            </a:lvl8pPr>
            <a:lvl9pPr marL="3886200" indent="-228600">
              <a:spcBef>
                <a:spcPct val="20000"/>
              </a:spcBef>
              <a:buFont typeface="Ubuntu Light" panose="020B0304030602030204" pitchFamily="34" charset="0"/>
              <a:buChar char="•"/>
              <a:defRPr sz="2000"/>
            </a:lvl9pPr>
          </a:lstStyle>
          <a:p>
            <a:pPr>
              <a:lnSpc>
                <a:spcPct val="110000"/>
              </a:lnSpc>
            </a:pPr>
            <a:r>
              <a:rPr lang="nl-NL" sz="1133" noProof="0" dirty="0">
                <a:solidFill>
                  <a:schemeClr val="tx1"/>
                </a:solidFill>
                <a:latin typeface="+mn-lt"/>
              </a:rPr>
              <a:t>Vul de </a:t>
            </a:r>
            <a:r>
              <a:rPr lang="nl-NL" sz="1133" b="1" noProof="0" dirty="0">
                <a:solidFill>
                  <a:schemeClr val="tx1"/>
                </a:solidFill>
                <a:latin typeface="+mn-lt"/>
              </a:rPr>
              <a:t>Presentatietitel </a:t>
            </a:r>
            <a:r>
              <a:rPr lang="nl-NL" sz="1133" b="0" noProof="0" dirty="0">
                <a:solidFill>
                  <a:schemeClr val="tx1"/>
                </a:solidFill>
                <a:latin typeface="+mn-lt"/>
              </a:rPr>
              <a:t>(links</a:t>
            </a:r>
            <a:r>
              <a:rPr lang="nl-NL" sz="1133" noProof="0" dirty="0">
                <a:solidFill>
                  <a:schemeClr val="tx1"/>
                </a:solidFill>
                <a:latin typeface="+mn-lt"/>
              </a:rPr>
              <a:t>onder op de dia) in via tabblad Invoegen – Koptekst en voettekst. Wanneer je geen voettekst wilt, vink je deze uit.</a:t>
            </a:r>
          </a:p>
        </p:txBody>
      </p:sp>
      <p:pic>
        <p:nvPicPr>
          <p:cNvPr id="12" name="Picture 7" descr="Pictogrammen in de indeling Titel en object">
            <a:extLst>
              <a:ext uri="{FF2B5EF4-FFF2-40B4-BE49-F238E27FC236}">
                <a16:creationId xmlns:a16="http://schemas.microsoft.com/office/drawing/2014/main" id="{56654791-B6BB-402C-BECF-4A15B885FA09}"/>
              </a:ext>
            </a:extLst>
          </p:cNvPr>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6680900" y="1316567"/>
            <a:ext cx="1036629" cy="72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6">
            <a:extLst>
              <a:ext uri="{FF2B5EF4-FFF2-40B4-BE49-F238E27FC236}">
                <a16:creationId xmlns:a16="http://schemas.microsoft.com/office/drawing/2014/main" id="{1409AC04-90E7-4088-883C-9BDDA1C36C04}"/>
              </a:ext>
            </a:extLst>
          </p:cNvPr>
          <p:cNvSpPr/>
          <p:nvPr/>
        </p:nvSpPr>
        <p:spPr>
          <a:xfrm>
            <a:off x="2212432" y="2986433"/>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2</a:t>
            </a:r>
          </a:p>
        </p:txBody>
      </p:sp>
      <p:sp>
        <p:nvSpPr>
          <p:cNvPr id="17" name="Oval 16">
            <a:extLst>
              <a:ext uri="{FF2B5EF4-FFF2-40B4-BE49-F238E27FC236}">
                <a16:creationId xmlns:a16="http://schemas.microsoft.com/office/drawing/2014/main" id="{EB06F69A-9647-4B60-9ECA-38CCCE5FD725}"/>
              </a:ext>
            </a:extLst>
          </p:cNvPr>
          <p:cNvSpPr/>
          <p:nvPr/>
        </p:nvSpPr>
        <p:spPr>
          <a:xfrm>
            <a:off x="1667936" y="1764981"/>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3</a:t>
            </a:r>
          </a:p>
        </p:txBody>
      </p:sp>
      <p:sp>
        <p:nvSpPr>
          <p:cNvPr id="18" name="Oval 16">
            <a:extLst>
              <a:ext uri="{FF2B5EF4-FFF2-40B4-BE49-F238E27FC236}">
                <a16:creationId xmlns:a16="http://schemas.microsoft.com/office/drawing/2014/main" id="{FB726360-82D8-44CC-9455-B9354799AD0B}"/>
              </a:ext>
            </a:extLst>
          </p:cNvPr>
          <p:cNvSpPr/>
          <p:nvPr/>
        </p:nvSpPr>
        <p:spPr>
          <a:xfrm>
            <a:off x="1920036" y="1906715"/>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4</a:t>
            </a:r>
          </a:p>
        </p:txBody>
      </p:sp>
      <p:sp>
        <p:nvSpPr>
          <p:cNvPr id="15" name="Oval 1">
            <a:extLst>
              <a:ext uri="{FF2B5EF4-FFF2-40B4-BE49-F238E27FC236}">
                <a16:creationId xmlns:a16="http://schemas.microsoft.com/office/drawing/2014/main" id="{84B57F74-4446-44C7-BA9E-026BDB2D5389}"/>
              </a:ext>
            </a:extLst>
          </p:cNvPr>
          <p:cNvSpPr/>
          <p:nvPr/>
        </p:nvSpPr>
        <p:spPr>
          <a:xfrm>
            <a:off x="824215" y="1807565"/>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1</a:t>
            </a:r>
          </a:p>
        </p:txBody>
      </p:sp>
      <p:pic>
        <p:nvPicPr>
          <p:cNvPr id="24" name="Afbeelding 34">
            <a:extLst>
              <a:ext uri="{FF2B5EF4-FFF2-40B4-BE49-F238E27FC236}">
                <a16:creationId xmlns:a16="http://schemas.microsoft.com/office/drawing/2014/main" id="{E9B41ACA-83A8-40E4-9E54-D2D61030132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680901" y="5794330"/>
            <a:ext cx="3060084" cy="325247"/>
          </a:xfrm>
          <a:prstGeom prst="rect">
            <a:avLst/>
          </a:prstGeom>
          <a:effectLst>
            <a:outerShdw blurRad="63500" sx="102000" sy="102000" algn="ctr" rotWithShape="0">
              <a:prstClr val="black">
                <a:alpha val="20000"/>
              </a:prstClr>
            </a:outerShdw>
          </a:effectLst>
        </p:spPr>
      </p:pic>
      <p:sp>
        <p:nvSpPr>
          <p:cNvPr id="25" name="Footer Placeholder 2">
            <a:extLst>
              <a:ext uri="{FF2B5EF4-FFF2-40B4-BE49-F238E27FC236}">
                <a16:creationId xmlns:a16="http://schemas.microsoft.com/office/drawing/2014/main" id="{824D3006-F403-4441-8A07-7EDF87ACA499}"/>
              </a:ext>
            </a:extLst>
          </p:cNvPr>
          <p:cNvSpPr txBox="1">
            <a:spLocks/>
          </p:cNvSpPr>
          <p:nvPr/>
        </p:nvSpPr>
        <p:spPr>
          <a:xfrm>
            <a:off x="814917" y="6433727"/>
            <a:ext cx="4848000" cy="164212"/>
          </a:xfrm>
          <a:prstGeom prst="rect">
            <a:avLst/>
          </a:prstGeom>
        </p:spPr>
        <p:txBody>
          <a:bodyPr vert="horz" wrap="square" lIns="0" tIns="0" rIns="0" bIns="0" rtlCol="0" anchor="ctr">
            <a:spAutoFit/>
          </a:bodyP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l-NL" sz="1067" dirty="0"/>
              <a:t>Vul de presentatietitel in via Invoegen - Koptekst en voettekst</a:t>
            </a:r>
          </a:p>
        </p:txBody>
      </p:sp>
      <p:sp>
        <p:nvSpPr>
          <p:cNvPr id="27" name="Content Placeholder 6">
            <a:extLst>
              <a:ext uri="{FF2B5EF4-FFF2-40B4-BE49-F238E27FC236}">
                <a16:creationId xmlns:a16="http://schemas.microsoft.com/office/drawing/2014/main" id="{68F2A257-FDA0-461C-B3AE-037BB75EA36B}"/>
              </a:ext>
            </a:extLst>
          </p:cNvPr>
          <p:cNvSpPr txBox="1">
            <a:spLocks/>
          </p:cNvSpPr>
          <p:nvPr>
            <p:custDataLst>
              <p:tags r:id="rId3"/>
            </p:custDataLst>
          </p:nvPr>
        </p:nvSpPr>
        <p:spPr>
          <a:xfrm>
            <a:off x="6680901" y="3316923"/>
            <a:ext cx="2151948" cy="173253"/>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5pPr>
            <a:lvl6pPr marL="2514600" indent="-228600">
              <a:spcBef>
                <a:spcPct val="20000"/>
              </a:spcBef>
              <a:buFont typeface="Ubuntu Light" panose="020B0304030602030204" pitchFamily="34" charset="0"/>
              <a:buChar char="•"/>
              <a:defRPr sz="2000">
                <a:latin typeface="+mn-lt"/>
                <a:cs typeface="+mn-cs"/>
              </a:defRPr>
            </a:lvl6pPr>
            <a:lvl7pPr marL="2971800" indent="-228600">
              <a:spcBef>
                <a:spcPct val="20000"/>
              </a:spcBef>
              <a:buFont typeface="Ubuntu Light" panose="020B0304030602030204" pitchFamily="34" charset="0"/>
              <a:buChar char="•"/>
              <a:defRPr sz="2000">
                <a:latin typeface="+mn-lt"/>
                <a:cs typeface="+mn-cs"/>
              </a:defRPr>
            </a:lvl7pPr>
            <a:lvl8pPr marL="3429000" indent="-228600">
              <a:spcBef>
                <a:spcPct val="20000"/>
              </a:spcBef>
              <a:buFont typeface="Ubuntu Light" panose="020B0304030602030204" pitchFamily="34" charset="0"/>
              <a:buChar char="•"/>
              <a:defRPr sz="2000">
                <a:latin typeface="+mn-lt"/>
                <a:cs typeface="+mn-cs"/>
              </a:defRPr>
            </a:lvl8pPr>
            <a:lvl9pPr marL="3886200" indent="-228600">
              <a:spcBef>
                <a:spcPct val="20000"/>
              </a:spcBef>
              <a:buFont typeface="Ubuntu Light" panose="020B0304030602030204" pitchFamily="34" charset="0"/>
              <a:buChar char="•"/>
              <a:defRPr sz="2000">
                <a:latin typeface="+mn-lt"/>
                <a:cs typeface="+mn-cs"/>
              </a:defRPr>
            </a:lvl9pPr>
          </a:lstStyle>
          <a:p>
            <a:pPr lvl="0">
              <a:lnSpc>
                <a:spcPct val="110000"/>
              </a:lnSpc>
            </a:pPr>
            <a:r>
              <a:rPr lang="nl-NL" sz="1133" noProof="0" dirty="0">
                <a:solidFill>
                  <a:schemeClr val="tx1"/>
                </a:solidFill>
              </a:rPr>
              <a:t>De </a:t>
            </a:r>
            <a:r>
              <a:rPr lang="nl-NL" sz="1133" b="1" noProof="0" dirty="0">
                <a:solidFill>
                  <a:schemeClr val="tx1"/>
                </a:solidFill>
              </a:rPr>
              <a:t>themakleuren</a:t>
            </a:r>
            <a:r>
              <a:rPr lang="nl-NL" sz="1133" noProof="0" dirty="0">
                <a:solidFill>
                  <a:schemeClr val="tx1"/>
                </a:solidFill>
              </a:rPr>
              <a:t> van Triple A</a:t>
            </a:r>
          </a:p>
        </p:txBody>
      </p:sp>
      <p:pic>
        <p:nvPicPr>
          <p:cNvPr id="2" name="Picture 1">
            <a:extLst>
              <a:ext uri="{FF2B5EF4-FFF2-40B4-BE49-F238E27FC236}">
                <a16:creationId xmlns:a16="http://schemas.microsoft.com/office/drawing/2014/main" id="{7BBCB446-4BCB-4506-A8FD-76CA6BF3A671}"/>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680900" y="3662571"/>
            <a:ext cx="2200349" cy="1416000"/>
          </a:xfrm>
          <a:prstGeom prst="rect">
            <a:avLst/>
          </a:prstGeom>
          <a:effectLst>
            <a:outerShdw blurRad="63500" sx="102000" sy="102000" algn="ctr" rotWithShape="0">
              <a:prstClr val="black">
                <a:alpha val="20000"/>
              </a:prstClr>
            </a:outerShdw>
          </a:effectLst>
        </p:spPr>
      </p:pic>
      <p:grpSp>
        <p:nvGrpSpPr>
          <p:cNvPr id="9" name="Groep 8">
            <a:extLst>
              <a:ext uri="{FF2B5EF4-FFF2-40B4-BE49-F238E27FC236}">
                <a16:creationId xmlns:a16="http://schemas.microsoft.com/office/drawing/2014/main" id="{D0E8B2C3-010B-429C-B444-F5B5705CE71C}"/>
              </a:ext>
            </a:extLst>
          </p:cNvPr>
          <p:cNvGrpSpPr/>
          <p:nvPr/>
        </p:nvGrpSpPr>
        <p:grpSpPr>
          <a:xfrm>
            <a:off x="9080500" y="3662571"/>
            <a:ext cx="2296584" cy="1416000"/>
            <a:chOff x="6916783" y="2707096"/>
            <a:chExt cx="2024380" cy="1676400"/>
          </a:xfrm>
        </p:grpSpPr>
        <p:sp>
          <p:nvSpPr>
            <p:cNvPr id="20" name="Rechthoek 19">
              <a:extLst>
                <a:ext uri="{FF2B5EF4-FFF2-40B4-BE49-F238E27FC236}">
                  <a16:creationId xmlns:a16="http://schemas.microsoft.com/office/drawing/2014/main" id="{CA335D72-ACA1-4D65-B439-CC9B891944FD}"/>
                </a:ext>
              </a:extLst>
            </p:cNvPr>
            <p:cNvSpPr/>
            <p:nvPr userDrawn="1"/>
          </p:nvSpPr>
          <p:spPr>
            <a:xfrm>
              <a:off x="7617823" y="2707096"/>
              <a:ext cx="622300" cy="800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211</a:t>
              </a:r>
            </a:p>
            <a:p>
              <a:pPr algn="ctr">
                <a:lnSpc>
                  <a:spcPct val="95000"/>
                </a:lnSpc>
              </a:pPr>
              <a:r>
                <a:rPr lang="nl-NL" sz="1133" dirty="0"/>
                <a:t>159</a:t>
              </a:r>
            </a:p>
            <a:p>
              <a:pPr algn="ctr">
                <a:lnSpc>
                  <a:spcPct val="95000"/>
                </a:lnSpc>
              </a:pPr>
              <a:r>
                <a:rPr lang="nl-NL" sz="1133" dirty="0"/>
                <a:t>39</a:t>
              </a:r>
            </a:p>
          </p:txBody>
        </p:sp>
        <p:sp>
          <p:nvSpPr>
            <p:cNvPr id="21" name="Rechthoek 20">
              <a:extLst>
                <a:ext uri="{FF2B5EF4-FFF2-40B4-BE49-F238E27FC236}">
                  <a16:creationId xmlns:a16="http://schemas.microsoft.com/office/drawing/2014/main" id="{3C36466A-1B6B-4F40-B07C-225D6D907007}"/>
                </a:ext>
              </a:extLst>
            </p:cNvPr>
            <p:cNvSpPr/>
            <p:nvPr userDrawn="1"/>
          </p:nvSpPr>
          <p:spPr>
            <a:xfrm>
              <a:off x="8318863" y="2707096"/>
              <a:ext cx="622300" cy="800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115</a:t>
              </a:r>
            </a:p>
            <a:p>
              <a:pPr algn="ctr">
                <a:lnSpc>
                  <a:spcPct val="95000"/>
                </a:lnSpc>
              </a:pPr>
              <a:r>
                <a:rPr lang="nl-NL" sz="1133" dirty="0"/>
                <a:t>171</a:t>
              </a:r>
            </a:p>
          </p:txBody>
        </p:sp>
        <p:sp>
          <p:nvSpPr>
            <p:cNvPr id="22" name="Rechthoek 21">
              <a:extLst>
                <a:ext uri="{FF2B5EF4-FFF2-40B4-BE49-F238E27FC236}">
                  <a16:creationId xmlns:a16="http://schemas.microsoft.com/office/drawing/2014/main" id="{F894B841-E76C-4125-8622-DDE3E898D44F}"/>
                </a:ext>
              </a:extLst>
            </p:cNvPr>
            <p:cNvSpPr/>
            <p:nvPr userDrawn="1"/>
          </p:nvSpPr>
          <p:spPr>
            <a:xfrm>
              <a:off x="6916783" y="2707096"/>
              <a:ext cx="622300" cy="800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54</a:t>
              </a:r>
            </a:p>
            <a:p>
              <a:pPr algn="ctr">
                <a:lnSpc>
                  <a:spcPct val="95000"/>
                </a:lnSpc>
              </a:pPr>
              <a:r>
                <a:rPr lang="nl-NL" sz="1133" dirty="0"/>
                <a:t>94</a:t>
              </a:r>
            </a:p>
          </p:txBody>
        </p:sp>
        <p:sp>
          <p:nvSpPr>
            <p:cNvPr id="23" name="Rechthoek 22">
              <a:extLst>
                <a:ext uri="{FF2B5EF4-FFF2-40B4-BE49-F238E27FC236}">
                  <a16:creationId xmlns:a16="http://schemas.microsoft.com/office/drawing/2014/main" id="{108C391D-6705-492F-B805-49CFA8A23374}"/>
                </a:ext>
              </a:extLst>
            </p:cNvPr>
            <p:cNvSpPr/>
            <p:nvPr userDrawn="1"/>
          </p:nvSpPr>
          <p:spPr>
            <a:xfrm>
              <a:off x="7617823" y="3583396"/>
              <a:ext cx="622300" cy="8001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solidFill>
                    <a:schemeClr val="tx1"/>
                  </a:solidFill>
                </a:rPr>
                <a:t>226</a:t>
              </a:r>
            </a:p>
            <a:p>
              <a:pPr algn="ctr">
                <a:lnSpc>
                  <a:spcPct val="95000"/>
                </a:lnSpc>
              </a:pPr>
              <a:r>
                <a:rPr lang="nl-NL" sz="1133" dirty="0">
                  <a:solidFill>
                    <a:schemeClr val="tx1"/>
                  </a:solidFill>
                </a:rPr>
                <a:t>238</a:t>
              </a:r>
            </a:p>
            <a:p>
              <a:pPr algn="ctr">
                <a:lnSpc>
                  <a:spcPct val="95000"/>
                </a:lnSpc>
              </a:pPr>
              <a:r>
                <a:rPr lang="nl-NL" sz="1133" dirty="0">
                  <a:solidFill>
                    <a:schemeClr val="tx1"/>
                  </a:solidFill>
                </a:rPr>
                <a:t>245</a:t>
              </a:r>
            </a:p>
          </p:txBody>
        </p:sp>
        <p:sp>
          <p:nvSpPr>
            <p:cNvPr id="26" name="Rechthoek 25">
              <a:extLst>
                <a:ext uri="{FF2B5EF4-FFF2-40B4-BE49-F238E27FC236}">
                  <a16:creationId xmlns:a16="http://schemas.microsoft.com/office/drawing/2014/main" id="{E3611EE5-0849-4EF2-842E-B527AB204F18}"/>
                </a:ext>
              </a:extLst>
            </p:cNvPr>
            <p:cNvSpPr/>
            <p:nvPr userDrawn="1"/>
          </p:nvSpPr>
          <p:spPr>
            <a:xfrm>
              <a:off x="8318863" y="3583396"/>
              <a:ext cx="622300" cy="8001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198</a:t>
              </a:r>
            </a:p>
            <a:p>
              <a:pPr algn="ctr">
                <a:lnSpc>
                  <a:spcPct val="95000"/>
                </a:lnSpc>
              </a:pPr>
              <a:r>
                <a:rPr lang="nl-NL" sz="1133" dirty="0"/>
                <a:t>198</a:t>
              </a:r>
            </a:p>
            <a:p>
              <a:pPr algn="ctr">
                <a:lnSpc>
                  <a:spcPct val="95000"/>
                </a:lnSpc>
              </a:pPr>
              <a:r>
                <a:rPr lang="nl-NL" sz="1133" dirty="0"/>
                <a:t>198</a:t>
              </a:r>
            </a:p>
          </p:txBody>
        </p:sp>
        <p:sp>
          <p:nvSpPr>
            <p:cNvPr id="28" name="Rechthoek 27">
              <a:extLst>
                <a:ext uri="{FF2B5EF4-FFF2-40B4-BE49-F238E27FC236}">
                  <a16:creationId xmlns:a16="http://schemas.microsoft.com/office/drawing/2014/main" id="{3C627FD5-81F2-40F8-BE34-0A41A6F60EF9}"/>
                </a:ext>
              </a:extLst>
            </p:cNvPr>
            <p:cNvSpPr/>
            <p:nvPr userDrawn="1"/>
          </p:nvSpPr>
          <p:spPr>
            <a:xfrm>
              <a:off x="6916783" y="3583396"/>
              <a:ext cx="622300" cy="800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146</a:t>
              </a:r>
            </a:p>
            <a:p>
              <a:pPr algn="ctr">
                <a:lnSpc>
                  <a:spcPct val="95000"/>
                </a:lnSpc>
              </a:pPr>
              <a:r>
                <a:rPr lang="nl-NL" sz="1133" dirty="0"/>
                <a:t>255</a:t>
              </a:r>
            </a:p>
          </p:txBody>
        </p:sp>
      </p:grpSp>
      <p:sp>
        <p:nvSpPr>
          <p:cNvPr id="29" name="Content Placeholder 6">
            <a:extLst>
              <a:ext uri="{FF2B5EF4-FFF2-40B4-BE49-F238E27FC236}">
                <a16:creationId xmlns:a16="http://schemas.microsoft.com/office/drawing/2014/main" id="{38724DF2-2A07-4C39-9771-80A2C1B8F6D7}"/>
              </a:ext>
            </a:extLst>
          </p:cNvPr>
          <p:cNvSpPr txBox="1">
            <a:spLocks/>
          </p:cNvSpPr>
          <p:nvPr>
            <p:custDataLst>
              <p:tags r:id="rId4"/>
            </p:custDataLst>
          </p:nvPr>
        </p:nvSpPr>
        <p:spPr>
          <a:xfrm>
            <a:off x="9080500" y="3316923"/>
            <a:ext cx="2295573" cy="173253"/>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5pPr>
            <a:lvl6pPr marL="2514600" indent="-228600">
              <a:spcBef>
                <a:spcPct val="20000"/>
              </a:spcBef>
              <a:buFont typeface="Ubuntu Light" panose="020B0304030602030204" pitchFamily="34" charset="0"/>
              <a:buChar char="•"/>
              <a:defRPr sz="2000">
                <a:latin typeface="+mn-lt"/>
                <a:cs typeface="+mn-cs"/>
              </a:defRPr>
            </a:lvl6pPr>
            <a:lvl7pPr marL="2971800" indent="-228600">
              <a:spcBef>
                <a:spcPct val="20000"/>
              </a:spcBef>
              <a:buFont typeface="Ubuntu Light" panose="020B0304030602030204" pitchFamily="34" charset="0"/>
              <a:buChar char="•"/>
              <a:defRPr sz="2000">
                <a:latin typeface="+mn-lt"/>
                <a:cs typeface="+mn-cs"/>
              </a:defRPr>
            </a:lvl7pPr>
            <a:lvl8pPr marL="3429000" indent="-228600">
              <a:spcBef>
                <a:spcPct val="20000"/>
              </a:spcBef>
              <a:buFont typeface="Ubuntu Light" panose="020B0304030602030204" pitchFamily="34" charset="0"/>
              <a:buChar char="•"/>
              <a:defRPr sz="2000">
                <a:latin typeface="+mn-lt"/>
                <a:cs typeface="+mn-cs"/>
              </a:defRPr>
            </a:lvl8pPr>
            <a:lvl9pPr marL="3886200" indent="-228600">
              <a:spcBef>
                <a:spcPct val="20000"/>
              </a:spcBef>
              <a:buFont typeface="Ubuntu Light" panose="020B0304030602030204" pitchFamily="34" charset="0"/>
              <a:buChar char="•"/>
              <a:defRPr sz="2000">
                <a:latin typeface="+mn-lt"/>
                <a:cs typeface="+mn-cs"/>
              </a:defRPr>
            </a:lvl9pPr>
          </a:lstStyle>
          <a:p>
            <a:pPr lvl="0">
              <a:lnSpc>
                <a:spcPct val="110000"/>
              </a:lnSpc>
            </a:pPr>
            <a:r>
              <a:rPr lang="nl-NL" sz="1133" b="1" noProof="0" dirty="0">
                <a:solidFill>
                  <a:schemeClr val="tx1"/>
                </a:solidFill>
              </a:rPr>
              <a:t>RGB-waardes </a:t>
            </a:r>
            <a:r>
              <a:rPr lang="nl-NL" sz="1133" b="0" noProof="0" dirty="0">
                <a:solidFill>
                  <a:schemeClr val="tx1"/>
                </a:solidFill>
              </a:rPr>
              <a:t>van de themakleuren</a:t>
            </a:r>
          </a:p>
        </p:txBody>
      </p:sp>
    </p:spTree>
    <p:extLst>
      <p:ext uri="{BB962C8B-B14F-4D97-AF65-F5344CB8AC3E}">
        <p14:creationId xmlns:p14="http://schemas.microsoft.com/office/powerpoint/2010/main" val="40056699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8000" y="3666268"/>
            <a:ext cx="8985251" cy="453457"/>
          </a:xfrm>
          <a:prstGeom prst="rect">
            <a:avLst/>
          </a:prstGeom>
        </p:spPr>
        <p:txBody>
          <a:bodyPr wrap="square" anchor="b">
            <a:spAutoFit/>
          </a:bodyPr>
          <a:lstStyle>
            <a:lvl1pPr algn="l">
              <a:lnSpc>
                <a:spcPct val="85000"/>
              </a:lnSpc>
              <a:defRPr sz="3467"/>
            </a:lvl1pPr>
          </a:lstStyle>
          <a:p>
            <a:r>
              <a:rPr lang="nl-NL" dirty="0"/>
              <a:t>Titel van de presentatie</a:t>
            </a:r>
          </a:p>
        </p:txBody>
      </p:sp>
      <p:sp>
        <p:nvSpPr>
          <p:cNvPr id="3" name="Subtitle 2"/>
          <p:cNvSpPr>
            <a:spLocks noGrp="1"/>
          </p:cNvSpPr>
          <p:nvPr>
            <p:ph type="subTitle" idx="1" hasCustomPrompt="1"/>
          </p:nvPr>
        </p:nvSpPr>
        <p:spPr>
          <a:xfrm>
            <a:off x="508000" y="4160999"/>
            <a:ext cx="8985251" cy="378052"/>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srcRect l="8924" t="8924" r="8924" b="11794"/>
          <a:stretch/>
        </p:blipFill>
        <p:spPr>
          <a:xfrm>
            <a:off x="426720" y="258634"/>
            <a:ext cx="3636131" cy="1325795"/>
          </a:xfrm>
          <a:prstGeom prst="rect">
            <a:avLst/>
          </a:prstGeom>
        </p:spPr>
      </p:pic>
      <p:sp>
        <p:nvSpPr>
          <p:cNvPr id="7" name="Text Placeholder 6">
            <a:extLst>
              <a:ext uri="{FF2B5EF4-FFF2-40B4-BE49-F238E27FC236}">
                <a16:creationId xmlns:a16="http://schemas.microsoft.com/office/drawing/2014/main" id="{85A363A7-264F-4587-8C4F-3FEAC05D23BF}"/>
              </a:ext>
            </a:extLst>
          </p:cNvPr>
          <p:cNvSpPr>
            <a:spLocks noGrp="1"/>
          </p:cNvSpPr>
          <p:nvPr>
            <p:ph type="body" sz="quarter" idx="10" hasCustomPrompt="1"/>
          </p:nvPr>
        </p:nvSpPr>
        <p:spPr>
          <a:xfrm>
            <a:off x="508000" y="56015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Naam spreker</a:t>
            </a:r>
          </a:p>
        </p:txBody>
      </p:sp>
      <p:sp>
        <p:nvSpPr>
          <p:cNvPr id="12" name="Text Placeholder 6">
            <a:extLst>
              <a:ext uri="{FF2B5EF4-FFF2-40B4-BE49-F238E27FC236}">
                <a16:creationId xmlns:a16="http://schemas.microsoft.com/office/drawing/2014/main" id="{DC40CEB2-EDA7-45D9-A380-9DFAD12C3057}"/>
              </a:ext>
            </a:extLst>
          </p:cNvPr>
          <p:cNvSpPr>
            <a:spLocks noGrp="1"/>
          </p:cNvSpPr>
          <p:nvPr>
            <p:ph type="body" sz="quarter" idx="11" hasCustomPrompt="1"/>
          </p:nvPr>
        </p:nvSpPr>
        <p:spPr>
          <a:xfrm>
            <a:off x="508000" y="59063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Plaats en datum</a:t>
            </a:r>
          </a:p>
        </p:txBody>
      </p:sp>
      <p:cxnSp>
        <p:nvCxnSpPr>
          <p:cNvPr id="8" name="Rechte verbindingslijn 7">
            <a:extLst>
              <a:ext uri="{FF2B5EF4-FFF2-40B4-BE49-F238E27FC236}">
                <a16:creationId xmlns:a16="http://schemas.microsoft.com/office/drawing/2014/main" id="{57056A67-9A93-4B62-B5BC-CDA6E06CA4A0}"/>
              </a:ext>
            </a:extLst>
          </p:cNvPr>
          <p:cNvCxnSpPr>
            <a:cxnSpLocks/>
          </p:cNvCxnSpPr>
          <p:nvPr/>
        </p:nvCxnSpPr>
        <p:spPr>
          <a:xfrm>
            <a:off x="508000" y="1981200"/>
            <a:ext cx="11178117"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85895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smtClean="0"/>
              <a:t>Klik om de stijl te bewerken</a:t>
            </a:r>
            <a:endParaRPr lang="nl-NL"/>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smtClean="0"/>
              <a:t>Klik om de ondertitelstijl van het model te bewerken</a:t>
            </a:r>
            <a:endParaRPr lang="nl-NL"/>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nl-NL" smtClean="0"/>
              <a:t>Beleidsopties Wet Toekomst Pensioenen</a:t>
            </a:r>
            <a:endParaRPr lang="nl-NL"/>
          </a:p>
        </p:txBody>
      </p:sp>
      <p:sp>
        <p:nvSpPr>
          <p:cNvPr id="6" name="Tijdelijke aanduiding voor dianummer 5"/>
          <p:cNvSpPr>
            <a:spLocks noGrp="1"/>
          </p:cNvSpPr>
          <p:nvPr>
            <p:ph type="sldNum" sz="quarter" idx="12"/>
          </p:nvPr>
        </p:nvSpPr>
        <p:spPr/>
        <p:txBody>
          <a:bodyPr/>
          <a:lstStyle/>
          <a:p>
            <a:fld id="{FFDD6BF4-F398-43E8-ACFA-0A2EC6044D72}" type="slidenum">
              <a:rPr lang="nl-NL" smtClean="0"/>
              <a:t>‹nr.›</a:t>
            </a:fld>
            <a:endParaRPr lang="nl-NL"/>
          </a:p>
        </p:txBody>
      </p:sp>
    </p:spTree>
    <p:extLst>
      <p:ext uri="{BB962C8B-B14F-4D97-AF65-F5344CB8AC3E}">
        <p14:creationId xmlns:p14="http://schemas.microsoft.com/office/powerpoint/2010/main" val="255659767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ussendia met visual">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a:xfrm>
            <a:off x="814917" y="6433759"/>
            <a:ext cx="4848000" cy="164148"/>
          </a:xfrm>
        </p:spPr>
        <p:txBody>
          <a:bodyPr/>
          <a:lstStyle/>
          <a:p>
            <a:r>
              <a:rPr lang="nl-NL" smtClean="0"/>
              <a:t>Economische uitgangspunt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814917" y="4797414"/>
            <a:ext cx="7310664" cy="453457"/>
          </a:xfrm>
        </p:spPr>
        <p:txBody>
          <a:bodyPr wrap="square" anchor="b">
            <a:sp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814917" y="5342946"/>
            <a:ext cx="7310664" cy="406265"/>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sp>
        <p:nvSpPr>
          <p:cNvPr id="7" name="Picture Placeholder 12">
            <a:extLst>
              <a:ext uri="{FF2B5EF4-FFF2-40B4-BE49-F238E27FC236}">
                <a16:creationId xmlns:a16="http://schemas.microsoft.com/office/drawing/2014/main" id="{824A2FD1-5E58-45B8-B525-732E685AAC19}"/>
              </a:ext>
            </a:extLst>
          </p:cNvPr>
          <p:cNvSpPr>
            <a:spLocks noGrp="1"/>
          </p:cNvSpPr>
          <p:nvPr>
            <p:ph type="pic" sz="quarter" idx="13"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Arial" panose="020B0604020202020204" pitchFamily="34" charset="0"/>
              <a:buNone/>
              <a:defRPr sz="1600"/>
            </a:lvl1pPr>
          </a:lstStyle>
          <a:p>
            <a:r>
              <a:rPr lang="nl-NL" dirty="0"/>
              <a:t>Klik op icoon om afbeelding in te voegen</a:t>
            </a:r>
          </a:p>
        </p:txBody>
      </p:sp>
    </p:spTree>
    <p:extLst>
      <p:ext uri="{BB962C8B-B14F-4D97-AF65-F5344CB8AC3E}">
        <p14:creationId xmlns:p14="http://schemas.microsoft.com/office/powerpoint/2010/main" val="30455772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hou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9" y="1180254"/>
            <a:ext cx="3473449" cy="859125"/>
          </a:xfrm>
        </p:spPr>
        <p:txBody>
          <a:bodyPr/>
          <a:lstStyle>
            <a:lvl1pPr>
              <a:lnSpc>
                <a:spcPct val="110000"/>
              </a:lnSpc>
              <a:defRPr/>
            </a:lvl1pPr>
          </a:lstStyle>
          <a:p>
            <a:r>
              <a:rPr lang="nl-NL" smtClean="0"/>
              <a:t>Klik om de stijl te bewerken</a:t>
            </a:r>
            <a:endParaRPr lang="nl-NL" dirty="0"/>
          </a:p>
        </p:txBody>
      </p:sp>
      <p:sp>
        <p:nvSpPr>
          <p:cNvPr id="7" name="Content Placeholder 2">
            <a:extLst>
              <a:ext uri="{FF2B5EF4-FFF2-40B4-BE49-F238E27FC236}">
                <a16:creationId xmlns:a16="http://schemas.microsoft.com/office/drawing/2014/main" id="{18A72007-BBFF-4A51-8C65-3474732BCFA5}"/>
              </a:ext>
            </a:extLst>
          </p:cNvPr>
          <p:cNvSpPr>
            <a:spLocks noGrp="1"/>
          </p:cNvSpPr>
          <p:nvPr>
            <p:ph idx="14" hasCustomPrompt="1"/>
          </p:nvPr>
        </p:nvSpPr>
        <p:spPr>
          <a:xfrm>
            <a:off x="4360333" y="1261534"/>
            <a:ext cx="7323667" cy="4900084"/>
          </a:xfrm>
        </p:spPr>
        <p:txBody>
          <a:bodyPr>
            <a:noAutofit/>
          </a:bodyPr>
          <a:lstStyle>
            <a:lvl1pPr marL="243411" indent="-243411">
              <a:spcAft>
                <a:spcPts val="1333"/>
              </a:spcAft>
              <a:buFont typeface="+mj-lt"/>
              <a:buAutoNum type="arabicPeriod"/>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8" name="Tijdelijke aanduiding voor tekst 2">
            <a:extLst>
              <a:ext uri="{FF2B5EF4-FFF2-40B4-BE49-F238E27FC236}">
                <a16:creationId xmlns:a16="http://schemas.microsoft.com/office/drawing/2014/main" id="{FA2014CC-D93E-4B17-97F0-40CDAC9C643E}"/>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87613341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 kolomme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3769" y="1261534"/>
            <a:ext cx="3473449"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152824"/>
            <a:ext cx="11182349" cy="345016"/>
          </a:xfrm>
        </p:spPr>
        <p:txBody>
          <a:bodyPr anchor="ctr">
            <a:noAutofit/>
          </a:bodyPr>
          <a:lstStyle>
            <a:lvl1pPr marL="0" indent="0">
              <a:buNone/>
              <a:defRPr sz="1067" cap="none" baseline="0">
                <a:solidFill>
                  <a:schemeClr val="tx2"/>
                </a:solidFill>
                <a:latin typeface="+mn-lt"/>
              </a:defRPr>
            </a:lvl1pPr>
          </a:lstStyle>
          <a:p>
            <a:pPr lvl="0"/>
            <a:r>
              <a:rPr lang="nl-NL" smtClean="0"/>
              <a:t>Tekststijl van het model bewerken</a:t>
            </a:r>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8" y="507609"/>
            <a:ext cx="11182349" cy="295465"/>
          </a:xfrm>
        </p:spPr>
        <p:txBody>
          <a:bodyPr>
            <a:noAutofit/>
          </a:bodyPr>
          <a:lstStyle>
            <a:lvl1pPr>
              <a:defRPr sz="2133"/>
            </a:lvl1pPr>
          </a:lstStyle>
          <a:p>
            <a:r>
              <a:rPr lang="nl-NL" smtClean="0"/>
              <a:t>Klik om de stijl te bewerken</a:t>
            </a:r>
            <a:endParaRPr lang="nl-NL" dirty="0"/>
          </a:p>
        </p:txBody>
      </p:sp>
      <p:sp>
        <p:nvSpPr>
          <p:cNvPr id="7" name="Content Placeholder 2">
            <a:extLst>
              <a:ext uri="{FF2B5EF4-FFF2-40B4-BE49-F238E27FC236}">
                <a16:creationId xmlns:a16="http://schemas.microsoft.com/office/drawing/2014/main" id="{18A72007-BBFF-4A51-8C65-3474732BCFA5}"/>
              </a:ext>
            </a:extLst>
          </p:cNvPr>
          <p:cNvSpPr>
            <a:spLocks noGrp="1"/>
          </p:cNvSpPr>
          <p:nvPr>
            <p:ph idx="14" hasCustomPrompt="1"/>
          </p:nvPr>
        </p:nvSpPr>
        <p:spPr>
          <a:xfrm>
            <a:off x="4360334" y="1261534"/>
            <a:ext cx="3473449"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8212667" y="1261534"/>
            <a:ext cx="3473451"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1" name="Tijdelijke aanduiding voor tekst 2">
            <a:extLst>
              <a:ext uri="{FF2B5EF4-FFF2-40B4-BE49-F238E27FC236}">
                <a16:creationId xmlns:a16="http://schemas.microsoft.com/office/drawing/2014/main" id="{BFB61D27-4B8E-4F6E-9E3D-75D3FBD1A6FF}"/>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6996053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Kolommen - kader">
    <p:spTree>
      <p:nvGrpSpPr>
        <p:cNvPr id="1" name=""/>
        <p:cNvGrpSpPr/>
        <p:nvPr/>
      </p:nvGrpSpPr>
      <p:grpSpPr>
        <a:xfrm>
          <a:off x="0" y="0"/>
          <a:ext cx="0" cy="0"/>
          <a:chOff x="0" y="0"/>
          <a:chExt cx="0" cy="0"/>
        </a:xfrm>
      </p:grpSpPr>
      <p:sp>
        <p:nvSpPr>
          <p:cNvPr id="4" name="Tijdelijke aanduiding voor tekst 3">
            <a:extLst>
              <a:ext uri="{FF2B5EF4-FFF2-40B4-BE49-F238E27FC236}">
                <a16:creationId xmlns:a16="http://schemas.microsoft.com/office/drawing/2014/main" id="{EF396C26-AABE-47DC-AE26-217527F10490}"/>
              </a:ext>
            </a:extLst>
          </p:cNvPr>
          <p:cNvSpPr>
            <a:spLocks noGrp="1"/>
          </p:cNvSpPr>
          <p:nvPr>
            <p:ph type="body" sz="quarter" idx="19" hasCustomPrompt="1"/>
          </p:nvPr>
        </p:nvSpPr>
        <p:spPr>
          <a:xfrm>
            <a:off x="0" y="3534834"/>
            <a:ext cx="12192000" cy="2628900"/>
          </a:xfrm>
          <a:solidFill>
            <a:schemeClr val="bg1">
              <a:lumMod val="95000"/>
            </a:schemeClr>
          </a:solidFill>
        </p:spPr>
        <p:txBody>
          <a:bodyPr/>
          <a:lstStyle>
            <a:lvl1pPr>
              <a:defRPr>
                <a:solidFill>
                  <a:schemeClr val="accent1">
                    <a:alpha val="0"/>
                  </a:schemeClr>
                </a:solidFill>
              </a:defRPr>
            </a:lvl1pPr>
          </a:lstStyle>
          <a:p>
            <a:pPr lvl="0"/>
            <a:r>
              <a:rPr lang="nl-NL" dirty="0"/>
              <a:t>.</a:t>
            </a:r>
          </a:p>
        </p:txBody>
      </p:sp>
      <p:sp>
        <p:nvSpPr>
          <p:cNvPr id="3" name="Content Placeholder 2"/>
          <p:cNvSpPr>
            <a:spLocks noGrp="1"/>
          </p:cNvSpPr>
          <p:nvPr>
            <p:ph idx="1" hasCustomPrompt="1"/>
          </p:nvPr>
        </p:nvSpPr>
        <p:spPr>
          <a:xfrm>
            <a:off x="503769" y="1261535"/>
            <a:ext cx="3473449"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152824"/>
            <a:ext cx="11182349" cy="345016"/>
          </a:xfrm>
        </p:spPr>
        <p:txBody>
          <a:bodyPr anchor="ctr">
            <a:noAutofit/>
          </a:bodyPr>
          <a:lstStyle>
            <a:lvl1pPr marL="0" indent="0">
              <a:buNone/>
              <a:defRPr sz="1067" cap="none" baseline="0">
                <a:solidFill>
                  <a:schemeClr val="tx2"/>
                </a:solidFill>
                <a:latin typeface="+mn-lt"/>
              </a:defRPr>
            </a:lvl1pPr>
          </a:lstStyle>
          <a:p>
            <a:pPr lvl="0"/>
            <a:r>
              <a:rPr lang="nl-NL" smtClean="0"/>
              <a:t>Tekststijl van het model bewerken</a:t>
            </a:r>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8" y="507609"/>
            <a:ext cx="11182349" cy="295465"/>
          </a:xfrm>
        </p:spPr>
        <p:txBody>
          <a:bodyPr>
            <a:noAutofit/>
          </a:bodyPr>
          <a:lstStyle>
            <a:lvl1pPr>
              <a:defRPr sz="2133"/>
            </a:lvl1pPr>
          </a:lstStyle>
          <a:p>
            <a:r>
              <a:rPr lang="nl-NL" smtClean="0"/>
              <a:t>Klik om de stijl te bewerken</a:t>
            </a:r>
            <a:endParaRPr lang="nl-NL" dirty="0"/>
          </a:p>
        </p:txBody>
      </p:sp>
      <p:sp>
        <p:nvSpPr>
          <p:cNvPr id="7" name="Content Placeholder 2">
            <a:extLst>
              <a:ext uri="{FF2B5EF4-FFF2-40B4-BE49-F238E27FC236}">
                <a16:creationId xmlns:a16="http://schemas.microsoft.com/office/drawing/2014/main" id="{18A72007-BBFF-4A51-8C65-3474732BCFA5}"/>
              </a:ext>
            </a:extLst>
          </p:cNvPr>
          <p:cNvSpPr>
            <a:spLocks noGrp="1"/>
          </p:cNvSpPr>
          <p:nvPr>
            <p:ph idx="14" hasCustomPrompt="1"/>
          </p:nvPr>
        </p:nvSpPr>
        <p:spPr>
          <a:xfrm>
            <a:off x="4360334" y="1261535"/>
            <a:ext cx="3473449"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8212667" y="1261535"/>
            <a:ext cx="3473451"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1" name="Content Placeholder 2">
            <a:extLst>
              <a:ext uri="{FF2B5EF4-FFF2-40B4-BE49-F238E27FC236}">
                <a16:creationId xmlns:a16="http://schemas.microsoft.com/office/drawing/2014/main" id="{F6FC771F-36C4-4AC2-B1E9-5ABF5AAF5476}"/>
              </a:ext>
            </a:extLst>
          </p:cNvPr>
          <p:cNvSpPr>
            <a:spLocks noGrp="1"/>
          </p:cNvSpPr>
          <p:nvPr>
            <p:ph idx="16" hasCustomPrompt="1"/>
          </p:nvPr>
        </p:nvSpPr>
        <p:spPr>
          <a:xfrm>
            <a:off x="503769" y="3765549"/>
            <a:ext cx="3473449"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Content Placeholder 2">
            <a:extLst>
              <a:ext uri="{FF2B5EF4-FFF2-40B4-BE49-F238E27FC236}">
                <a16:creationId xmlns:a16="http://schemas.microsoft.com/office/drawing/2014/main" id="{E601B7C5-4DE8-43E0-B910-A6021BAAC7A4}"/>
              </a:ext>
            </a:extLst>
          </p:cNvPr>
          <p:cNvSpPr>
            <a:spLocks noGrp="1"/>
          </p:cNvSpPr>
          <p:nvPr>
            <p:ph idx="17" hasCustomPrompt="1"/>
          </p:nvPr>
        </p:nvSpPr>
        <p:spPr>
          <a:xfrm>
            <a:off x="4360334" y="3765549"/>
            <a:ext cx="3473449"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3" name="Content Placeholder 2">
            <a:extLst>
              <a:ext uri="{FF2B5EF4-FFF2-40B4-BE49-F238E27FC236}">
                <a16:creationId xmlns:a16="http://schemas.microsoft.com/office/drawing/2014/main" id="{162A0281-EFC6-4F55-8F8B-56093D67F2CF}"/>
              </a:ext>
            </a:extLst>
          </p:cNvPr>
          <p:cNvSpPr>
            <a:spLocks noGrp="1"/>
          </p:cNvSpPr>
          <p:nvPr>
            <p:ph idx="18" hasCustomPrompt="1"/>
          </p:nvPr>
        </p:nvSpPr>
        <p:spPr>
          <a:xfrm>
            <a:off x="8212667" y="3765549"/>
            <a:ext cx="3473451" cy="2167467"/>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4" name="Tijdelijke aanduiding voor tekst 2">
            <a:extLst>
              <a:ext uri="{FF2B5EF4-FFF2-40B4-BE49-F238E27FC236}">
                <a16:creationId xmlns:a16="http://schemas.microsoft.com/office/drawing/2014/main" id="{D46CE975-774D-4573-98B3-ECD611ACD728}"/>
              </a:ext>
            </a:extLst>
          </p:cNvPr>
          <p:cNvSpPr>
            <a:spLocks noGrp="1"/>
          </p:cNvSpPr>
          <p:nvPr>
            <p:ph type="body" sz="quarter" idx="20"/>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8438858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kstblok + 2 kolomme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9" y="1159933"/>
            <a:ext cx="3473449" cy="930939"/>
          </a:xfrm>
        </p:spPr>
        <p:txBody>
          <a:bodyPr/>
          <a:lstStyle>
            <a:lvl1pPr>
              <a:lnSpc>
                <a:spcPct val="120000"/>
              </a:lnSpc>
              <a:defRPr/>
            </a:lvl1pPr>
          </a:lstStyle>
          <a:p>
            <a:r>
              <a:rPr lang="nl-NL" smtClean="0"/>
              <a:t>Klik om de stijl te bewerken</a:t>
            </a:r>
            <a:endParaRPr lang="nl-NL" dirty="0"/>
          </a:p>
        </p:txBody>
      </p:sp>
      <p:sp>
        <p:nvSpPr>
          <p:cNvPr id="7" name="Content Placeholder 2">
            <a:extLst>
              <a:ext uri="{FF2B5EF4-FFF2-40B4-BE49-F238E27FC236}">
                <a16:creationId xmlns:a16="http://schemas.microsoft.com/office/drawing/2014/main" id="{18A72007-BBFF-4A51-8C65-3474732BCFA5}"/>
              </a:ext>
            </a:extLst>
          </p:cNvPr>
          <p:cNvSpPr>
            <a:spLocks noGrp="1"/>
          </p:cNvSpPr>
          <p:nvPr>
            <p:ph idx="14" hasCustomPrompt="1"/>
          </p:nvPr>
        </p:nvSpPr>
        <p:spPr>
          <a:xfrm>
            <a:off x="4360334" y="1261534"/>
            <a:ext cx="3469217"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8212667" y="1261534"/>
            <a:ext cx="3473451"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8" name="Tijdelijke aanduiding voor tekst 2">
            <a:extLst>
              <a:ext uri="{FF2B5EF4-FFF2-40B4-BE49-F238E27FC236}">
                <a16:creationId xmlns:a16="http://schemas.microsoft.com/office/drawing/2014/main" id="{32194BBB-0F51-457A-A32C-2F33B5D660BD}"/>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03132798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breed - 1 smal">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3768" y="1261534"/>
            <a:ext cx="7319432" cy="2507825"/>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152824"/>
            <a:ext cx="11182349" cy="345016"/>
          </a:xfrm>
        </p:spPr>
        <p:txBody>
          <a:bodyPr anchor="ctr">
            <a:noAutofit/>
          </a:bodyPr>
          <a:lstStyle>
            <a:lvl1pPr marL="0" indent="0">
              <a:buNone/>
              <a:defRPr sz="1067" cap="none" baseline="0">
                <a:solidFill>
                  <a:schemeClr val="tx2"/>
                </a:solidFill>
                <a:latin typeface="+mn-lt"/>
              </a:defRPr>
            </a:lvl1pPr>
          </a:lstStyle>
          <a:p>
            <a:pPr lvl="0"/>
            <a:r>
              <a:rPr lang="nl-NL" smtClean="0"/>
              <a:t>Tekststijl van het model bewerken</a:t>
            </a:r>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8" y="507609"/>
            <a:ext cx="11182349" cy="295465"/>
          </a:xfrm>
        </p:spPr>
        <p:txBody>
          <a:bodyPr>
            <a:noAutofit/>
          </a:bodyPr>
          <a:lstStyle>
            <a:lvl1pPr>
              <a:defRPr sz="2133"/>
            </a:lvl1pPr>
          </a:lstStyle>
          <a:p>
            <a:r>
              <a:rPr lang="nl-NL" smtClean="0"/>
              <a:t>Klik om de stijl te bewerken</a:t>
            </a:r>
            <a:endParaRPr lang="nl-NL"/>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8212667" y="1261534"/>
            <a:ext cx="3473451"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1" name="Tijdelijke aanduiding voor afbeelding 3">
            <a:extLst>
              <a:ext uri="{FF2B5EF4-FFF2-40B4-BE49-F238E27FC236}">
                <a16:creationId xmlns:a16="http://schemas.microsoft.com/office/drawing/2014/main" id="{96C659D5-B212-4F77-9E76-AFE0DEA62494}"/>
              </a:ext>
            </a:extLst>
          </p:cNvPr>
          <p:cNvSpPr>
            <a:spLocks noGrp="1"/>
          </p:cNvSpPr>
          <p:nvPr>
            <p:ph type="pic" sz="quarter" idx="16"/>
          </p:nvPr>
        </p:nvSpPr>
        <p:spPr>
          <a:xfrm>
            <a:off x="503766" y="4233758"/>
            <a:ext cx="7319433" cy="1909233"/>
          </a:xfrm>
        </p:spPr>
        <p:txBody>
          <a:bodyPr/>
          <a:lstStyle/>
          <a:p>
            <a:r>
              <a:rPr lang="nl-NL" smtClean="0"/>
              <a:t>Klik op het pictogram als u een afbeelding wilt toevoegen</a:t>
            </a:r>
            <a:endParaRPr lang="nl-NL"/>
          </a:p>
        </p:txBody>
      </p:sp>
      <p:sp>
        <p:nvSpPr>
          <p:cNvPr id="12" name="Tijdelijke aanduiding voor tekst 2">
            <a:extLst>
              <a:ext uri="{FF2B5EF4-FFF2-40B4-BE49-F238E27FC236}">
                <a16:creationId xmlns:a16="http://schemas.microsoft.com/office/drawing/2014/main" id="{BAA6F135-737C-4D77-85B6-1818ED4EFAAE}"/>
              </a:ext>
            </a:extLst>
          </p:cNvPr>
          <p:cNvSpPr>
            <a:spLocks noGrp="1"/>
          </p:cNvSpPr>
          <p:nvPr>
            <p:ph type="body" sz="quarter" idx="17"/>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41301105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Gekleurd blok + 2 kolommen">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1" y="0"/>
            <a:ext cx="3977217" cy="6858000"/>
          </a:xfrm>
          <a:solidFill>
            <a:schemeClr val="accent1"/>
          </a:solidFill>
        </p:spPr>
        <p:txBody>
          <a:bodyPr lIns="180000" rIns="180000" anchor="ctr">
            <a:noAutofit/>
          </a:bodyPr>
          <a:lstStyle>
            <a:lvl1pPr algn="ctr">
              <a:defRPr>
                <a:solidFill>
                  <a:schemeClr val="bg1"/>
                </a:solidFill>
              </a:defRPr>
            </a:lvl1pPr>
          </a:lstStyle>
          <a:p>
            <a:r>
              <a:rPr lang="nl-NL" smtClean="0"/>
              <a:t>Klik om de stijl te bewerken</a:t>
            </a:r>
            <a:endParaRPr lang="nl-NL"/>
          </a:p>
        </p:txBody>
      </p:sp>
      <p:sp>
        <p:nvSpPr>
          <p:cNvPr id="7" name="Content Placeholder 2">
            <a:extLst>
              <a:ext uri="{FF2B5EF4-FFF2-40B4-BE49-F238E27FC236}">
                <a16:creationId xmlns:a16="http://schemas.microsoft.com/office/drawing/2014/main" id="{18A72007-BBFF-4A51-8C65-3474732BCFA5}"/>
              </a:ext>
            </a:extLst>
          </p:cNvPr>
          <p:cNvSpPr>
            <a:spLocks noGrp="1"/>
          </p:cNvSpPr>
          <p:nvPr>
            <p:ph idx="14" hasCustomPrompt="1"/>
          </p:nvPr>
        </p:nvSpPr>
        <p:spPr>
          <a:xfrm>
            <a:off x="4360334" y="1261534"/>
            <a:ext cx="3469217"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8212667" y="1261534"/>
            <a:ext cx="3473451"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Tijdelijke aanduiding voor tekst 2">
            <a:extLst>
              <a:ext uri="{FF2B5EF4-FFF2-40B4-BE49-F238E27FC236}">
                <a16:creationId xmlns:a16="http://schemas.microsoft.com/office/drawing/2014/main" id="{7119B4A0-0616-47C9-8214-6A2849B3E2FE}"/>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589081734"/>
      </p:ext>
    </p:extLst>
  </p:cSld>
  <p:clrMapOvr>
    <a:masterClrMapping/>
  </p:clrMapOvr>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Afbeelding - 2 kolommen">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03767" y="3571455"/>
            <a:ext cx="5401732" cy="2590163"/>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dirty="0"/>
          </a:p>
        </p:txBody>
      </p:sp>
      <p:sp>
        <p:nvSpPr>
          <p:cNvPr id="6" name="Slide Number Placeholder 5"/>
          <p:cNvSpPr>
            <a:spLocks noGrp="1"/>
          </p:cNvSpPr>
          <p:nvPr>
            <p:ph type="sldNum" sz="quarter" idx="12"/>
          </p:nvPr>
        </p:nvSpPr>
        <p:spPr/>
        <p:txBody>
          <a:bodyPr/>
          <a:lstStyle/>
          <a:p>
            <a:fld id="{3DB5CD4A-C15F-49D5-8EDA-2339ABBB057D}" type="slidenum">
              <a:rPr lang="nl-NL" smtClean="0"/>
              <a:t>‹nr.›</a:t>
            </a:fld>
            <a:endParaRPr lang="nl-NL" dirty="0"/>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152824"/>
            <a:ext cx="11182349" cy="345016"/>
          </a:xfrm>
        </p:spPr>
        <p:txBody>
          <a:bodyPr anchor="ctr">
            <a:noAutofit/>
          </a:bodyPr>
          <a:lstStyle>
            <a:lvl1pPr marL="0" indent="0">
              <a:buNone/>
              <a:defRPr sz="1067" cap="none" baseline="0">
                <a:solidFill>
                  <a:schemeClr val="tx2"/>
                </a:solidFill>
                <a:latin typeface="+mn-lt"/>
              </a:defRPr>
            </a:lvl1pPr>
          </a:lstStyle>
          <a:p>
            <a:pPr lvl="0"/>
            <a:r>
              <a:rPr lang="nl-NL" smtClean="0"/>
              <a:t>Tekststijl van het model bewerken</a:t>
            </a:r>
          </a:p>
        </p:txBody>
      </p:sp>
      <p:sp>
        <p:nvSpPr>
          <p:cNvPr id="10" name="Titel 9">
            <a:extLst>
              <a:ext uri="{FF2B5EF4-FFF2-40B4-BE49-F238E27FC236}">
                <a16:creationId xmlns:a16="http://schemas.microsoft.com/office/drawing/2014/main" id="{C7A5D924-C258-41C5-90EA-91DDED12F1E3}"/>
              </a:ext>
            </a:extLst>
          </p:cNvPr>
          <p:cNvSpPr>
            <a:spLocks noGrp="1"/>
          </p:cNvSpPr>
          <p:nvPr>
            <p:ph type="title"/>
          </p:nvPr>
        </p:nvSpPr>
        <p:spPr>
          <a:xfrm>
            <a:off x="503768" y="507609"/>
            <a:ext cx="11182349" cy="295465"/>
          </a:xfrm>
        </p:spPr>
        <p:txBody>
          <a:bodyPr>
            <a:noAutofit/>
          </a:bodyPr>
          <a:lstStyle>
            <a:lvl1pPr>
              <a:defRPr sz="2133"/>
            </a:lvl1pPr>
          </a:lstStyle>
          <a:p>
            <a:r>
              <a:rPr lang="nl-NL" smtClean="0"/>
              <a:t>Klik om de stijl te bewerken</a:t>
            </a:r>
            <a:endParaRPr lang="nl-NL"/>
          </a:p>
        </p:txBody>
      </p:sp>
      <p:sp>
        <p:nvSpPr>
          <p:cNvPr id="9" name="Content Placeholder 2">
            <a:extLst>
              <a:ext uri="{FF2B5EF4-FFF2-40B4-BE49-F238E27FC236}">
                <a16:creationId xmlns:a16="http://schemas.microsoft.com/office/drawing/2014/main" id="{F1BD58BE-2D71-45C1-8673-21F15A290F0F}"/>
              </a:ext>
            </a:extLst>
          </p:cNvPr>
          <p:cNvSpPr>
            <a:spLocks noGrp="1"/>
          </p:cNvSpPr>
          <p:nvPr>
            <p:ph idx="15" hasCustomPrompt="1"/>
          </p:nvPr>
        </p:nvSpPr>
        <p:spPr>
          <a:xfrm>
            <a:off x="6284384" y="1261534"/>
            <a:ext cx="5401733" cy="4900084"/>
          </a:xfrm>
        </p:spPr>
        <p:txBody>
          <a:bodyPr>
            <a:noAutofit/>
          </a:bodyPr>
          <a:lstStyle>
            <a:lvl1pPr>
              <a:spcAft>
                <a:spcPts val="1333"/>
              </a:spcAft>
              <a:defRPr sz="1067"/>
            </a:lvl1pPr>
            <a:lvl2pPr>
              <a:spcAft>
                <a:spcPts val="1333"/>
              </a:spcAft>
              <a:defRPr sz="1067"/>
            </a:lvl2pPr>
            <a:lvl3pPr>
              <a:spcAft>
                <a:spcPts val="1333"/>
              </a:spcAft>
              <a:defRPr sz="1067"/>
            </a:lvl3pPr>
            <a:lvl4pPr>
              <a:spcAft>
                <a:spcPts val="1333"/>
              </a:spcAft>
              <a:defRPr sz="1067"/>
            </a:lvl4pPr>
            <a:lvl5pPr>
              <a:spcAft>
                <a:spcPts val="1333"/>
              </a:spcAft>
              <a:defRPr sz="10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4" name="Tijdelijke aanduiding voor afbeelding 3">
            <a:extLst>
              <a:ext uri="{FF2B5EF4-FFF2-40B4-BE49-F238E27FC236}">
                <a16:creationId xmlns:a16="http://schemas.microsoft.com/office/drawing/2014/main" id="{A6FADB2D-19FA-4B72-A163-388A0095293F}"/>
              </a:ext>
            </a:extLst>
          </p:cNvPr>
          <p:cNvSpPr>
            <a:spLocks noGrp="1"/>
          </p:cNvSpPr>
          <p:nvPr>
            <p:ph type="pic" sz="quarter" idx="16"/>
          </p:nvPr>
        </p:nvSpPr>
        <p:spPr>
          <a:xfrm>
            <a:off x="503767" y="1261534"/>
            <a:ext cx="5401733" cy="1909233"/>
          </a:xfrm>
        </p:spPr>
        <p:txBody>
          <a:bodyPr/>
          <a:lstStyle/>
          <a:p>
            <a:r>
              <a:rPr lang="nl-NL" smtClean="0"/>
              <a:t>Klik op het pictogram als u een afbeelding wilt toevoegen</a:t>
            </a:r>
            <a:endParaRPr lang="nl-NL"/>
          </a:p>
        </p:txBody>
      </p:sp>
      <p:sp>
        <p:nvSpPr>
          <p:cNvPr id="11" name="Tijdelijke aanduiding voor tekst 2">
            <a:extLst>
              <a:ext uri="{FF2B5EF4-FFF2-40B4-BE49-F238E27FC236}">
                <a16:creationId xmlns:a16="http://schemas.microsoft.com/office/drawing/2014/main" id="{1AA5AD39-7190-4F41-A174-08FBB4E4A03F}"/>
              </a:ext>
            </a:extLst>
          </p:cNvPr>
          <p:cNvSpPr>
            <a:spLocks noGrp="1"/>
          </p:cNvSpPr>
          <p:nvPr>
            <p:ph type="body" sz="quarter" idx="17"/>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9508587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8000" y="3666268"/>
            <a:ext cx="8985251" cy="453457"/>
          </a:xfrm>
          <a:prstGeom prst="rect">
            <a:avLst/>
          </a:prstGeom>
        </p:spPr>
        <p:txBody>
          <a:bodyPr wrap="square" anchor="b">
            <a:spAutoFit/>
          </a:bodyPr>
          <a:lstStyle>
            <a:lvl1pPr algn="l">
              <a:lnSpc>
                <a:spcPct val="85000"/>
              </a:lnSpc>
              <a:defRPr sz="3467"/>
            </a:lvl1pPr>
          </a:lstStyle>
          <a:p>
            <a:r>
              <a:rPr lang="nl-NL" dirty="0"/>
              <a:t>Titel van de presentatie</a:t>
            </a:r>
          </a:p>
        </p:txBody>
      </p:sp>
      <p:sp>
        <p:nvSpPr>
          <p:cNvPr id="3" name="Subtitle 2"/>
          <p:cNvSpPr>
            <a:spLocks noGrp="1"/>
          </p:cNvSpPr>
          <p:nvPr>
            <p:ph type="subTitle" idx="1" hasCustomPrompt="1"/>
          </p:nvPr>
        </p:nvSpPr>
        <p:spPr>
          <a:xfrm>
            <a:off x="508000" y="4160999"/>
            <a:ext cx="8985251" cy="378052"/>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userDrawn="1"/>
        </p:nvPicPr>
        <p:blipFill rotWithShape="1">
          <a:blip r:embed="rId2"/>
          <a:srcRect l="8924" t="8924" r="8924" b="11794"/>
          <a:stretch/>
        </p:blipFill>
        <p:spPr>
          <a:xfrm>
            <a:off x="426720" y="258634"/>
            <a:ext cx="3636131" cy="1325795"/>
          </a:xfrm>
          <a:prstGeom prst="rect">
            <a:avLst/>
          </a:prstGeom>
        </p:spPr>
      </p:pic>
      <p:sp>
        <p:nvSpPr>
          <p:cNvPr id="7" name="Text Placeholder 6">
            <a:extLst>
              <a:ext uri="{FF2B5EF4-FFF2-40B4-BE49-F238E27FC236}">
                <a16:creationId xmlns:a16="http://schemas.microsoft.com/office/drawing/2014/main" id="{85A363A7-264F-4587-8C4F-3FEAC05D23BF}"/>
              </a:ext>
            </a:extLst>
          </p:cNvPr>
          <p:cNvSpPr>
            <a:spLocks noGrp="1"/>
          </p:cNvSpPr>
          <p:nvPr>
            <p:ph type="body" sz="quarter" idx="10" hasCustomPrompt="1"/>
          </p:nvPr>
        </p:nvSpPr>
        <p:spPr>
          <a:xfrm>
            <a:off x="508000" y="56015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Naam presentator</a:t>
            </a:r>
          </a:p>
        </p:txBody>
      </p:sp>
      <p:sp>
        <p:nvSpPr>
          <p:cNvPr id="12" name="Text Placeholder 6">
            <a:extLst>
              <a:ext uri="{FF2B5EF4-FFF2-40B4-BE49-F238E27FC236}">
                <a16:creationId xmlns:a16="http://schemas.microsoft.com/office/drawing/2014/main" id="{DC40CEB2-EDA7-45D9-A380-9DFAD12C3057}"/>
              </a:ext>
            </a:extLst>
          </p:cNvPr>
          <p:cNvSpPr>
            <a:spLocks noGrp="1"/>
          </p:cNvSpPr>
          <p:nvPr>
            <p:ph type="body" sz="quarter" idx="11" hasCustomPrompt="1"/>
          </p:nvPr>
        </p:nvSpPr>
        <p:spPr>
          <a:xfrm>
            <a:off x="508000" y="59063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Plaats en datum</a:t>
            </a:r>
          </a:p>
        </p:txBody>
      </p:sp>
      <p:cxnSp>
        <p:nvCxnSpPr>
          <p:cNvPr id="8" name="Rechte verbindingslijn 7">
            <a:extLst>
              <a:ext uri="{FF2B5EF4-FFF2-40B4-BE49-F238E27FC236}">
                <a16:creationId xmlns:a16="http://schemas.microsoft.com/office/drawing/2014/main" id="{57056A67-9A93-4B62-B5BC-CDA6E06CA4A0}"/>
              </a:ext>
            </a:extLst>
          </p:cNvPr>
          <p:cNvCxnSpPr>
            <a:cxnSpLocks/>
          </p:cNvCxnSpPr>
          <p:nvPr userDrawn="1"/>
        </p:nvCxnSpPr>
        <p:spPr>
          <a:xfrm>
            <a:off x="508000" y="1981200"/>
            <a:ext cx="11178117"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17661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Inhou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144F3AC2-A2A5-4517-91A9-32BE9AD79DEE}"/>
              </a:ext>
            </a:extLst>
          </p:cNvPr>
          <p:cNvSpPr>
            <a:spLocks/>
          </p:cNvSpPr>
          <p:nvPr/>
        </p:nvSpPr>
        <p:spPr bwMode="auto">
          <a:xfrm>
            <a:off x="7579563" y="1"/>
            <a:ext cx="4612437" cy="6858000"/>
          </a:xfrm>
          <a:custGeom>
            <a:avLst/>
            <a:gdLst>
              <a:gd name="connsiteX0" fmla="*/ 2551178 w 3459328"/>
              <a:gd name="connsiteY0" fmla="*/ 0 h 5143500"/>
              <a:gd name="connsiteX1" fmla="*/ 3459328 w 3459328"/>
              <a:gd name="connsiteY1" fmla="*/ 0 h 5143500"/>
              <a:gd name="connsiteX2" fmla="*/ 3459328 w 3459328"/>
              <a:gd name="connsiteY2" fmla="*/ 1996762 h 5143500"/>
              <a:gd name="connsiteX3" fmla="*/ 3452609 w 3459328"/>
              <a:gd name="connsiteY3" fmla="*/ 2010153 h 5143500"/>
              <a:gd name="connsiteX4" fmla="*/ 2508344 w 3459328"/>
              <a:gd name="connsiteY4" fmla="*/ 3891995 h 5143500"/>
              <a:gd name="connsiteX5" fmla="*/ 3415272 w 3459328"/>
              <a:gd name="connsiteY5" fmla="*/ 3891995 h 5143500"/>
              <a:gd name="connsiteX6" fmla="*/ 3459328 w 3459328"/>
              <a:gd name="connsiteY6" fmla="*/ 3891995 h 5143500"/>
              <a:gd name="connsiteX7" fmla="*/ 3459328 w 3459328"/>
              <a:gd name="connsiteY7" fmla="*/ 5143500 h 5143500"/>
              <a:gd name="connsiteX8" fmla="*/ 0 w 3459328"/>
              <a:gd name="connsiteY8" fmla="*/ 5143500 h 5143500"/>
              <a:gd name="connsiteX9" fmla="*/ 27810 w 3459328"/>
              <a:gd name="connsiteY9" fmla="*/ 5087432 h 5143500"/>
              <a:gd name="connsiteX10" fmla="*/ 2544314 w 3459328"/>
              <a:gd name="connsiteY10" fmla="*/ 1383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9328" h="5143500">
                <a:moveTo>
                  <a:pt x="2551178" y="0"/>
                </a:moveTo>
                <a:lnTo>
                  <a:pt x="3459328" y="0"/>
                </a:lnTo>
                <a:lnTo>
                  <a:pt x="3459328" y="1996762"/>
                </a:lnTo>
                <a:lnTo>
                  <a:pt x="3452609" y="2010153"/>
                </a:lnTo>
                <a:cubicBezTo>
                  <a:pt x="3407644" y="2099764"/>
                  <a:pt x="3227784" y="2458210"/>
                  <a:pt x="2508344" y="3891995"/>
                </a:cubicBezTo>
                <a:cubicBezTo>
                  <a:pt x="2508344" y="3891995"/>
                  <a:pt x="2508344" y="3891995"/>
                  <a:pt x="3415272" y="3891995"/>
                </a:cubicBezTo>
                <a:lnTo>
                  <a:pt x="3459328" y="3891995"/>
                </a:lnTo>
                <a:lnTo>
                  <a:pt x="3459328" y="5143500"/>
                </a:lnTo>
                <a:lnTo>
                  <a:pt x="0" y="5143500"/>
                </a:lnTo>
                <a:lnTo>
                  <a:pt x="27810" y="5087432"/>
                </a:lnTo>
                <a:cubicBezTo>
                  <a:pt x="268610" y="4601951"/>
                  <a:pt x="898199" y="3332617"/>
                  <a:pt x="2544314" y="13839"/>
                </a:cubicBezTo>
                <a:close/>
              </a:path>
            </a:pathLst>
          </a:custGeom>
          <a:solidFill>
            <a:srgbClr val="EDF1F5"/>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3" name="Content Placeholder 2"/>
          <p:cNvSpPr>
            <a:spLocks noGrp="1"/>
          </p:cNvSpPr>
          <p:nvPr>
            <p:ph idx="1" hasCustomPrompt="1"/>
          </p:nvPr>
        </p:nvSpPr>
        <p:spPr>
          <a:xfrm>
            <a:off x="508000" y="1365251"/>
            <a:ext cx="7418917" cy="4796367"/>
          </a:xfrm>
        </p:spPr>
        <p:txBody>
          <a:bodyPr/>
          <a:lstStyle>
            <a:lvl1pPr marL="355591" indent="-355591">
              <a:buFont typeface="+mj-lt"/>
              <a:buAutoNum type="arabicPeriod"/>
              <a:defRPr/>
            </a:lvl1pPr>
            <a:lvl2pPr marL="599002" indent="-243411">
              <a:defRPr/>
            </a:lvl2pPr>
            <a:lvl3pPr marL="833946" indent="-234945">
              <a:defRPr/>
            </a:lvl3pPr>
            <a:lvl4pPr marL="1077357" indent="-243411">
              <a:defRPr/>
            </a:lvl4pPr>
            <a:lvl5pPr marL="1310185" indent="-232828">
              <a:defRPr/>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tel 7">
            <a:extLst>
              <a:ext uri="{FF2B5EF4-FFF2-40B4-BE49-F238E27FC236}">
                <a16:creationId xmlns:a16="http://schemas.microsoft.com/office/drawing/2014/main" id="{21BB1A1B-AF76-495C-B2AA-52264DE53FDF}"/>
              </a:ext>
            </a:extLst>
          </p:cNvPr>
          <p:cNvSpPr>
            <a:spLocks noGrp="1"/>
          </p:cNvSpPr>
          <p:nvPr>
            <p:ph type="title"/>
          </p:nvPr>
        </p:nvSpPr>
        <p:spPr>
          <a:xfrm>
            <a:off x="503768" y="1"/>
            <a:ext cx="11182349" cy="876940"/>
          </a:xfrm>
        </p:spPr>
        <p:txBody>
          <a:bodyPr/>
          <a:lstStyle/>
          <a:p>
            <a:r>
              <a:rPr lang="nl-NL" smtClean="0"/>
              <a:t>Klik om de stijl te bewerken</a:t>
            </a:r>
            <a:endParaRPr lang="nl-NL" dirty="0"/>
          </a:p>
        </p:txBody>
      </p:sp>
      <p:sp>
        <p:nvSpPr>
          <p:cNvPr id="11" name="Tijdelijke aanduiding voor tekst 2">
            <a:extLst>
              <a:ext uri="{FF2B5EF4-FFF2-40B4-BE49-F238E27FC236}">
                <a16:creationId xmlns:a16="http://schemas.microsoft.com/office/drawing/2014/main" id="{0EFA31D1-CF13-4DDC-926C-EA28EF7A9839}"/>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580202801"/>
      </p:ext>
    </p:extLst>
  </p:cSld>
  <p:clrMapOvr>
    <a:masterClrMapping/>
  </p:clrMapOvr>
  <p:extLst mod="1">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eldia met visual - lich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BE2E5C7-E2A8-477C-BEAA-BB6E91787399}"/>
              </a:ext>
            </a:extLst>
          </p:cNvPr>
          <p:cNvSpPr>
            <a:spLocks noGrp="1"/>
          </p:cNvSpPr>
          <p:nvPr>
            <p:ph type="pic" sz="quarter" idx="11"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2" name="Title 1"/>
          <p:cNvSpPr>
            <a:spLocks noGrp="1"/>
          </p:cNvSpPr>
          <p:nvPr>
            <p:ph type="ctrTitle" hasCustomPrompt="1"/>
          </p:nvPr>
        </p:nvSpPr>
        <p:spPr>
          <a:xfrm>
            <a:off x="4066420" y="4746614"/>
            <a:ext cx="7310664" cy="453457"/>
          </a:xfrm>
          <a:prstGeom prst="rect">
            <a:avLst/>
          </a:prstGeom>
        </p:spPr>
        <p:txBody>
          <a:bodyPr wrap="square" anchor="b">
            <a:spAutoFit/>
          </a:bodyPr>
          <a:lstStyle>
            <a:lvl1pPr algn="l">
              <a:lnSpc>
                <a:spcPct val="85000"/>
              </a:lnSpc>
              <a:defRPr sz="3467"/>
            </a:lvl1pPr>
          </a:lstStyle>
          <a:p>
            <a:r>
              <a:rPr lang="nl-NL" dirty="0"/>
              <a:t>Titel van de presentatie</a:t>
            </a:r>
          </a:p>
        </p:txBody>
      </p:sp>
      <p:sp>
        <p:nvSpPr>
          <p:cNvPr id="3" name="Subtitle 2"/>
          <p:cNvSpPr>
            <a:spLocks noGrp="1"/>
          </p:cNvSpPr>
          <p:nvPr>
            <p:ph type="subTitle" idx="1" hasCustomPrompt="1"/>
          </p:nvPr>
        </p:nvSpPr>
        <p:spPr>
          <a:xfrm>
            <a:off x="4066420" y="5292146"/>
            <a:ext cx="7310664" cy="378052"/>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sp>
        <p:nvSpPr>
          <p:cNvPr id="11" name="Text Placeholder 10">
            <a:extLst>
              <a:ext uri="{FF2B5EF4-FFF2-40B4-BE49-F238E27FC236}">
                <a16:creationId xmlns:a16="http://schemas.microsoft.com/office/drawing/2014/main" id="{85DA0B01-6242-4284-8948-B741BFFB1C30}"/>
              </a:ext>
            </a:extLst>
          </p:cNvPr>
          <p:cNvSpPr>
            <a:spLocks noGrp="1"/>
          </p:cNvSpPr>
          <p:nvPr>
            <p:ph type="body" sz="quarter" idx="10" hasCustomPrompt="1"/>
          </p:nvPr>
        </p:nvSpPr>
        <p:spPr>
          <a:xfrm>
            <a:off x="1" y="0"/>
            <a:ext cx="3415113" cy="6858000"/>
          </a:xfrm>
          <a:custGeom>
            <a:avLst/>
            <a:gdLst>
              <a:gd name="connsiteX0" fmla="*/ 0 w 2561335"/>
              <a:gd name="connsiteY0" fmla="*/ 0 h 5143500"/>
              <a:gd name="connsiteX1" fmla="*/ 2561335 w 2561335"/>
              <a:gd name="connsiteY1" fmla="*/ 5143500 h 5143500"/>
              <a:gd name="connsiteX2" fmla="*/ 0 w 2561335"/>
              <a:gd name="connsiteY2" fmla="*/ 5143500 h 5143500"/>
            </a:gdLst>
            <a:ahLst/>
            <a:cxnLst>
              <a:cxn ang="0">
                <a:pos x="connsiteX0" y="connsiteY0"/>
              </a:cxn>
              <a:cxn ang="0">
                <a:pos x="connsiteX1" y="connsiteY1"/>
              </a:cxn>
              <a:cxn ang="0">
                <a:pos x="connsiteX2" y="connsiteY2"/>
              </a:cxn>
            </a:cxnLst>
            <a:rect l="l" t="t" r="r" b="b"/>
            <a:pathLst>
              <a:path w="2561335" h="5143500">
                <a:moveTo>
                  <a:pt x="0" y="0"/>
                </a:moveTo>
                <a:lnTo>
                  <a:pt x="2561335" y="5143500"/>
                </a:lnTo>
                <a:lnTo>
                  <a:pt x="0" y="5143500"/>
                </a:lnTo>
                <a:close/>
              </a:path>
            </a:pathLst>
          </a:custGeom>
          <a:solidFill>
            <a:schemeClr val="accent3">
              <a:alpha val="55000"/>
            </a:schemeClr>
          </a:solidFill>
        </p:spPr>
        <p:txBody>
          <a:bodyPr wrap="square">
            <a:noAutofit/>
          </a:bodyPr>
          <a:lstStyle>
            <a:lvl1pPr marL="0" indent="0">
              <a:buNone/>
              <a:defRPr/>
            </a:lvl1pPr>
          </a:lstStyle>
          <a:p>
            <a:pPr lvl="0"/>
            <a:r>
              <a:rPr lang="nl-NL" dirty="0"/>
              <a:t> </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srcRect l="8924" t="8924" r="8924" b="11794"/>
          <a:stretch/>
        </p:blipFill>
        <p:spPr>
          <a:xfrm>
            <a:off x="4066420" y="6115943"/>
            <a:ext cx="1329669" cy="484820"/>
          </a:xfrm>
          <a:prstGeom prst="rect">
            <a:avLst/>
          </a:prstGeom>
        </p:spPr>
      </p:pic>
    </p:spTree>
    <p:extLst>
      <p:ext uri="{BB962C8B-B14F-4D97-AF65-F5344CB8AC3E}">
        <p14:creationId xmlns:p14="http://schemas.microsoft.com/office/powerpoint/2010/main" val="18741595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eldia met visual - donker">
    <p:bg>
      <p:bgPr>
        <a:solidFill>
          <a:schemeClr val="accent3"/>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ABE2E5C7-E2A8-477C-BEAA-BB6E91787399}"/>
              </a:ext>
            </a:extLst>
          </p:cNvPr>
          <p:cNvSpPr>
            <a:spLocks noGrp="1"/>
          </p:cNvSpPr>
          <p:nvPr>
            <p:ph type="pic" sz="quarter" idx="11"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2" name="Title 1"/>
          <p:cNvSpPr>
            <a:spLocks noGrp="1"/>
          </p:cNvSpPr>
          <p:nvPr>
            <p:ph type="ctrTitle" hasCustomPrompt="1"/>
          </p:nvPr>
        </p:nvSpPr>
        <p:spPr>
          <a:xfrm>
            <a:off x="4066420" y="4746614"/>
            <a:ext cx="7310664" cy="453457"/>
          </a:xfrm>
          <a:prstGeom prst="rect">
            <a:avLst/>
          </a:prstGeom>
        </p:spPr>
        <p:txBody>
          <a:bodyPr wrap="square" anchor="b">
            <a:spAutoFit/>
          </a:bodyPr>
          <a:lstStyle>
            <a:lvl1pPr algn="l">
              <a:lnSpc>
                <a:spcPct val="85000"/>
              </a:lnSpc>
              <a:defRPr sz="3467">
                <a:solidFill>
                  <a:schemeClr val="bg1"/>
                </a:solidFill>
              </a:defRPr>
            </a:lvl1pPr>
          </a:lstStyle>
          <a:p>
            <a:r>
              <a:rPr lang="nl-NL" dirty="0"/>
              <a:t>Titel van de presentatie</a:t>
            </a:r>
          </a:p>
        </p:txBody>
      </p:sp>
      <p:sp>
        <p:nvSpPr>
          <p:cNvPr id="3" name="Subtitle 2"/>
          <p:cNvSpPr>
            <a:spLocks noGrp="1"/>
          </p:cNvSpPr>
          <p:nvPr>
            <p:ph type="subTitle" idx="1" hasCustomPrompt="1"/>
          </p:nvPr>
        </p:nvSpPr>
        <p:spPr>
          <a:xfrm>
            <a:off x="4066420" y="5292146"/>
            <a:ext cx="7310664" cy="378052"/>
          </a:xfrm>
        </p:spPr>
        <p:txBody>
          <a:bodyPr wrap="square">
            <a:spAutoFit/>
          </a:bodyPr>
          <a:lstStyle>
            <a:lvl1pPr marL="0" indent="0" algn="l">
              <a:buNone/>
              <a:defRPr sz="24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sp>
        <p:nvSpPr>
          <p:cNvPr id="11" name="Text Placeholder 10">
            <a:extLst>
              <a:ext uri="{FF2B5EF4-FFF2-40B4-BE49-F238E27FC236}">
                <a16:creationId xmlns:a16="http://schemas.microsoft.com/office/drawing/2014/main" id="{85DA0B01-6242-4284-8948-B741BFFB1C30}"/>
              </a:ext>
            </a:extLst>
          </p:cNvPr>
          <p:cNvSpPr>
            <a:spLocks noGrp="1"/>
          </p:cNvSpPr>
          <p:nvPr>
            <p:ph type="body" sz="quarter" idx="10" hasCustomPrompt="1"/>
          </p:nvPr>
        </p:nvSpPr>
        <p:spPr>
          <a:xfrm>
            <a:off x="1" y="0"/>
            <a:ext cx="3415113" cy="6858000"/>
          </a:xfrm>
          <a:custGeom>
            <a:avLst/>
            <a:gdLst>
              <a:gd name="connsiteX0" fmla="*/ 0 w 2561335"/>
              <a:gd name="connsiteY0" fmla="*/ 0 h 5143500"/>
              <a:gd name="connsiteX1" fmla="*/ 2561335 w 2561335"/>
              <a:gd name="connsiteY1" fmla="*/ 5143500 h 5143500"/>
              <a:gd name="connsiteX2" fmla="*/ 0 w 2561335"/>
              <a:gd name="connsiteY2" fmla="*/ 5143500 h 5143500"/>
            </a:gdLst>
            <a:ahLst/>
            <a:cxnLst>
              <a:cxn ang="0">
                <a:pos x="connsiteX0" y="connsiteY0"/>
              </a:cxn>
              <a:cxn ang="0">
                <a:pos x="connsiteX1" y="connsiteY1"/>
              </a:cxn>
              <a:cxn ang="0">
                <a:pos x="connsiteX2" y="connsiteY2"/>
              </a:cxn>
            </a:cxnLst>
            <a:rect l="l" t="t" r="r" b="b"/>
            <a:pathLst>
              <a:path w="2561335" h="5143500">
                <a:moveTo>
                  <a:pt x="0" y="0"/>
                </a:moveTo>
                <a:lnTo>
                  <a:pt x="2561335" y="5143500"/>
                </a:lnTo>
                <a:lnTo>
                  <a:pt x="0" y="5143500"/>
                </a:lnTo>
                <a:close/>
              </a:path>
            </a:pathLst>
          </a:custGeom>
          <a:solidFill>
            <a:schemeClr val="bg2">
              <a:alpha val="20000"/>
            </a:schemeClr>
          </a:solidFill>
        </p:spPr>
        <p:txBody>
          <a:bodyPr wrap="square">
            <a:noAutofit/>
          </a:bodyPr>
          <a:lstStyle>
            <a:lvl1pPr marL="0" indent="0">
              <a:buNone/>
              <a:defRPr/>
            </a:lvl1pPr>
          </a:lstStyle>
          <a:p>
            <a:pPr lvl="0"/>
            <a:r>
              <a:rPr lang="nl-NL" dirty="0"/>
              <a:t> </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lum bright="100000"/>
          </a:blip>
          <a:srcRect l="8924" t="8924" r="8924" b="11794"/>
          <a:stretch/>
        </p:blipFill>
        <p:spPr>
          <a:xfrm>
            <a:off x="4066420" y="6115943"/>
            <a:ext cx="1329669" cy="484820"/>
          </a:xfrm>
          <a:prstGeom prst="rect">
            <a:avLst/>
          </a:prstGeom>
        </p:spPr>
      </p:pic>
    </p:spTree>
    <p:extLst>
      <p:ext uri="{BB962C8B-B14F-4D97-AF65-F5344CB8AC3E}">
        <p14:creationId xmlns:p14="http://schemas.microsoft.com/office/powerpoint/2010/main" val="41915697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iteldi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8000" y="3666268"/>
            <a:ext cx="8985251" cy="453457"/>
          </a:xfrm>
          <a:prstGeom prst="rect">
            <a:avLst/>
          </a:prstGeom>
        </p:spPr>
        <p:txBody>
          <a:bodyPr wrap="square" anchor="b">
            <a:spAutoFit/>
          </a:bodyPr>
          <a:lstStyle>
            <a:lvl1pPr algn="l">
              <a:lnSpc>
                <a:spcPct val="85000"/>
              </a:lnSpc>
              <a:defRPr sz="3467"/>
            </a:lvl1pPr>
          </a:lstStyle>
          <a:p>
            <a:r>
              <a:rPr lang="nl-NL" dirty="0"/>
              <a:t>Titel van de presentatie</a:t>
            </a:r>
          </a:p>
        </p:txBody>
      </p:sp>
      <p:sp>
        <p:nvSpPr>
          <p:cNvPr id="3" name="Subtitle 2"/>
          <p:cNvSpPr>
            <a:spLocks noGrp="1"/>
          </p:cNvSpPr>
          <p:nvPr>
            <p:ph type="subTitle" idx="1" hasCustomPrompt="1"/>
          </p:nvPr>
        </p:nvSpPr>
        <p:spPr>
          <a:xfrm>
            <a:off x="508000" y="4160999"/>
            <a:ext cx="8985251" cy="378052"/>
          </a:xfrm>
        </p:spPr>
        <p:txBody>
          <a:bodyPr wrap="square">
            <a:sp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 van de presentatie</a:t>
            </a:r>
          </a:p>
        </p:txBody>
      </p:sp>
      <p:pic>
        <p:nvPicPr>
          <p:cNvPr id="14" name="Picture 13">
            <a:extLst>
              <a:ext uri="{FF2B5EF4-FFF2-40B4-BE49-F238E27FC236}">
                <a16:creationId xmlns:a16="http://schemas.microsoft.com/office/drawing/2014/main" id="{293B99BE-79B7-4AB7-9684-984447BCF2F9}"/>
              </a:ext>
            </a:extLst>
          </p:cNvPr>
          <p:cNvPicPr>
            <a:picLocks noChangeAspect="1"/>
          </p:cNvPicPr>
          <p:nvPr/>
        </p:nvPicPr>
        <p:blipFill rotWithShape="1">
          <a:blip r:embed="rId2"/>
          <a:srcRect l="8924" t="8924" r="8924" b="11794"/>
          <a:stretch/>
        </p:blipFill>
        <p:spPr>
          <a:xfrm>
            <a:off x="426720" y="258634"/>
            <a:ext cx="3636131" cy="1325795"/>
          </a:xfrm>
          <a:prstGeom prst="rect">
            <a:avLst/>
          </a:prstGeom>
        </p:spPr>
      </p:pic>
      <p:sp>
        <p:nvSpPr>
          <p:cNvPr id="7" name="Text Placeholder 6">
            <a:extLst>
              <a:ext uri="{FF2B5EF4-FFF2-40B4-BE49-F238E27FC236}">
                <a16:creationId xmlns:a16="http://schemas.microsoft.com/office/drawing/2014/main" id="{85A363A7-264F-4587-8C4F-3FEAC05D23BF}"/>
              </a:ext>
            </a:extLst>
          </p:cNvPr>
          <p:cNvSpPr>
            <a:spLocks noGrp="1"/>
          </p:cNvSpPr>
          <p:nvPr>
            <p:ph type="body" sz="quarter" idx="10" hasCustomPrompt="1"/>
          </p:nvPr>
        </p:nvSpPr>
        <p:spPr>
          <a:xfrm>
            <a:off x="508000" y="56015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Naam spreker</a:t>
            </a:r>
          </a:p>
        </p:txBody>
      </p:sp>
      <p:sp>
        <p:nvSpPr>
          <p:cNvPr id="12" name="Text Placeholder 6">
            <a:extLst>
              <a:ext uri="{FF2B5EF4-FFF2-40B4-BE49-F238E27FC236}">
                <a16:creationId xmlns:a16="http://schemas.microsoft.com/office/drawing/2014/main" id="{DC40CEB2-EDA7-45D9-A380-9DFAD12C3057}"/>
              </a:ext>
            </a:extLst>
          </p:cNvPr>
          <p:cNvSpPr>
            <a:spLocks noGrp="1"/>
          </p:cNvSpPr>
          <p:nvPr>
            <p:ph type="body" sz="quarter" idx="11" hasCustomPrompt="1"/>
          </p:nvPr>
        </p:nvSpPr>
        <p:spPr>
          <a:xfrm>
            <a:off x="508000" y="5906348"/>
            <a:ext cx="5353051" cy="252121"/>
          </a:xfrm>
        </p:spPr>
        <p:txBody>
          <a:bodyPr wrap="square">
            <a:spAutoFit/>
          </a:bodyPr>
          <a:lstStyle>
            <a:lvl1pPr marL="0" indent="0">
              <a:buNone/>
              <a:defRPr sz="1600"/>
            </a:lvl1pPr>
            <a:lvl2pPr marL="457189" indent="0">
              <a:buNone/>
              <a:defRPr/>
            </a:lvl2pPr>
            <a:lvl3pPr marL="914377" indent="0">
              <a:buNone/>
              <a:defRPr/>
            </a:lvl3pPr>
            <a:lvl4pPr marL="1371566" indent="0">
              <a:buNone/>
              <a:defRPr/>
            </a:lvl4pPr>
            <a:lvl5pPr marL="1828754" indent="0">
              <a:buNone/>
              <a:defRPr/>
            </a:lvl5pPr>
          </a:lstStyle>
          <a:p>
            <a:pPr lvl="0"/>
            <a:r>
              <a:rPr lang="nl-NL" dirty="0"/>
              <a:t>Plaats en datum</a:t>
            </a:r>
          </a:p>
        </p:txBody>
      </p:sp>
      <p:cxnSp>
        <p:nvCxnSpPr>
          <p:cNvPr id="8" name="Rechte verbindingslijn 7">
            <a:extLst>
              <a:ext uri="{FF2B5EF4-FFF2-40B4-BE49-F238E27FC236}">
                <a16:creationId xmlns:a16="http://schemas.microsoft.com/office/drawing/2014/main" id="{57056A67-9A93-4B62-B5BC-CDA6E06CA4A0}"/>
              </a:ext>
            </a:extLst>
          </p:cNvPr>
          <p:cNvCxnSpPr>
            <a:cxnSpLocks/>
          </p:cNvCxnSpPr>
          <p:nvPr/>
        </p:nvCxnSpPr>
        <p:spPr>
          <a:xfrm>
            <a:off x="508000" y="1981200"/>
            <a:ext cx="11178117"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96585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Inhou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144F3AC2-A2A5-4517-91A9-32BE9AD79DEE}"/>
              </a:ext>
            </a:extLst>
          </p:cNvPr>
          <p:cNvSpPr>
            <a:spLocks/>
          </p:cNvSpPr>
          <p:nvPr/>
        </p:nvSpPr>
        <p:spPr bwMode="auto">
          <a:xfrm>
            <a:off x="7579563" y="1"/>
            <a:ext cx="4612437" cy="6858000"/>
          </a:xfrm>
          <a:custGeom>
            <a:avLst/>
            <a:gdLst>
              <a:gd name="connsiteX0" fmla="*/ 2551178 w 3459328"/>
              <a:gd name="connsiteY0" fmla="*/ 0 h 5143500"/>
              <a:gd name="connsiteX1" fmla="*/ 3459328 w 3459328"/>
              <a:gd name="connsiteY1" fmla="*/ 0 h 5143500"/>
              <a:gd name="connsiteX2" fmla="*/ 3459328 w 3459328"/>
              <a:gd name="connsiteY2" fmla="*/ 1996762 h 5143500"/>
              <a:gd name="connsiteX3" fmla="*/ 3452609 w 3459328"/>
              <a:gd name="connsiteY3" fmla="*/ 2010153 h 5143500"/>
              <a:gd name="connsiteX4" fmla="*/ 2508344 w 3459328"/>
              <a:gd name="connsiteY4" fmla="*/ 3891995 h 5143500"/>
              <a:gd name="connsiteX5" fmla="*/ 3415272 w 3459328"/>
              <a:gd name="connsiteY5" fmla="*/ 3891995 h 5143500"/>
              <a:gd name="connsiteX6" fmla="*/ 3459328 w 3459328"/>
              <a:gd name="connsiteY6" fmla="*/ 3891995 h 5143500"/>
              <a:gd name="connsiteX7" fmla="*/ 3459328 w 3459328"/>
              <a:gd name="connsiteY7" fmla="*/ 5143500 h 5143500"/>
              <a:gd name="connsiteX8" fmla="*/ 0 w 3459328"/>
              <a:gd name="connsiteY8" fmla="*/ 5143500 h 5143500"/>
              <a:gd name="connsiteX9" fmla="*/ 27810 w 3459328"/>
              <a:gd name="connsiteY9" fmla="*/ 5087432 h 5143500"/>
              <a:gd name="connsiteX10" fmla="*/ 2544314 w 3459328"/>
              <a:gd name="connsiteY10" fmla="*/ 1383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9328" h="5143500">
                <a:moveTo>
                  <a:pt x="2551178" y="0"/>
                </a:moveTo>
                <a:lnTo>
                  <a:pt x="3459328" y="0"/>
                </a:lnTo>
                <a:lnTo>
                  <a:pt x="3459328" y="1996762"/>
                </a:lnTo>
                <a:lnTo>
                  <a:pt x="3452609" y="2010153"/>
                </a:lnTo>
                <a:cubicBezTo>
                  <a:pt x="3407644" y="2099764"/>
                  <a:pt x="3227784" y="2458210"/>
                  <a:pt x="2508344" y="3891995"/>
                </a:cubicBezTo>
                <a:cubicBezTo>
                  <a:pt x="2508344" y="3891995"/>
                  <a:pt x="2508344" y="3891995"/>
                  <a:pt x="3415272" y="3891995"/>
                </a:cubicBezTo>
                <a:lnTo>
                  <a:pt x="3459328" y="3891995"/>
                </a:lnTo>
                <a:lnTo>
                  <a:pt x="3459328" y="5143500"/>
                </a:lnTo>
                <a:lnTo>
                  <a:pt x="0" y="5143500"/>
                </a:lnTo>
                <a:lnTo>
                  <a:pt x="27810" y="5087432"/>
                </a:lnTo>
                <a:cubicBezTo>
                  <a:pt x="268610" y="4601951"/>
                  <a:pt x="898199" y="3332617"/>
                  <a:pt x="2544314" y="13839"/>
                </a:cubicBezTo>
                <a:close/>
              </a:path>
            </a:pathLst>
          </a:custGeom>
          <a:solidFill>
            <a:srgbClr val="EDF1F5"/>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3" name="Content Placeholder 2"/>
          <p:cNvSpPr>
            <a:spLocks noGrp="1"/>
          </p:cNvSpPr>
          <p:nvPr>
            <p:ph idx="1" hasCustomPrompt="1"/>
          </p:nvPr>
        </p:nvSpPr>
        <p:spPr>
          <a:xfrm>
            <a:off x="508000" y="1365251"/>
            <a:ext cx="7418917" cy="4796367"/>
          </a:xfrm>
        </p:spPr>
        <p:txBody>
          <a:bodyPr/>
          <a:lstStyle>
            <a:lvl1pPr marL="355591" indent="-355591">
              <a:buFont typeface="+mj-lt"/>
              <a:buAutoNum type="arabicPeriod"/>
              <a:defRPr/>
            </a:lvl1pPr>
            <a:lvl2pPr marL="599002" indent="-243411">
              <a:defRPr/>
            </a:lvl2pPr>
            <a:lvl3pPr marL="833946" indent="-234945">
              <a:defRPr/>
            </a:lvl3pPr>
            <a:lvl4pPr marL="1077357" indent="-243411">
              <a:defRPr/>
            </a:lvl4pPr>
            <a:lvl5pPr marL="1310185" indent="-232828">
              <a:defRPr/>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tel 7">
            <a:extLst>
              <a:ext uri="{FF2B5EF4-FFF2-40B4-BE49-F238E27FC236}">
                <a16:creationId xmlns:a16="http://schemas.microsoft.com/office/drawing/2014/main" id="{21BB1A1B-AF76-495C-B2AA-52264DE53FDF}"/>
              </a:ext>
            </a:extLst>
          </p:cNvPr>
          <p:cNvSpPr>
            <a:spLocks noGrp="1"/>
          </p:cNvSpPr>
          <p:nvPr>
            <p:ph type="title"/>
          </p:nvPr>
        </p:nvSpPr>
        <p:spPr>
          <a:xfrm>
            <a:off x="503768" y="1"/>
            <a:ext cx="11182349" cy="876940"/>
          </a:xfrm>
        </p:spPr>
        <p:txBody>
          <a:bodyPr/>
          <a:lstStyle/>
          <a:p>
            <a:r>
              <a:rPr lang="nl-NL" smtClean="0"/>
              <a:t>Klik om de stijl te bewerken</a:t>
            </a:r>
            <a:endParaRPr lang="nl-NL" dirty="0"/>
          </a:p>
        </p:txBody>
      </p:sp>
      <p:sp>
        <p:nvSpPr>
          <p:cNvPr id="11" name="Tijdelijke aanduiding voor tekst 2">
            <a:extLst>
              <a:ext uri="{FF2B5EF4-FFF2-40B4-BE49-F238E27FC236}">
                <a16:creationId xmlns:a16="http://schemas.microsoft.com/office/drawing/2014/main" id="{0EFA31D1-CF13-4DDC-926C-EA28EF7A9839}"/>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320498619"/>
      </p:ext>
    </p:extLst>
  </p:cSld>
  <p:clrMapOvr>
    <a:masterClrMapping/>
  </p:clrMapOvr>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627AA94D-469D-41E6-BA1F-D214404D1040}"/>
              </a:ext>
            </a:extLst>
          </p:cNvPr>
          <p:cNvSpPr>
            <a:spLocks noGrp="1"/>
          </p:cNvSpPr>
          <p:nvPr>
            <p:ph type="pic" sz="quarter" idx="17" hasCustomPrompt="1"/>
          </p:nvPr>
        </p:nvSpPr>
        <p:spPr>
          <a:xfrm>
            <a:off x="0" y="0"/>
            <a:ext cx="4167717" cy="6858000"/>
          </a:xfrm>
          <a:blipFill>
            <a:blip r:embed="rId2"/>
            <a:srcRect/>
            <a:stretch>
              <a:fillRect t="-1405" b="-1405"/>
            </a:stretch>
          </a:blipFill>
        </p:spPr>
        <p:txBody>
          <a:bodyPr/>
          <a:lstStyle>
            <a:lvl1pPr marL="0" indent="0" algn="ctr">
              <a:buNone/>
              <a:defRPr sz="1467"/>
            </a:lvl1pPr>
          </a:lstStyle>
          <a:p>
            <a:pPr marL="0" marR="0" lvl="0" indent="0" algn="l" defTabSz="914377" rtl="0" eaLnBrk="1" fontAlgn="auto" latinLnBrk="0" hangingPunct="1">
              <a:lnSpc>
                <a:spcPct val="110000"/>
              </a:lnSpc>
              <a:spcBef>
                <a:spcPts val="0"/>
              </a:spcBef>
              <a:spcAft>
                <a:spcPts val="800"/>
              </a:spcAft>
              <a:buClr>
                <a:schemeClr val="accent3"/>
              </a:buClr>
              <a:buSzTx/>
              <a:buFont typeface="Ubuntu Light" panose="020B0304030602030204" pitchFamily="34" charset="0"/>
              <a:buNone/>
              <a:tabLst/>
              <a:defRPr/>
            </a:pPr>
            <a:r>
              <a:rPr lang="nl-NL" dirty="0"/>
              <a:t>Klik op icoon om afbeelding in te voegen</a:t>
            </a:r>
          </a:p>
          <a:p>
            <a:endParaRPr lang="nl-NL" dirty="0"/>
          </a:p>
        </p:txBody>
      </p:sp>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4924057" y="899462"/>
            <a:ext cx="6762060"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a:xfrm>
            <a:off x="4924057" y="1"/>
            <a:ext cx="6762060" cy="876940"/>
          </a:xfrm>
        </p:spPr>
        <p:txBody>
          <a:bodyPr/>
          <a:lstStyle/>
          <a:p>
            <a:r>
              <a:rPr lang="nl-NL" smtClean="0"/>
              <a:t>Klik om de stijl te bewerken</a:t>
            </a:r>
            <a:endParaRPr lang="nl-NL" dirty="0"/>
          </a:p>
        </p:txBody>
      </p:sp>
      <p:sp>
        <p:nvSpPr>
          <p:cNvPr id="19" name="Tijdelijke aanduiding voor tekst 13">
            <a:extLst>
              <a:ext uri="{FF2B5EF4-FFF2-40B4-BE49-F238E27FC236}">
                <a16:creationId xmlns:a16="http://schemas.microsoft.com/office/drawing/2014/main" id="{18D154E5-1A95-4152-B095-74A201CB639D}"/>
              </a:ext>
            </a:extLst>
          </p:cNvPr>
          <p:cNvSpPr>
            <a:spLocks noGrp="1"/>
          </p:cNvSpPr>
          <p:nvPr>
            <p:ph type="body" sz="quarter" idx="25" hasCustomPrompt="1"/>
          </p:nvPr>
        </p:nvSpPr>
        <p:spPr>
          <a:xfrm>
            <a:off x="4924058" y="1574893"/>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0" name="Tijdelijke aanduiding voor tekst 13">
            <a:extLst>
              <a:ext uri="{FF2B5EF4-FFF2-40B4-BE49-F238E27FC236}">
                <a16:creationId xmlns:a16="http://schemas.microsoft.com/office/drawing/2014/main" id="{7968581D-C18E-45E5-8067-43DA3AFA1D9B}"/>
              </a:ext>
            </a:extLst>
          </p:cNvPr>
          <p:cNvSpPr>
            <a:spLocks noGrp="1"/>
          </p:cNvSpPr>
          <p:nvPr>
            <p:ph type="body" sz="quarter" idx="26" hasCustomPrompt="1"/>
          </p:nvPr>
        </p:nvSpPr>
        <p:spPr>
          <a:xfrm>
            <a:off x="4924058" y="1912046"/>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23" name="Tijdelijke aanduiding voor tekst 13">
            <a:extLst>
              <a:ext uri="{FF2B5EF4-FFF2-40B4-BE49-F238E27FC236}">
                <a16:creationId xmlns:a16="http://schemas.microsoft.com/office/drawing/2014/main" id="{B65A32BB-49B4-4D3F-8E3E-D21D21CAAAC5}"/>
              </a:ext>
            </a:extLst>
          </p:cNvPr>
          <p:cNvSpPr>
            <a:spLocks noGrp="1"/>
          </p:cNvSpPr>
          <p:nvPr>
            <p:ph type="body" sz="quarter" idx="28" hasCustomPrompt="1"/>
          </p:nvPr>
        </p:nvSpPr>
        <p:spPr>
          <a:xfrm>
            <a:off x="4924058" y="2696658"/>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4" name="Tijdelijke aanduiding voor tekst 13">
            <a:extLst>
              <a:ext uri="{FF2B5EF4-FFF2-40B4-BE49-F238E27FC236}">
                <a16:creationId xmlns:a16="http://schemas.microsoft.com/office/drawing/2014/main" id="{89DF320C-A9CE-44BD-AF3F-31C5A7AD8141}"/>
              </a:ext>
            </a:extLst>
          </p:cNvPr>
          <p:cNvSpPr>
            <a:spLocks noGrp="1"/>
          </p:cNvSpPr>
          <p:nvPr>
            <p:ph type="body" sz="quarter" idx="29" hasCustomPrompt="1"/>
          </p:nvPr>
        </p:nvSpPr>
        <p:spPr>
          <a:xfrm>
            <a:off x="4924058" y="3033811"/>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27" name="Tijdelijke aanduiding voor tekst 13">
            <a:extLst>
              <a:ext uri="{FF2B5EF4-FFF2-40B4-BE49-F238E27FC236}">
                <a16:creationId xmlns:a16="http://schemas.microsoft.com/office/drawing/2014/main" id="{8D06D518-0B92-4DC1-8FA2-8E182175BBBA}"/>
              </a:ext>
            </a:extLst>
          </p:cNvPr>
          <p:cNvSpPr>
            <a:spLocks noGrp="1"/>
          </p:cNvSpPr>
          <p:nvPr>
            <p:ph type="body" sz="quarter" idx="31" hasCustomPrompt="1"/>
          </p:nvPr>
        </p:nvSpPr>
        <p:spPr>
          <a:xfrm>
            <a:off x="4924058" y="3824693"/>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8" name="Tijdelijke aanduiding voor tekst 13">
            <a:extLst>
              <a:ext uri="{FF2B5EF4-FFF2-40B4-BE49-F238E27FC236}">
                <a16:creationId xmlns:a16="http://schemas.microsoft.com/office/drawing/2014/main" id="{B468E766-30B3-483B-8CDB-3A16504A3570}"/>
              </a:ext>
            </a:extLst>
          </p:cNvPr>
          <p:cNvSpPr>
            <a:spLocks noGrp="1"/>
          </p:cNvSpPr>
          <p:nvPr>
            <p:ph type="body" sz="quarter" idx="32" hasCustomPrompt="1"/>
          </p:nvPr>
        </p:nvSpPr>
        <p:spPr>
          <a:xfrm>
            <a:off x="4924058" y="4161846"/>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31" name="Tijdelijke aanduiding voor tekst 13">
            <a:extLst>
              <a:ext uri="{FF2B5EF4-FFF2-40B4-BE49-F238E27FC236}">
                <a16:creationId xmlns:a16="http://schemas.microsoft.com/office/drawing/2014/main" id="{A319782C-50A9-4664-964F-F560A001D7DF}"/>
              </a:ext>
            </a:extLst>
          </p:cNvPr>
          <p:cNvSpPr>
            <a:spLocks noGrp="1"/>
          </p:cNvSpPr>
          <p:nvPr>
            <p:ph type="body" sz="quarter" idx="34" hasCustomPrompt="1"/>
          </p:nvPr>
        </p:nvSpPr>
        <p:spPr>
          <a:xfrm>
            <a:off x="4924058" y="4939597"/>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32" name="Tijdelijke aanduiding voor tekst 13">
            <a:extLst>
              <a:ext uri="{FF2B5EF4-FFF2-40B4-BE49-F238E27FC236}">
                <a16:creationId xmlns:a16="http://schemas.microsoft.com/office/drawing/2014/main" id="{5E554B79-2683-4537-8031-AA4F39BAA2B8}"/>
              </a:ext>
            </a:extLst>
          </p:cNvPr>
          <p:cNvSpPr>
            <a:spLocks noGrp="1"/>
          </p:cNvSpPr>
          <p:nvPr>
            <p:ph type="body" sz="quarter" idx="35" hasCustomPrompt="1"/>
          </p:nvPr>
        </p:nvSpPr>
        <p:spPr>
          <a:xfrm>
            <a:off x="4924058" y="5276750"/>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34" name="Tijdelijke aanduiding voor tekst 33">
            <a:extLst>
              <a:ext uri="{FF2B5EF4-FFF2-40B4-BE49-F238E27FC236}">
                <a16:creationId xmlns:a16="http://schemas.microsoft.com/office/drawing/2014/main" id="{873F8997-0D01-4E04-AC28-5C7DE0886637}"/>
              </a:ext>
            </a:extLst>
          </p:cNvPr>
          <p:cNvSpPr>
            <a:spLocks noGrp="1"/>
          </p:cNvSpPr>
          <p:nvPr>
            <p:ph type="body" sz="quarter" idx="36" hasCustomPrompt="1"/>
          </p:nvPr>
        </p:nvSpPr>
        <p:spPr>
          <a:xfrm rot="18900000">
            <a:off x="3932517" y="1676844"/>
            <a:ext cx="470400" cy="470400"/>
          </a:xfrm>
          <a:solidFill>
            <a:schemeClr val="accent3"/>
          </a:solidFill>
        </p:spPr>
        <p:txBody>
          <a:bodyPr/>
          <a:lstStyle>
            <a:lvl1pPr marL="0" indent="0">
              <a:buNone/>
              <a:defRPr>
                <a:noFill/>
              </a:defRPr>
            </a:lvl1pPr>
          </a:lstStyle>
          <a:p>
            <a:pPr lvl="0"/>
            <a:r>
              <a:rPr lang="nl-NL" dirty="0"/>
              <a:t>#</a:t>
            </a:r>
          </a:p>
        </p:txBody>
      </p:sp>
      <p:sp>
        <p:nvSpPr>
          <p:cNvPr id="18" name="Tijdelijke aanduiding voor tekst 17">
            <a:extLst>
              <a:ext uri="{FF2B5EF4-FFF2-40B4-BE49-F238E27FC236}">
                <a16:creationId xmlns:a16="http://schemas.microsoft.com/office/drawing/2014/main" id="{2EB0852E-6179-46AC-8665-EEFC76591FEF}"/>
              </a:ext>
            </a:extLst>
          </p:cNvPr>
          <p:cNvSpPr>
            <a:spLocks noGrp="1"/>
          </p:cNvSpPr>
          <p:nvPr>
            <p:ph type="body" sz="quarter" idx="18" hasCustomPrompt="1"/>
          </p:nvPr>
        </p:nvSpPr>
        <p:spPr>
          <a:xfrm>
            <a:off x="3932517" y="1676844"/>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5" name="Tijdelijke aanduiding voor tekst 33">
            <a:extLst>
              <a:ext uri="{FF2B5EF4-FFF2-40B4-BE49-F238E27FC236}">
                <a16:creationId xmlns:a16="http://schemas.microsoft.com/office/drawing/2014/main" id="{40A0C629-3C16-48DB-A5D8-3C1F38CFD158}"/>
              </a:ext>
            </a:extLst>
          </p:cNvPr>
          <p:cNvSpPr>
            <a:spLocks noGrp="1"/>
          </p:cNvSpPr>
          <p:nvPr>
            <p:ph type="body" sz="quarter" idx="37" hasCustomPrompt="1"/>
          </p:nvPr>
        </p:nvSpPr>
        <p:spPr>
          <a:xfrm rot="18900000">
            <a:off x="3932517" y="2798609"/>
            <a:ext cx="470400" cy="470400"/>
          </a:xfrm>
          <a:solidFill>
            <a:schemeClr val="accent3"/>
          </a:solidFill>
        </p:spPr>
        <p:txBody>
          <a:bodyPr/>
          <a:lstStyle>
            <a:lvl1pPr marL="0" indent="0">
              <a:buNone/>
              <a:defRPr>
                <a:noFill/>
              </a:defRPr>
            </a:lvl1pPr>
          </a:lstStyle>
          <a:p>
            <a:pPr lvl="0"/>
            <a:r>
              <a:rPr lang="nl-NL" dirty="0"/>
              <a:t>#</a:t>
            </a:r>
          </a:p>
        </p:txBody>
      </p:sp>
      <p:sp>
        <p:nvSpPr>
          <p:cNvPr id="22" name="Tijdelijke aanduiding voor tekst 17">
            <a:extLst>
              <a:ext uri="{FF2B5EF4-FFF2-40B4-BE49-F238E27FC236}">
                <a16:creationId xmlns:a16="http://schemas.microsoft.com/office/drawing/2014/main" id="{E2CB4543-3555-43B1-AA8E-313A22BEA08C}"/>
              </a:ext>
            </a:extLst>
          </p:cNvPr>
          <p:cNvSpPr>
            <a:spLocks noGrp="1"/>
          </p:cNvSpPr>
          <p:nvPr>
            <p:ph type="body" sz="quarter" idx="27" hasCustomPrompt="1"/>
          </p:nvPr>
        </p:nvSpPr>
        <p:spPr>
          <a:xfrm>
            <a:off x="3932517" y="2798609"/>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6" name="Tijdelijke aanduiding voor tekst 33">
            <a:extLst>
              <a:ext uri="{FF2B5EF4-FFF2-40B4-BE49-F238E27FC236}">
                <a16:creationId xmlns:a16="http://schemas.microsoft.com/office/drawing/2014/main" id="{DFEA288B-9DDA-40C3-8A1B-03805BCB21B0}"/>
              </a:ext>
            </a:extLst>
          </p:cNvPr>
          <p:cNvSpPr>
            <a:spLocks noGrp="1"/>
          </p:cNvSpPr>
          <p:nvPr>
            <p:ph type="body" sz="quarter" idx="38" hasCustomPrompt="1"/>
          </p:nvPr>
        </p:nvSpPr>
        <p:spPr>
          <a:xfrm rot="18900000">
            <a:off x="3932517" y="3926644"/>
            <a:ext cx="470400" cy="470400"/>
          </a:xfrm>
          <a:solidFill>
            <a:schemeClr val="accent3"/>
          </a:solidFill>
        </p:spPr>
        <p:txBody>
          <a:bodyPr/>
          <a:lstStyle>
            <a:lvl1pPr marL="0" indent="0">
              <a:buNone/>
              <a:defRPr>
                <a:noFill/>
              </a:defRPr>
            </a:lvl1pPr>
          </a:lstStyle>
          <a:p>
            <a:pPr lvl="0"/>
            <a:r>
              <a:rPr lang="nl-NL" dirty="0"/>
              <a:t>#</a:t>
            </a:r>
          </a:p>
        </p:txBody>
      </p:sp>
      <p:sp>
        <p:nvSpPr>
          <p:cNvPr id="26" name="Tijdelijke aanduiding voor tekst 17">
            <a:extLst>
              <a:ext uri="{FF2B5EF4-FFF2-40B4-BE49-F238E27FC236}">
                <a16:creationId xmlns:a16="http://schemas.microsoft.com/office/drawing/2014/main" id="{D07AC9F8-749F-4839-93F8-BC23BC369273}"/>
              </a:ext>
            </a:extLst>
          </p:cNvPr>
          <p:cNvSpPr>
            <a:spLocks noGrp="1"/>
          </p:cNvSpPr>
          <p:nvPr>
            <p:ph type="body" sz="quarter" idx="30" hasCustomPrompt="1"/>
          </p:nvPr>
        </p:nvSpPr>
        <p:spPr>
          <a:xfrm>
            <a:off x="3932517" y="3926644"/>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7" name="Tijdelijke aanduiding voor tekst 33">
            <a:extLst>
              <a:ext uri="{FF2B5EF4-FFF2-40B4-BE49-F238E27FC236}">
                <a16:creationId xmlns:a16="http://schemas.microsoft.com/office/drawing/2014/main" id="{E236DCF6-2354-4E1D-B89A-EAB931544136}"/>
              </a:ext>
            </a:extLst>
          </p:cNvPr>
          <p:cNvSpPr>
            <a:spLocks noGrp="1"/>
          </p:cNvSpPr>
          <p:nvPr>
            <p:ph type="body" sz="quarter" idx="39" hasCustomPrompt="1"/>
          </p:nvPr>
        </p:nvSpPr>
        <p:spPr>
          <a:xfrm rot="18900000">
            <a:off x="3932517" y="5041548"/>
            <a:ext cx="470400" cy="470400"/>
          </a:xfrm>
          <a:solidFill>
            <a:schemeClr val="accent3"/>
          </a:solidFill>
        </p:spPr>
        <p:txBody>
          <a:bodyPr/>
          <a:lstStyle>
            <a:lvl1pPr marL="0" indent="0">
              <a:buNone/>
              <a:defRPr>
                <a:noFill/>
              </a:defRPr>
            </a:lvl1pPr>
          </a:lstStyle>
          <a:p>
            <a:pPr lvl="0"/>
            <a:r>
              <a:rPr lang="nl-NL" dirty="0"/>
              <a:t>#</a:t>
            </a:r>
          </a:p>
        </p:txBody>
      </p:sp>
      <p:sp>
        <p:nvSpPr>
          <p:cNvPr id="30" name="Tijdelijke aanduiding voor tekst 17">
            <a:extLst>
              <a:ext uri="{FF2B5EF4-FFF2-40B4-BE49-F238E27FC236}">
                <a16:creationId xmlns:a16="http://schemas.microsoft.com/office/drawing/2014/main" id="{EDD13EDF-E50C-4FFD-934B-BBB58BCA267D}"/>
              </a:ext>
            </a:extLst>
          </p:cNvPr>
          <p:cNvSpPr>
            <a:spLocks noGrp="1"/>
          </p:cNvSpPr>
          <p:nvPr>
            <p:ph type="body" sz="quarter" idx="33" hasCustomPrompt="1"/>
          </p:nvPr>
        </p:nvSpPr>
        <p:spPr>
          <a:xfrm>
            <a:off x="3932517" y="5041548"/>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25" name="Tijdelijke aanduiding voor tekst 2">
            <a:extLst>
              <a:ext uri="{FF2B5EF4-FFF2-40B4-BE49-F238E27FC236}">
                <a16:creationId xmlns:a16="http://schemas.microsoft.com/office/drawing/2014/main" id="{00999747-7FDD-432E-8AE7-9B22B3283ED8}"/>
              </a:ext>
            </a:extLst>
          </p:cNvPr>
          <p:cNvSpPr>
            <a:spLocks noGrp="1"/>
          </p:cNvSpPr>
          <p:nvPr>
            <p:ph type="body" sz="quarter" idx="16"/>
          </p:nvPr>
        </p:nvSpPr>
        <p:spPr>
          <a:xfrm>
            <a:off x="329704" y="6326064"/>
            <a:ext cx="344261" cy="379536"/>
          </a:xfrm>
          <a:blipFill>
            <a:blip r:embed="rId3"/>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7505612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eeld links - agenda leeg">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627AA94D-469D-41E6-BA1F-D214404D1040}"/>
              </a:ext>
            </a:extLst>
          </p:cNvPr>
          <p:cNvSpPr>
            <a:spLocks noGrp="1"/>
          </p:cNvSpPr>
          <p:nvPr>
            <p:ph type="pic" sz="quarter" idx="17" hasCustomPrompt="1"/>
          </p:nvPr>
        </p:nvSpPr>
        <p:spPr>
          <a:xfrm>
            <a:off x="0" y="0"/>
            <a:ext cx="4167717" cy="6858000"/>
          </a:xfrm>
          <a:blipFill>
            <a:blip r:embed="rId2"/>
            <a:srcRect/>
            <a:stretch>
              <a:fillRect t="-1405" b="-1405"/>
            </a:stretch>
          </a:blipFill>
        </p:spPr>
        <p:txBody>
          <a:bodyPr/>
          <a:lstStyle>
            <a:lvl1pPr marL="0" indent="0" algn="ctr">
              <a:buNone/>
              <a:defRPr sz="1467"/>
            </a:lvl1pPr>
          </a:lstStyle>
          <a:p>
            <a:pPr marL="0" marR="0" lvl="0" indent="0" algn="l" defTabSz="914377" rtl="0" eaLnBrk="1" fontAlgn="auto" latinLnBrk="0" hangingPunct="1">
              <a:lnSpc>
                <a:spcPct val="110000"/>
              </a:lnSpc>
              <a:spcBef>
                <a:spcPts val="0"/>
              </a:spcBef>
              <a:spcAft>
                <a:spcPts val="800"/>
              </a:spcAft>
              <a:buClr>
                <a:schemeClr val="accent3"/>
              </a:buClr>
              <a:buSzTx/>
              <a:buFont typeface="Ubuntu Light" panose="020B0304030602030204" pitchFamily="34" charset="0"/>
              <a:buNone/>
              <a:tabLst/>
              <a:defRPr/>
            </a:pPr>
            <a:r>
              <a:rPr lang="nl-NL" dirty="0"/>
              <a:t>Klik op icoon om afbeelding in te voegen</a:t>
            </a:r>
          </a:p>
          <a:p>
            <a:endParaRPr lang="nl-NL" dirty="0"/>
          </a:p>
        </p:txBody>
      </p:sp>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4924057" y="899462"/>
            <a:ext cx="6762060"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a:xfrm>
            <a:off x="4924057" y="1"/>
            <a:ext cx="6762060" cy="876940"/>
          </a:xfrm>
        </p:spPr>
        <p:txBody>
          <a:bodyPr/>
          <a:lstStyle/>
          <a:p>
            <a:r>
              <a:rPr lang="nl-NL" smtClean="0"/>
              <a:t>Klik om de stijl te bewerken</a:t>
            </a:r>
            <a:endParaRPr lang="nl-NL" dirty="0"/>
          </a:p>
        </p:txBody>
      </p:sp>
      <p:sp>
        <p:nvSpPr>
          <p:cNvPr id="25" name="Tijdelijke aanduiding voor tekst 2">
            <a:extLst>
              <a:ext uri="{FF2B5EF4-FFF2-40B4-BE49-F238E27FC236}">
                <a16:creationId xmlns:a16="http://schemas.microsoft.com/office/drawing/2014/main" id="{00999747-7FDD-432E-8AE7-9B22B3283ED8}"/>
              </a:ext>
            </a:extLst>
          </p:cNvPr>
          <p:cNvSpPr>
            <a:spLocks noGrp="1"/>
          </p:cNvSpPr>
          <p:nvPr>
            <p:ph type="body" sz="quarter" idx="16"/>
          </p:nvPr>
        </p:nvSpPr>
        <p:spPr>
          <a:xfrm>
            <a:off x="329704" y="6326064"/>
            <a:ext cx="344261" cy="379536"/>
          </a:xfrm>
          <a:blipFill>
            <a:blip r:embed="rId3"/>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70460651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7" name="Tijdelijke aanduiding voor tekst 2">
            <a:extLst>
              <a:ext uri="{FF2B5EF4-FFF2-40B4-BE49-F238E27FC236}">
                <a16:creationId xmlns:a16="http://schemas.microsoft.com/office/drawing/2014/main" id="{F7229857-55F0-45FA-8401-6F4E7F2310C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3094127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Afbeelding en teks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1" y="0"/>
            <a:ext cx="5856000"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6142566" y="1365252"/>
            <a:ext cx="5543551"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0" name="Footer Placeholder 9">
            <a:extLst>
              <a:ext uri="{FF2B5EF4-FFF2-40B4-BE49-F238E27FC236}">
                <a16:creationId xmlns:a16="http://schemas.microsoft.com/office/drawing/2014/main" id="{308E37D4-F18C-4620-A099-F7497B8F39AA}"/>
              </a:ext>
            </a:extLst>
          </p:cNvPr>
          <p:cNvSpPr>
            <a:spLocks noGrp="1"/>
          </p:cNvSpPr>
          <p:nvPr>
            <p:ph type="ftr" sz="quarter" idx="13"/>
          </p:nvPr>
        </p:nvSpPr>
        <p:spPr>
          <a:xfrm>
            <a:off x="6337084" y="6433759"/>
            <a:ext cx="4512000" cy="164148"/>
          </a:xfrm>
        </p:spPr>
        <p:txBody>
          <a:bodyPr/>
          <a:lstStyle/>
          <a:p>
            <a:r>
              <a:rPr lang="nl-NL" smtClean="0"/>
              <a:t>Webinar Wet Toekomst Pensioenen</a:t>
            </a:r>
            <a:endParaRPr lang="nl-NL"/>
          </a:p>
        </p:txBody>
      </p:sp>
      <p:sp>
        <p:nvSpPr>
          <p:cNvPr id="8" name="Tijdelijke aanduiding voor tekst 2">
            <a:extLst>
              <a:ext uri="{FF2B5EF4-FFF2-40B4-BE49-F238E27FC236}">
                <a16:creationId xmlns:a16="http://schemas.microsoft.com/office/drawing/2014/main" id="{D501FB6D-F508-465E-BCCD-F5C1BF83881E}"/>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2" name="Titel 1">
            <a:extLst>
              <a:ext uri="{FF2B5EF4-FFF2-40B4-BE49-F238E27FC236}">
                <a16:creationId xmlns:a16="http://schemas.microsoft.com/office/drawing/2014/main" id="{52AA2F04-7B83-4823-A95C-21ADF751828F}"/>
              </a:ext>
            </a:extLst>
          </p:cNvPr>
          <p:cNvSpPr>
            <a:spLocks noGrp="1"/>
          </p:cNvSpPr>
          <p:nvPr>
            <p:ph type="title"/>
          </p:nvPr>
        </p:nvSpPr>
        <p:spPr>
          <a:xfrm>
            <a:off x="6142566" y="1"/>
            <a:ext cx="5543551" cy="876940"/>
          </a:xfrm>
        </p:spPr>
        <p:txBody>
          <a:bodyPr/>
          <a:lstStyle/>
          <a:p>
            <a:r>
              <a:rPr lang="nl-NL" smtClean="0"/>
              <a:t>Klik om de stijl te bewerken</a:t>
            </a:r>
            <a:endParaRPr lang="nl-NL" dirty="0"/>
          </a:p>
        </p:txBody>
      </p:sp>
      <p:sp>
        <p:nvSpPr>
          <p:cNvPr id="11" name="Tijdelijke aanduiding voor tekst 7">
            <a:extLst>
              <a:ext uri="{FF2B5EF4-FFF2-40B4-BE49-F238E27FC236}">
                <a16:creationId xmlns:a16="http://schemas.microsoft.com/office/drawing/2014/main" id="{D3025802-92BC-42B2-815B-2F28E7A318C6}"/>
              </a:ext>
            </a:extLst>
          </p:cNvPr>
          <p:cNvSpPr>
            <a:spLocks noGrp="1"/>
          </p:cNvSpPr>
          <p:nvPr>
            <p:ph type="body" sz="quarter" idx="17"/>
          </p:nvPr>
        </p:nvSpPr>
        <p:spPr>
          <a:xfrm>
            <a:off x="6142566" y="899462"/>
            <a:ext cx="5543551"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Tree>
    <p:extLst>
      <p:ext uri="{BB962C8B-B14F-4D97-AF65-F5344CB8AC3E}">
        <p14:creationId xmlns:p14="http://schemas.microsoft.com/office/powerpoint/2010/main" val="32673232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ekst en afbeelding">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6336000" y="0"/>
            <a:ext cx="5856000"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503769" y="1365252"/>
            <a:ext cx="5543548"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3" name="Titel 2">
            <a:extLst>
              <a:ext uri="{FF2B5EF4-FFF2-40B4-BE49-F238E27FC236}">
                <a16:creationId xmlns:a16="http://schemas.microsoft.com/office/drawing/2014/main" id="{90F38E3F-6DC6-42C1-B134-C8BE3ACAC4CE}"/>
              </a:ext>
            </a:extLst>
          </p:cNvPr>
          <p:cNvSpPr>
            <a:spLocks noGrp="1"/>
          </p:cNvSpPr>
          <p:nvPr>
            <p:ph type="title"/>
          </p:nvPr>
        </p:nvSpPr>
        <p:spPr>
          <a:xfrm>
            <a:off x="503768" y="1"/>
            <a:ext cx="5543549" cy="876940"/>
          </a:xfrm>
        </p:spPr>
        <p:txBody>
          <a:bodyPr/>
          <a:lstStyle/>
          <a:p>
            <a:r>
              <a:rPr lang="nl-NL" smtClean="0"/>
              <a:t>Klik om de stijl te bewerken</a:t>
            </a:r>
            <a:endParaRPr lang="nl-NL"/>
          </a:p>
        </p:txBody>
      </p:sp>
      <p:sp>
        <p:nvSpPr>
          <p:cNvPr id="11" name="Tijdelijke aanduiding voor tekst 7">
            <a:extLst>
              <a:ext uri="{FF2B5EF4-FFF2-40B4-BE49-F238E27FC236}">
                <a16:creationId xmlns:a16="http://schemas.microsoft.com/office/drawing/2014/main" id="{002021CF-71A7-44F5-B13A-D69372A2BD3A}"/>
              </a:ext>
            </a:extLst>
          </p:cNvPr>
          <p:cNvSpPr>
            <a:spLocks noGrp="1"/>
          </p:cNvSpPr>
          <p:nvPr>
            <p:ph type="body" sz="quarter" idx="17"/>
          </p:nvPr>
        </p:nvSpPr>
        <p:spPr>
          <a:xfrm>
            <a:off x="503768" y="899462"/>
            <a:ext cx="5543551"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8" name="Tijdelijke aanduiding voor tekst 2">
            <a:extLst>
              <a:ext uri="{FF2B5EF4-FFF2-40B4-BE49-F238E27FC236}">
                <a16:creationId xmlns:a16="http://schemas.microsoft.com/office/drawing/2014/main" id="{AA63253A-65DC-4FF7-BAE2-E735ACE214A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B0542163-AD4C-46E9-9BBC-BCE1283A6C79}"/>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Tree>
    <p:extLst>
      <p:ext uri="{BB962C8B-B14F-4D97-AF65-F5344CB8AC3E}">
        <p14:creationId xmlns:p14="http://schemas.microsoft.com/office/powerpoint/2010/main" val="12863467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ekst en afbeelding (klein)">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8862646" y="0"/>
            <a:ext cx="3329353"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503768" y="1365251"/>
            <a:ext cx="7423149"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2" name="Titel 1">
            <a:extLst>
              <a:ext uri="{FF2B5EF4-FFF2-40B4-BE49-F238E27FC236}">
                <a16:creationId xmlns:a16="http://schemas.microsoft.com/office/drawing/2014/main" id="{86BC2544-58B9-492E-A768-2E58AD5AC514}"/>
              </a:ext>
            </a:extLst>
          </p:cNvPr>
          <p:cNvSpPr>
            <a:spLocks noGrp="1"/>
          </p:cNvSpPr>
          <p:nvPr>
            <p:ph type="title"/>
          </p:nvPr>
        </p:nvSpPr>
        <p:spPr>
          <a:xfrm>
            <a:off x="503768" y="1"/>
            <a:ext cx="7423149" cy="876940"/>
          </a:xfrm>
        </p:spPr>
        <p:txBody>
          <a:bodyPr/>
          <a:lstStyle/>
          <a:p>
            <a:r>
              <a:rPr lang="nl-NL" smtClean="0"/>
              <a:t>Klik om de stijl te bewerken</a:t>
            </a:r>
            <a:endParaRPr lang="nl-NL"/>
          </a:p>
        </p:txBody>
      </p:sp>
      <p:sp>
        <p:nvSpPr>
          <p:cNvPr id="8" name="Tijdelijke aanduiding voor tekst 7">
            <a:extLst>
              <a:ext uri="{FF2B5EF4-FFF2-40B4-BE49-F238E27FC236}">
                <a16:creationId xmlns:a16="http://schemas.microsoft.com/office/drawing/2014/main" id="{5342D7B7-6AB2-42FA-BCCB-644C8B074F97}"/>
              </a:ext>
            </a:extLst>
          </p:cNvPr>
          <p:cNvSpPr>
            <a:spLocks noGrp="1"/>
          </p:cNvSpPr>
          <p:nvPr>
            <p:ph type="body" sz="quarter" idx="17"/>
          </p:nvPr>
        </p:nvSpPr>
        <p:spPr>
          <a:xfrm>
            <a:off x="503768" y="899462"/>
            <a:ext cx="74231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1" name="Tijdelijke aanduiding voor tekst 2">
            <a:extLst>
              <a:ext uri="{FF2B5EF4-FFF2-40B4-BE49-F238E27FC236}">
                <a16:creationId xmlns:a16="http://schemas.microsoft.com/office/drawing/2014/main" id="{A3FB4007-FBF2-4D8F-91A0-52AEE27A7B86}"/>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C907614A-D012-4020-BCE9-71CB19AC7AE0}"/>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Tree>
    <p:extLst>
      <p:ext uri="{BB962C8B-B14F-4D97-AF65-F5344CB8AC3E}">
        <p14:creationId xmlns:p14="http://schemas.microsoft.com/office/powerpoint/2010/main" val="21956857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627AA94D-469D-41E6-BA1F-D214404D1040}"/>
              </a:ext>
            </a:extLst>
          </p:cNvPr>
          <p:cNvSpPr>
            <a:spLocks noGrp="1"/>
          </p:cNvSpPr>
          <p:nvPr>
            <p:ph type="pic" sz="quarter" idx="17" hasCustomPrompt="1"/>
          </p:nvPr>
        </p:nvSpPr>
        <p:spPr>
          <a:xfrm>
            <a:off x="0" y="0"/>
            <a:ext cx="4167717" cy="6858000"/>
          </a:xfrm>
          <a:blipFill>
            <a:blip r:embed="rId2"/>
            <a:srcRect/>
            <a:stretch>
              <a:fillRect t="-1405" b="-1405"/>
            </a:stretch>
          </a:blipFill>
        </p:spPr>
        <p:txBody>
          <a:bodyPr/>
          <a:lstStyle>
            <a:lvl1pPr marL="0" indent="0" algn="ctr">
              <a:buNone/>
              <a:defRPr sz="1467"/>
            </a:lvl1pPr>
          </a:lstStyle>
          <a:p>
            <a:pPr marL="0" marR="0" lvl="0" indent="0" algn="l" defTabSz="914377" rtl="0" eaLnBrk="1" fontAlgn="auto" latinLnBrk="0" hangingPunct="1">
              <a:lnSpc>
                <a:spcPct val="110000"/>
              </a:lnSpc>
              <a:spcBef>
                <a:spcPts val="0"/>
              </a:spcBef>
              <a:spcAft>
                <a:spcPts val="800"/>
              </a:spcAft>
              <a:buClr>
                <a:schemeClr val="accent3"/>
              </a:buClr>
              <a:buSzTx/>
              <a:buFont typeface="Ubuntu Light" panose="020B0304030602030204" pitchFamily="34" charset="0"/>
              <a:buNone/>
              <a:tabLst/>
              <a:defRPr/>
            </a:pPr>
            <a:r>
              <a:rPr lang="nl-NL" dirty="0"/>
              <a:t>Klik op icoon om afbeelding in te voegen</a:t>
            </a:r>
          </a:p>
          <a:p>
            <a:endParaRPr lang="nl-NL" dirty="0"/>
          </a:p>
        </p:txBody>
      </p:sp>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4924057" y="899462"/>
            <a:ext cx="6762060"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a:xfrm>
            <a:off x="4924057" y="1"/>
            <a:ext cx="6762060" cy="876940"/>
          </a:xfrm>
        </p:spPr>
        <p:txBody>
          <a:bodyPr/>
          <a:lstStyle/>
          <a:p>
            <a:r>
              <a:rPr lang="nl-NL" smtClean="0"/>
              <a:t>Klik om de stijl te bewerken</a:t>
            </a:r>
            <a:endParaRPr lang="nl-NL" dirty="0"/>
          </a:p>
        </p:txBody>
      </p:sp>
      <p:sp>
        <p:nvSpPr>
          <p:cNvPr id="19" name="Tijdelijke aanduiding voor tekst 13">
            <a:extLst>
              <a:ext uri="{FF2B5EF4-FFF2-40B4-BE49-F238E27FC236}">
                <a16:creationId xmlns:a16="http://schemas.microsoft.com/office/drawing/2014/main" id="{18D154E5-1A95-4152-B095-74A201CB639D}"/>
              </a:ext>
            </a:extLst>
          </p:cNvPr>
          <p:cNvSpPr>
            <a:spLocks noGrp="1"/>
          </p:cNvSpPr>
          <p:nvPr>
            <p:ph type="body" sz="quarter" idx="25" hasCustomPrompt="1"/>
          </p:nvPr>
        </p:nvSpPr>
        <p:spPr>
          <a:xfrm>
            <a:off x="4924058" y="1574893"/>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0" name="Tijdelijke aanduiding voor tekst 13">
            <a:extLst>
              <a:ext uri="{FF2B5EF4-FFF2-40B4-BE49-F238E27FC236}">
                <a16:creationId xmlns:a16="http://schemas.microsoft.com/office/drawing/2014/main" id="{7968581D-C18E-45E5-8067-43DA3AFA1D9B}"/>
              </a:ext>
            </a:extLst>
          </p:cNvPr>
          <p:cNvSpPr>
            <a:spLocks noGrp="1"/>
          </p:cNvSpPr>
          <p:nvPr>
            <p:ph type="body" sz="quarter" idx="26" hasCustomPrompt="1"/>
          </p:nvPr>
        </p:nvSpPr>
        <p:spPr>
          <a:xfrm>
            <a:off x="4924058" y="1912046"/>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23" name="Tijdelijke aanduiding voor tekst 13">
            <a:extLst>
              <a:ext uri="{FF2B5EF4-FFF2-40B4-BE49-F238E27FC236}">
                <a16:creationId xmlns:a16="http://schemas.microsoft.com/office/drawing/2014/main" id="{B65A32BB-49B4-4D3F-8E3E-D21D21CAAAC5}"/>
              </a:ext>
            </a:extLst>
          </p:cNvPr>
          <p:cNvSpPr>
            <a:spLocks noGrp="1"/>
          </p:cNvSpPr>
          <p:nvPr>
            <p:ph type="body" sz="quarter" idx="28" hasCustomPrompt="1"/>
          </p:nvPr>
        </p:nvSpPr>
        <p:spPr>
          <a:xfrm>
            <a:off x="4924058" y="2696658"/>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4" name="Tijdelijke aanduiding voor tekst 13">
            <a:extLst>
              <a:ext uri="{FF2B5EF4-FFF2-40B4-BE49-F238E27FC236}">
                <a16:creationId xmlns:a16="http://schemas.microsoft.com/office/drawing/2014/main" id="{89DF320C-A9CE-44BD-AF3F-31C5A7AD8141}"/>
              </a:ext>
            </a:extLst>
          </p:cNvPr>
          <p:cNvSpPr>
            <a:spLocks noGrp="1"/>
          </p:cNvSpPr>
          <p:nvPr>
            <p:ph type="body" sz="quarter" idx="29" hasCustomPrompt="1"/>
          </p:nvPr>
        </p:nvSpPr>
        <p:spPr>
          <a:xfrm>
            <a:off x="4924058" y="3033811"/>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27" name="Tijdelijke aanduiding voor tekst 13">
            <a:extLst>
              <a:ext uri="{FF2B5EF4-FFF2-40B4-BE49-F238E27FC236}">
                <a16:creationId xmlns:a16="http://schemas.microsoft.com/office/drawing/2014/main" id="{8D06D518-0B92-4DC1-8FA2-8E182175BBBA}"/>
              </a:ext>
            </a:extLst>
          </p:cNvPr>
          <p:cNvSpPr>
            <a:spLocks noGrp="1"/>
          </p:cNvSpPr>
          <p:nvPr>
            <p:ph type="body" sz="quarter" idx="31" hasCustomPrompt="1"/>
          </p:nvPr>
        </p:nvSpPr>
        <p:spPr>
          <a:xfrm>
            <a:off x="4924058" y="3824693"/>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28" name="Tijdelijke aanduiding voor tekst 13">
            <a:extLst>
              <a:ext uri="{FF2B5EF4-FFF2-40B4-BE49-F238E27FC236}">
                <a16:creationId xmlns:a16="http://schemas.microsoft.com/office/drawing/2014/main" id="{B468E766-30B3-483B-8CDB-3A16504A3570}"/>
              </a:ext>
            </a:extLst>
          </p:cNvPr>
          <p:cNvSpPr>
            <a:spLocks noGrp="1"/>
          </p:cNvSpPr>
          <p:nvPr>
            <p:ph type="body" sz="quarter" idx="32" hasCustomPrompt="1"/>
          </p:nvPr>
        </p:nvSpPr>
        <p:spPr>
          <a:xfrm>
            <a:off x="4924058" y="4161846"/>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31" name="Tijdelijke aanduiding voor tekst 13">
            <a:extLst>
              <a:ext uri="{FF2B5EF4-FFF2-40B4-BE49-F238E27FC236}">
                <a16:creationId xmlns:a16="http://schemas.microsoft.com/office/drawing/2014/main" id="{A319782C-50A9-4664-964F-F560A001D7DF}"/>
              </a:ext>
            </a:extLst>
          </p:cNvPr>
          <p:cNvSpPr>
            <a:spLocks noGrp="1"/>
          </p:cNvSpPr>
          <p:nvPr>
            <p:ph type="body" sz="quarter" idx="34" hasCustomPrompt="1"/>
          </p:nvPr>
        </p:nvSpPr>
        <p:spPr>
          <a:xfrm>
            <a:off x="4924058" y="4939597"/>
            <a:ext cx="6762061" cy="203903"/>
          </a:xfrm>
        </p:spPr>
        <p:txBody>
          <a:bodyPr wrap="square">
            <a:spAutoFit/>
          </a:bodyPr>
          <a:lstStyle>
            <a:lvl1pPr marL="0" indent="0" algn="l">
              <a:buNone/>
              <a:defRPr sz="1333" b="1" cap="none" baseline="0">
                <a:solidFill>
                  <a:schemeClr val="accent1"/>
                </a:solidFill>
              </a:defRPr>
            </a:lvl1pPr>
          </a:lstStyle>
          <a:p>
            <a:pPr lvl="0"/>
            <a:r>
              <a:rPr lang="nl-NL" dirty="0"/>
              <a:t>Header</a:t>
            </a:r>
          </a:p>
        </p:txBody>
      </p:sp>
      <p:sp>
        <p:nvSpPr>
          <p:cNvPr id="32" name="Tijdelijke aanduiding voor tekst 13">
            <a:extLst>
              <a:ext uri="{FF2B5EF4-FFF2-40B4-BE49-F238E27FC236}">
                <a16:creationId xmlns:a16="http://schemas.microsoft.com/office/drawing/2014/main" id="{5E554B79-2683-4537-8031-AA4F39BAA2B8}"/>
              </a:ext>
            </a:extLst>
          </p:cNvPr>
          <p:cNvSpPr>
            <a:spLocks noGrp="1"/>
          </p:cNvSpPr>
          <p:nvPr>
            <p:ph type="body" sz="quarter" idx="35" hasCustomPrompt="1"/>
          </p:nvPr>
        </p:nvSpPr>
        <p:spPr>
          <a:xfrm>
            <a:off x="4924058" y="5276750"/>
            <a:ext cx="6762060" cy="516645"/>
          </a:xfrm>
        </p:spPr>
        <p:txBody>
          <a:bodyPr wrap="square">
            <a:noAutofit/>
          </a:bodyPr>
          <a:lstStyle>
            <a:lvl1pPr marL="0" indent="0" algn="l">
              <a:buFont typeface="Ubuntu Light" panose="020B0304030602030204" pitchFamily="34" charset="0"/>
              <a:buNone/>
              <a:defRPr sz="1333" b="0"/>
            </a:lvl1pPr>
          </a:lstStyle>
          <a:p>
            <a:pPr lvl="0"/>
            <a:r>
              <a:rPr lang="nl-NL" dirty="0"/>
              <a:t>Header</a:t>
            </a:r>
          </a:p>
        </p:txBody>
      </p:sp>
      <p:sp>
        <p:nvSpPr>
          <p:cNvPr id="34" name="Tijdelijke aanduiding voor tekst 33">
            <a:extLst>
              <a:ext uri="{FF2B5EF4-FFF2-40B4-BE49-F238E27FC236}">
                <a16:creationId xmlns:a16="http://schemas.microsoft.com/office/drawing/2014/main" id="{873F8997-0D01-4E04-AC28-5C7DE0886637}"/>
              </a:ext>
            </a:extLst>
          </p:cNvPr>
          <p:cNvSpPr>
            <a:spLocks noGrp="1"/>
          </p:cNvSpPr>
          <p:nvPr>
            <p:ph type="body" sz="quarter" idx="36" hasCustomPrompt="1"/>
          </p:nvPr>
        </p:nvSpPr>
        <p:spPr>
          <a:xfrm rot="18900000">
            <a:off x="3932517" y="1676844"/>
            <a:ext cx="470400" cy="470400"/>
          </a:xfrm>
          <a:solidFill>
            <a:schemeClr val="accent3"/>
          </a:solidFill>
        </p:spPr>
        <p:txBody>
          <a:bodyPr/>
          <a:lstStyle>
            <a:lvl1pPr marL="0" indent="0">
              <a:buNone/>
              <a:defRPr>
                <a:noFill/>
              </a:defRPr>
            </a:lvl1pPr>
          </a:lstStyle>
          <a:p>
            <a:pPr lvl="0"/>
            <a:r>
              <a:rPr lang="nl-NL" dirty="0"/>
              <a:t>#</a:t>
            </a:r>
          </a:p>
        </p:txBody>
      </p:sp>
      <p:sp>
        <p:nvSpPr>
          <p:cNvPr id="18" name="Tijdelijke aanduiding voor tekst 17">
            <a:extLst>
              <a:ext uri="{FF2B5EF4-FFF2-40B4-BE49-F238E27FC236}">
                <a16:creationId xmlns:a16="http://schemas.microsoft.com/office/drawing/2014/main" id="{2EB0852E-6179-46AC-8665-EEFC76591FEF}"/>
              </a:ext>
            </a:extLst>
          </p:cNvPr>
          <p:cNvSpPr>
            <a:spLocks noGrp="1"/>
          </p:cNvSpPr>
          <p:nvPr>
            <p:ph type="body" sz="quarter" idx="18" hasCustomPrompt="1"/>
          </p:nvPr>
        </p:nvSpPr>
        <p:spPr>
          <a:xfrm>
            <a:off x="3932517" y="1676844"/>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5" name="Tijdelijke aanduiding voor tekst 33">
            <a:extLst>
              <a:ext uri="{FF2B5EF4-FFF2-40B4-BE49-F238E27FC236}">
                <a16:creationId xmlns:a16="http://schemas.microsoft.com/office/drawing/2014/main" id="{40A0C629-3C16-48DB-A5D8-3C1F38CFD158}"/>
              </a:ext>
            </a:extLst>
          </p:cNvPr>
          <p:cNvSpPr>
            <a:spLocks noGrp="1"/>
          </p:cNvSpPr>
          <p:nvPr>
            <p:ph type="body" sz="quarter" idx="37" hasCustomPrompt="1"/>
          </p:nvPr>
        </p:nvSpPr>
        <p:spPr>
          <a:xfrm rot="18900000">
            <a:off x="3932517" y="2798609"/>
            <a:ext cx="470400" cy="470400"/>
          </a:xfrm>
          <a:solidFill>
            <a:schemeClr val="accent3"/>
          </a:solidFill>
        </p:spPr>
        <p:txBody>
          <a:bodyPr/>
          <a:lstStyle>
            <a:lvl1pPr marL="0" indent="0">
              <a:buNone/>
              <a:defRPr>
                <a:noFill/>
              </a:defRPr>
            </a:lvl1pPr>
          </a:lstStyle>
          <a:p>
            <a:pPr lvl="0"/>
            <a:r>
              <a:rPr lang="nl-NL" dirty="0"/>
              <a:t>#</a:t>
            </a:r>
          </a:p>
        </p:txBody>
      </p:sp>
      <p:sp>
        <p:nvSpPr>
          <p:cNvPr id="22" name="Tijdelijke aanduiding voor tekst 17">
            <a:extLst>
              <a:ext uri="{FF2B5EF4-FFF2-40B4-BE49-F238E27FC236}">
                <a16:creationId xmlns:a16="http://schemas.microsoft.com/office/drawing/2014/main" id="{E2CB4543-3555-43B1-AA8E-313A22BEA08C}"/>
              </a:ext>
            </a:extLst>
          </p:cNvPr>
          <p:cNvSpPr>
            <a:spLocks noGrp="1"/>
          </p:cNvSpPr>
          <p:nvPr>
            <p:ph type="body" sz="quarter" idx="27" hasCustomPrompt="1"/>
          </p:nvPr>
        </p:nvSpPr>
        <p:spPr>
          <a:xfrm>
            <a:off x="3932517" y="2798609"/>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6" name="Tijdelijke aanduiding voor tekst 33">
            <a:extLst>
              <a:ext uri="{FF2B5EF4-FFF2-40B4-BE49-F238E27FC236}">
                <a16:creationId xmlns:a16="http://schemas.microsoft.com/office/drawing/2014/main" id="{DFEA288B-9DDA-40C3-8A1B-03805BCB21B0}"/>
              </a:ext>
            </a:extLst>
          </p:cNvPr>
          <p:cNvSpPr>
            <a:spLocks noGrp="1"/>
          </p:cNvSpPr>
          <p:nvPr>
            <p:ph type="body" sz="quarter" idx="38" hasCustomPrompt="1"/>
          </p:nvPr>
        </p:nvSpPr>
        <p:spPr>
          <a:xfrm rot="18900000">
            <a:off x="3932517" y="3926644"/>
            <a:ext cx="470400" cy="470400"/>
          </a:xfrm>
          <a:solidFill>
            <a:schemeClr val="accent3"/>
          </a:solidFill>
        </p:spPr>
        <p:txBody>
          <a:bodyPr/>
          <a:lstStyle>
            <a:lvl1pPr marL="0" indent="0">
              <a:buNone/>
              <a:defRPr>
                <a:noFill/>
              </a:defRPr>
            </a:lvl1pPr>
          </a:lstStyle>
          <a:p>
            <a:pPr lvl="0"/>
            <a:r>
              <a:rPr lang="nl-NL" dirty="0"/>
              <a:t>#</a:t>
            </a:r>
          </a:p>
        </p:txBody>
      </p:sp>
      <p:sp>
        <p:nvSpPr>
          <p:cNvPr id="26" name="Tijdelijke aanduiding voor tekst 17">
            <a:extLst>
              <a:ext uri="{FF2B5EF4-FFF2-40B4-BE49-F238E27FC236}">
                <a16:creationId xmlns:a16="http://schemas.microsoft.com/office/drawing/2014/main" id="{D07AC9F8-749F-4839-93F8-BC23BC369273}"/>
              </a:ext>
            </a:extLst>
          </p:cNvPr>
          <p:cNvSpPr>
            <a:spLocks noGrp="1"/>
          </p:cNvSpPr>
          <p:nvPr>
            <p:ph type="body" sz="quarter" idx="30" hasCustomPrompt="1"/>
          </p:nvPr>
        </p:nvSpPr>
        <p:spPr>
          <a:xfrm>
            <a:off x="3932517" y="3926644"/>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37" name="Tijdelijke aanduiding voor tekst 33">
            <a:extLst>
              <a:ext uri="{FF2B5EF4-FFF2-40B4-BE49-F238E27FC236}">
                <a16:creationId xmlns:a16="http://schemas.microsoft.com/office/drawing/2014/main" id="{E236DCF6-2354-4E1D-B89A-EAB931544136}"/>
              </a:ext>
            </a:extLst>
          </p:cNvPr>
          <p:cNvSpPr>
            <a:spLocks noGrp="1"/>
          </p:cNvSpPr>
          <p:nvPr>
            <p:ph type="body" sz="quarter" idx="39" hasCustomPrompt="1"/>
          </p:nvPr>
        </p:nvSpPr>
        <p:spPr>
          <a:xfrm rot="18900000">
            <a:off x="3932517" y="5041548"/>
            <a:ext cx="470400" cy="470400"/>
          </a:xfrm>
          <a:solidFill>
            <a:schemeClr val="accent3"/>
          </a:solidFill>
        </p:spPr>
        <p:txBody>
          <a:bodyPr/>
          <a:lstStyle>
            <a:lvl1pPr marL="0" indent="0">
              <a:buNone/>
              <a:defRPr>
                <a:noFill/>
              </a:defRPr>
            </a:lvl1pPr>
          </a:lstStyle>
          <a:p>
            <a:pPr lvl="0"/>
            <a:r>
              <a:rPr lang="nl-NL" dirty="0"/>
              <a:t>#</a:t>
            </a:r>
          </a:p>
        </p:txBody>
      </p:sp>
      <p:sp>
        <p:nvSpPr>
          <p:cNvPr id="30" name="Tijdelijke aanduiding voor tekst 17">
            <a:extLst>
              <a:ext uri="{FF2B5EF4-FFF2-40B4-BE49-F238E27FC236}">
                <a16:creationId xmlns:a16="http://schemas.microsoft.com/office/drawing/2014/main" id="{EDD13EDF-E50C-4FFD-934B-BBB58BCA267D}"/>
              </a:ext>
            </a:extLst>
          </p:cNvPr>
          <p:cNvSpPr>
            <a:spLocks noGrp="1"/>
          </p:cNvSpPr>
          <p:nvPr>
            <p:ph type="body" sz="quarter" idx="33" hasCustomPrompt="1"/>
          </p:nvPr>
        </p:nvSpPr>
        <p:spPr>
          <a:xfrm>
            <a:off x="3932517" y="5041548"/>
            <a:ext cx="470400" cy="470400"/>
          </a:xfrm>
        </p:spPr>
        <p:txBody>
          <a:bodyPr wrap="none" anchor="ctr">
            <a:noAutofit/>
          </a:bodyPr>
          <a:lstStyle>
            <a:lvl1pPr marL="0" indent="0" algn="ctr">
              <a:buNone/>
              <a:defRPr b="1">
                <a:solidFill>
                  <a:schemeClr val="bg1"/>
                </a:solidFill>
              </a:defRPr>
            </a:lvl1pPr>
          </a:lstStyle>
          <a:p>
            <a:pPr lvl="0"/>
            <a:r>
              <a:rPr lang="nl-NL" dirty="0"/>
              <a:t>#</a:t>
            </a:r>
          </a:p>
        </p:txBody>
      </p:sp>
      <p:sp>
        <p:nvSpPr>
          <p:cNvPr id="25" name="Tijdelijke aanduiding voor tekst 2">
            <a:extLst>
              <a:ext uri="{FF2B5EF4-FFF2-40B4-BE49-F238E27FC236}">
                <a16:creationId xmlns:a16="http://schemas.microsoft.com/office/drawing/2014/main" id="{00999747-7FDD-432E-8AE7-9B22B3283ED8}"/>
              </a:ext>
            </a:extLst>
          </p:cNvPr>
          <p:cNvSpPr>
            <a:spLocks noGrp="1"/>
          </p:cNvSpPr>
          <p:nvPr>
            <p:ph type="body" sz="quarter" idx="16"/>
          </p:nvPr>
        </p:nvSpPr>
        <p:spPr>
          <a:xfrm>
            <a:off x="329704" y="6326064"/>
            <a:ext cx="344261" cy="379536"/>
          </a:xfrm>
          <a:blipFill>
            <a:blip r:embed="rId3"/>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6626171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el en 2 objecten">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3767" y="1365251"/>
            <a:ext cx="5543551" cy="4796367"/>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7" name="Slide Number Placeholder 6"/>
          <p:cNvSpPr>
            <a:spLocks noGrp="1"/>
          </p:cNvSpPr>
          <p:nvPr>
            <p:ph type="sldNum" sz="quarter" idx="12"/>
          </p:nvPr>
        </p:nvSpPr>
        <p:spPr/>
        <p:txBody>
          <a:bodyPr/>
          <a:lstStyle/>
          <a:p>
            <a:fld id="{FFDD6BF4-F398-43E8-ACFA-0A2EC6044D72}" type="slidenum">
              <a:rPr lang="nl-NL" smtClean="0"/>
              <a:t>‹nr.›</a:t>
            </a:fld>
            <a:endParaRPr lang="nl-NL"/>
          </a:p>
        </p:txBody>
      </p:sp>
      <p:sp>
        <p:nvSpPr>
          <p:cNvPr id="9" name="Content Placeholder 2">
            <a:extLst>
              <a:ext uri="{FF2B5EF4-FFF2-40B4-BE49-F238E27FC236}">
                <a16:creationId xmlns:a16="http://schemas.microsoft.com/office/drawing/2014/main" id="{16CF08B7-C4DF-4AB3-B25B-00CED4250528}"/>
              </a:ext>
            </a:extLst>
          </p:cNvPr>
          <p:cNvSpPr>
            <a:spLocks noGrp="1"/>
          </p:cNvSpPr>
          <p:nvPr>
            <p:ph sz="half" idx="13" hasCustomPrompt="1"/>
          </p:nvPr>
        </p:nvSpPr>
        <p:spPr>
          <a:xfrm>
            <a:off x="6142566" y="1365251"/>
            <a:ext cx="5543551" cy="4796367"/>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7D5913EE-E7B2-436E-93E1-4EF0B7B83918}"/>
              </a:ext>
            </a:extLst>
          </p:cNvPr>
          <p:cNvSpPr>
            <a:spLocks noGrp="1"/>
          </p:cNvSpPr>
          <p:nvPr>
            <p:ph type="title"/>
          </p:nvPr>
        </p:nvSpPr>
        <p:spPr/>
        <p:txBody>
          <a:bodyPr/>
          <a:lstStyle/>
          <a:p>
            <a:r>
              <a:rPr lang="nl-NL" smtClean="0"/>
              <a:t>Klik om de stijl te bewerken</a:t>
            </a:r>
            <a:endParaRPr lang="nl-NL" dirty="0"/>
          </a:p>
        </p:txBody>
      </p:sp>
      <p:sp>
        <p:nvSpPr>
          <p:cNvPr id="10" name="Tijdelijke aanduiding voor tekst 7">
            <a:extLst>
              <a:ext uri="{FF2B5EF4-FFF2-40B4-BE49-F238E27FC236}">
                <a16:creationId xmlns:a16="http://schemas.microsoft.com/office/drawing/2014/main" id="{7DCBCD82-F9C9-428A-B77A-0BCDB78CA010}"/>
              </a:ext>
            </a:extLst>
          </p:cNvPr>
          <p:cNvSpPr>
            <a:spLocks noGrp="1"/>
          </p:cNvSpPr>
          <p:nvPr>
            <p:ph type="body" sz="quarter" idx="14"/>
          </p:nvPr>
        </p:nvSpPr>
        <p:spPr>
          <a:xfrm>
            <a:off x="503767"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8" name="Tijdelijke aanduiding voor tekst 2">
            <a:extLst>
              <a:ext uri="{FF2B5EF4-FFF2-40B4-BE49-F238E27FC236}">
                <a16:creationId xmlns:a16="http://schemas.microsoft.com/office/drawing/2014/main" id="{7E4BE1AE-4A3E-4648-8851-50981A5640C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4" name="Tijdelijke aanduiding voor voettekst 3">
            <a:extLst>
              <a:ext uri="{FF2B5EF4-FFF2-40B4-BE49-F238E27FC236}">
                <a16:creationId xmlns:a16="http://schemas.microsoft.com/office/drawing/2014/main" id="{97D51496-6A8A-41F1-BAFD-F4B4C3F6EE0F}"/>
              </a:ext>
            </a:extLst>
          </p:cNvPr>
          <p:cNvSpPr>
            <a:spLocks noGrp="1"/>
          </p:cNvSpPr>
          <p:nvPr>
            <p:ph type="ftr" sz="quarter" idx="17"/>
          </p:nvPr>
        </p:nvSpPr>
        <p:spPr/>
        <p:txBody>
          <a:bodyPr/>
          <a:lstStyle/>
          <a:p>
            <a:r>
              <a:rPr lang="nl-NL" smtClean="0"/>
              <a:t>Webinar Wet Toekomst Pensioenen</a:t>
            </a:r>
            <a:endParaRPr lang="nl-NL"/>
          </a:p>
        </p:txBody>
      </p:sp>
    </p:spTree>
    <p:extLst>
      <p:ext uri="{BB962C8B-B14F-4D97-AF65-F5344CB8AC3E}">
        <p14:creationId xmlns:p14="http://schemas.microsoft.com/office/powerpoint/2010/main" val="21009059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Vergelijking 2 kolomm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8" y="1380857"/>
            <a:ext cx="5543549" cy="285377"/>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5" name="Text Placeholder 4"/>
          <p:cNvSpPr>
            <a:spLocks noGrp="1"/>
          </p:cNvSpPr>
          <p:nvPr>
            <p:ph type="body" sz="quarter" idx="3" hasCustomPrompt="1"/>
          </p:nvPr>
        </p:nvSpPr>
        <p:spPr>
          <a:xfrm>
            <a:off x="6142566" y="1380857"/>
            <a:ext cx="5543549" cy="285377"/>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7" y="1863168"/>
            <a:ext cx="5543548" cy="4298449"/>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Content Placeholder 2">
            <a:extLst>
              <a:ext uri="{FF2B5EF4-FFF2-40B4-BE49-F238E27FC236}">
                <a16:creationId xmlns:a16="http://schemas.microsoft.com/office/drawing/2014/main" id="{82C224E4-9138-4446-990E-F54482F43A60}"/>
              </a:ext>
            </a:extLst>
          </p:cNvPr>
          <p:cNvSpPr>
            <a:spLocks noGrp="1"/>
          </p:cNvSpPr>
          <p:nvPr>
            <p:ph sz="half" idx="14" hasCustomPrompt="1"/>
          </p:nvPr>
        </p:nvSpPr>
        <p:spPr>
          <a:xfrm>
            <a:off x="6140729" y="1863168"/>
            <a:ext cx="5543548" cy="4298449"/>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dirty="0"/>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tekst 2">
            <a:extLst>
              <a:ext uri="{FF2B5EF4-FFF2-40B4-BE49-F238E27FC236}">
                <a16:creationId xmlns:a16="http://schemas.microsoft.com/office/drawing/2014/main" id="{4E47B5D6-5449-46F8-B512-D0D224EC210D}"/>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95574720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V">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383368" y="1374857"/>
            <a:ext cx="9302749" cy="224251"/>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2383367" y="1863169"/>
            <a:ext cx="9302751" cy="1565832"/>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782233" cy="2054143"/>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8" y="3693063"/>
            <a:ext cx="1782232" cy="246855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9" name="Content Placeholder 2">
            <a:extLst>
              <a:ext uri="{FF2B5EF4-FFF2-40B4-BE49-F238E27FC236}">
                <a16:creationId xmlns:a16="http://schemas.microsoft.com/office/drawing/2014/main" id="{8F5FABFA-1F31-4724-9006-999189E1B5B3}"/>
              </a:ext>
            </a:extLst>
          </p:cNvPr>
          <p:cNvSpPr>
            <a:spLocks noGrp="1"/>
          </p:cNvSpPr>
          <p:nvPr>
            <p:ph sz="half" idx="21" hasCustomPrompt="1"/>
          </p:nvPr>
        </p:nvSpPr>
        <p:spPr>
          <a:xfrm>
            <a:off x="2383366"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4" name="Content Placeholder 2">
            <a:extLst>
              <a:ext uri="{FF2B5EF4-FFF2-40B4-BE49-F238E27FC236}">
                <a16:creationId xmlns:a16="http://schemas.microsoft.com/office/drawing/2014/main" id="{98FFBC02-6806-4F9E-9BF1-D0158197A610}"/>
              </a:ext>
            </a:extLst>
          </p:cNvPr>
          <p:cNvSpPr>
            <a:spLocks noGrp="1"/>
          </p:cNvSpPr>
          <p:nvPr>
            <p:ph sz="half" idx="22" hasCustomPrompt="1"/>
          </p:nvPr>
        </p:nvSpPr>
        <p:spPr>
          <a:xfrm>
            <a:off x="5605146"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5" name="Content Placeholder 2">
            <a:extLst>
              <a:ext uri="{FF2B5EF4-FFF2-40B4-BE49-F238E27FC236}">
                <a16:creationId xmlns:a16="http://schemas.microsoft.com/office/drawing/2014/main" id="{01A40C2D-9F9C-4855-8E3B-9050487C6468}"/>
              </a:ext>
            </a:extLst>
          </p:cNvPr>
          <p:cNvSpPr>
            <a:spLocks noGrp="1"/>
          </p:cNvSpPr>
          <p:nvPr>
            <p:ph sz="half" idx="23" hasCustomPrompt="1"/>
          </p:nvPr>
        </p:nvSpPr>
        <p:spPr>
          <a:xfrm>
            <a:off x="8826925" y="3693063"/>
            <a:ext cx="2859193" cy="2468555"/>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4" name="Tijdelijke aanduiding voor tekst 2">
            <a:extLst>
              <a:ext uri="{FF2B5EF4-FFF2-40B4-BE49-F238E27FC236}">
                <a16:creationId xmlns:a16="http://schemas.microsoft.com/office/drawing/2014/main" id="{3360CB83-D8AD-4E25-802F-8A2F320D1B05}"/>
              </a:ext>
            </a:extLst>
          </p:cNvPr>
          <p:cNvSpPr>
            <a:spLocks noGrp="1"/>
          </p:cNvSpPr>
          <p:nvPr>
            <p:ph type="body" sz="quarter" idx="24"/>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97349478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V - 2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928240" y="1374857"/>
            <a:ext cx="4119077" cy="342183"/>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1928239" y="1863168"/>
            <a:ext cx="4119076" cy="4298449"/>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55127"/>
          </a:xfrm>
        </p:spPr>
        <p:txBody>
          <a:bodyPr/>
          <a:lstStyle>
            <a:lvl1pPr>
              <a:defRPr sz="1100"/>
            </a:lvl1pPr>
          </a:lstStyle>
          <a:p>
            <a:r>
              <a:rPr lang="nl-NL" smtClean="0"/>
              <a:t>Klik op het pictogram als u een afbeelding wilt toevoegen</a:t>
            </a:r>
            <a:endParaRPr lang="nl-NL" dirty="0"/>
          </a:p>
        </p:txBody>
      </p:sp>
      <p:sp>
        <p:nvSpPr>
          <p:cNvPr id="14" name="Text Placeholder 2">
            <a:extLst>
              <a:ext uri="{FF2B5EF4-FFF2-40B4-BE49-F238E27FC236}">
                <a16:creationId xmlns:a16="http://schemas.microsoft.com/office/drawing/2014/main" id="{8D28630C-7F0E-4EAD-889D-AF405600D871}"/>
              </a:ext>
            </a:extLst>
          </p:cNvPr>
          <p:cNvSpPr>
            <a:spLocks noGrp="1"/>
          </p:cNvSpPr>
          <p:nvPr>
            <p:ph type="body" idx="17" hasCustomPrompt="1"/>
          </p:nvPr>
        </p:nvSpPr>
        <p:spPr>
          <a:xfrm>
            <a:off x="7569159" y="1374857"/>
            <a:ext cx="4119077" cy="342183"/>
          </a:xfrm>
        </p:spPr>
        <p:txBody>
          <a:bodyPr wrap="square" anchor="t">
            <a:noAutofit/>
          </a:bodyPr>
          <a:lstStyle>
            <a:lvl1pPr marL="0" indent="0">
              <a:buNone/>
              <a:defRPr lang="nl-NL" sz="14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5" name="Content Placeholder 2">
            <a:extLst>
              <a:ext uri="{FF2B5EF4-FFF2-40B4-BE49-F238E27FC236}">
                <a16:creationId xmlns:a16="http://schemas.microsoft.com/office/drawing/2014/main" id="{0D55D406-A968-419D-A97E-DBC6D4FAFE37}"/>
              </a:ext>
            </a:extLst>
          </p:cNvPr>
          <p:cNvSpPr>
            <a:spLocks noGrp="1"/>
          </p:cNvSpPr>
          <p:nvPr>
            <p:ph sz="half" idx="18" hasCustomPrompt="1"/>
          </p:nvPr>
        </p:nvSpPr>
        <p:spPr>
          <a:xfrm>
            <a:off x="7569158" y="1863168"/>
            <a:ext cx="4119076" cy="4298449"/>
          </a:xfrm>
        </p:spPr>
        <p:txBody>
          <a:bodyPr>
            <a:noAutofit/>
          </a:bodyPr>
          <a:lstStyle>
            <a:lvl1pPr marL="0" indent="0">
              <a:buNone/>
              <a:defRPr sz="1467"/>
            </a:lvl1pPr>
            <a:lvl2pPr>
              <a:defRPr sz="1467"/>
            </a:lvl2pPr>
            <a:lvl3pPr>
              <a:defRPr sz="1467"/>
            </a:lvl3pPr>
            <a:lvl4pPr>
              <a:defRPr sz="1467"/>
            </a:lvl4pPr>
            <a:lvl5pPr>
              <a:defRPr sz="14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6" name="Tijdelijke aanduiding voor afbeelding 6">
            <a:extLst>
              <a:ext uri="{FF2B5EF4-FFF2-40B4-BE49-F238E27FC236}">
                <a16:creationId xmlns:a16="http://schemas.microsoft.com/office/drawing/2014/main" id="{919B183F-1047-4029-B8ED-405D95D38592}"/>
              </a:ext>
            </a:extLst>
          </p:cNvPr>
          <p:cNvSpPr>
            <a:spLocks noGrp="1"/>
          </p:cNvSpPr>
          <p:nvPr>
            <p:ph type="pic" sz="quarter" idx="19"/>
          </p:nvPr>
        </p:nvSpPr>
        <p:spPr>
          <a:xfrm>
            <a:off x="6144686" y="1374858"/>
            <a:ext cx="1254569" cy="1455127"/>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8" y="2927352"/>
            <a:ext cx="1254568" cy="323426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8" name="Content Placeholder 2">
            <a:extLst>
              <a:ext uri="{FF2B5EF4-FFF2-40B4-BE49-F238E27FC236}">
                <a16:creationId xmlns:a16="http://schemas.microsoft.com/office/drawing/2014/main" id="{933717F7-80C1-4FFB-8E45-0B5E75C7AF49}"/>
              </a:ext>
            </a:extLst>
          </p:cNvPr>
          <p:cNvSpPr>
            <a:spLocks noGrp="1"/>
          </p:cNvSpPr>
          <p:nvPr>
            <p:ph sz="half" idx="21" hasCustomPrompt="1"/>
          </p:nvPr>
        </p:nvSpPr>
        <p:spPr>
          <a:xfrm>
            <a:off x="6144687" y="2927352"/>
            <a:ext cx="1254568" cy="3234265"/>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9" name="Tijdelijke aanduiding voor tekst 2">
            <a:extLst>
              <a:ext uri="{FF2B5EF4-FFF2-40B4-BE49-F238E27FC236}">
                <a16:creationId xmlns:a16="http://schemas.microsoft.com/office/drawing/2014/main" id="{B8C14C11-9B8E-4C48-A4CB-85D8F9B6619C}"/>
              </a:ext>
            </a:extLst>
          </p:cNvPr>
          <p:cNvSpPr>
            <a:spLocks noGrp="1"/>
          </p:cNvSpPr>
          <p:nvPr>
            <p:ph type="body" sz="quarter" idx="22"/>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53210592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CV - 3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853586" y="1374857"/>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1853586" y="1849726"/>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42214"/>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8021637" y="1374857"/>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36" name="Text Placeholder 2">
            <a:extLst>
              <a:ext uri="{FF2B5EF4-FFF2-40B4-BE49-F238E27FC236}">
                <a16:creationId xmlns:a16="http://schemas.microsoft.com/office/drawing/2014/main" id="{0A926127-1CBB-4CC3-831F-195F96DEA959}"/>
              </a:ext>
            </a:extLst>
          </p:cNvPr>
          <p:cNvSpPr>
            <a:spLocks noGrp="1"/>
          </p:cNvSpPr>
          <p:nvPr>
            <p:ph type="body" idx="21" hasCustomPrompt="1"/>
          </p:nvPr>
        </p:nvSpPr>
        <p:spPr>
          <a:xfrm>
            <a:off x="1853586" y="2987647"/>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7" name="Content Placeholder 2">
            <a:extLst>
              <a:ext uri="{FF2B5EF4-FFF2-40B4-BE49-F238E27FC236}">
                <a16:creationId xmlns:a16="http://schemas.microsoft.com/office/drawing/2014/main" id="{1FF21360-2CEF-427D-AD30-7441D6008CBE}"/>
              </a:ext>
            </a:extLst>
          </p:cNvPr>
          <p:cNvSpPr>
            <a:spLocks noGrp="1"/>
          </p:cNvSpPr>
          <p:nvPr>
            <p:ph sz="half" idx="22" hasCustomPrompt="1"/>
          </p:nvPr>
        </p:nvSpPr>
        <p:spPr>
          <a:xfrm>
            <a:off x="1853586" y="3462516"/>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38" name="Tijdelijke aanduiding voor afbeelding 6">
            <a:extLst>
              <a:ext uri="{FF2B5EF4-FFF2-40B4-BE49-F238E27FC236}">
                <a16:creationId xmlns:a16="http://schemas.microsoft.com/office/drawing/2014/main" id="{A32050C8-2BEE-497A-86A8-BE0D725F0CFF}"/>
              </a:ext>
            </a:extLst>
          </p:cNvPr>
          <p:cNvSpPr>
            <a:spLocks noGrp="1"/>
          </p:cNvSpPr>
          <p:nvPr>
            <p:ph type="pic" sz="quarter" idx="23"/>
          </p:nvPr>
        </p:nvSpPr>
        <p:spPr>
          <a:xfrm>
            <a:off x="503768" y="2987647"/>
            <a:ext cx="1254569" cy="1442214"/>
          </a:xfrm>
        </p:spPr>
        <p:txBody>
          <a:bodyPr/>
          <a:lstStyle>
            <a:lvl1pPr>
              <a:defRPr sz="1100"/>
            </a:lvl1pPr>
          </a:lstStyle>
          <a:p>
            <a:r>
              <a:rPr lang="nl-NL" smtClean="0"/>
              <a:t>Klik op het pictogram als u een afbeelding wilt toevoegen</a:t>
            </a:r>
            <a:endParaRPr lang="nl-NL" dirty="0"/>
          </a:p>
        </p:txBody>
      </p:sp>
      <p:sp>
        <p:nvSpPr>
          <p:cNvPr id="39" name="Content Placeholder 2">
            <a:extLst>
              <a:ext uri="{FF2B5EF4-FFF2-40B4-BE49-F238E27FC236}">
                <a16:creationId xmlns:a16="http://schemas.microsoft.com/office/drawing/2014/main" id="{801F0A4E-107B-453C-BE91-7AB7CBC9B8C6}"/>
              </a:ext>
            </a:extLst>
          </p:cNvPr>
          <p:cNvSpPr>
            <a:spLocks noGrp="1"/>
          </p:cNvSpPr>
          <p:nvPr>
            <p:ph sz="half" idx="24" hasCustomPrompt="1"/>
          </p:nvPr>
        </p:nvSpPr>
        <p:spPr>
          <a:xfrm>
            <a:off x="8021637" y="2987647"/>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40" name="Text Placeholder 2">
            <a:extLst>
              <a:ext uri="{FF2B5EF4-FFF2-40B4-BE49-F238E27FC236}">
                <a16:creationId xmlns:a16="http://schemas.microsoft.com/office/drawing/2014/main" id="{DC36062A-0125-43CE-9C98-C99327EE1450}"/>
              </a:ext>
            </a:extLst>
          </p:cNvPr>
          <p:cNvSpPr>
            <a:spLocks noGrp="1"/>
          </p:cNvSpPr>
          <p:nvPr>
            <p:ph type="body" idx="25" hasCustomPrompt="1"/>
          </p:nvPr>
        </p:nvSpPr>
        <p:spPr>
          <a:xfrm>
            <a:off x="1853586" y="4600436"/>
            <a:ext cx="6072802"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1" name="Content Placeholder 2">
            <a:extLst>
              <a:ext uri="{FF2B5EF4-FFF2-40B4-BE49-F238E27FC236}">
                <a16:creationId xmlns:a16="http://schemas.microsoft.com/office/drawing/2014/main" id="{D8A9BD60-4D6D-4210-AE71-8BA4F2854A85}"/>
              </a:ext>
            </a:extLst>
          </p:cNvPr>
          <p:cNvSpPr>
            <a:spLocks noGrp="1"/>
          </p:cNvSpPr>
          <p:nvPr>
            <p:ph sz="half" idx="26" hasCustomPrompt="1"/>
          </p:nvPr>
        </p:nvSpPr>
        <p:spPr>
          <a:xfrm>
            <a:off x="1853586" y="5075305"/>
            <a:ext cx="6072801" cy="967345"/>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2" name="Tijdelijke aanduiding voor afbeelding 6">
            <a:extLst>
              <a:ext uri="{FF2B5EF4-FFF2-40B4-BE49-F238E27FC236}">
                <a16:creationId xmlns:a16="http://schemas.microsoft.com/office/drawing/2014/main" id="{ADA46822-31BD-4CDE-A131-0316BBD246A8}"/>
              </a:ext>
            </a:extLst>
          </p:cNvPr>
          <p:cNvSpPr>
            <a:spLocks noGrp="1"/>
          </p:cNvSpPr>
          <p:nvPr>
            <p:ph type="pic" sz="quarter" idx="27"/>
          </p:nvPr>
        </p:nvSpPr>
        <p:spPr>
          <a:xfrm>
            <a:off x="503768" y="4600437"/>
            <a:ext cx="1254569" cy="1442214"/>
          </a:xfrm>
        </p:spPr>
        <p:txBody>
          <a:bodyPr/>
          <a:lstStyle>
            <a:lvl1pPr>
              <a:defRPr sz="1100"/>
            </a:lvl1pPr>
          </a:lstStyle>
          <a:p>
            <a:r>
              <a:rPr lang="nl-NL" smtClean="0"/>
              <a:t>Klik op het pictogram als u een afbeelding wilt toevoegen</a:t>
            </a:r>
            <a:endParaRPr lang="nl-NL" dirty="0"/>
          </a:p>
        </p:txBody>
      </p:sp>
      <p:sp>
        <p:nvSpPr>
          <p:cNvPr id="43" name="Content Placeholder 2">
            <a:extLst>
              <a:ext uri="{FF2B5EF4-FFF2-40B4-BE49-F238E27FC236}">
                <a16:creationId xmlns:a16="http://schemas.microsoft.com/office/drawing/2014/main" id="{57C1702A-1755-46E3-B98F-E6E2D78B15CE}"/>
              </a:ext>
            </a:extLst>
          </p:cNvPr>
          <p:cNvSpPr>
            <a:spLocks noGrp="1"/>
          </p:cNvSpPr>
          <p:nvPr>
            <p:ph sz="half" idx="28" hasCustomPrompt="1"/>
          </p:nvPr>
        </p:nvSpPr>
        <p:spPr>
          <a:xfrm>
            <a:off x="8021637" y="4600436"/>
            <a:ext cx="3664479" cy="1442214"/>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18" name="Tijdelijke aanduiding voor tekst 2">
            <a:extLst>
              <a:ext uri="{FF2B5EF4-FFF2-40B4-BE49-F238E27FC236}">
                <a16:creationId xmlns:a16="http://schemas.microsoft.com/office/drawing/2014/main" id="{EB0641A7-0EBD-47A0-8A90-45D57D7AA2FE}"/>
              </a:ext>
            </a:extLst>
          </p:cNvPr>
          <p:cNvSpPr>
            <a:spLocks noGrp="1"/>
          </p:cNvSpPr>
          <p:nvPr>
            <p:ph type="body" sz="quarter" idx="29"/>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7937427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CV - 4 person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8"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9"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2" name="Titel 1">
            <a:extLst>
              <a:ext uri="{FF2B5EF4-FFF2-40B4-BE49-F238E27FC236}">
                <a16:creationId xmlns:a16="http://schemas.microsoft.com/office/drawing/2014/main" id="{F9113B47-B852-4B1F-8D54-821F20DF7F84}"/>
              </a:ext>
            </a:extLst>
          </p:cNvPr>
          <p:cNvSpPr>
            <a:spLocks noGrp="1"/>
          </p:cNvSpPr>
          <p:nvPr>
            <p:ph type="title"/>
          </p:nvPr>
        </p:nvSpPr>
        <p:spPr/>
        <p:txBody>
          <a:bodyPr/>
          <a:lstStyle/>
          <a:p>
            <a:r>
              <a:rPr lang="nl-NL" smtClean="0"/>
              <a:t>Klik om de stijl te bewerken</a:t>
            </a:r>
            <a:endParaRPr lang="nl-NL"/>
          </a:p>
        </p:txBody>
      </p:sp>
      <p:sp>
        <p:nvSpPr>
          <p:cNvPr id="13" name="Tijdelijke aanduiding voor tekst 7">
            <a:extLst>
              <a:ext uri="{FF2B5EF4-FFF2-40B4-BE49-F238E27FC236}">
                <a16:creationId xmlns:a16="http://schemas.microsoft.com/office/drawing/2014/main" id="{58E875A0-4999-47DD-BCA1-9E562BDA7144}"/>
              </a:ext>
            </a:extLst>
          </p:cNvPr>
          <p:cNvSpPr>
            <a:spLocks noGrp="1"/>
          </p:cNvSpPr>
          <p:nvPr>
            <p:ph type="body" sz="quarter" idx="15"/>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0" name="Tijdelijke aanduiding voor afbeelding 6">
            <a:extLst>
              <a:ext uri="{FF2B5EF4-FFF2-40B4-BE49-F238E27FC236}">
                <a16:creationId xmlns:a16="http://schemas.microsoft.com/office/drawing/2014/main" id="{B980B720-9ECD-4205-B04D-FBEB95C1BDAE}"/>
              </a:ext>
            </a:extLst>
          </p:cNvPr>
          <p:cNvSpPr>
            <a:spLocks noGrp="1"/>
          </p:cNvSpPr>
          <p:nvPr>
            <p:ph type="pic" sz="quarter" idx="16"/>
          </p:nvPr>
        </p:nvSpPr>
        <p:spPr>
          <a:xfrm>
            <a:off x="503768" y="1374858"/>
            <a:ext cx="1254569" cy="1442214"/>
          </a:xfrm>
        </p:spPr>
        <p:txBody>
          <a:bodyPr/>
          <a:lstStyle>
            <a:lvl1pPr>
              <a:defRPr sz="1100"/>
            </a:lvl1pPr>
          </a:lstStyle>
          <a:p>
            <a:r>
              <a:rPr lang="nl-NL" smtClean="0"/>
              <a:t>Klik op het pictogram als u een afbeelding wilt toevoegen</a:t>
            </a:r>
            <a:endParaRPr lang="nl-NL" dirty="0"/>
          </a:p>
        </p:txBody>
      </p:sp>
      <p:sp>
        <p:nvSpPr>
          <p:cNvPr id="17" name="Content Placeholder 2">
            <a:extLst>
              <a:ext uri="{FF2B5EF4-FFF2-40B4-BE49-F238E27FC236}">
                <a16:creationId xmlns:a16="http://schemas.microsoft.com/office/drawing/2014/main" id="{61D702F9-887A-4A61-81B0-59D2C2AA9CE4}"/>
              </a:ext>
            </a:extLst>
          </p:cNvPr>
          <p:cNvSpPr>
            <a:spLocks noGrp="1"/>
          </p:cNvSpPr>
          <p:nvPr>
            <p:ph sz="half" idx="20" hasCustomPrompt="1"/>
          </p:nvPr>
        </p:nvSpPr>
        <p:spPr>
          <a:xfrm>
            <a:off x="503769"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32" name="Tijdelijke aanduiding voor afbeelding 6">
            <a:extLst>
              <a:ext uri="{FF2B5EF4-FFF2-40B4-BE49-F238E27FC236}">
                <a16:creationId xmlns:a16="http://schemas.microsoft.com/office/drawing/2014/main" id="{72A5BDA8-F626-43E7-82FC-AA1CE79C713A}"/>
              </a:ext>
            </a:extLst>
          </p:cNvPr>
          <p:cNvSpPr>
            <a:spLocks noGrp="1"/>
          </p:cNvSpPr>
          <p:nvPr>
            <p:ph type="pic" sz="quarter" idx="22"/>
          </p:nvPr>
        </p:nvSpPr>
        <p:spPr>
          <a:xfrm>
            <a:off x="3369545" y="1374858"/>
            <a:ext cx="1254569" cy="1442214"/>
          </a:xfrm>
        </p:spPr>
        <p:txBody>
          <a:bodyPr/>
          <a:lstStyle>
            <a:lvl1pPr>
              <a:defRPr sz="1100"/>
            </a:lvl1pPr>
          </a:lstStyle>
          <a:p>
            <a:r>
              <a:rPr lang="nl-NL" smtClean="0"/>
              <a:t>Klik op het pictogram als u een afbeelding wilt toevoegen</a:t>
            </a:r>
            <a:endParaRPr lang="nl-NL" dirty="0"/>
          </a:p>
        </p:txBody>
      </p:sp>
      <p:sp>
        <p:nvSpPr>
          <p:cNvPr id="33" name="Tijdelijke aanduiding voor afbeelding 6">
            <a:extLst>
              <a:ext uri="{FF2B5EF4-FFF2-40B4-BE49-F238E27FC236}">
                <a16:creationId xmlns:a16="http://schemas.microsoft.com/office/drawing/2014/main" id="{661A4B7C-02CC-451E-9ACD-4F7918025CE3}"/>
              </a:ext>
            </a:extLst>
          </p:cNvPr>
          <p:cNvSpPr>
            <a:spLocks noGrp="1"/>
          </p:cNvSpPr>
          <p:nvPr>
            <p:ph type="pic" sz="quarter" idx="23"/>
          </p:nvPr>
        </p:nvSpPr>
        <p:spPr>
          <a:xfrm>
            <a:off x="9101100" y="1374858"/>
            <a:ext cx="1254569" cy="1442214"/>
          </a:xfrm>
        </p:spPr>
        <p:txBody>
          <a:bodyPr/>
          <a:lstStyle>
            <a:lvl1pPr>
              <a:defRPr sz="1100"/>
            </a:lvl1pPr>
          </a:lstStyle>
          <a:p>
            <a:r>
              <a:rPr lang="nl-NL" smtClean="0"/>
              <a:t>Klik op het pictogram als u een afbeelding wilt toevoegen</a:t>
            </a:r>
            <a:endParaRPr lang="nl-NL" dirty="0"/>
          </a:p>
        </p:txBody>
      </p:sp>
      <p:sp>
        <p:nvSpPr>
          <p:cNvPr id="34" name="Text Placeholder 2">
            <a:extLst>
              <a:ext uri="{FF2B5EF4-FFF2-40B4-BE49-F238E27FC236}">
                <a16:creationId xmlns:a16="http://schemas.microsoft.com/office/drawing/2014/main" id="{97ED01AA-3002-463C-A4B9-BF5E378F768B}"/>
              </a:ext>
            </a:extLst>
          </p:cNvPr>
          <p:cNvSpPr>
            <a:spLocks noGrp="1"/>
          </p:cNvSpPr>
          <p:nvPr>
            <p:ph type="body" idx="24" hasCustomPrompt="1"/>
          </p:nvPr>
        </p:nvSpPr>
        <p:spPr>
          <a:xfrm>
            <a:off x="3369545"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5" name="Text Placeholder 2">
            <a:extLst>
              <a:ext uri="{FF2B5EF4-FFF2-40B4-BE49-F238E27FC236}">
                <a16:creationId xmlns:a16="http://schemas.microsoft.com/office/drawing/2014/main" id="{6A6E73AB-705B-4B1D-80AF-6D32AD4617CA}"/>
              </a:ext>
            </a:extLst>
          </p:cNvPr>
          <p:cNvSpPr>
            <a:spLocks noGrp="1"/>
          </p:cNvSpPr>
          <p:nvPr>
            <p:ph type="body" idx="25" hasCustomPrompt="1"/>
          </p:nvPr>
        </p:nvSpPr>
        <p:spPr>
          <a:xfrm>
            <a:off x="6235322"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4" name="Text Placeholder 2">
            <a:extLst>
              <a:ext uri="{FF2B5EF4-FFF2-40B4-BE49-F238E27FC236}">
                <a16:creationId xmlns:a16="http://schemas.microsoft.com/office/drawing/2014/main" id="{F5FDAECA-A85B-4111-A44B-D59D76544EE8}"/>
              </a:ext>
            </a:extLst>
          </p:cNvPr>
          <p:cNvSpPr>
            <a:spLocks noGrp="1"/>
          </p:cNvSpPr>
          <p:nvPr>
            <p:ph type="body" idx="26" hasCustomPrompt="1"/>
          </p:nvPr>
        </p:nvSpPr>
        <p:spPr>
          <a:xfrm>
            <a:off x="9101100" y="2927350"/>
            <a:ext cx="2584488" cy="342183"/>
          </a:xfrm>
        </p:spPr>
        <p:txBody>
          <a:bodyPr wrap="square" anchor="t">
            <a:noAutofit/>
          </a:bodyPr>
          <a:lstStyle>
            <a:lvl1pPr marL="0" indent="0">
              <a:buNone/>
              <a:defRPr lang="nl-NL" sz="1200"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45" name="Tijdelijke aanduiding voor afbeelding 6">
            <a:extLst>
              <a:ext uri="{FF2B5EF4-FFF2-40B4-BE49-F238E27FC236}">
                <a16:creationId xmlns:a16="http://schemas.microsoft.com/office/drawing/2014/main" id="{E194C6CD-E053-4B81-81ED-2A442DA09B11}"/>
              </a:ext>
            </a:extLst>
          </p:cNvPr>
          <p:cNvSpPr>
            <a:spLocks noGrp="1"/>
          </p:cNvSpPr>
          <p:nvPr>
            <p:ph type="pic" sz="quarter" idx="27"/>
          </p:nvPr>
        </p:nvSpPr>
        <p:spPr>
          <a:xfrm>
            <a:off x="6235322" y="1374858"/>
            <a:ext cx="1254569" cy="1442214"/>
          </a:xfrm>
        </p:spPr>
        <p:txBody>
          <a:bodyPr/>
          <a:lstStyle>
            <a:lvl1pPr>
              <a:defRPr sz="1100"/>
            </a:lvl1pPr>
          </a:lstStyle>
          <a:p>
            <a:r>
              <a:rPr lang="nl-NL" smtClean="0"/>
              <a:t>Klik op het pictogram als u een afbeelding wilt toevoegen</a:t>
            </a:r>
            <a:endParaRPr lang="nl-NL" dirty="0"/>
          </a:p>
        </p:txBody>
      </p:sp>
      <p:sp>
        <p:nvSpPr>
          <p:cNvPr id="46" name="Content Placeholder 2">
            <a:extLst>
              <a:ext uri="{FF2B5EF4-FFF2-40B4-BE49-F238E27FC236}">
                <a16:creationId xmlns:a16="http://schemas.microsoft.com/office/drawing/2014/main" id="{24CC59D0-6EDB-4FCC-BE48-89A42D7E8673}"/>
              </a:ext>
            </a:extLst>
          </p:cNvPr>
          <p:cNvSpPr>
            <a:spLocks noGrp="1"/>
          </p:cNvSpPr>
          <p:nvPr>
            <p:ph sz="half" idx="28" hasCustomPrompt="1"/>
          </p:nvPr>
        </p:nvSpPr>
        <p:spPr>
          <a:xfrm>
            <a:off x="3369545"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7" name="Content Placeholder 2">
            <a:extLst>
              <a:ext uri="{FF2B5EF4-FFF2-40B4-BE49-F238E27FC236}">
                <a16:creationId xmlns:a16="http://schemas.microsoft.com/office/drawing/2014/main" id="{C8E9BF5B-3140-45F0-827C-3457A4C3FBB1}"/>
              </a:ext>
            </a:extLst>
          </p:cNvPr>
          <p:cNvSpPr>
            <a:spLocks noGrp="1"/>
          </p:cNvSpPr>
          <p:nvPr>
            <p:ph sz="half" idx="29" hasCustomPrompt="1"/>
          </p:nvPr>
        </p:nvSpPr>
        <p:spPr>
          <a:xfrm>
            <a:off x="3369545"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48" name="Content Placeholder 2">
            <a:extLst>
              <a:ext uri="{FF2B5EF4-FFF2-40B4-BE49-F238E27FC236}">
                <a16:creationId xmlns:a16="http://schemas.microsoft.com/office/drawing/2014/main" id="{9D33725C-27F0-4D2F-9FD0-73BD7AA9A5F5}"/>
              </a:ext>
            </a:extLst>
          </p:cNvPr>
          <p:cNvSpPr>
            <a:spLocks noGrp="1"/>
          </p:cNvSpPr>
          <p:nvPr>
            <p:ph sz="half" idx="30" hasCustomPrompt="1"/>
          </p:nvPr>
        </p:nvSpPr>
        <p:spPr>
          <a:xfrm>
            <a:off x="6235322"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49" name="Content Placeholder 2">
            <a:extLst>
              <a:ext uri="{FF2B5EF4-FFF2-40B4-BE49-F238E27FC236}">
                <a16:creationId xmlns:a16="http://schemas.microsoft.com/office/drawing/2014/main" id="{4E974B72-5991-44BC-86B4-D278755FD7A4}"/>
              </a:ext>
            </a:extLst>
          </p:cNvPr>
          <p:cNvSpPr>
            <a:spLocks noGrp="1"/>
          </p:cNvSpPr>
          <p:nvPr>
            <p:ph sz="half" idx="31" hasCustomPrompt="1"/>
          </p:nvPr>
        </p:nvSpPr>
        <p:spPr>
          <a:xfrm>
            <a:off x="6235322"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50" name="Content Placeholder 2">
            <a:extLst>
              <a:ext uri="{FF2B5EF4-FFF2-40B4-BE49-F238E27FC236}">
                <a16:creationId xmlns:a16="http://schemas.microsoft.com/office/drawing/2014/main" id="{8E4E58A6-9442-4C35-B8A6-6FF1FCBD8E2F}"/>
              </a:ext>
            </a:extLst>
          </p:cNvPr>
          <p:cNvSpPr>
            <a:spLocks noGrp="1"/>
          </p:cNvSpPr>
          <p:nvPr>
            <p:ph sz="half" idx="32" hasCustomPrompt="1"/>
          </p:nvPr>
        </p:nvSpPr>
        <p:spPr>
          <a:xfrm>
            <a:off x="9101100" y="3402219"/>
            <a:ext cx="2584488" cy="1549343"/>
          </a:xfrm>
        </p:spPr>
        <p:txBody>
          <a:bodyPr>
            <a:noAutofit/>
          </a:bodyPr>
          <a:lstStyle>
            <a:lvl1pPr marL="0" indent="0">
              <a:buNone/>
              <a:defRPr sz="1200"/>
            </a:lvl1pPr>
            <a:lvl2pPr>
              <a:defRPr sz="1200"/>
            </a:lvl2pPr>
            <a:lvl3pPr>
              <a:defRPr sz="1200"/>
            </a:lvl3pPr>
            <a:lvl4pPr>
              <a:defRPr sz="1200"/>
            </a:lvl4pPr>
            <a:lvl5pPr>
              <a:defRPr sz="1200"/>
            </a:lvl5pPr>
          </a:lstStyle>
          <a:p>
            <a:pPr lvl="0"/>
            <a:r>
              <a:rPr lang="nl-NL" dirty="0" err="1"/>
              <a:t>Edit</a:t>
            </a:r>
            <a:r>
              <a:rPr lang="nl-NL" dirty="0"/>
              <a:t> Master </a:t>
            </a:r>
            <a:r>
              <a:rPr lang="nl-NL" dirty="0" err="1"/>
              <a:t>text</a:t>
            </a:r>
            <a:r>
              <a:rPr lang="nl-NL" dirty="0"/>
              <a:t> </a:t>
            </a:r>
            <a:r>
              <a:rPr lang="nl-NL" dirty="0" err="1"/>
              <a:t>styles</a:t>
            </a:r>
            <a:endParaRPr lang="nl-NL" dirty="0"/>
          </a:p>
          <a:p>
            <a:pPr lvl="1"/>
            <a:endParaRPr lang="nl-NL" dirty="0"/>
          </a:p>
        </p:txBody>
      </p:sp>
      <p:sp>
        <p:nvSpPr>
          <p:cNvPr id="51" name="Content Placeholder 2">
            <a:extLst>
              <a:ext uri="{FF2B5EF4-FFF2-40B4-BE49-F238E27FC236}">
                <a16:creationId xmlns:a16="http://schemas.microsoft.com/office/drawing/2014/main" id="{22A16F2A-B928-4222-A56D-430AA9388183}"/>
              </a:ext>
            </a:extLst>
          </p:cNvPr>
          <p:cNvSpPr>
            <a:spLocks noGrp="1"/>
          </p:cNvSpPr>
          <p:nvPr>
            <p:ph sz="half" idx="33" hasCustomPrompt="1"/>
          </p:nvPr>
        </p:nvSpPr>
        <p:spPr>
          <a:xfrm>
            <a:off x="9101100" y="5080957"/>
            <a:ext cx="2584488" cy="1055297"/>
          </a:xfrm>
        </p:spPr>
        <p:txBody>
          <a:bodyPr>
            <a:noAutofit/>
          </a:bodyPr>
          <a:lstStyle>
            <a:lvl1pPr marL="0" indent="0">
              <a:buNone/>
              <a:defRPr sz="1067"/>
            </a:lvl1pPr>
            <a:lvl2pPr marL="243410" indent="0">
              <a:buNone/>
              <a:defRPr sz="1067"/>
            </a:lvl2pPr>
            <a:lvl3pPr marL="478355" indent="0">
              <a:buNone/>
              <a:defRPr sz="1067"/>
            </a:lvl3pPr>
            <a:lvl4pPr marL="721766" indent="0">
              <a:buNone/>
              <a:defRPr sz="1067"/>
            </a:lvl4pPr>
            <a:lvl5pPr marL="954592" indent="0">
              <a:buNone/>
              <a:defRPr sz="1067"/>
            </a:lvl5pPr>
          </a:lstStyle>
          <a:p>
            <a:pPr lvl="0"/>
            <a:r>
              <a:rPr lang="nl-NL" dirty="0"/>
              <a:t>Contact details</a:t>
            </a:r>
          </a:p>
        </p:txBody>
      </p:sp>
      <p:sp>
        <p:nvSpPr>
          <p:cNvPr id="22" name="Tijdelijke aanduiding voor tekst 2">
            <a:extLst>
              <a:ext uri="{FF2B5EF4-FFF2-40B4-BE49-F238E27FC236}">
                <a16:creationId xmlns:a16="http://schemas.microsoft.com/office/drawing/2014/main" id="{AB0CE12C-899C-409B-AFFC-9C497ECCBC8C}"/>
              </a:ext>
            </a:extLst>
          </p:cNvPr>
          <p:cNvSpPr>
            <a:spLocks noGrp="1"/>
          </p:cNvSpPr>
          <p:nvPr>
            <p:ph type="body" sz="quarter" idx="34"/>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0577005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Vergelijking 3 kolomme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03766"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5" name="Text Placeholder 4"/>
          <p:cNvSpPr>
            <a:spLocks noGrp="1"/>
          </p:cNvSpPr>
          <p:nvPr>
            <p:ph type="body" sz="quarter" idx="3" hasCustomPrompt="1"/>
          </p:nvPr>
        </p:nvSpPr>
        <p:spPr>
          <a:xfrm>
            <a:off x="4262967"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1" name="Content Placeholder 2">
            <a:extLst>
              <a:ext uri="{FF2B5EF4-FFF2-40B4-BE49-F238E27FC236}">
                <a16:creationId xmlns:a16="http://schemas.microsoft.com/office/drawing/2014/main" id="{5727596C-7D4D-4F81-AE06-DF6AE2663B00}"/>
              </a:ext>
            </a:extLst>
          </p:cNvPr>
          <p:cNvSpPr>
            <a:spLocks noGrp="1"/>
          </p:cNvSpPr>
          <p:nvPr>
            <p:ph sz="half" idx="13" hasCustomPrompt="1"/>
          </p:nvPr>
        </p:nvSpPr>
        <p:spPr>
          <a:xfrm>
            <a:off x="503767"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2" name="Content Placeholder 2">
            <a:extLst>
              <a:ext uri="{FF2B5EF4-FFF2-40B4-BE49-F238E27FC236}">
                <a16:creationId xmlns:a16="http://schemas.microsoft.com/office/drawing/2014/main" id="{82C224E4-9138-4446-990E-F54482F43A60}"/>
              </a:ext>
            </a:extLst>
          </p:cNvPr>
          <p:cNvSpPr>
            <a:spLocks noGrp="1"/>
          </p:cNvSpPr>
          <p:nvPr>
            <p:ph sz="half" idx="14" hasCustomPrompt="1"/>
          </p:nvPr>
        </p:nvSpPr>
        <p:spPr>
          <a:xfrm>
            <a:off x="4262967"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3" name="Text Placeholder 4">
            <a:extLst>
              <a:ext uri="{FF2B5EF4-FFF2-40B4-BE49-F238E27FC236}">
                <a16:creationId xmlns:a16="http://schemas.microsoft.com/office/drawing/2014/main" id="{6B2A8C24-0E4C-4689-989D-648E3F58703E}"/>
              </a:ext>
            </a:extLst>
          </p:cNvPr>
          <p:cNvSpPr>
            <a:spLocks noGrp="1"/>
          </p:cNvSpPr>
          <p:nvPr>
            <p:ph type="body" sz="quarter" idx="15" hasCustomPrompt="1"/>
          </p:nvPr>
        </p:nvSpPr>
        <p:spPr>
          <a:xfrm>
            <a:off x="8022169" y="1372529"/>
            <a:ext cx="3663951" cy="465787"/>
          </a:xfrm>
        </p:spPr>
        <p:txBody>
          <a:bodyPr wrap="square" anchor="t">
            <a:noAutofit/>
          </a:bodyPr>
          <a:lstStyle>
            <a:lvl1pPr marL="0" indent="0">
              <a:buNone/>
              <a:defRPr sz="1867"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4" name="Content Placeholder 2">
            <a:extLst>
              <a:ext uri="{FF2B5EF4-FFF2-40B4-BE49-F238E27FC236}">
                <a16:creationId xmlns:a16="http://schemas.microsoft.com/office/drawing/2014/main" id="{48680CF5-6AD8-43BA-B60A-A38D63ED5002}"/>
              </a:ext>
            </a:extLst>
          </p:cNvPr>
          <p:cNvSpPr>
            <a:spLocks noGrp="1"/>
          </p:cNvSpPr>
          <p:nvPr>
            <p:ph sz="half" idx="16" hasCustomPrompt="1"/>
          </p:nvPr>
        </p:nvSpPr>
        <p:spPr>
          <a:xfrm>
            <a:off x="8022168" y="1863167"/>
            <a:ext cx="3663949" cy="429845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 name="Titel 1">
            <a:extLst>
              <a:ext uri="{FF2B5EF4-FFF2-40B4-BE49-F238E27FC236}">
                <a16:creationId xmlns:a16="http://schemas.microsoft.com/office/drawing/2014/main" id="{47B36F30-D1B2-4D77-99BE-1CCEBDA96C4C}"/>
              </a:ext>
            </a:extLst>
          </p:cNvPr>
          <p:cNvSpPr>
            <a:spLocks noGrp="1"/>
          </p:cNvSpPr>
          <p:nvPr>
            <p:ph type="title"/>
          </p:nvPr>
        </p:nvSpPr>
        <p:spPr/>
        <p:txBody>
          <a:bodyPr/>
          <a:lstStyle/>
          <a:p>
            <a:r>
              <a:rPr lang="nl-NL" smtClean="0"/>
              <a:t>Klik om de stijl te bewerken</a:t>
            </a:r>
            <a:endParaRPr lang="nl-NL"/>
          </a:p>
        </p:txBody>
      </p:sp>
      <p:sp>
        <p:nvSpPr>
          <p:cNvPr id="15" name="Tijdelijke aanduiding voor tekst 7">
            <a:extLst>
              <a:ext uri="{FF2B5EF4-FFF2-40B4-BE49-F238E27FC236}">
                <a16:creationId xmlns:a16="http://schemas.microsoft.com/office/drawing/2014/main" id="{6B470301-8CB6-4E3F-B036-C2D35EC678AA}"/>
              </a:ext>
            </a:extLst>
          </p:cNvPr>
          <p:cNvSpPr>
            <a:spLocks noGrp="1"/>
          </p:cNvSpPr>
          <p:nvPr>
            <p:ph type="body" sz="quarter" idx="17"/>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6" name="Tijdelijke aanduiding voor tekst 2">
            <a:extLst>
              <a:ext uri="{FF2B5EF4-FFF2-40B4-BE49-F238E27FC236}">
                <a16:creationId xmlns:a16="http://schemas.microsoft.com/office/drawing/2014/main" id="{160C30E4-E76D-4B59-833C-6F9B014ABA67}"/>
              </a:ext>
            </a:extLst>
          </p:cNvPr>
          <p:cNvSpPr>
            <a:spLocks noGrp="1"/>
          </p:cNvSpPr>
          <p:nvPr>
            <p:ph type="body" sz="quarter" idx="18"/>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1419525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Matrix">
    <p:spTree>
      <p:nvGrpSpPr>
        <p:cNvPr id="1" name=""/>
        <p:cNvGrpSpPr/>
        <p:nvPr/>
      </p:nvGrpSpPr>
      <p:grpSpPr>
        <a:xfrm>
          <a:off x="0" y="0"/>
          <a:ext cx="0" cy="0"/>
          <a:chOff x="0" y="0"/>
          <a:chExt cx="0" cy="0"/>
        </a:xfrm>
      </p:grpSpPr>
      <p:sp>
        <p:nvSpPr>
          <p:cNvPr id="8" name="Footer Placeholder 7"/>
          <p:cNvSpPr>
            <a:spLocks noGrp="1"/>
          </p:cNvSpPr>
          <p:nvPr>
            <p:ph type="ftr" sz="quarter" idx="11"/>
          </p:nvPr>
        </p:nvSpPr>
        <p:spPr/>
        <p:txBody>
          <a:bodyPr/>
          <a:lstStyle/>
          <a:p>
            <a:r>
              <a:rPr lang="nl-NL" smtClean="0"/>
              <a:t>Webinar Wet Toekomst Pensioenen</a:t>
            </a:r>
            <a:endParaRPr lang="nl-NL"/>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2" name="Titel 1">
            <a:extLst>
              <a:ext uri="{FF2B5EF4-FFF2-40B4-BE49-F238E27FC236}">
                <a16:creationId xmlns:a16="http://schemas.microsoft.com/office/drawing/2014/main" id="{4C1F537F-4893-4B26-A8A3-BDBA97A5C8E2}"/>
              </a:ext>
            </a:extLst>
          </p:cNvPr>
          <p:cNvSpPr>
            <a:spLocks noGrp="1"/>
          </p:cNvSpPr>
          <p:nvPr>
            <p:ph type="title"/>
          </p:nvPr>
        </p:nvSpPr>
        <p:spPr/>
        <p:txBody>
          <a:bodyPr/>
          <a:lstStyle/>
          <a:p>
            <a:r>
              <a:rPr lang="nl-NL" smtClean="0"/>
              <a:t>Klik om de stijl te bewerken</a:t>
            </a:r>
            <a:endParaRPr lang="nl-NL"/>
          </a:p>
        </p:txBody>
      </p:sp>
      <p:sp>
        <p:nvSpPr>
          <p:cNvPr id="17" name="Tijdelijke aanduiding voor tekst 7">
            <a:extLst>
              <a:ext uri="{FF2B5EF4-FFF2-40B4-BE49-F238E27FC236}">
                <a16:creationId xmlns:a16="http://schemas.microsoft.com/office/drawing/2014/main" id="{43BC3A88-E031-4B38-947C-CB668FD1D3DA}"/>
              </a:ext>
            </a:extLst>
          </p:cNvPr>
          <p:cNvSpPr>
            <a:spLocks noGrp="1"/>
          </p:cNvSpPr>
          <p:nvPr>
            <p:ph type="body" sz="quarter" idx="19"/>
          </p:nvPr>
        </p:nvSpPr>
        <p:spPr>
          <a:xfrm>
            <a:off x="503768" y="899462"/>
            <a:ext cx="11182349"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18" name="Text Placeholder 2">
            <a:extLst>
              <a:ext uri="{FF2B5EF4-FFF2-40B4-BE49-F238E27FC236}">
                <a16:creationId xmlns:a16="http://schemas.microsoft.com/office/drawing/2014/main" id="{E3790B26-34CB-4168-9656-3223E16D3587}"/>
              </a:ext>
            </a:extLst>
          </p:cNvPr>
          <p:cNvSpPr>
            <a:spLocks noGrp="1"/>
          </p:cNvSpPr>
          <p:nvPr>
            <p:ph type="body" idx="1" hasCustomPrompt="1"/>
          </p:nvPr>
        </p:nvSpPr>
        <p:spPr>
          <a:xfrm>
            <a:off x="503768" y="138085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19" name="Text Placeholder 4">
            <a:extLst>
              <a:ext uri="{FF2B5EF4-FFF2-40B4-BE49-F238E27FC236}">
                <a16:creationId xmlns:a16="http://schemas.microsoft.com/office/drawing/2014/main" id="{1974534E-5B4B-4773-A5ED-3850F79C9E3B}"/>
              </a:ext>
            </a:extLst>
          </p:cNvPr>
          <p:cNvSpPr>
            <a:spLocks noGrp="1"/>
          </p:cNvSpPr>
          <p:nvPr>
            <p:ph type="body" sz="quarter" idx="3" hasCustomPrompt="1"/>
          </p:nvPr>
        </p:nvSpPr>
        <p:spPr>
          <a:xfrm>
            <a:off x="6142566" y="138085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20" name="Content Placeholder 2">
            <a:extLst>
              <a:ext uri="{FF2B5EF4-FFF2-40B4-BE49-F238E27FC236}">
                <a16:creationId xmlns:a16="http://schemas.microsoft.com/office/drawing/2014/main" id="{C1121371-7B92-401E-B83D-D7F95CECEA9F}"/>
              </a:ext>
            </a:extLst>
          </p:cNvPr>
          <p:cNvSpPr>
            <a:spLocks noGrp="1"/>
          </p:cNvSpPr>
          <p:nvPr>
            <p:ph sz="half" idx="13" hasCustomPrompt="1"/>
          </p:nvPr>
        </p:nvSpPr>
        <p:spPr>
          <a:xfrm>
            <a:off x="503767" y="186316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21" name="Content Placeholder 2">
            <a:extLst>
              <a:ext uri="{FF2B5EF4-FFF2-40B4-BE49-F238E27FC236}">
                <a16:creationId xmlns:a16="http://schemas.microsoft.com/office/drawing/2014/main" id="{88939C3D-C210-4D49-8FF6-D51E8E384A6A}"/>
              </a:ext>
            </a:extLst>
          </p:cNvPr>
          <p:cNvSpPr>
            <a:spLocks noGrp="1"/>
          </p:cNvSpPr>
          <p:nvPr>
            <p:ph sz="half" idx="14" hasCustomPrompt="1"/>
          </p:nvPr>
        </p:nvSpPr>
        <p:spPr>
          <a:xfrm>
            <a:off x="6140729" y="186316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30" name="Text Placeholder 2">
            <a:extLst>
              <a:ext uri="{FF2B5EF4-FFF2-40B4-BE49-F238E27FC236}">
                <a16:creationId xmlns:a16="http://schemas.microsoft.com/office/drawing/2014/main" id="{D515387A-18BE-4223-B7EE-6B6400C631FD}"/>
              </a:ext>
            </a:extLst>
          </p:cNvPr>
          <p:cNvSpPr>
            <a:spLocks noGrp="1"/>
          </p:cNvSpPr>
          <p:nvPr>
            <p:ph type="body" idx="20" hasCustomPrompt="1"/>
          </p:nvPr>
        </p:nvSpPr>
        <p:spPr>
          <a:xfrm>
            <a:off x="503768" y="392841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1" name="Text Placeholder 4">
            <a:extLst>
              <a:ext uri="{FF2B5EF4-FFF2-40B4-BE49-F238E27FC236}">
                <a16:creationId xmlns:a16="http://schemas.microsoft.com/office/drawing/2014/main" id="{462B6881-AD43-4D96-85BE-6F401AAD23D0}"/>
              </a:ext>
            </a:extLst>
          </p:cNvPr>
          <p:cNvSpPr>
            <a:spLocks noGrp="1"/>
          </p:cNvSpPr>
          <p:nvPr>
            <p:ph type="body" sz="quarter" idx="21" hasCustomPrompt="1"/>
          </p:nvPr>
        </p:nvSpPr>
        <p:spPr>
          <a:xfrm>
            <a:off x="6142566" y="3928417"/>
            <a:ext cx="5543549" cy="465788"/>
          </a:xfrm>
        </p:spPr>
        <p:txBody>
          <a:bodyPr wrap="square" anchor="t">
            <a:noAutofit/>
          </a:bodyPr>
          <a:lstStyle>
            <a:lvl1pPr marL="0" indent="0">
              <a:buNone/>
              <a:defRPr lang="nl-NL" sz="1867" b="1" kern="1200" cap="none" baseline="0" dirty="0">
                <a:solidFill>
                  <a:schemeClr val="accent1"/>
                </a:solidFill>
                <a:latin typeface="+mn-lt"/>
                <a:ea typeface="+mn-ea"/>
                <a:cs typeface="+mn-cs"/>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dirty="0" err="1"/>
              <a:t>Edit</a:t>
            </a:r>
            <a:r>
              <a:rPr lang="nl-NL" dirty="0"/>
              <a:t> Master </a:t>
            </a:r>
            <a:r>
              <a:rPr lang="nl-NL" dirty="0" err="1"/>
              <a:t>text</a:t>
            </a:r>
            <a:r>
              <a:rPr lang="nl-NL" dirty="0"/>
              <a:t> </a:t>
            </a:r>
            <a:r>
              <a:rPr lang="nl-NL" dirty="0" err="1"/>
              <a:t>styles</a:t>
            </a:r>
            <a:endParaRPr lang="nl-NL" dirty="0"/>
          </a:p>
        </p:txBody>
      </p:sp>
      <p:sp>
        <p:nvSpPr>
          <p:cNvPr id="32" name="Content Placeholder 2">
            <a:extLst>
              <a:ext uri="{FF2B5EF4-FFF2-40B4-BE49-F238E27FC236}">
                <a16:creationId xmlns:a16="http://schemas.microsoft.com/office/drawing/2014/main" id="{9516B78D-4024-43DB-A8F1-B3006055421A}"/>
              </a:ext>
            </a:extLst>
          </p:cNvPr>
          <p:cNvSpPr>
            <a:spLocks noGrp="1"/>
          </p:cNvSpPr>
          <p:nvPr>
            <p:ph sz="half" idx="22" hasCustomPrompt="1"/>
          </p:nvPr>
        </p:nvSpPr>
        <p:spPr>
          <a:xfrm>
            <a:off x="503767" y="441072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33" name="Content Placeholder 2">
            <a:extLst>
              <a:ext uri="{FF2B5EF4-FFF2-40B4-BE49-F238E27FC236}">
                <a16:creationId xmlns:a16="http://schemas.microsoft.com/office/drawing/2014/main" id="{374099B1-6681-458D-B810-D1618E5F49B3}"/>
              </a:ext>
            </a:extLst>
          </p:cNvPr>
          <p:cNvSpPr>
            <a:spLocks noGrp="1"/>
          </p:cNvSpPr>
          <p:nvPr>
            <p:ph sz="half" idx="23" hasCustomPrompt="1"/>
          </p:nvPr>
        </p:nvSpPr>
        <p:spPr>
          <a:xfrm>
            <a:off x="6140729" y="4410727"/>
            <a:ext cx="5543548" cy="1750891"/>
          </a:xfrm>
        </p:spPr>
        <p:txBody>
          <a:bodyPr>
            <a:noAutofit/>
          </a:bodyPr>
          <a:lstStyle>
            <a:lvl1pPr>
              <a:defRPr sz="1867"/>
            </a:lvl1pPr>
            <a:lvl2pPr>
              <a:defRPr sz="1867"/>
            </a:lvl2pPr>
            <a:lvl3pPr>
              <a:defRPr sz="1867"/>
            </a:lvl3pPr>
            <a:lvl4pPr>
              <a:defRPr sz="1867"/>
            </a:lvl4pPr>
            <a:lvl5pPr>
              <a:defRPr sz="1867"/>
            </a:lvl5p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14" name="Tijdelijke aanduiding voor tekst 2">
            <a:extLst>
              <a:ext uri="{FF2B5EF4-FFF2-40B4-BE49-F238E27FC236}">
                <a16:creationId xmlns:a16="http://schemas.microsoft.com/office/drawing/2014/main" id="{8C1B6BB5-D0B9-49A7-BB9B-BE768FCE7F11}"/>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944771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ussendia met visua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4797414"/>
            <a:ext cx="7423151"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5342946"/>
            <a:ext cx="7423151"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sp>
        <p:nvSpPr>
          <p:cNvPr id="7" name="Picture Placeholder 12">
            <a:extLst>
              <a:ext uri="{FF2B5EF4-FFF2-40B4-BE49-F238E27FC236}">
                <a16:creationId xmlns:a16="http://schemas.microsoft.com/office/drawing/2014/main" id="{824A2FD1-5E58-45B8-B525-732E685AAC19}"/>
              </a:ext>
            </a:extLst>
          </p:cNvPr>
          <p:cNvSpPr>
            <a:spLocks noGrp="1"/>
          </p:cNvSpPr>
          <p:nvPr>
            <p:ph type="pic" sz="quarter" idx="13" hasCustomPrompt="1"/>
          </p:nvPr>
        </p:nvSpPr>
        <p:spPr>
          <a:xfrm>
            <a:off x="0" y="0"/>
            <a:ext cx="12192000" cy="4006851"/>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8" name="Tijdelijke aanduiding voor tekst 2">
            <a:extLst>
              <a:ext uri="{FF2B5EF4-FFF2-40B4-BE49-F238E27FC236}">
                <a16:creationId xmlns:a16="http://schemas.microsoft.com/office/drawing/2014/main" id="{BFF96810-E495-4FC3-B2F6-9706123D1243}"/>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1" name="Footer Placeholder 4">
            <a:extLst>
              <a:ext uri="{FF2B5EF4-FFF2-40B4-BE49-F238E27FC236}">
                <a16:creationId xmlns:a16="http://schemas.microsoft.com/office/drawing/2014/main" id="{40D26F61-5E28-4F82-AF85-D0BF0605C2E5}"/>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Tree>
    <p:extLst>
      <p:ext uri="{BB962C8B-B14F-4D97-AF65-F5344CB8AC3E}">
        <p14:creationId xmlns:p14="http://schemas.microsoft.com/office/powerpoint/2010/main" val="26532149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ussendia Gee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2888637"/>
            <a:ext cx="7621815"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3434169"/>
            <a:ext cx="7621815"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cxnSp>
        <p:nvCxnSpPr>
          <p:cNvPr id="11" name="Straight Connector 10">
            <a:extLst>
              <a:ext uri="{FF2B5EF4-FFF2-40B4-BE49-F238E27FC236}">
                <a16:creationId xmlns:a16="http://schemas.microsoft.com/office/drawing/2014/main" id="{B1A919A1-5C29-4B86-8589-A7E862BB90BA}"/>
              </a:ext>
            </a:extLst>
          </p:cNvPr>
          <p:cNvCxnSpPr/>
          <p:nvPr/>
        </p:nvCxnSpPr>
        <p:spPr>
          <a:xfrm>
            <a:off x="0" y="1373271"/>
            <a:ext cx="12192000"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Isosceles Triangle 1">
            <a:extLst>
              <a:ext uri="{FF2B5EF4-FFF2-40B4-BE49-F238E27FC236}">
                <a16:creationId xmlns:a16="http://schemas.microsoft.com/office/drawing/2014/main" id="{5B33379B-10D7-4BFF-86D3-98734A90E853}"/>
              </a:ext>
            </a:extLst>
          </p:cNvPr>
          <p:cNvSpPr/>
          <p:nvPr/>
        </p:nvSpPr>
        <p:spPr>
          <a:xfrm>
            <a:off x="10833296" y="1270108"/>
            <a:ext cx="119669" cy="103163"/>
          </a:xfrm>
          <a:prstGeom prst="triangl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6000" tIns="96000" rIns="96000" bIns="96000" rtlCol="0" anchor="ctr"/>
          <a:lstStyle/>
          <a:p>
            <a:pPr algn="ctr">
              <a:lnSpc>
                <a:spcPct val="114000"/>
              </a:lnSpc>
            </a:pPr>
            <a:endParaRPr lang="nl-NL" sz="1600" dirty="0" err="1"/>
          </a:p>
        </p:txBody>
      </p:sp>
      <p:sp>
        <p:nvSpPr>
          <p:cNvPr id="8" name="Tijdelijke aanduiding voor tekst 2">
            <a:extLst>
              <a:ext uri="{FF2B5EF4-FFF2-40B4-BE49-F238E27FC236}">
                <a16:creationId xmlns:a16="http://schemas.microsoft.com/office/drawing/2014/main" id="{1F6EB4DD-2438-426C-A3C3-36D0BD92E73B}"/>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2" name="Footer Placeholder 4">
            <a:extLst>
              <a:ext uri="{FF2B5EF4-FFF2-40B4-BE49-F238E27FC236}">
                <a16:creationId xmlns:a16="http://schemas.microsoft.com/office/drawing/2014/main" id="{D295BD33-878D-4F66-A16C-47178FBE5343}"/>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Tree>
    <p:extLst>
      <p:ext uri="{BB962C8B-B14F-4D97-AF65-F5344CB8AC3E}">
        <p14:creationId xmlns:p14="http://schemas.microsoft.com/office/powerpoint/2010/main" val="18497249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eeld links - agenda leeg">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627AA94D-469D-41E6-BA1F-D214404D1040}"/>
              </a:ext>
            </a:extLst>
          </p:cNvPr>
          <p:cNvSpPr>
            <a:spLocks noGrp="1"/>
          </p:cNvSpPr>
          <p:nvPr>
            <p:ph type="pic" sz="quarter" idx="17" hasCustomPrompt="1"/>
          </p:nvPr>
        </p:nvSpPr>
        <p:spPr>
          <a:xfrm>
            <a:off x="0" y="0"/>
            <a:ext cx="4167717" cy="6858000"/>
          </a:xfrm>
          <a:blipFill>
            <a:blip r:embed="rId2"/>
            <a:srcRect/>
            <a:stretch>
              <a:fillRect t="-1405" b="-1405"/>
            </a:stretch>
          </a:blipFill>
        </p:spPr>
        <p:txBody>
          <a:bodyPr/>
          <a:lstStyle>
            <a:lvl1pPr marL="0" indent="0" algn="ctr">
              <a:buNone/>
              <a:defRPr sz="1467"/>
            </a:lvl1pPr>
          </a:lstStyle>
          <a:p>
            <a:pPr marL="0" marR="0" lvl="0" indent="0" algn="l" defTabSz="914377" rtl="0" eaLnBrk="1" fontAlgn="auto" latinLnBrk="0" hangingPunct="1">
              <a:lnSpc>
                <a:spcPct val="110000"/>
              </a:lnSpc>
              <a:spcBef>
                <a:spcPts val="0"/>
              </a:spcBef>
              <a:spcAft>
                <a:spcPts val="800"/>
              </a:spcAft>
              <a:buClr>
                <a:schemeClr val="accent3"/>
              </a:buClr>
              <a:buSzTx/>
              <a:buFont typeface="Ubuntu Light" panose="020B0304030602030204" pitchFamily="34" charset="0"/>
              <a:buNone/>
              <a:tabLst/>
              <a:defRPr/>
            </a:pPr>
            <a:r>
              <a:rPr lang="nl-NL" dirty="0"/>
              <a:t>Klik op icoon om afbeelding in te voegen</a:t>
            </a:r>
          </a:p>
          <a:p>
            <a:endParaRPr lang="nl-NL" dirty="0"/>
          </a:p>
        </p:txBody>
      </p:sp>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4924057" y="899462"/>
            <a:ext cx="6762060"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a:xfrm>
            <a:off x="4924057" y="1"/>
            <a:ext cx="6762060" cy="876940"/>
          </a:xfrm>
        </p:spPr>
        <p:txBody>
          <a:bodyPr/>
          <a:lstStyle/>
          <a:p>
            <a:r>
              <a:rPr lang="nl-NL" smtClean="0"/>
              <a:t>Klik om de stijl te bewerken</a:t>
            </a:r>
            <a:endParaRPr lang="nl-NL" dirty="0"/>
          </a:p>
        </p:txBody>
      </p:sp>
      <p:sp>
        <p:nvSpPr>
          <p:cNvPr id="25" name="Tijdelijke aanduiding voor tekst 2">
            <a:extLst>
              <a:ext uri="{FF2B5EF4-FFF2-40B4-BE49-F238E27FC236}">
                <a16:creationId xmlns:a16="http://schemas.microsoft.com/office/drawing/2014/main" id="{00999747-7FDD-432E-8AE7-9B22B3283ED8}"/>
              </a:ext>
            </a:extLst>
          </p:cNvPr>
          <p:cNvSpPr>
            <a:spLocks noGrp="1"/>
          </p:cNvSpPr>
          <p:nvPr>
            <p:ph type="body" sz="quarter" idx="16"/>
          </p:nvPr>
        </p:nvSpPr>
        <p:spPr>
          <a:xfrm>
            <a:off x="329704" y="6326064"/>
            <a:ext cx="344261" cy="379536"/>
          </a:xfrm>
          <a:blipFill>
            <a:blip r:embed="rId3"/>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21047189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ussendia Blauw">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3901B5E-4B11-4A42-BB76-DC2CED36364F}"/>
              </a:ext>
            </a:extLst>
          </p:cNvPr>
          <p:cNvSpPr>
            <a:spLocks noGrp="1"/>
          </p:cNvSpPr>
          <p:nvPr>
            <p:ph type="ctrTitle" hasCustomPrompt="1"/>
          </p:nvPr>
        </p:nvSpPr>
        <p:spPr>
          <a:xfrm>
            <a:off x="503767" y="2888637"/>
            <a:ext cx="7621815" cy="453457"/>
          </a:xfrm>
          <a:prstGeom prst="rect">
            <a:avLst/>
          </a:prstGeom>
        </p:spPr>
        <p:txBody>
          <a:bodyPr wrap="square" anchor="b">
            <a:noAutofit/>
          </a:bodyPr>
          <a:lstStyle>
            <a:lvl1pPr algn="l">
              <a:lnSpc>
                <a:spcPct val="85000"/>
              </a:lnSpc>
              <a:defRPr sz="3467"/>
            </a:lvl1pPr>
          </a:lstStyle>
          <a:p>
            <a:r>
              <a:rPr lang="nl-NL" dirty="0"/>
              <a:t>Hoofdstuk</a:t>
            </a:r>
          </a:p>
        </p:txBody>
      </p:sp>
      <p:sp>
        <p:nvSpPr>
          <p:cNvPr id="10" name="Subtitle 2">
            <a:extLst>
              <a:ext uri="{FF2B5EF4-FFF2-40B4-BE49-F238E27FC236}">
                <a16:creationId xmlns:a16="http://schemas.microsoft.com/office/drawing/2014/main" id="{9B084799-0929-4A07-A908-043654C51E97}"/>
              </a:ext>
            </a:extLst>
          </p:cNvPr>
          <p:cNvSpPr>
            <a:spLocks noGrp="1"/>
          </p:cNvSpPr>
          <p:nvPr>
            <p:ph type="subTitle" idx="1" hasCustomPrompt="1"/>
          </p:nvPr>
        </p:nvSpPr>
        <p:spPr>
          <a:xfrm>
            <a:off x="503767" y="3434169"/>
            <a:ext cx="7621815" cy="378052"/>
          </a:xfrm>
        </p:spPr>
        <p:txBody>
          <a:bodyPr wrap="square">
            <a:noAutofit/>
          </a:bodyPr>
          <a:lstStyle>
            <a:lvl1pPr marL="0" indent="0" algn="l">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Subtitel</a:t>
            </a:r>
          </a:p>
        </p:txBody>
      </p:sp>
      <p:cxnSp>
        <p:nvCxnSpPr>
          <p:cNvPr id="11" name="Straight Connector 10">
            <a:extLst>
              <a:ext uri="{FF2B5EF4-FFF2-40B4-BE49-F238E27FC236}">
                <a16:creationId xmlns:a16="http://schemas.microsoft.com/office/drawing/2014/main" id="{B1A919A1-5C29-4B86-8589-A7E862BB90BA}"/>
              </a:ext>
            </a:extLst>
          </p:cNvPr>
          <p:cNvCxnSpPr>
            <a:cxnSpLocks/>
          </p:cNvCxnSpPr>
          <p:nvPr/>
        </p:nvCxnSpPr>
        <p:spPr>
          <a:xfrm>
            <a:off x="1" y="1363820"/>
            <a:ext cx="10198705"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 name="Freeform: Shape 7">
            <a:extLst>
              <a:ext uri="{FF2B5EF4-FFF2-40B4-BE49-F238E27FC236}">
                <a16:creationId xmlns:a16="http://schemas.microsoft.com/office/drawing/2014/main" id="{5F665B12-E119-4C8F-AABE-B04DCB29D135}"/>
              </a:ext>
            </a:extLst>
          </p:cNvPr>
          <p:cNvSpPr>
            <a:spLocks/>
          </p:cNvSpPr>
          <p:nvPr/>
        </p:nvSpPr>
        <p:spPr bwMode="auto">
          <a:xfrm>
            <a:off x="7579563" y="1"/>
            <a:ext cx="4612437" cy="6858000"/>
          </a:xfrm>
          <a:custGeom>
            <a:avLst/>
            <a:gdLst>
              <a:gd name="connsiteX0" fmla="*/ 2551178 w 3459328"/>
              <a:gd name="connsiteY0" fmla="*/ 0 h 5143500"/>
              <a:gd name="connsiteX1" fmla="*/ 3459328 w 3459328"/>
              <a:gd name="connsiteY1" fmla="*/ 0 h 5143500"/>
              <a:gd name="connsiteX2" fmla="*/ 3459328 w 3459328"/>
              <a:gd name="connsiteY2" fmla="*/ 1996762 h 5143500"/>
              <a:gd name="connsiteX3" fmla="*/ 3452609 w 3459328"/>
              <a:gd name="connsiteY3" fmla="*/ 2010153 h 5143500"/>
              <a:gd name="connsiteX4" fmla="*/ 2508344 w 3459328"/>
              <a:gd name="connsiteY4" fmla="*/ 3891995 h 5143500"/>
              <a:gd name="connsiteX5" fmla="*/ 3415272 w 3459328"/>
              <a:gd name="connsiteY5" fmla="*/ 3891995 h 5143500"/>
              <a:gd name="connsiteX6" fmla="*/ 3459328 w 3459328"/>
              <a:gd name="connsiteY6" fmla="*/ 3891995 h 5143500"/>
              <a:gd name="connsiteX7" fmla="*/ 3459328 w 3459328"/>
              <a:gd name="connsiteY7" fmla="*/ 5143500 h 5143500"/>
              <a:gd name="connsiteX8" fmla="*/ 0 w 3459328"/>
              <a:gd name="connsiteY8" fmla="*/ 5143500 h 5143500"/>
              <a:gd name="connsiteX9" fmla="*/ 27810 w 3459328"/>
              <a:gd name="connsiteY9" fmla="*/ 5087432 h 5143500"/>
              <a:gd name="connsiteX10" fmla="*/ 2544314 w 3459328"/>
              <a:gd name="connsiteY10" fmla="*/ 13839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59328" h="5143500">
                <a:moveTo>
                  <a:pt x="2551178" y="0"/>
                </a:moveTo>
                <a:lnTo>
                  <a:pt x="3459328" y="0"/>
                </a:lnTo>
                <a:lnTo>
                  <a:pt x="3459328" y="1996762"/>
                </a:lnTo>
                <a:lnTo>
                  <a:pt x="3452609" y="2010153"/>
                </a:lnTo>
                <a:cubicBezTo>
                  <a:pt x="3407644" y="2099764"/>
                  <a:pt x="3227784" y="2458210"/>
                  <a:pt x="2508344" y="3891995"/>
                </a:cubicBezTo>
                <a:cubicBezTo>
                  <a:pt x="2508344" y="3891995"/>
                  <a:pt x="2508344" y="3891995"/>
                  <a:pt x="3415272" y="3891995"/>
                </a:cubicBezTo>
                <a:lnTo>
                  <a:pt x="3459328" y="3891995"/>
                </a:lnTo>
                <a:lnTo>
                  <a:pt x="3459328" y="5143500"/>
                </a:lnTo>
                <a:lnTo>
                  <a:pt x="0" y="5143500"/>
                </a:lnTo>
                <a:lnTo>
                  <a:pt x="27810" y="5087432"/>
                </a:lnTo>
                <a:cubicBezTo>
                  <a:pt x="268610" y="4601951"/>
                  <a:pt x="898199" y="3332617"/>
                  <a:pt x="2544314" y="13839"/>
                </a:cubicBezTo>
                <a:close/>
              </a:path>
            </a:pathLst>
          </a:custGeom>
          <a:solidFill>
            <a:srgbClr val="EDF1F5"/>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12" name="Tijdelijke aanduiding voor tekst 2">
            <a:extLst>
              <a:ext uri="{FF2B5EF4-FFF2-40B4-BE49-F238E27FC236}">
                <a16:creationId xmlns:a16="http://schemas.microsoft.com/office/drawing/2014/main" id="{7D0BE1EB-E62D-4907-9604-6333697DCDD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A781D090-E174-41F2-9F80-11A7A20CB97B}"/>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Tree>
    <p:extLst>
      <p:ext uri="{BB962C8B-B14F-4D97-AF65-F5344CB8AC3E}">
        <p14:creationId xmlns:p14="http://schemas.microsoft.com/office/powerpoint/2010/main" val="408361523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lleen tite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7" name="Tijdelijke aanduiding voor tekst 2">
            <a:extLst>
              <a:ext uri="{FF2B5EF4-FFF2-40B4-BE49-F238E27FC236}">
                <a16:creationId xmlns:a16="http://schemas.microsoft.com/office/drawing/2014/main" id="{2E3B29D2-62C6-4375-B9FF-9FBB497CF464}"/>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3" name="Tijdelijke aanduiding voor voettekst 2">
            <a:extLst>
              <a:ext uri="{FF2B5EF4-FFF2-40B4-BE49-F238E27FC236}">
                <a16:creationId xmlns:a16="http://schemas.microsoft.com/office/drawing/2014/main" id="{51D10EF2-5DB6-439A-AB70-904FC41B9324}"/>
              </a:ext>
            </a:extLst>
          </p:cNvPr>
          <p:cNvSpPr>
            <a:spLocks noGrp="1"/>
          </p:cNvSpPr>
          <p:nvPr>
            <p:ph type="ftr" sz="quarter" idx="17"/>
          </p:nvPr>
        </p:nvSpPr>
        <p:spPr/>
        <p:txBody>
          <a:bodyPr/>
          <a:lstStyle/>
          <a:p>
            <a:r>
              <a:rPr lang="nl-NL" smtClean="0"/>
              <a:t>Webinar Wet Toekomst Pensioenen</a:t>
            </a:r>
            <a:endParaRPr lang="nl-NL"/>
          </a:p>
        </p:txBody>
      </p:sp>
    </p:spTree>
    <p:extLst>
      <p:ext uri="{BB962C8B-B14F-4D97-AF65-F5344CB8AC3E}">
        <p14:creationId xmlns:p14="http://schemas.microsoft.com/office/powerpoint/2010/main" val="135067670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usiness infographic">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30" name="Tijdelijke aanduiding voor tekst 63">
            <a:extLst>
              <a:ext uri="{FF2B5EF4-FFF2-40B4-BE49-F238E27FC236}">
                <a16:creationId xmlns:a16="http://schemas.microsoft.com/office/drawing/2014/main" id="{A56A32B0-B0A7-4B4F-B499-4076036008F5}"/>
              </a:ext>
            </a:extLst>
          </p:cNvPr>
          <p:cNvSpPr>
            <a:spLocks noGrp="1"/>
          </p:cNvSpPr>
          <p:nvPr>
            <p:ph type="body" sz="quarter" idx="21" hasCustomPrompt="1"/>
          </p:nvPr>
        </p:nvSpPr>
        <p:spPr>
          <a:xfrm>
            <a:off x="4022751" y="2798293"/>
            <a:ext cx="4142183" cy="4059706"/>
          </a:xfrm>
          <a:prstGeom prst="rect">
            <a:avLst/>
          </a:prstGeom>
          <a:blipFill>
            <a:blip r:embed="rId2">
              <a:extLst>
                <a:ext uri="{96DAC541-7B7A-43D3-8B79-37D633B846F1}">
                  <asvg:svgBlip xmlns:asvg="http://schemas.microsoft.com/office/drawing/2016/SVG/main" xmlns="" r:embed="rId3"/>
                </a:ext>
              </a:extLst>
            </a:blip>
            <a:stretch>
              <a:fillRect/>
            </a:stretch>
          </a:blip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53" name="Tijdelijke aanduiding voor tekst 13">
            <a:extLst>
              <a:ext uri="{FF2B5EF4-FFF2-40B4-BE49-F238E27FC236}">
                <a16:creationId xmlns:a16="http://schemas.microsoft.com/office/drawing/2014/main" id="{3FAFEA90-FADC-438E-AAF1-1807663AFAF6}"/>
              </a:ext>
            </a:extLst>
          </p:cNvPr>
          <p:cNvSpPr>
            <a:spLocks noGrp="1"/>
          </p:cNvSpPr>
          <p:nvPr>
            <p:ph type="body" sz="quarter" idx="25" hasCustomPrompt="1"/>
          </p:nvPr>
        </p:nvSpPr>
        <p:spPr>
          <a:xfrm>
            <a:off x="3064326" y="3262829"/>
            <a:ext cx="681276" cy="244682"/>
          </a:xfrm>
        </p:spPr>
        <p:txBody>
          <a:bodyPr wrap="none" anchor="b">
            <a:spAutoFit/>
          </a:bodyPr>
          <a:lstStyle>
            <a:lvl1pPr marL="0" indent="0" algn="r">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54" name="Tijdelijke aanduiding voor tekst 13">
            <a:extLst>
              <a:ext uri="{FF2B5EF4-FFF2-40B4-BE49-F238E27FC236}">
                <a16:creationId xmlns:a16="http://schemas.microsoft.com/office/drawing/2014/main" id="{E849981A-77D7-4146-8BEF-07109D042149}"/>
              </a:ext>
            </a:extLst>
          </p:cNvPr>
          <p:cNvSpPr>
            <a:spLocks noGrp="1"/>
          </p:cNvSpPr>
          <p:nvPr>
            <p:ph type="body" sz="quarter" idx="26" hasCustomPrompt="1"/>
          </p:nvPr>
        </p:nvSpPr>
        <p:spPr>
          <a:xfrm>
            <a:off x="503238" y="3546346"/>
            <a:ext cx="3244033" cy="924997"/>
          </a:xfrm>
        </p:spPr>
        <p:txBody>
          <a:bodyPr wrap="square">
            <a:noAutofit/>
          </a:bodyPr>
          <a:lstStyle>
            <a:lvl1pPr marL="0" indent="0" algn="r">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62" name="Tijdelijke aanduiding voor tekst 13">
            <a:extLst>
              <a:ext uri="{FF2B5EF4-FFF2-40B4-BE49-F238E27FC236}">
                <a16:creationId xmlns:a16="http://schemas.microsoft.com/office/drawing/2014/main" id="{C4871D02-3723-40F5-B7A9-37F5BF75ABF6}"/>
              </a:ext>
            </a:extLst>
          </p:cNvPr>
          <p:cNvSpPr>
            <a:spLocks noGrp="1"/>
          </p:cNvSpPr>
          <p:nvPr>
            <p:ph type="body" sz="quarter" idx="27" hasCustomPrompt="1"/>
          </p:nvPr>
        </p:nvSpPr>
        <p:spPr>
          <a:xfrm>
            <a:off x="4682529" y="1413376"/>
            <a:ext cx="681276" cy="244682"/>
          </a:xfrm>
        </p:spPr>
        <p:txBody>
          <a:bodyPr wrap="none" anchor="b">
            <a:spAutoFit/>
          </a:bodyPr>
          <a:lstStyle>
            <a:lvl1pPr marL="0" indent="0" algn="l">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63" name="Tijdelijke aanduiding voor tekst 13">
            <a:extLst>
              <a:ext uri="{FF2B5EF4-FFF2-40B4-BE49-F238E27FC236}">
                <a16:creationId xmlns:a16="http://schemas.microsoft.com/office/drawing/2014/main" id="{BD479577-8199-49B9-9D3E-A34AACCC0B60}"/>
              </a:ext>
            </a:extLst>
          </p:cNvPr>
          <p:cNvSpPr>
            <a:spLocks noGrp="1"/>
          </p:cNvSpPr>
          <p:nvPr>
            <p:ph type="body" sz="quarter" idx="28" hasCustomPrompt="1"/>
          </p:nvPr>
        </p:nvSpPr>
        <p:spPr>
          <a:xfrm>
            <a:off x="4682528" y="1697661"/>
            <a:ext cx="3244033" cy="924997"/>
          </a:xfrm>
        </p:spPr>
        <p:txBody>
          <a:bodyPr wrap="square">
            <a:noAutofit/>
          </a:bodyPr>
          <a:lstStyle>
            <a:lvl1pPr marL="0" indent="0" algn="l">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66" name="Tijdelijke aanduiding voor tekst 13">
            <a:extLst>
              <a:ext uri="{FF2B5EF4-FFF2-40B4-BE49-F238E27FC236}">
                <a16:creationId xmlns:a16="http://schemas.microsoft.com/office/drawing/2014/main" id="{F661AB0B-9A88-43DD-AC29-58514B41D33F}"/>
              </a:ext>
            </a:extLst>
          </p:cNvPr>
          <p:cNvSpPr>
            <a:spLocks noGrp="1"/>
          </p:cNvSpPr>
          <p:nvPr>
            <p:ph type="body" sz="quarter" idx="29" hasCustomPrompt="1"/>
          </p:nvPr>
        </p:nvSpPr>
        <p:spPr>
          <a:xfrm>
            <a:off x="8442085" y="3262059"/>
            <a:ext cx="681276" cy="244682"/>
          </a:xfrm>
        </p:spPr>
        <p:txBody>
          <a:bodyPr wrap="none" anchor="b">
            <a:spAutoFit/>
          </a:bodyPr>
          <a:lstStyle>
            <a:lvl1pPr marL="0" indent="0" algn="l">
              <a:buNone/>
              <a:defRPr lang="nl-NL" sz="1600" kern="1200" dirty="0">
                <a:solidFill>
                  <a:schemeClr val="accent2"/>
                </a:solidFill>
                <a:latin typeface="+mj-lt"/>
                <a:ea typeface="Ubuntu Light" panose="020B0304030602030204" pitchFamily="34" charset="0"/>
                <a:cs typeface="Ubuntu" panose="020B0504030602030204" pitchFamily="34" charset="0"/>
              </a:defRPr>
            </a:lvl1pPr>
          </a:lstStyle>
          <a:p>
            <a:pPr lvl="0"/>
            <a:r>
              <a:rPr lang="nl-NL" dirty="0"/>
              <a:t>Header</a:t>
            </a:r>
          </a:p>
        </p:txBody>
      </p:sp>
      <p:sp>
        <p:nvSpPr>
          <p:cNvPr id="67" name="Tijdelijke aanduiding voor tekst 13">
            <a:extLst>
              <a:ext uri="{FF2B5EF4-FFF2-40B4-BE49-F238E27FC236}">
                <a16:creationId xmlns:a16="http://schemas.microsoft.com/office/drawing/2014/main" id="{5E04A594-54EE-4AAF-B696-3BDFDD051F17}"/>
              </a:ext>
            </a:extLst>
          </p:cNvPr>
          <p:cNvSpPr>
            <a:spLocks noGrp="1"/>
          </p:cNvSpPr>
          <p:nvPr>
            <p:ph type="body" sz="quarter" idx="30" hasCustomPrompt="1"/>
          </p:nvPr>
        </p:nvSpPr>
        <p:spPr>
          <a:xfrm>
            <a:off x="8442084" y="3546345"/>
            <a:ext cx="3244033" cy="924997"/>
          </a:xfrm>
        </p:spPr>
        <p:txBody>
          <a:bodyPr wrap="square">
            <a:noAutofit/>
          </a:bodyPr>
          <a:lstStyle>
            <a:lvl1pPr marL="0" indent="0" algn="l">
              <a:buFont typeface="Ubuntu Light" panose="020B0304030602030204" pitchFamily="34" charset="0"/>
              <a:buNone/>
              <a:defRPr lang="nl-NL" sz="14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13" name="Tijdelijke aanduiding voor tekst 2">
            <a:extLst>
              <a:ext uri="{FF2B5EF4-FFF2-40B4-BE49-F238E27FC236}">
                <a16:creationId xmlns:a16="http://schemas.microsoft.com/office/drawing/2014/main" id="{919BF3D1-253A-4C70-B08F-9E04EE3DC869}"/>
              </a:ext>
            </a:extLst>
          </p:cNvPr>
          <p:cNvSpPr>
            <a:spLocks noGrp="1"/>
          </p:cNvSpPr>
          <p:nvPr>
            <p:ph type="body" sz="quarter" idx="16"/>
          </p:nvPr>
        </p:nvSpPr>
        <p:spPr>
          <a:xfrm>
            <a:off x="329704" y="6326064"/>
            <a:ext cx="344261" cy="379536"/>
          </a:xfrm>
          <a:blipFill>
            <a:blip r:embed="rId4"/>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2739091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Stappen">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87CF9-A7F0-46DC-BF76-FC983B254C65}"/>
              </a:ext>
            </a:extLst>
          </p:cNvPr>
          <p:cNvSpPr>
            <a:spLocks noGrp="1"/>
          </p:cNvSpPr>
          <p:nvPr>
            <p:ph type="title"/>
          </p:nvPr>
        </p:nvSpPr>
        <p:spPr/>
        <p:txBody>
          <a:bodyPr/>
          <a:lstStyle/>
          <a:p>
            <a:r>
              <a:rPr lang="nl-NL" smtClean="0"/>
              <a:t>Klik om de stijl te bewerken</a:t>
            </a:r>
            <a:endParaRPr lang="nl-NL"/>
          </a:p>
        </p:txBody>
      </p:sp>
      <p:sp>
        <p:nvSpPr>
          <p:cNvPr id="3" name="Tijdelijke aanduiding voor voettekst 2">
            <a:extLst>
              <a:ext uri="{FF2B5EF4-FFF2-40B4-BE49-F238E27FC236}">
                <a16:creationId xmlns:a16="http://schemas.microsoft.com/office/drawing/2014/main" id="{CBE2FCA4-8721-428B-99C9-8E9C1158BCF4}"/>
              </a:ext>
            </a:extLst>
          </p:cNvPr>
          <p:cNvSpPr>
            <a:spLocks noGrp="1"/>
          </p:cNvSpPr>
          <p:nvPr>
            <p:ph type="ftr" sz="quarter" idx="10"/>
          </p:nvPr>
        </p:nvSpPr>
        <p:spPr/>
        <p:txBody>
          <a:bodyPr/>
          <a:lstStyle/>
          <a:p>
            <a:r>
              <a:rPr lang="nl-NL" smtClean="0"/>
              <a:t>Webinar Wet Toekomst Pensioenen</a:t>
            </a:r>
            <a:endParaRPr lang="nl-NL"/>
          </a:p>
        </p:txBody>
      </p:sp>
      <p:sp>
        <p:nvSpPr>
          <p:cNvPr id="4" name="Tijdelijke aanduiding voor dianummer 3">
            <a:extLst>
              <a:ext uri="{FF2B5EF4-FFF2-40B4-BE49-F238E27FC236}">
                <a16:creationId xmlns:a16="http://schemas.microsoft.com/office/drawing/2014/main" id="{4A2C0817-6ADE-412F-9DF7-02E248F41D07}"/>
              </a:ext>
            </a:extLst>
          </p:cNvPr>
          <p:cNvSpPr>
            <a:spLocks noGrp="1"/>
          </p:cNvSpPr>
          <p:nvPr>
            <p:ph type="sldNum" sz="quarter" idx="11"/>
          </p:nvPr>
        </p:nvSpPr>
        <p:spPr/>
        <p:txBody>
          <a:bodyPr/>
          <a:lstStyle/>
          <a:p>
            <a:fld id="{FFDD6BF4-F398-43E8-ACFA-0A2EC6044D72}" type="slidenum">
              <a:rPr lang="nl-NL" smtClean="0"/>
              <a:t>‹nr.›</a:t>
            </a:fld>
            <a:endParaRPr lang="nl-NL"/>
          </a:p>
        </p:txBody>
      </p:sp>
      <p:sp>
        <p:nvSpPr>
          <p:cNvPr id="24" name="Tijdelijke aanduiding voor tekst 13">
            <a:extLst>
              <a:ext uri="{FF2B5EF4-FFF2-40B4-BE49-F238E27FC236}">
                <a16:creationId xmlns:a16="http://schemas.microsoft.com/office/drawing/2014/main" id="{9ECB56B9-0480-4F03-B6A4-2621446FD59B}"/>
              </a:ext>
            </a:extLst>
          </p:cNvPr>
          <p:cNvSpPr>
            <a:spLocks noGrp="1"/>
          </p:cNvSpPr>
          <p:nvPr>
            <p:ph type="body" sz="quarter" idx="26" hasCustomPrompt="1"/>
          </p:nvPr>
        </p:nvSpPr>
        <p:spPr>
          <a:xfrm>
            <a:off x="503767"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47" name="Tijdelijke aanduiding voor tekst 7">
            <a:extLst>
              <a:ext uri="{FF2B5EF4-FFF2-40B4-BE49-F238E27FC236}">
                <a16:creationId xmlns:a16="http://schemas.microsoft.com/office/drawing/2014/main" id="{9BD50813-2BC3-4067-A41D-078D9FCA8242}"/>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5" name="Tijdelijke aanduiding voor tekst 60">
            <a:extLst>
              <a:ext uri="{FF2B5EF4-FFF2-40B4-BE49-F238E27FC236}">
                <a16:creationId xmlns:a16="http://schemas.microsoft.com/office/drawing/2014/main" id="{396BCA8D-8C99-439A-A8B0-C7CFBCEA2A7E}"/>
              </a:ext>
            </a:extLst>
          </p:cNvPr>
          <p:cNvSpPr>
            <a:spLocks noGrp="1"/>
          </p:cNvSpPr>
          <p:nvPr>
            <p:ph type="body" sz="quarter" idx="19" hasCustomPrompt="1"/>
          </p:nvPr>
        </p:nvSpPr>
        <p:spPr>
          <a:xfrm>
            <a:off x="503767"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26" name="Tijdelijke aanduiding voor tekst 13">
            <a:extLst>
              <a:ext uri="{FF2B5EF4-FFF2-40B4-BE49-F238E27FC236}">
                <a16:creationId xmlns:a16="http://schemas.microsoft.com/office/drawing/2014/main" id="{8C7BE58C-99FE-4D07-93DA-7BFC334ACBE8}"/>
              </a:ext>
            </a:extLst>
          </p:cNvPr>
          <p:cNvSpPr>
            <a:spLocks noGrp="1"/>
          </p:cNvSpPr>
          <p:nvPr>
            <p:ph type="body" sz="quarter" idx="27" hasCustomPrompt="1"/>
          </p:nvPr>
        </p:nvSpPr>
        <p:spPr>
          <a:xfrm>
            <a:off x="2752280"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27" name="Tijdelijke aanduiding voor tekst 60">
            <a:extLst>
              <a:ext uri="{FF2B5EF4-FFF2-40B4-BE49-F238E27FC236}">
                <a16:creationId xmlns:a16="http://schemas.microsoft.com/office/drawing/2014/main" id="{C2B396FD-77CF-40F0-BF3E-21FF6E30CBD4}"/>
              </a:ext>
            </a:extLst>
          </p:cNvPr>
          <p:cNvSpPr>
            <a:spLocks noGrp="1"/>
          </p:cNvSpPr>
          <p:nvPr>
            <p:ph type="body" sz="quarter" idx="28" hasCustomPrompt="1"/>
          </p:nvPr>
        </p:nvSpPr>
        <p:spPr>
          <a:xfrm>
            <a:off x="2712043"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28" name="Tijdelijke aanduiding voor tekst 13">
            <a:extLst>
              <a:ext uri="{FF2B5EF4-FFF2-40B4-BE49-F238E27FC236}">
                <a16:creationId xmlns:a16="http://schemas.microsoft.com/office/drawing/2014/main" id="{16D34D3A-B92E-455D-B5B6-B72CAB863F1A}"/>
              </a:ext>
            </a:extLst>
          </p:cNvPr>
          <p:cNvSpPr>
            <a:spLocks noGrp="1"/>
          </p:cNvSpPr>
          <p:nvPr>
            <p:ph type="body" sz="quarter" idx="29" hasCustomPrompt="1"/>
          </p:nvPr>
        </p:nvSpPr>
        <p:spPr>
          <a:xfrm>
            <a:off x="5000793"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29" name="Tijdelijke aanduiding voor tekst 60">
            <a:extLst>
              <a:ext uri="{FF2B5EF4-FFF2-40B4-BE49-F238E27FC236}">
                <a16:creationId xmlns:a16="http://schemas.microsoft.com/office/drawing/2014/main" id="{BAEEF51D-FBA2-4057-95FE-F3812E06B6F9}"/>
              </a:ext>
            </a:extLst>
          </p:cNvPr>
          <p:cNvSpPr>
            <a:spLocks noGrp="1"/>
          </p:cNvSpPr>
          <p:nvPr>
            <p:ph type="body" sz="quarter" idx="30" hasCustomPrompt="1"/>
          </p:nvPr>
        </p:nvSpPr>
        <p:spPr>
          <a:xfrm>
            <a:off x="4920319"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30" name="Tijdelijke aanduiding voor tekst 13">
            <a:extLst>
              <a:ext uri="{FF2B5EF4-FFF2-40B4-BE49-F238E27FC236}">
                <a16:creationId xmlns:a16="http://schemas.microsoft.com/office/drawing/2014/main" id="{F1475207-13E2-4DF8-97A6-8314C63272EF}"/>
              </a:ext>
            </a:extLst>
          </p:cNvPr>
          <p:cNvSpPr>
            <a:spLocks noGrp="1"/>
          </p:cNvSpPr>
          <p:nvPr>
            <p:ph type="body" sz="quarter" idx="31" hasCustomPrompt="1"/>
          </p:nvPr>
        </p:nvSpPr>
        <p:spPr>
          <a:xfrm>
            <a:off x="7249306"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31" name="Tijdelijke aanduiding voor tekst 60">
            <a:extLst>
              <a:ext uri="{FF2B5EF4-FFF2-40B4-BE49-F238E27FC236}">
                <a16:creationId xmlns:a16="http://schemas.microsoft.com/office/drawing/2014/main" id="{95D4C320-36E6-4F60-8ABA-034756BDC2D7}"/>
              </a:ext>
            </a:extLst>
          </p:cNvPr>
          <p:cNvSpPr>
            <a:spLocks noGrp="1"/>
          </p:cNvSpPr>
          <p:nvPr>
            <p:ph type="body" sz="quarter" idx="32" hasCustomPrompt="1"/>
          </p:nvPr>
        </p:nvSpPr>
        <p:spPr>
          <a:xfrm>
            <a:off x="7128595"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32" name="Tijdelijke aanduiding voor tekst 13">
            <a:extLst>
              <a:ext uri="{FF2B5EF4-FFF2-40B4-BE49-F238E27FC236}">
                <a16:creationId xmlns:a16="http://schemas.microsoft.com/office/drawing/2014/main" id="{A145C9CD-251D-4C42-B95F-90BC29CD317D}"/>
              </a:ext>
            </a:extLst>
          </p:cNvPr>
          <p:cNvSpPr>
            <a:spLocks noGrp="1"/>
          </p:cNvSpPr>
          <p:nvPr>
            <p:ph type="body" sz="quarter" idx="33" hasCustomPrompt="1"/>
          </p:nvPr>
        </p:nvSpPr>
        <p:spPr>
          <a:xfrm>
            <a:off x="9497818" y="2514601"/>
            <a:ext cx="1994400" cy="3646488"/>
          </a:xfrm>
        </p:spPr>
        <p:txBody>
          <a:bodyPr wrap="square">
            <a:noAutofit/>
          </a:bodyPr>
          <a:lstStyle>
            <a:lvl1pPr marL="0" indent="0" algn="l">
              <a:buFont typeface="Ubuntu Light" panose="020B0304030602030204" pitchFamily="34" charset="0"/>
              <a:buNone/>
              <a:defRPr lang="nl-NL" sz="1333" kern="1200" dirty="0">
                <a:solidFill>
                  <a:schemeClr val="accent1"/>
                </a:solidFill>
                <a:latin typeface="+mn-lt"/>
                <a:ea typeface="+mn-ea"/>
                <a:cs typeface="+mn-cs"/>
              </a:defRPr>
            </a:lvl1pPr>
          </a:lstStyle>
          <a:p>
            <a:pPr lvl="0"/>
            <a:r>
              <a:rPr lang="nl-NL" dirty="0"/>
              <a:t>Header</a:t>
            </a:r>
          </a:p>
        </p:txBody>
      </p:sp>
      <p:sp>
        <p:nvSpPr>
          <p:cNvPr id="33" name="Tijdelijke aanduiding voor tekst 60">
            <a:extLst>
              <a:ext uri="{FF2B5EF4-FFF2-40B4-BE49-F238E27FC236}">
                <a16:creationId xmlns:a16="http://schemas.microsoft.com/office/drawing/2014/main" id="{80467A2B-1280-4FA0-A262-E1D558DD1389}"/>
              </a:ext>
            </a:extLst>
          </p:cNvPr>
          <p:cNvSpPr>
            <a:spLocks noGrp="1"/>
          </p:cNvSpPr>
          <p:nvPr>
            <p:ph type="body" sz="quarter" idx="34" hasCustomPrompt="1"/>
          </p:nvPr>
        </p:nvSpPr>
        <p:spPr>
          <a:xfrm>
            <a:off x="9336870" y="1387771"/>
            <a:ext cx="2349247" cy="989557"/>
          </a:xfrm>
          <a:prstGeom prst="chevron">
            <a:avLst>
              <a:gd name="adj" fmla="val 32674"/>
            </a:avLst>
          </a:prstGeom>
          <a:solidFill>
            <a:schemeClr val="accent3"/>
          </a:solidFill>
          <a:ln w="12700" cap="rnd" algn="ctr">
            <a:noFill/>
            <a:miter lim="800000"/>
            <a:headEnd/>
            <a:tailEnd/>
          </a:ln>
        </p:spPr>
        <p:txBody>
          <a:bodyPr wrap="square" lIns="180000" tIns="35981" rIns="35981" bIns="35981" anchor="ctr"/>
          <a:lstStyle>
            <a:lvl1pPr marL="0" indent="0">
              <a:buNone/>
              <a:defRPr lang="nl-NL" sz="1600" dirty="0">
                <a:solidFill>
                  <a:schemeClr val="bg1"/>
                </a:solidFill>
                <a:latin typeface="+mj-lt"/>
              </a:defRPr>
            </a:lvl1pPr>
          </a:lstStyle>
          <a:p>
            <a:pPr marL="0" lvl="0" algn="ctr" defTabSz="609585"/>
            <a:r>
              <a:rPr lang="nl-NL" dirty="0"/>
              <a:t>Tekst</a:t>
            </a:r>
          </a:p>
        </p:txBody>
      </p:sp>
      <p:sp>
        <p:nvSpPr>
          <p:cNvPr id="55" name="Tijdelijke aanduiding voor tekst 10">
            <a:extLst>
              <a:ext uri="{FF2B5EF4-FFF2-40B4-BE49-F238E27FC236}">
                <a16:creationId xmlns:a16="http://schemas.microsoft.com/office/drawing/2014/main" id="{1A47F194-25B8-4077-B9E1-33F4A4EE98A9}"/>
              </a:ext>
            </a:extLst>
          </p:cNvPr>
          <p:cNvSpPr>
            <a:spLocks noGrp="1"/>
          </p:cNvSpPr>
          <p:nvPr>
            <p:ph type="body" sz="quarter" idx="35" hasCustomPrompt="1"/>
          </p:nvPr>
        </p:nvSpPr>
        <p:spPr>
          <a:xfrm rot="16200000">
            <a:off x="836043"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59" name="Tijdelijke aanduiding voor tekst 10">
            <a:extLst>
              <a:ext uri="{FF2B5EF4-FFF2-40B4-BE49-F238E27FC236}">
                <a16:creationId xmlns:a16="http://schemas.microsoft.com/office/drawing/2014/main" id="{159CAA04-6B1C-430C-99CA-78BA8B59B862}"/>
              </a:ext>
            </a:extLst>
          </p:cNvPr>
          <p:cNvSpPr>
            <a:spLocks noGrp="1"/>
          </p:cNvSpPr>
          <p:nvPr>
            <p:ph type="body" sz="quarter" idx="36" hasCustomPrompt="1"/>
          </p:nvPr>
        </p:nvSpPr>
        <p:spPr>
          <a:xfrm rot="16200000">
            <a:off x="3044318"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60" name="Tijdelijke aanduiding voor tekst 10">
            <a:extLst>
              <a:ext uri="{FF2B5EF4-FFF2-40B4-BE49-F238E27FC236}">
                <a16:creationId xmlns:a16="http://schemas.microsoft.com/office/drawing/2014/main" id="{952B5789-786C-41BF-8C96-C7D2E6C208C2}"/>
              </a:ext>
            </a:extLst>
          </p:cNvPr>
          <p:cNvSpPr>
            <a:spLocks noGrp="1"/>
          </p:cNvSpPr>
          <p:nvPr>
            <p:ph type="body" sz="quarter" idx="37" hasCustomPrompt="1"/>
          </p:nvPr>
        </p:nvSpPr>
        <p:spPr>
          <a:xfrm rot="16200000">
            <a:off x="5252593"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61" name="Tijdelijke aanduiding voor tekst 10">
            <a:extLst>
              <a:ext uri="{FF2B5EF4-FFF2-40B4-BE49-F238E27FC236}">
                <a16:creationId xmlns:a16="http://schemas.microsoft.com/office/drawing/2014/main" id="{C73ECF0E-99DC-479D-9854-26282F5F86D1}"/>
              </a:ext>
            </a:extLst>
          </p:cNvPr>
          <p:cNvSpPr>
            <a:spLocks noGrp="1"/>
          </p:cNvSpPr>
          <p:nvPr>
            <p:ph type="body" sz="quarter" idx="38" hasCustomPrompt="1"/>
          </p:nvPr>
        </p:nvSpPr>
        <p:spPr>
          <a:xfrm rot="16200000">
            <a:off x="7460870" y="4335888"/>
            <a:ext cx="3646800" cy="3600"/>
          </a:xfrm>
          <a:prstGeom prst="rect">
            <a:avLst/>
          </a:prstGeom>
          <a:solidFill>
            <a:schemeClr val="accent1"/>
          </a:solidFill>
        </p:spPr>
        <p:txBody>
          <a:bodyPr/>
          <a:lstStyle>
            <a:lvl1pPr>
              <a:defRPr sz="100">
                <a:solidFill>
                  <a:schemeClr val="tx1">
                    <a:alpha val="0"/>
                  </a:schemeClr>
                </a:solidFill>
              </a:defRPr>
            </a:lvl1pPr>
          </a:lstStyle>
          <a:p>
            <a:pPr lvl="0"/>
            <a:r>
              <a:rPr lang="en-US" dirty="0"/>
              <a:t>.</a:t>
            </a:r>
          </a:p>
        </p:txBody>
      </p:sp>
      <p:sp>
        <p:nvSpPr>
          <p:cNvPr id="20" name="Tijdelijke aanduiding voor tekst 2">
            <a:extLst>
              <a:ext uri="{FF2B5EF4-FFF2-40B4-BE49-F238E27FC236}">
                <a16:creationId xmlns:a16="http://schemas.microsoft.com/office/drawing/2014/main" id="{5BCEF483-18EF-4CCF-A2CC-3C96E6BDECFA}"/>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9376097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5 ADKAR">
    <p:spTree>
      <p:nvGrpSpPr>
        <p:cNvPr id="1" name=""/>
        <p:cNvGrpSpPr/>
        <p:nvPr/>
      </p:nvGrpSpPr>
      <p:grpSpPr>
        <a:xfrm>
          <a:off x="0" y="0"/>
          <a:ext cx="0" cy="0"/>
          <a:chOff x="0" y="0"/>
          <a:chExt cx="0" cy="0"/>
        </a:xfrm>
      </p:grpSpPr>
      <p:sp>
        <p:nvSpPr>
          <p:cNvPr id="35" name="Tijdelijke aanduiding voor tekst 58">
            <a:extLst>
              <a:ext uri="{FF2B5EF4-FFF2-40B4-BE49-F238E27FC236}">
                <a16:creationId xmlns:a16="http://schemas.microsoft.com/office/drawing/2014/main" id="{17F25C23-9326-4F4D-BAC2-BBCEAA417372}"/>
              </a:ext>
            </a:extLst>
          </p:cNvPr>
          <p:cNvSpPr>
            <a:spLocks noGrp="1"/>
          </p:cNvSpPr>
          <p:nvPr>
            <p:ph type="body" sz="quarter" idx="38"/>
          </p:nvPr>
        </p:nvSpPr>
        <p:spPr>
          <a:xfrm>
            <a:off x="9645612"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4" name="Tijdelijke aanduiding voor tekst 58">
            <a:extLst>
              <a:ext uri="{FF2B5EF4-FFF2-40B4-BE49-F238E27FC236}">
                <a16:creationId xmlns:a16="http://schemas.microsoft.com/office/drawing/2014/main" id="{4BB374D8-CB98-45FC-B14F-8F4DC2546E31}"/>
              </a:ext>
            </a:extLst>
          </p:cNvPr>
          <p:cNvSpPr>
            <a:spLocks noGrp="1"/>
          </p:cNvSpPr>
          <p:nvPr>
            <p:ph type="body" sz="quarter" idx="37"/>
          </p:nvPr>
        </p:nvSpPr>
        <p:spPr>
          <a:xfrm>
            <a:off x="7360151"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1" name="Tijdelijke aanduiding voor tekst 58">
            <a:extLst>
              <a:ext uri="{FF2B5EF4-FFF2-40B4-BE49-F238E27FC236}">
                <a16:creationId xmlns:a16="http://schemas.microsoft.com/office/drawing/2014/main" id="{4E79CF2D-9F8A-44F8-BB09-9AF4C1EAB583}"/>
              </a:ext>
            </a:extLst>
          </p:cNvPr>
          <p:cNvSpPr>
            <a:spLocks noGrp="1"/>
          </p:cNvSpPr>
          <p:nvPr>
            <p:ph type="body" sz="quarter" idx="36"/>
          </p:nvPr>
        </p:nvSpPr>
        <p:spPr>
          <a:xfrm>
            <a:off x="5074689"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59" name="Tijdelijke aanduiding voor tekst 58">
            <a:extLst>
              <a:ext uri="{FF2B5EF4-FFF2-40B4-BE49-F238E27FC236}">
                <a16:creationId xmlns:a16="http://schemas.microsoft.com/office/drawing/2014/main" id="{2473249E-A1C9-466E-B21E-20649059CEF5}"/>
              </a:ext>
            </a:extLst>
          </p:cNvPr>
          <p:cNvSpPr>
            <a:spLocks noGrp="1"/>
          </p:cNvSpPr>
          <p:nvPr>
            <p:ph type="body" sz="quarter" idx="35"/>
          </p:nvPr>
        </p:nvSpPr>
        <p:spPr>
          <a:xfrm>
            <a:off x="2789229"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30" name="Tijdelijke aanduiding voor tekst 29">
            <a:extLst>
              <a:ext uri="{FF2B5EF4-FFF2-40B4-BE49-F238E27FC236}">
                <a16:creationId xmlns:a16="http://schemas.microsoft.com/office/drawing/2014/main" id="{EC158ED7-1884-4D56-9214-1BA3D2D77827}"/>
              </a:ext>
            </a:extLst>
          </p:cNvPr>
          <p:cNvSpPr>
            <a:spLocks noGrp="1"/>
          </p:cNvSpPr>
          <p:nvPr>
            <p:ph type="body" sz="quarter" idx="24"/>
          </p:nvPr>
        </p:nvSpPr>
        <p:spPr>
          <a:xfrm>
            <a:off x="503765" y="1366316"/>
            <a:ext cx="2040507" cy="4795303"/>
          </a:xfrm>
          <a:custGeom>
            <a:avLst/>
            <a:gdLst>
              <a:gd name="connsiteX0" fmla="*/ 329824 w 1530380"/>
              <a:gd name="connsiteY0" fmla="*/ 0 h 3596477"/>
              <a:gd name="connsiteX1" fmla="*/ 1200557 w 1530380"/>
              <a:gd name="connsiteY1" fmla="*/ 0 h 3596477"/>
              <a:gd name="connsiteX2" fmla="*/ 1530380 w 1530380"/>
              <a:gd name="connsiteY2" fmla="*/ 659647 h 3596477"/>
              <a:gd name="connsiteX3" fmla="*/ 1423960 w 1530380"/>
              <a:gd name="connsiteY3" fmla="*/ 872487 h 3596477"/>
              <a:gd name="connsiteX4" fmla="*/ 1423960 w 1530380"/>
              <a:gd name="connsiteY4" fmla="*/ 3555093 h 3596477"/>
              <a:gd name="connsiteX5" fmla="*/ 1382576 w 1530380"/>
              <a:gd name="connsiteY5" fmla="*/ 3596477 h 3596477"/>
              <a:gd name="connsiteX6" fmla="*/ 147805 w 1530380"/>
              <a:gd name="connsiteY6" fmla="*/ 3596477 h 3596477"/>
              <a:gd name="connsiteX7" fmla="*/ 106421 w 1530380"/>
              <a:gd name="connsiteY7" fmla="*/ 3555093 h 3596477"/>
              <a:gd name="connsiteX8" fmla="*/ 106421 w 1530380"/>
              <a:gd name="connsiteY8" fmla="*/ 872489 h 3596477"/>
              <a:gd name="connsiteX9" fmla="*/ 0 w 1530380"/>
              <a:gd name="connsiteY9" fmla="*/ 659647 h 3596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30380" h="3596477">
                <a:moveTo>
                  <a:pt x="329824" y="0"/>
                </a:moveTo>
                <a:lnTo>
                  <a:pt x="1200557" y="0"/>
                </a:lnTo>
                <a:lnTo>
                  <a:pt x="1530380" y="659647"/>
                </a:lnTo>
                <a:lnTo>
                  <a:pt x="1423960" y="872487"/>
                </a:lnTo>
                <a:lnTo>
                  <a:pt x="1423960" y="3555093"/>
                </a:lnTo>
                <a:cubicBezTo>
                  <a:pt x="1423960" y="3577949"/>
                  <a:pt x="1405432" y="3596477"/>
                  <a:pt x="1382576" y="3596477"/>
                </a:cubicBezTo>
                <a:lnTo>
                  <a:pt x="147805" y="3596477"/>
                </a:lnTo>
                <a:cubicBezTo>
                  <a:pt x="124949" y="3596477"/>
                  <a:pt x="106421" y="3577949"/>
                  <a:pt x="106421" y="3555093"/>
                </a:cubicBezTo>
                <a:lnTo>
                  <a:pt x="106421" y="872489"/>
                </a:lnTo>
                <a:lnTo>
                  <a:pt x="0" y="659647"/>
                </a:lnTo>
                <a:close/>
              </a:path>
            </a:pathLst>
          </a:custGeom>
          <a:solidFill>
            <a:schemeClr val="bg1">
              <a:lumMod val="95000"/>
            </a:schemeClr>
          </a:solidFill>
        </p:spPr>
        <p:txBody>
          <a:bodyPr wrap="square">
            <a:noAutofit/>
          </a:bodyPr>
          <a:lstStyle>
            <a:lvl1pPr marL="0" indent="0">
              <a:buNone/>
              <a:defRPr>
                <a:solidFill>
                  <a:schemeClr val="accent1">
                    <a:alpha val="0"/>
                  </a:schemeClr>
                </a:solidFill>
              </a:defRPr>
            </a:lvl1pPr>
          </a:lstStyle>
          <a:p>
            <a:pPr lvl="0"/>
            <a:r>
              <a:rPr lang="nl-NL" smtClean="0"/>
              <a:t>Tekststijl van het model bewerken</a:t>
            </a:r>
          </a:p>
        </p:txBody>
      </p:sp>
      <p:sp>
        <p:nvSpPr>
          <p:cNvPr id="62" name="Tijdelijke aanduiding voor tekst 61">
            <a:extLst>
              <a:ext uri="{FF2B5EF4-FFF2-40B4-BE49-F238E27FC236}">
                <a16:creationId xmlns:a16="http://schemas.microsoft.com/office/drawing/2014/main" id="{9127930B-E165-4991-8CCF-6A2669EC732F}"/>
              </a:ext>
            </a:extLst>
          </p:cNvPr>
          <p:cNvSpPr>
            <a:spLocks noGrp="1"/>
          </p:cNvSpPr>
          <p:nvPr>
            <p:ph type="body" sz="quarter" idx="20" hasCustomPrompt="1"/>
          </p:nvPr>
        </p:nvSpPr>
        <p:spPr>
          <a:xfrm>
            <a:off x="2931123"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4" name="Tijdelijke aanduiding voor tekst 63">
            <a:extLst>
              <a:ext uri="{FF2B5EF4-FFF2-40B4-BE49-F238E27FC236}">
                <a16:creationId xmlns:a16="http://schemas.microsoft.com/office/drawing/2014/main" id="{34A11033-B8E6-4BC8-84A7-39F6722D59E6}"/>
              </a:ext>
            </a:extLst>
          </p:cNvPr>
          <p:cNvSpPr>
            <a:spLocks noGrp="1"/>
          </p:cNvSpPr>
          <p:nvPr>
            <p:ph type="body" sz="quarter" idx="21" hasCustomPrompt="1"/>
          </p:nvPr>
        </p:nvSpPr>
        <p:spPr>
          <a:xfrm>
            <a:off x="5216585"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5" name="Tijdelijke aanduiding voor tekst 64">
            <a:extLst>
              <a:ext uri="{FF2B5EF4-FFF2-40B4-BE49-F238E27FC236}">
                <a16:creationId xmlns:a16="http://schemas.microsoft.com/office/drawing/2014/main" id="{A50978B8-0A33-4265-8FCC-81FC63F586F0}"/>
              </a:ext>
            </a:extLst>
          </p:cNvPr>
          <p:cNvSpPr>
            <a:spLocks noGrp="1"/>
          </p:cNvSpPr>
          <p:nvPr>
            <p:ph type="body" sz="quarter" idx="22" hasCustomPrompt="1"/>
          </p:nvPr>
        </p:nvSpPr>
        <p:spPr>
          <a:xfrm>
            <a:off x="7502046"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66" name="Tijdelijke aanduiding voor tekst 65">
            <a:extLst>
              <a:ext uri="{FF2B5EF4-FFF2-40B4-BE49-F238E27FC236}">
                <a16:creationId xmlns:a16="http://schemas.microsoft.com/office/drawing/2014/main" id="{DED5DE8A-DA12-4889-B842-7ACE37CA4F21}"/>
              </a:ext>
            </a:extLst>
          </p:cNvPr>
          <p:cNvSpPr>
            <a:spLocks noGrp="1"/>
          </p:cNvSpPr>
          <p:nvPr>
            <p:ph type="body" sz="quarter" idx="23" hasCustomPrompt="1"/>
          </p:nvPr>
        </p:nvSpPr>
        <p:spPr>
          <a:xfrm>
            <a:off x="9787506"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5" name="Footer Placeholder 4"/>
          <p:cNvSpPr>
            <a:spLocks noGrp="1"/>
          </p:cNvSpPr>
          <p:nvPr>
            <p:ph type="ftr" sz="quarter" idx="11"/>
          </p:nvPr>
        </p:nvSpPr>
        <p:spPr/>
        <p:txBody>
          <a:bodyPr/>
          <a:lstStyle/>
          <a:p>
            <a:r>
              <a:rPr lang="nl-NL" smtClean="0"/>
              <a:t>Webinar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61" name="Tijdelijke aanduiding voor tekst 60">
            <a:extLst>
              <a:ext uri="{FF2B5EF4-FFF2-40B4-BE49-F238E27FC236}">
                <a16:creationId xmlns:a16="http://schemas.microsoft.com/office/drawing/2014/main" id="{C7A60661-C638-49B1-9664-6DE9A7098048}"/>
              </a:ext>
            </a:extLst>
          </p:cNvPr>
          <p:cNvSpPr>
            <a:spLocks noGrp="1"/>
          </p:cNvSpPr>
          <p:nvPr>
            <p:ph type="body" sz="quarter" idx="19" hasCustomPrompt="1"/>
          </p:nvPr>
        </p:nvSpPr>
        <p:spPr>
          <a:xfrm>
            <a:off x="645662" y="1488641"/>
            <a:ext cx="1756719" cy="1514412"/>
          </a:xfrm>
          <a:custGeom>
            <a:avLst/>
            <a:gdLst>
              <a:gd name="connsiteX0" fmla="*/ 283952 w 1317539"/>
              <a:gd name="connsiteY0" fmla="*/ 0 h 1135809"/>
              <a:gd name="connsiteX1" fmla="*/ 1033587 w 1317539"/>
              <a:gd name="connsiteY1" fmla="*/ 0 h 1135809"/>
              <a:gd name="connsiteX2" fmla="*/ 1317539 w 1317539"/>
              <a:gd name="connsiteY2" fmla="*/ 567905 h 1135809"/>
              <a:gd name="connsiteX3" fmla="*/ 1033587 w 1317539"/>
              <a:gd name="connsiteY3" fmla="*/ 1135809 h 1135809"/>
              <a:gd name="connsiteX4" fmla="*/ 283952 w 1317539"/>
              <a:gd name="connsiteY4" fmla="*/ 1135809 h 1135809"/>
              <a:gd name="connsiteX5" fmla="*/ 0 w 1317539"/>
              <a:gd name="connsiteY5" fmla="*/ 567905 h 1135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7539" h="1135809">
                <a:moveTo>
                  <a:pt x="283952" y="0"/>
                </a:moveTo>
                <a:lnTo>
                  <a:pt x="1033587" y="0"/>
                </a:lnTo>
                <a:lnTo>
                  <a:pt x="1317539" y="567905"/>
                </a:lnTo>
                <a:lnTo>
                  <a:pt x="1033587" y="1135809"/>
                </a:lnTo>
                <a:lnTo>
                  <a:pt x="283952" y="1135809"/>
                </a:lnTo>
                <a:lnTo>
                  <a:pt x="0" y="567905"/>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14" name="Tijdelijke aanduiding voor tekst 13">
            <a:extLst>
              <a:ext uri="{FF2B5EF4-FFF2-40B4-BE49-F238E27FC236}">
                <a16:creationId xmlns:a16="http://schemas.microsoft.com/office/drawing/2014/main" id="{9364E372-5F4F-4377-B585-C820F81E92A9}"/>
              </a:ext>
            </a:extLst>
          </p:cNvPr>
          <p:cNvSpPr>
            <a:spLocks noGrp="1"/>
          </p:cNvSpPr>
          <p:nvPr>
            <p:ph type="body" sz="quarter" idx="25" hasCustomPrompt="1"/>
          </p:nvPr>
        </p:nvSpPr>
        <p:spPr>
          <a:xfrm>
            <a:off x="754034"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37" name="Tijdelijke aanduiding voor tekst 13">
            <a:extLst>
              <a:ext uri="{FF2B5EF4-FFF2-40B4-BE49-F238E27FC236}">
                <a16:creationId xmlns:a16="http://schemas.microsoft.com/office/drawing/2014/main" id="{CE013FD7-C329-4372-B5C3-696A051F79E8}"/>
              </a:ext>
            </a:extLst>
          </p:cNvPr>
          <p:cNvSpPr>
            <a:spLocks noGrp="1"/>
          </p:cNvSpPr>
          <p:nvPr>
            <p:ph type="body" sz="quarter" idx="26" hasCustomPrompt="1"/>
          </p:nvPr>
        </p:nvSpPr>
        <p:spPr>
          <a:xfrm>
            <a:off x="754034"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39" name="Tijdelijke aanduiding voor tekst 13">
            <a:extLst>
              <a:ext uri="{FF2B5EF4-FFF2-40B4-BE49-F238E27FC236}">
                <a16:creationId xmlns:a16="http://schemas.microsoft.com/office/drawing/2014/main" id="{EB141049-5224-4BBE-868C-D2CCD68BBADF}"/>
              </a:ext>
            </a:extLst>
          </p:cNvPr>
          <p:cNvSpPr>
            <a:spLocks noGrp="1"/>
          </p:cNvSpPr>
          <p:nvPr>
            <p:ph type="body" sz="quarter" idx="27" hasCustomPrompt="1"/>
          </p:nvPr>
        </p:nvSpPr>
        <p:spPr>
          <a:xfrm>
            <a:off x="3039498"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40" name="Tijdelijke aanduiding voor tekst 13">
            <a:extLst>
              <a:ext uri="{FF2B5EF4-FFF2-40B4-BE49-F238E27FC236}">
                <a16:creationId xmlns:a16="http://schemas.microsoft.com/office/drawing/2014/main" id="{C1059622-8D17-44C0-B8D8-6DF04A55E1A9}"/>
              </a:ext>
            </a:extLst>
          </p:cNvPr>
          <p:cNvSpPr>
            <a:spLocks noGrp="1"/>
          </p:cNvSpPr>
          <p:nvPr>
            <p:ph type="body" sz="quarter" idx="28" hasCustomPrompt="1"/>
          </p:nvPr>
        </p:nvSpPr>
        <p:spPr>
          <a:xfrm>
            <a:off x="3039498"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41" name="Tijdelijke aanduiding voor tekst 13">
            <a:extLst>
              <a:ext uri="{FF2B5EF4-FFF2-40B4-BE49-F238E27FC236}">
                <a16:creationId xmlns:a16="http://schemas.microsoft.com/office/drawing/2014/main" id="{EC0EBEEE-32DA-4CCC-B452-84EBAE3068EA}"/>
              </a:ext>
            </a:extLst>
          </p:cNvPr>
          <p:cNvSpPr>
            <a:spLocks noGrp="1"/>
          </p:cNvSpPr>
          <p:nvPr>
            <p:ph type="body" sz="quarter" idx="29" hasCustomPrompt="1"/>
          </p:nvPr>
        </p:nvSpPr>
        <p:spPr>
          <a:xfrm>
            <a:off x="5324958"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44" name="Tijdelijke aanduiding voor tekst 13">
            <a:extLst>
              <a:ext uri="{FF2B5EF4-FFF2-40B4-BE49-F238E27FC236}">
                <a16:creationId xmlns:a16="http://schemas.microsoft.com/office/drawing/2014/main" id="{4F086A75-311C-40AB-80EB-237D64038FA3}"/>
              </a:ext>
            </a:extLst>
          </p:cNvPr>
          <p:cNvSpPr>
            <a:spLocks noGrp="1"/>
          </p:cNvSpPr>
          <p:nvPr>
            <p:ph type="body" sz="quarter" idx="30" hasCustomPrompt="1"/>
          </p:nvPr>
        </p:nvSpPr>
        <p:spPr>
          <a:xfrm>
            <a:off x="5324958"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48" name="Tijdelijke aanduiding voor tekst 13">
            <a:extLst>
              <a:ext uri="{FF2B5EF4-FFF2-40B4-BE49-F238E27FC236}">
                <a16:creationId xmlns:a16="http://schemas.microsoft.com/office/drawing/2014/main" id="{C14BFD65-019D-4773-83A6-74F05C7715B0}"/>
              </a:ext>
            </a:extLst>
          </p:cNvPr>
          <p:cNvSpPr>
            <a:spLocks noGrp="1"/>
          </p:cNvSpPr>
          <p:nvPr>
            <p:ph type="body" sz="quarter" idx="31" hasCustomPrompt="1"/>
          </p:nvPr>
        </p:nvSpPr>
        <p:spPr>
          <a:xfrm>
            <a:off x="7610419"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52" name="Tijdelijke aanduiding voor tekst 13">
            <a:extLst>
              <a:ext uri="{FF2B5EF4-FFF2-40B4-BE49-F238E27FC236}">
                <a16:creationId xmlns:a16="http://schemas.microsoft.com/office/drawing/2014/main" id="{5E6F733C-1F74-451B-BC14-131A9D31D476}"/>
              </a:ext>
            </a:extLst>
          </p:cNvPr>
          <p:cNvSpPr>
            <a:spLocks noGrp="1"/>
          </p:cNvSpPr>
          <p:nvPr>
            <p:ph type="body" sz="quarter" idx="32" hasCustomPrompt="1"/>
          </p:nvPr>
        </p:nvSpPr>
        <p:spPr>
          <a:xfrm>
            <a:off x="7610419"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56" name="Tijdelijke aanduiding voor tekst 13">
            <a:extLst>
              <a:ext uri="{FF2B5EF4-FFF2-40B4-BE49-F238E27FC236}">
                <a16:creationId xmlns:a16="http://schemas.microsoft.com/office/drawing/2014/main" id="{C10685A4-0961-4FF1-97CF-510A5DCD00FD}"/>
              </a:ext>
            </a:extLst>
          </p:cNvPr>
          <p:cNvSpPr>
            <a:spLocks noGrp="1"/>
          </p:cNvSpPr>
          <p:nvPr>
            <p:ph type="body" sz="quarter" idx="33" hasCustomPrompt="1"/>
          </p:nvPr>
        </p:nvSpPr>
        <p:spPr>
          <a:xfrm>
            <a:off x="9895879" y="3125817"/>
            <a:ext cx="1539972" cy="203903"/>
          </a:xfrm>
        </p:spPr>
        <p:txBody>
          <a:bodyPr wrap="square">
            <a:spAutoFit/>
          </a:bodyPr>
          <a:lstStyle>
            <a:lvl1pPr marL="0" indent="0" algn="ctr">
              <a:buNone/>
              <a:defRPr sz="1333" b="1" cap="none" baseline="0">
                <a:solidFill>
                  <a:schemeClr val="accent2"/>
                </a:solidFill>
              </a:defRPr>
            </a:lvl1pPr>
          </a:lstStyle>
          <a:p>
            <a:pPr lvl="0"/>
            <a:r>
              <a:rPr lang="nl-NL" dirty="0"/>
              <a:t>Header</a:t>
            </a:r>
          </a:p>
        </p:txBody>
      </p:sp>
      <p:sp>
        <p:nvSpPr>
          <p:cNvPr id="58" name="Tijdelijke aanduiding voor tekst 13">
            <a:extLst>
              <a:ext uri="{FF2B5EF4-FFF2-40B4-BE49-F238E27FC236}">
                <a16:creationId xmlns:a16="http://schemas.microsoft.com/office/drawing/2014/main" id="{8A93AC36-2AC4-483E-95DB-3E1E0DE9549F}"/>
              </a:ext>
            </a:extLst>
          </p:cNvPr>
          <p:cNvSpPr>
            <a:spLocks noGrp="1"/>
          </p:cNvSpPr>
          <p:nvPr>
            <p:ph type="body" sz="quarter" idx="34" hasCustomPrompt="1"/>
          </p:nvPr>
        </p:nvSpPr>
        <p:spPr>
          <a:xfrm>
            <a:off x="9895879" y="3532479"/>
            <a:ext cx="1539972" cy="2535167"/>
          </a:xfrm>
        </p:spPr>
        <p:txBody>
          <a:bodyPr wrap="square">
            <a:noAutofit/>
          </a:bodyPr>
          <a:lstStyle>
            <a:lvl1pPr marL="0" indent="0" algn="ctr">
              <a:buFont typeface="Ubuntu Light" panose="020B0304030602030204" pitchFamily="34" charset="0"/>
              <a:buNone/>
              <a:defRPr sz="1333" b="0"/>
            </a:lvl1pPr>
          </a:lstStyle>
          <a:p>
            <a:pPr lvl="0"/>
            <a:r>
              <a:rPr lang="nl-NL" dirty="0"/>
              <a:t>Header</a:t>
            </a:r>
          </a:p>
        </p:txBody>
      </p:sp>
      <p:sp>
        <p:nvSpPr>
          <p:cNvPr id="29" name="Tijdelijke aanduiding voor tekst 2">
            <a:extLst>
              <a:ext uri="{FF2B5EF4-FFF2-40B4-BE49-F238E27FC236}">
                <a16:creationId xmlns:a16="http://schemas.microsoft.com/office/drawing/2014/main" id="{A3BE2510-13D3-4DE2-AF62-4A7BCCDAC184}"/>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1554041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dkar blokken">
    <p:spTree>
      <p:nvGrpSpPr>
        <p:cNvPr id="1" name=""/>
        <p:cNvGrpSpPr/>
        <p:nvPr/>
      </p:nvGrpSpPr>
      <p:grpSpPr>
        <a:xfrm>
          <a:off x="0" y="0"/>
          <a:ext cx="0" cy="0"/>
          <a:chOff x="0" y="0"/>
          <a:chExt cx="0" cy="0"/>
        </a:xfrm>
      </p:grpSpPr>
      <p:sp>
        <p:nvSpPr>
          <p:cNvPr id="12" name="Tijdelijke aanduiding voor tekst 11">
            <a:extLst>
              <a:ext uri="{FF2B5EF4-FFF2-40B4-BE49-F238E27FC236}">
                <a16:creationId xmlns:a16="http://schemas.microsoft.com/office/drawing/2014/main" id="{BCDEE299-1134-41D1-8DCF-8F1BDF96D083}"/>
              </a:ext>
            </a:extLst>
          </p:cNvPr>
          <p:cNvSpPr>
            <a:spLocks noGrp="1"/>
          </p:cNvSpPr>
          <p:nvPr>
            <p:ph type="body" sz="quarter" idx="19" hasCustomPrompt="1"/>
          </p:nvPr>
        </p:nvSpPr>
        <p:spPr>
          <a:xfrm>
            <a:off x="71393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2" name="Titel 1">
            <a:extLst>
              <a:ext uri="{FF2B5EF4-FFF2-40B4-BE49-F238E27FC236}">
                <a16:creationId xmlns:a16="http://schemas.microsoft.com/office/drawing/2014/main" id="{49687CF9-A7F0-46DC-BF76-FC983B254C65}"/>
              </a:ext>
            </a:extLst>
          </p:cNvPr>
          <p:cNvSpPr>
            <a:spLocks noGrp="1"/>
          </p:cNvSpPr>
          <p:nvPr>
            <p:ph type="title"/>
          </p:nvPr>
        </p:nvSpPr>
        <p:spPr/>
        <p:txBody>
          <a:bodyPr/>
          <a:lstStyle/>
          <a:p>
            <a:r>
              <a:rPr lang="nl-NL" smtClean="0"/>
              <a:t>Klik om de stijl te bewerken</a:t>
            </a:r>
            <a:endParaRPr lang="nl-NL"/>
          </a:p>
        </p:txBody>
      </p:sp>
      <p:sp>
        <p:nvSpPr>
          <p:cNvPr id="3" name="Tijdelijke aanduiding voor voettekst 2">
            <a:extLst>
              <a:ext uri="{FF2B5EF4-FFF2-40B4-BE49-F238E27FC236}">
                <a16:creationId xmlns:a16="http://schemas.microsoft.com/office/drawing/2014/main" id="{CBE2FCA4-8721-428B-99C9-8E9C1158BCF4}"/>
              </a:ext>
            </a:extLst>
          </p:cNvPr>
          <p:cNvSpPr>
            <a:spLocks noGrp="1"/>
          </p:cNvSpPr>
          <p:nvPr>
            <p:ph type="ftr" sz="quarter" idx="10"/>
          </p:nvPr>
        </p:nvSpPr>
        <p:spPr/>
        <p:txBody>
          <a:bodyPr/>
          <a:lstStyle/>
          <a:p>
            <a:r>
              <a:rPr lang="nl-NL" smtClean="0"/>
              <a:t>Webinar Wet Toekomst Pensioenen</a:t>
            </a:r>
            <a:endParaRPr lang="nl-NL"/>
          </a:p>
        </p:txBody>
      </p:sp>
      <p:sp>
        <p:nvSpPr>
          <p:cNvPr id="4" name="Tijdelijke aanduiding voor dianummer 3">
            <a:extLst>
              <a:ext uri="{FF2B5EF4-FFF2-40B4-BE49-F238E27FC236}">
                <a16:creationId xmlns:a16="http://schemas.microsoft.com/office/drawing/2014/main" id="{4A2C0817-6ADE-412F-9DF7-02E248F41D07}"/>
              </a:ext>
            </a:extLst>
          </p:cNvPr>
          <p:cNvSpPr>
            <a:spLocks noGrp="1"/>
          </p:cNvSpPr>
          <p:nvPr>
            <p:ph type="sldNum" sz="quarter" idx="11"/>
          </p:nvPr>
        </p:nvSpPr>
        <p:spPr/>
        <p:txBody>
          <a:bodyPr/>
          <a:lstStyle/>
          <a:p>
            <a:fld id="{FFDD6BF4-F398-43E8-ACFA-0A2EC6044D72}" type="slidenum">
              <a:rPr lang="nl-NL" smtClean="0"/>
              <a:t>‹nr.›</a:t>
            </a:fld>
            <a:endParaRPr lang="nl-NL"/>
          </a:p>
        </p:txBody>
      </p:sp>
      <p:sp>
        <p:nvSpPr>
          <p:cNvPr id="23" name="Tijdelijke aanduiding voor tekst 13">
            <a:extLst>
              <a:ext uri="{FF2B5EF4-FFF2-40B4-BE49-F238E27FC236}">
                <a16:creationId xmlns:a16="http://schemas.microsoft.com/office/drawing/2014/main" id="{B0649A9A-CC07-4676-9127-594C298F1C92}"/>
              </a:ext>
            </a:extLst>
          </p:cNvPr>
          <p:cNvSpPr>
            <a:spLocks noGrp="1"/>
          </p:cNvSpPr>
          <p:nvPr>
            <p:ph type="body" sz="quarter" idx="25" hasCustomPrompt="1"/>
          </p:nvPr>
        </p:nvSpPr>
        <p:spPr>
          <a:xfrm>
            <a:off x="71393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24" name="Tijdelijke aanduiding voor tekst 13">
            <a:extLst>
              <a:ext uri="{FF2B5EF4-FFF2-40B4-BE49-F238E27FC236}">
                <a16:creationId xmlns:a16="http://schemas.microsoft.com/office/drawing/2014/main" id="{9ECB56B9-0480-4F03-B6A4-2621446FD59B}"/>
              </a:ext>
            </a:extLst>
          </p:cNvPr>
          <p:cNvSpPr>
            <a:spLocks noGrp="1"/>
          </p:cNvSpPr>
          <p:nvPr>
            <p:ph type="body" sz="quarter" idx="26" hasCustomPrompt="1"/>
          </p:nvPr>
        </p:nvSpPr>
        <p:spPr>
          <a:xfrm>
            <a:off x="71393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35" name="Tijdelijke aanduiding voor tekst 34">
            <a:extLst>
              <a:ext uri="{FF2B5EF4-FFF2-40B4-BE49-F238E27FC236}">
                <a16:creationId xmlns:a16="http://schemas.microsoft.com/office/drawing/2014/main" id="{D05E3FCA-7DAA-4D50-B87A-D8FFC9665952}"/>
              </a:ext>
            </a:extLst>
          </p:cNvPr>
          <p:cNvSpPr>
            <a:spLocks noGrp="1"/>
          </p:cNvSpPr>
          <p:nvPr>
            <p:ph type="body" sz="quarter" idx="27" hasCustomPrompt="1"/>
          </p:nvPr>
        </p:nvSpPr>
        <p:spPr>
          <a:xfrm>
            <a:off x="300496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6" name="Tijdelijke aanduiding voor tekst 35">
            <a:extLst>
              <a:ext uri="{FF2B5EF4-FFF2-40B4-BE49-F238E27FC236}">
                <a16:creationId xmlns:a16="http://schemas.microsoft.com/office/drawing/2014/main" id="{78DBD660-4BD6-472D-B035-65BE517A01A5}"/>
              </a:ext>
            </a:extLst>
          </p:cNvPr>
          <p:cNvSpPr>
            <a:spLocks noGrp="1"/>
          </p:cNvSpPr>
          <p:nvPr>
            <p:ph type="body" sz="quarter" idx="28" hasCustomPrompt="1"/>
          </p:nvPr>
        </p:nvSpPr>
        <p:spPr>
          <a:xfrm>
            <a:off x="529599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7" name="Tijdelijke aanduiding voor tekst 36">
            <a:extLst>
              <a:ext uri="{FF2B5EF4-FFF2-40B4-BE49-F238E27FC236}">
                <a16:creationId xmlns:a16="http://schemas.microsoft.com/office/drawing/2014/main" id="{45885DAC-136A-4ABF-8CB6-D4D74C88EECD}"/>
              </a:ext>
            </a:extLst>
          </p:cNvPr>
          <p:cNvSpPr>
            <a:spLocks noGrp="1"/>
          </p:cNvSpPr>
          <p:nvPr>
            <p:ph type="body" sz="quarter" idx="29" hasCustomPrompt="1"/>
          </p:nvPr>
        </p:nvSpPr>
        <p:spPr>
          <a:xfrm>
            <a:off x="7587024"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8" name="Tijdelijke aanduiding voor tekst 37">
            <a:extLst>
              <a:ext uri="{FF2B5EF4-FFF2-40B4-BE49-F238E27FC236}">
                <a16:creationId xmlns:a16="http://schemas.microsoft.com/office/drawing/2014/main" id="{8D1F8791-671A-490C-A53D-1AB942CE59E6}"/>
              </a:ext>
            </a:extLst>
          </p:cNvPr>
          <p:cNvSpPr>
            <a:spLocks noGrp="1"/>
          </p:cNvSpPr>
          <p:nvPr>
            <p:ph type="body" sz="quarter" idx="30" hasCustomPrompt="1"/>
          </p:nvPr>
        </p:nvSpPr>
        <p:spPr>
          <a:xfrm>
            <a:off x="9878052" y="1689633"/>
            <a:ext cx="1613754" cy="1595628"/>
          </a:xfrm>
          <a:custGeom>
            <a:avLst/>
            <a:gdLst>
              <a:gd name="connsiteX0" fmla="*/ 1613754 w 1613754"/>
              <a:gd name="connsiteY0" fmla="*/ 86821 h 1595628"/>
              <a:gd name="connsiteX1" fmla="*/ 1613754 w 1613754"/>
              <a:gd name="connsiteY1" fmla="*/ 1595628 h 1595628"/>
              <a:gd name="connsiteX2" fmla="*/ 104946 w 1613754"/>
              <a:gd name="connsiteY2" fmla="*/ 1595628 h 1595628"/>
              <a:gd name="connsiteX3" fmla="*/ 260006 w 1613754"/>
              <a:gd name="connsiteY3" fmla="*/ 1440568 h 1595628"/>
              <a:gd name="connsiteX4" fmla="*/ 1448751 w 1613754"/>
              <a:gd name="connsiteY4" fmla="*/ 1440568 h 1595628"/>
              <a:gd name="connsiteX5" fmla="*/ 1448751 w 1613754"/>
              <a:gd name="connsiteY5" fmla="*/ 251824 h 1595628"/>
              <a:gd name="connsiteX6" fmla="*/ 0 w 1613754"/>
              <a:gd name="connsiteY6" fmla="*/ 0 h 1595628"/>
              <a:gd name="connsiteX7" fmla="*/ 1508808 w 1613754"/>
              <a:gd name="connsiteY7" fmla="*/ 0 h 1595628"/>
              <a:gd name="connsiteX8" fmla="*/ 1353748 w 1613754"/>
              <a:gd name="connsiteY8" fmla="*/ 155060 h 1595628"/>
              <a:gd name="connsiteX9" fmla="*/ 165003 w 1613754"/>
              <a:gd name="connsiteY9" fmla="*/ 155060 h 1595628"/>
              <a:gd name="connsiteX10" fmla="*/ 165003 w 1613754"/>
              <a:gd name="connsiteY10" fmla="*/ 1343804 h 1595628"/>
              <a:gd name="connsiteX11" fmla="*/ 0 w 1613754"/>
              <a:gd name="connsiteY11" fmla="*/ 1508807 h 1595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13754" h="1595628">
                <a:moveTo>
                  <a:pt x="1613754" y="86821"/>
                </a:moveTo>
                <a:lnTo>
                  <a:pt x="1613754" y="1595628"/>
                </a:lnTo>
                <a:lnTo>
                  <a:pt x="104946" y="1595628"/>
                </a:lnTo>
                <a:lnTo>
                  <a:pt x="260006" y="1440568"/>
                </a:lnTo>
                <a:lnTo>
                  <a:pt x="1448751" y="1440568"/>
                </a:lnTo>
                <a:lnTo>
                  <a:pt x="1448751" y="251824"/>
                </a:lnTo>
                <a:close/>
                <a:moveTo>
                  <a:pt x="0" y="0"/>
                </a:moveTo>
                <a:lnTo>
                  <a:pt x="1508808" y="0"/>
                </a:lnTo>
                <a:lnTo>
                  <a:pt x="1353748" y="155060"/>
                </a:lnTo>
                <a:lnTo>
                  <a:pt x="165003" y="155060"/>
                </a:lnTo>
                <a:lnTo>
                  <a:pt x="165003" y="1343804"/>
                </a:lnTo>
                <a:lnTo>
                  <a:pt x="0" y="1508807"/>
                </a:lnTo>
                <a:close/>
              </a:path>
            </a:pathLst>
          </a:custGeom>
          <a:solidFill>
            <a:schemeClr val="accent3"/>
          </a:solidFill>
        </p:spPr>
        <p:txBody>
          <a:bodyPr wrap="square" tIns="252000" anchor="t">
            <a:noAutofit/>
          </a:bodyPr>
          <a:lstStyle>
            <a:lvl1pPr marL="0" indent="0" algn="ctr">
              <a:buNone/>
              <a:defRPr sz="133">
                <a:solidFill>
                  <a:schemeClr val="bg1">
                    <a:alpha val="0"/>
                  </a:schemeClr>
                </a:solidFill>
              </a:defRPr>
            </a:lvl1pPr>
          </a:lstStyle>
          <a:p>
            <a:pPr lvl="0"/>
            <a:r>
              <a:rPr lang="nl-NL" dirty="0"/>
              <a:t>1</a:t>
            </a:r>
          </a:p>
          <a:p>
            <a:pPr lvl="0"/>
            <a:endParaRPr lang="nl-NL" dirty="0"/>
          </a:p>
        </p:txBody>
      </p:sp>
      <p:sp>
        <p:nvSpPr>
          <p:cNvPr id="39" name="Tijdelijke aanduiding voor tekst 13">
            <a:extLst>
              <a:ext uri="{FF2B5EF4-FFF2-40B4-BE49-F238E27FC236}">
                <a16:creationId xmlns:a16="http://schemas.microsoft.com/office/drawing/2014/main" id="{CD0198C0-477D-4765-A90C-BC62D53C6EC1}"/>
              </a:ext>
            </a:extLst>
          </p:cNvPr>
          <p:cNvSpPr>
            <a:spLocks noGrp="1"/>
          </p:cNvSpPr>
          <p:nvPr>
            <p:ph type="body" sz="quarter" idx="31" hasCustomPrompt="1"/>
          </p:nvPr>
        </p:nvSpPr>
        <p:spPr>
          <a:xfrm>
            <a:off x="300496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0" name="Tijdelijke aanduiding voor tekst 13">
            <a:extLst>
              <a:ext uri="{FF2B5EF4-FFF2-40B4-BE49-F238E27FC236}">
                <a16:creationId xmlns:a16="http://schemas.microsoft.com/office/drawing/2014/main" id="{D30EBF78-4B60-4DC0-B302-0F99ABCB286C}"/>
              </a:ext>
            </a:extLst>
          </p:cNvPr>
          <p:cNvSpPr>
            <a:spLocks noGrp="1"/>
          </p:cNvSpPr>
          <p:nvPr>
            <p:ph type="body" sz="quarter" idx="32" hasCustomPrompt="1"/>
          </p:nvPr>
        </p:nvSpPr>
        <p:spPr>
          <a:xfrm>
            <a:off x="300496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1" name="Tijdelijke aanduiding voor tekst 13">
            <a:extLst>
              <a:ext uri="{FF2B5EF4-FFF2-40B4-BE49-F238E27FC236}">
                <a16:creationId xmlns:a16="http://schemas.microsoft.com/office/drawing/2014/main" id="{F62C5A00-ED32-4A0D-9746-B46183FD171F}"/>
              </a:ext>
            </a:extLst>
          </p:cNvPr>
          <p:cNvSpPr>
            <a:spLocks noGrp="1"/>
          </p:cNvSpPr>
          <p:nvPr>
            <p:ph type="body" sz="quarter" idx="33" hasCustomPrompt="1"/>
          </p:nvPr>
        </p:nvSpPr>
        <p:spPr>
          <a:xfrm>
            <a:off x="529599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2" name="Tijdelijke aanduiding voor tekst 13">
            <a:extLst>
              <a:ext uri="{FF2B5EF4-FFF2-40B4-BE49-F238E27FC236}">
                <a16:creationId xmlns:a16="http://schemas.microsoft.com/office/drawing/2014/main" id="{1108FA4A-063F-4715-9092-B228F574C079}"/>
              </a:ext>
            </a:extLst>
          </p:cNvPr>
          <p:cNvSpPr>
            <a:spLocks noGrp="1"/>
          </p:cNvSpPr>
          <p:nvPr>
            <p:ph type="body" sz="quarter" idx="34" hasCustomPrompt="1"/>
          </p:nvPr>
        </p:nvSpPr>
        <p:spPr>
          <a:xfrm>
            <a:off x="529599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3" name="Tijdelijke aanduiding voor tekst 13">
            <a:extLst>
              <a:ext uri="{FF2B5EF4-FFF2-40B4-BE49-F238E27FC236}">
                <a16:creationId xmlns:a16="http://schemas.microsoft.com/office/drawing/2014/main" id="{B22FB843-EBE8-4ECC-85CC-222BF341678B}"/>
              </a:ext>
            </a:extLst>
          </p:cNvPr>
          <p:cNvSpPr>
            <a:spLocks noGrp="1"/>
          </p:cNvSpPr>
          <p:nvPr>
            <p:ph type="body" sz="quarter" idx="35" hasCustomPrompt="1"/>
          </p:nvPr>
        </p:nvSpPr>
        <p:spPr>
          <a:xfrm>
            <a:off x="7587024"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4" name="Tijdelijke aanduiding voor tekst 13">
            <a:extLst>
              <a:ext uri="{FF2B5EF4-FFF2-40B4-BE49-F238E27FC236}">
                <a16:creationId xmlns:a16="http://schemas.microsoft.com/office/drawing/2014/main" id="{B71AF246-84BC-4479-84AF-EB5D75A9729C}"/>
              </a:ext>
            </a:extLst>
          </p:cNvPr>
          <p:cNvSpPr>
            <a:spLocks noGrp="1"/>
          </p:cNvSpPr>
          <p:nvPr>
            <p:ph type="body" sz="quarter" idx="36" hasCustomPrompt="1"/>
          </p:nvPr>
        </p:nvSpPr>
        <p:spPr>
          <a:xfrm>
            <a:off x="7587024"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5" name="Tijdelijke aanduiding voor tekst 13">
            <a:extLst>
              <a:ext uri="{FF2B5EF4-FFF2-40B4-BE49-F238E27FC236}">
                <a16:creationId xmlns:a16="http://schemas.microsoft.com/office/drawing/2014/main" id="{62E45C98-F33D-4D51-BAAE-D531C9213316}"/>
              </a:ext>
            </a:extLst>
          </p:cNvPr>
          <p:cNvSpPr>
            <a:spLocks noGrp="1"/>
          </p:cNvSpPr>
          <p:nvPr>
            <p:ph type="body" sz="quarter" idx="37" hasCustomPrompt="1"/>
          </p:nvPr>
        </p:nvSpPr>
        <p:spPr>
          <a:xfrm>
            <a:off x="9878052" y="3420238"/>
            <a:ext cx="1613754" cy="244682"/>
          </a:xfrm>
        </p:spPr>
        <p:txBody>
          <a:bodyPr wrap="square">
            <a:spAutoFit/>
          </a:bodyPr>
          <a:lstStyle>
            <a:lvl1pPr marL="0" indent="0" algn="ctr">
              <a:buNone/>
              <a:defRPr lang="nl-NL" sz="1600" kern="1200" dirty="0">
                <a:solidFill>
                  <a:schemeClr val="accent2"/>
                </a:solidFill>
                <a:latin typeface="+mj-lt"/>
                <a:ea typeface="+mn-ea"/>
                <a:cs typeface="Ubuntu" panose="020B0504030602030204" pitchFamily="34" charset="0"/>
              </a:defRPr>
            </a:lvl1pPr>
          </a:lstStyle>
          <a:p>
            <a:pPr lvl="0"/>
            <a:r>
              <a:rPr lang="nl-NL" dirty="0"/>
              <a:t>Header</a:t>
            </a:r>
          </a:p>
        </p:txBody>
      </p:sp>
      <p:sp>
        <p:nvSpPr>
          <p:cNvPr id="46" name="Tijdelijke aanduiding voor tekst 13">
            <a:extLst>
              <a:ext uri="{FF2B5EF4-FFF2-40B4-BE49-F238E27FC236}">
                <a16:creationId xmlns:a16="http://schemas.microsoft.com/office/drawing/2014/main" id="{8C6CB479-EB7D-4F19-A4C1-51894BAA78D5}"/>
              </a:ext>
            </a:extLst>
          </p:cNvPr>
          <p:cNvSpPr>
            <a:spLocks noGrp="1"/>
          </p:cNvSpPr>
          <p:nvPr>
            <p:ph type="body" sz="quarter" idx="38" hasCustomPrompt="1"/>
          </p:nvPr>
        </p:nvSpPr>
        <p:spPr>
          <a:xfrm>
            <a:off x="9878052" y="3799897"/>
            <a:ext cx="1613754" cy="2361191"/>
          </a:xfrm>
        </p:spPr>
        <p:txBody>
          <a:bodyPr wrap="square">
            <a:noAutofit/>
          </a:bodyPr>
          <a:lstStyle>
            <a:lvl1pPr marL="0" indent="0" algn="ctr">
              <a:buFont typeface="Ubuntu Light" panose="020B0304030602030204" pitchFamily="34" charset="0"/>
              <a:buNone/>
              <a:defRPr lang="nl-NL" sz="1200" kern="1200" dirty="0">
                <a:solidFill>
                  <a:schemeClr val="accent1"/>
                </a:solidFill>
                <a:latin typeface="+mn-lt"/>
                <a:ea typeface="Ubuntu Light" panose="020B0304030602030204" pitchFamily="34" charset="0"/>
                <a:cs typeface="Ubuntu Light" panose="020B0304030602030204" pitchFamily="34" charset="0"/>
              </a:defRPr>
            </a:lvl1pPr>
          </a:lstStyle>
          <a:p>
            <a:pPr lvl="0"/>
            <a:r>
              <a:rPr lang="nl-NL" dirty="0"/>
              <a:t>Header</a:t>
            </a:r>
          </a:p>
        </p:txBody>
      </p:sp>
      <p:sp>
        <p:nvSpPr>
          <p:cNvPr id="47" name="Tijdelijke aanduiding voor tekst 7">
            <a:extLst>
              <a:ext uri="{FF2B5EF4-FFF2-40B4-BE49-F238E27FC236}">
                <a16:creationId xmlns:a16="http://schemas.microsoft.com/office/drawing/2014/main" id="{9BD50813-2BC3-4067-A41D-078D9FCA8242}"/>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1" name="Tijdelijke aanduiding voor tekst 2">
            <a:extLst>
              <a:ext uri="{FF2B5EF4-FFF2-40B4-BE49-F238E27FC236}">
                <a16:creationId xmlns:a16="http://schemas.microsoft.com/office/drawing/2014/main" id="{DC91894E-D09E-45B9-8D16-1ECAEBCD71A8}"/>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334506125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Leeg">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FDD6BF4-F398-43E8-ACFA-0A2EC6044D72}" type="slidenum">
              <a:rPr lang="nl-NL" smtClean="0"/>
              <a:t>‹nr.›</a:t>
            </a:fld>
            <a:endParaRPr lang="nl-NL"/>
          </a:p>
        </p:txBody>
      </p:sp>
      <p:sp>
        <p:nvSpPr>
          <p:cNvPr id="2" name="Footer Placeholder 1">
            <a:extLst>
              <a:ext uri="{FF2B5EF4-FFF2-40B4-BE49-F238E27FC236}">
                <a16:creationId xmlns:a16="http://schemas.microsoft.com/office/drawing/2014/main" id="{534FAF25-D24D-44D2-894E-EBBB949A6FFD}"/>
              </a:ext>
            </a:extLst>
          </p:cNvPr>
          <p:cNvSpPr>
            <a:spLocks noGrp="1"/>
          </p:cNvSpPr>
          <p:nvPr>
            <p:ph type="ftr" sz="quarter" idx="13"/>
          </p:nvPr>
        </p:nvSpPr>
        <p:spPr/>
        <p:txBody>
          <a:bodyPr/>
          <a:lstStyle/>
          <a:p>
            <a:r>
              <a:rPr lang="nl-NL" smtClean="0"/>
              <a:t>Webinar Wet Toekomst Pensioenen</a:t>
            </a:r>
            <a:endParaRPr lang="nl-NL"/>
          </a:p>
        </p:txBody>
      </p:sp>
      <p:sp>
        <p:nvSpPr>
          <p:cNvPr id="5" name="Tijdelijke aanduiding voor tekst 2">
            <a:extLst>
              <a:ext uri="{FF2B5EF4-FFF2-40B4-BE49-F238E27FC236}">
                <a16:creationId xmlns:a16="http://schemas.microsoft.com/office/drawing/2014/main" id="{7A44F8EE-C0E5-45A0-ADE6-DBE42C019653}"/>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5982569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Afsluitin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E06157A-3267-4B7C-B32B-E3F546CB1B9B}"/>
              </a:ext>
            </a:extLst>
          </p:cNvPr>
          <p:cNvSpPr/>
          <p:nvPr/>
        </p:nvSpPr>
        <p:spPr>
          <a:xfrm>
            <a:off x="0" y="1151467"/>
            <a:ext cx="12192000" cy="570653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3200" dirty="0"/>
          </a:p>
        </p:txBody>
      </p:sp>
      <p:sp>
        <p:nvSpPr>
          <p:cNvPr id="19" name="Freeform: Shape 18">
            <a:extLst>
              <a:ext uri="{FF2B5EF4-FFF2-40B4-BE49-F238E27FC236}">
                <a16:creationId xmlns:a16="http://schemas.microsoft.com/office/drawing/2014/main" id="{4ABF5EBF-192F-43EF-8C53-E28C2E7AE74F}"/>
              </a:ext>
            </a:extLst>
          </p:cNvPr>
          <p:cNvSpPr>
            <a:spLocks/>
          </p:cNvSpPr>
          <p:nvPr/>
        </p:nvSpPr>
        <p:spPr bwMode="auto">
          <a:xfrm flipH="1">
            <a:off x="2" y="1151466"/>
            <a:ext cx="12175905" cy="5706535"/>
          </a:xfrm>
          <a:custGeom>
            <a:avLst/>
            <a:gdLst>
              <a:gd name="connsiteX0" fmla="*/ 9131929 w 9131929"/>
              <a:gd name="connsiteY0" fmla="*/ 0 h 4279901"/>
              <a:gd name="connsiteX1" fmla="*/ 2122834 w 9131929"/>
              <a:gd name="connsiteY1" fmla="*/ 0 h 4279901"/>
              <a:gd name="connsiteX2" fmla="*/ 1881429 w 9131929"/>
              <a:gd name="connsiteY2" fmla="*/ 486705 h 4279901"/>
              <a:gd name="connsiteX3" fmla="*/ 67965 w 9131929"/>
              <a:gd name="connsiteY3" fmla="*/ 4142875 h 4279901"/>
              <a:gd name="connsiteX4" fmla="*/ 0 w 9131929"/>
              <a:gd name="connsiteY4" fmla="*/ 4279901 h 4279901"/>
              <a:gd name="connsiteX5" fmla="*/ 6984374 w 9131929"/>
              <a:gd name="connsiteY5" fmla="*/ 4279901 h 4279901"/>
              <a:gd name="connsiteX6" fmla="*/ 7057070 w 9131929"/>
              <a:gd name="connsiteY6" fmla="*/ 4135024 h 4279901"/>
              <a:gd name="connsiteX7" fmla="*/ 9125343 w 9131929"/>
              <a:gd name="connsiteY7" fmla="*/ 13125 h 4279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31929" h="4279901">
                <a:moveTo>
                  <a:pt x="9131929" y="0"/>
                </a:moveTo>
                <a:lnTo>
                  <a:pt x="2122834" y="0"/>
                </a:lnTo>
                <a:lnTo>
                  <a:pt x="1881429" y="486705"/>
                </a:lnTo>
                <a:cubicBezTo>
                  <a:pt x="1202408" y="1855696"/>
                  <a:pt x="600867" y="3068477"/>
                  <a:pt x="67965" y="4142875"/>
                </a:cubicBezTo>
                <a:lnTo>
                  <a:pt x="0" y="4279901"/>
                </a:lnTo>
                <a:lnTo>
                  <a:pt x="6984374" y="4279901"/>
                </a:lnTo>
                <a:lnTo>
                  <a:pt x="7057070" y="4135024"/>
                </a:lnTo>
                <a:cubicBezTo>
                  <a:pt x="8551097" y="1157549"/>
                  <a:pt x="8994027" y="274822"/>
                  <a:pt x="9125343" y="13125"/>
                </a:cubicBezTo>
                <a:close/>
              </a:path>
            </a:pathLst>
          </a:custGeom>
          <a:solidFill>
            <a:srgbClr val="05548D"/>
          </a:solidFill>
          <a:ln>
            <a:noFill/>
          </a:ln>
        </p:spPr>
        <p:txBody>
          <a:bodyPr vert="horz" wrap="square" lIns="121920" tIns="60960" rIns="121920" bIns="60960" numCol="1" anchor="t" anchorCtr="0" compatLnSpc="1">
            <a:prstTxWarp prst="textNoShape">
              <a:avLst/>
            </a:prstTxWarp>
            <a:noAutofit/>
          </a:bodyPr>
          <a:lstStyle/>
          <a:p>
            <a:endParaRPr lang="nl-NL" sz="3200" dirty="0"/>
          </a:p>
        </p:txBody>
      </p:sp>
      <p:sp>
        <p:nvSpPr>
          <p:cNvPr id="2" name="Title 1"/>
          <p:cNvSpPr>
            <a:spLocks noGrp="1"/>
          </p:cNvSpPr>
          <p:nvPr>
            <p:ph type="ctrTitle" hasCustomPrompt="1"/>
          </p:nvPr>
        </p:nvSpPr>
        <p:spPr>
          <a:xfrm>
            <a:off x="2383367" y="1845734"/>
            <a:ext cx="7046384" cy="453457"/>
          </a:xfrm>
          <a:prstGeom prst="rect">
            <a:avLst/>
          </a:prstGeom>
        </p:spPr>
        <p:txBody>
          <a:bodyPr wrap="square" anchor="t" anchorCtr="0">
            <a:spAutoFit/>
          </a:bodyPr>
          <a:lstStyle>
            <a:lvl1pPr algn="l">
              <a:lnSpc>
                <a:spcPct val="85000"/>
              </a:lnSpc>
              <a:defRPr sz="3467">
                <a:solidFill>
                  <a:schemeClr val="bg1"/>
                </a:solidFill>
              </a:defRPr>
            </a:lvl1pPr>
          </a:lstStyle>
          <a:p>
            <a:r>
              <a:rPr lang="nl-NL" dirty="0"/>
              <a:t>Bedankt voor uw aandacht</a:t>
            </a:r>
          </a:p>
        </p:txBody>
      </p:sp>
      <p:sp>
        <p:nvSpPr>
          <p:cNvPr id="3" name="Subtitle 2"/>
          <p:cNvSpPr>
            <a:spLocks noGrp="1"/>
          </p:cNvSpPr>
          <p:nvPr>
            <p:ph type="subTitle" idx="1" hasCustomPrompt="1"/>
          </p:nvPr>
        </p:nvSpPr>
        <p:spPr>
          <a:xfrm>
            <a:off x="2383367" y="3091203"/>
            <a:ext cx="7046384" cy="315044"/>
          </a:xfrm>
        </p:spPr>
        <p:txBody>
          <a:bodyPr wrap="square">
            <a:spAutoFit/>
          </a:bodyPr>
          <a:lstStyle>
            <a:lvl1pPr marL="0" indent="0" algn="l">
              <a:buNone/>
              <a:defRPr sz="200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l-NL" dirty="0"/>
              <a:t>Contactgegevens</a:t>
            </a:r>
          </a:p>
        </p:txBody>
      </p:sp>
      <p:cxnSp>
        <p:nvCxnSpPr>
          <p:cNvPr id="5" name="Straight Connector 4">
            <a:extLst>
              <a:ext uri="{FF2B5EF4-FFF2-40B4-BE49-F238E27FC236}">
                <a16:creationId xmlns:a16="http://schemas.microsoft.com/office/drawing/2014/main" id="{F1DB84A9-5B68-484C-82CF-E77CF0C32F66}"/>
              </a:ext>
            </a:extLst>
          </p:cNvPr>
          <p:cNvCxnSpPr/>
          <p:nvPr/>
        </p:nvCxnSpPr>
        <p:spPr>
          <a:xfrm>
            <a:off x="0" y="1151467"/>
            <a:ext cx="12192000" cy="0"/>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pic>
        <p:nvPicPr>
          <p:cNvPr id="20" name="Picture 19">
            <a:extLst>
              <a:ext uri="{FF2B5EF4-FFF2-40B4-BE49-F238E27FC236}">
                <a16:creationId xmlns:a16="http://schemas.microsoft.com/office/drawing/2014/main" id="{4F608574-EC0E-4936-AEED-ADA71D0CA5CC}"/>
              </a:ext>
            </a:extLst>
          </p:cNvPr>
          <p:cNvPicPr>
            <a:picLocks noChangeAspect="1"/>
          </p:cNvPicPr>
          <p:nvPr/>
        </p:nvPicPr>
        <p:blipFill rotWithShape="1">
          <a:blip r:embed="rId2"/>
          <a:srcRect l="8924" t="8924" r="8924" b="11794"/>
          <a:stretch/>
        </p:blipFill>
        <p:spPr>
          <a:xfrm>
            <a:off x="2286001" y="258636"/>
            <a:ext cx="1978780" cy="721497"/>
          </a:xfrm>
          <a:prstGeom prst="rect">
            <a:avLst/>
          </a:prstGeom>
        </p:spPr>
      </p:pic>
    </p:spTree>
    <p:extLst>
      <p:ext uri="{BB962C8B-B14F-4D97-AF65-F5344CB8AC3E}">
        <p14:creationId xmlns:p14="http://schemas.microsoft.com/office/powerpoint/2010/main" val="248146296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Uitleg template">
    <p:spTree>
      <p:nvGrpSpPr>
        <p:cNvPr id="1" name=""/>
        <p:cNvGrpSpPr/>
        <p:nvPr/>
      </p:nvGrpSpPr>
      <p:grpSpPr>
        <a:xfrm>
          <a:off x="0" y="0"/>
          <a:ext cx="0" cy="0"/>
          <a:chOff x="0" y="0"/>
          <a:chExt cx="0" cy="0"/>
        </a:xfrm>
      </p:grpSpPr>
      <p:pic>
        <p:nvPicPr>
          <p:cNvPr id="30" name="Afbeelding 29">
            <a:extLst>
              <a:ext uri="{FF2B5EF4-FFF2-40B4-BE49-F238E27FC236}">
                <a16:creationId xmlns:a16="http://schemas.microsoft.com/office/drawing/2014/main" id="{B336A25F-C128-487B-872F-1EF01DF3E167}"/>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814917" y="1844713"/>
            <a:ext cx="1823515" cy="4272455"/>
          </a:xfrm>
          <a:prstGeom prst="rect">
            <a:avLst/>
          </a:prstGeom>
          <a:effectLst>
            <a:outerShdw blurRad="63500" sx="101000" sy="101000" algn="ctr" rotWithShape="0">
              <a:prstClr val="black">
                <a:alpha val="20000"/>
              </a:prstClr>
            </a:outerShdw>
          </a:effectLst>
        </p:spPr>
      </p:pic>
      <p:sp>
        <p:nvSpPr>
          <p:cNvPr id="5" name="Title 1">
            <a:extLst>
              <a:ext uri="{FF2B5EF4-FFF2-40B4-BE49-F238E27FC236}">
                <a16:creationId xmlns:a16="http://schemas.microsoft.com/office/drawing/2014/main" id="{DCD17A6D-F621-4580-8F26-40F8CAB32EAC}"/>
              </a:ext>
            </a:extLst>
          </p:cNvPr>
          <p:cNvSpPr txBox="1">
            <a:spLocks/>
          </p:cNvSpPr>
          <p:nvPr/>
        </p:nvSpPr>
        <p:spPr>
          <a:xfrm>
            <a:off x="817035" y="508880"/>
            <a:ext cx="7200000" cy="443198"/>
          </a:xfrm>
          <a:prstGeom prst="rect">
            <a:avLst/>
          </a:prstGeom>
        </p:spPr>
        <p:txBody>
          <a:bodyPr vert="horz" wrap="square" lIns="0" tIns="0" rIns="0" bIns="0" rtlCol="0" anchor="b" anchorCtr="0">
            <a:spAutoFit/>
          </a:bodyPr>
          <a:lstStyle>
            <a:lvl1pPr algn="l" defTabSz="685800" rtl="0" eaLnBrk="1" latinLnBrk="0" hangingPunct="1">
              <a:lnSpc>
                <a:spcPct val="90000"/>
              </a:lnSpc>
              <a:spcBef>
                <a:spcPct val="0"/>
              </a:spcBef>
              <a:buNone/>
              <a:defRPr sz="2600" b="0" kern="1200" cap="all" baseline="0">
                <a:solidFill>
                  <a:schemeClr val="tx1"/>
                </a:solidFill>
                <a:latin typeface="+mj-lt"/>
                <a:ea typeface="+mj-ea"/>
                <a:cs typeface="+mj-cs"/>
              </a:defRPr>
            </a:lvl1pPr>
          </a:lstStyle>
          <a:p>
            <a:r>
              <a:rPr lang="nl-NL" sz="3200" dirty="0"/>
              <a:t>Korte uitleg over de template</a:t>
            </a:r>
          </a:p>
        </p:txBody>
      </p:sp>
      <p:sp>
        <p:nvSpPr>
          <p:cNvPr id="3" name="Vrije vorm 29">
            <a:extLst>
              <a:ext uri="{FF2B5EF4-FFF2-40B4-BE49-F238E27FC236}">
                <a16:creationId xmlns:a16="http://schemas.microsoft.com/office/drawing/2014/main" id="{9E8933A5-E3E6-4514-92DD-3ACA6E7BCFF0}"/>
              </a:ext>
            </a:extLst>
          </p:cNvPr>
          <p:cNvSpPr/>
          <p:nvPr/>
        </p:nvSpPr>
        <p:spPr>
          <a:xfrm>
            <a:off x="4622802" y="6117168"/>
            <a:ext cx="3596639" cy="405553"/>
          </a:xfrm>
          <a:custGeom>
            <a:avLst/>
            <a:gdLst>
              <a:gd name="connsiteX0" fmla="*/ 3310759 w 3310759"/>
              <a:gd name="connsiteY0" fmla="*/ 0 h 938049"/>
              <a:gd name="connsiteX1" fmla="*/ 3310759 w 3310759"/>
              <a:gd name="connsiteY1" fmla="*/ 938049 h 938049"/>
              <a:gd name="connsiteX2" fmla="*/ 0 w 3310759"/>
              <a:gd name="connsiteY2" fmla="*/ 938049 h 938049"/>
            </a:gdLst>
            <a:ahLst/>
            <a:cxnLst>
              <a:cxn ang="0">
                <a:pos x="connsiteX0" y="connsiteY0"/>
              </a:cxn>
              <a:cxn ang="0">
                <a:pos x="connsiteX1" y="connsiteY1"/>
              </a:cxn>
              <a:cxn ang="0">
                <a:pos x="connsiteX2" y="connsiteY2"/>
              </a:cxn>
            </a:cxnLst>
            <a:rect l="l" t="t" r="r" b="b"/>
            <a:pathLst>
              <a:path w="3310759" h="938049">
                <a:moveTo>
                  <a:pt x="3310759" y="0"/>
                </a:moveTo>
                <a:lnTo>
                  <a:pt x="3310759" y="938049"/>
                </a:lnTo>
                <a:lnTo>
                  <a:pt x="0" y="938049"/>
                </a:lnTo>
              </a:path>
            </a:pathLst>
          </a:custGeom>
          <a:noFill/>
          <a:ln>
            <a:solidFill>
              <a:schemeClr val="tx1"/>
            </a:solidFill>
            <a:headEnd type="none" w="med" len="med"/>
            <a:tailEnd type="arrow" w="sm" len="s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949" noProof="0" dirty="0">
              <a:solidFill>
                <a:schemeClr val="tx1"/>
              </a:solidFill>
              <a:latin typeface="+mn-lt"/>
            </a:endParaRPr>
          </a:p>
        </p:txBody>
      </p:sp>
      <p:sp>
        <p:nvSpPr>
          <p:cNvPr id="4" name="Content Placeholder 3">
            <a:extLst>
              <a:ext uri="{FF2B5EF4-FFF2-40B4-BE49-F238E27FC236}">
                <a16:creationId xmlns:a16="http://schemas.microsoft.com/office/drawing/2014/main" id="{E1F6C124-F418-48E8-B25E-68C1AFEEC348}"/>
              </a:ext>
            </a:extLst>
          </p:cNvPr>
          <p:cNvSpPr txBox="1">
            <a:spLocks/>
          </p:cNvSpPr>
          <p:nvPr/>
        </p:nvSpPr>
        <p:spPr>
          <a:xfrm>
            <a:off x="814920" y="1316568"/>
            <a:ext cx="5057561" cy="36503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Wanneer je een </a:t>
            </a:r>
            <a:r>
              <a:rPr lang="nl-NL" sz="1133" b="1" noProof="0" dirty="0">
                <a:solidFill>
                  <a:schemeClr val="tx1"/>
                </a:solidFill>
                <a:latin typeface="+mn-lt"/>
              </a:rPr>
              <a:t>nieuwe presentatie </a:t>
            </a:r>
            <a:r>
              <a:rPr lang="nl-NL" sz="1133" noProof="0" dirty="0">
                <a:solidFill>
                  <a:schemeClr val="tx1"/>
                </a:solidFill>
                <a:latin typeface="+mn-lt"/>
              </a:rPr>
              <a:t>start, staan hierin een aantal basis-dia’s. Deze zijn aan te vullen met diverse dia’s:</a:t>
            </a:r>
          </a:p>
        </p:txBody>
      </p:sp>
      <p:sp>
        <p:nvSpPr>
          <p:cNvPr id="6" name="Content Placeholder 4">
            <a:extLst>
              <a:ext uri="{FF2B5EF4-FFF2-40B4-BE49-F238E27FC236}">
                <a16:creationId xmlns:a16="http://schemas.microsoft.com/office/drawing/2014/main" id="{CA4929E9-2748-4F71-9BB2-88D3BF972835}"/>
              </a:ext>
            </a:extLst>
          </p:cNvPr>
          <p:cNvSpPr txBox="1">
            <a:spLocks/>
          </p:cNvSpPr>
          <p:nvPr/>
        </p:nvSpPr>
        <p:spPr>
          <a:xfrm>
            <a:off x="7998946" y="1316567"/>
            <a:ext cx="3175948" cy="748603"/>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De meeste dia’s bevatten een blokje met verschillende </a:t>
            </a:r>
            <a:r>
              <a:rPr lang="nl-NL" sz="1133" b="1" noProof="0" dirty="0">
                <a:solidFill>
                  <a:schemeClr val="tx1"/>
                </a:solidFill>
                <a:latin typeface="+mn-lt"/>
              </a:rPr>
              <a:t>pictogrammen</a:t>
            </a:r>
            <a:r>
              <a:rPr lang="nl-NL" sz="1133" noProof="0" dirty="0">
                <a:solidFill>
                  <a:schemeClr val="tx1"/>
                </a:solidFill>
                <a:latin typeface="+mn-lt"/>
              </a:rPr>
              <a:t> (‘tijdelijke aanduidingen’). Door op het gewenste pictogram te klikken kun je die inhoud </a:t>
            </a:r>
          </a:p>
        </p:txBody>
      </p:sp>
      <p:sp>
        <p:nvSpPr>
          <p:cNvPr id="7" name="Content Placeholder 3">
            <a:extLst>
              <a:ext uri="{FF2B5EF4-FFF2-40B4-BE49-F238E27FC236}">
                <a16:creationId xmlns:a16="http://schemas.microsoft.com/office/drawing/2014/main" id="{FCFD544F-B37E-4D8A-A686-B520DBA518C1}"/>
              </a:ext>
            </a:extLst>
          </p:cNvPr>
          <p:cNvSpPr txBox="1">
            <a:spLocks/>
          </p:cNvSpPr>
          <p:nvPr/>
        </p:nvSpPr>
        <p:spPr>
          <a:xfrm>
            <a:off x="2997201" y="2113281"/>
            <a:ext cx="2885440" cy="3050002"/>
          </a:xfrm>
          <a:prstGeom prst="rect">
            <a:avLst/>
          </a:prstGeom>
        </p:spPr>
        <p:txBody>
          <a:bodyPr vert="horz" wrap="square" lIns="0" tIns="0" rIns="0" bIns="0" rtlCol="0" anchor="t" anchorCtr="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190834" indent="-190834">
              <a:lnSpc>
                <a:spcPct val="110000"/>
              </a:lnSpc>
              <a:buSzPct val="100000"/>
              <a:buFont typeface="+mj-lt"/>
              <a:buAutoNum type="arabicPeriod"/>
            </a:pPr>
            <a:r>
              <a:rPr lang="nl-NL" sz="1133" noProof="0" dirty="0">
                <a:solidFill>
                  <a:schemeClr val="tx1"/>
                </a:solidFill>
                <a:latin typeface="+mn-lt"/>
              </a:rPr>
              <a:t>Klik op het tabblad ‘</a:t>
            </a:r>
            <a:r>
              <a:rPr lang="nl-NL" sz="1133" b="1" noProof="0" dirty="0">
                <a:solidFill>
                  <a:schemeClr val="tx1"/>
                </a:solidFill>
                <a:latin typeface="+mn-lt"/>
              </a:rPr>
              <a:t>Start</a:t>
            </a:r>
            <a:r>
              <a:rPr lang="nl-NL" sz="1133" noProof="0" dirty="0">
                <a:solidFill>
                  <a:schemeClr val="tx1"/>
                </a:solidFill>
                <a:latin typeface="+mn-lt"/>
              </a:rPr>
              <a:t>’ op ‘</a:t>
            </a:r>
            <a:r>
              <a:rPr lang="nl-NL" sz="1133" b="1" noProof="0" dirty="0">
                <a:solidFill>
                  <a:schemeClr val="tx1"/>
                </a:solidFill>
                <a:latin typeface="+mn-lt"/>
              </a:rPr>
              <a:t>Nieuwe Dia</a:t>
            </a:r>
            <a:r>
              <a:rPr lang="nl-NL" sz="1133" noProof="0" dirty="0">
                <a:solidFill>
                  <a:schemeClr val="tx1"/>
                </a:solidFill>
                <a:latin typeface="+mn-lt"/>
              </a:rPr>
              <a:t>’ (onder het dia-pictogram). Hierdoor worden de indelingsopties weergegeven. </a:t>
            </a: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Klik op een</a:t>
            </a:r>
            <a:r>
              <a:rPr lang="nl-NL" sz="1133" b="1" noProof="0" dirty="0">
                <a:solidFill>
                  <a:schemeClr val="tx1"/>
                </a:solidFill>
                <a:latin typeface="+mn-lt"/>
              </a:rPr>
              <a:t> ‘Dia-indeling’ </a:t>
            </a:r>
            <a:r>
              <a:rPr lang="nl-NL" sz="1133" noProof="0" dirty="0">
                <a:solidFill>
                  <a:schemeClr val="tx1"/>
                </a:solidFill>
                <a:latin typeface="+mn-lt"/>
              </a:rPr>
              <a:t>van je keuze om deze in te voegen. Je voegt dan een ‘lege’ dia in, waarop je je eigen inhoud kunt invullen</a:t>
            </a:r>
            <a:endParaRPr lang="nl-NL" sz="1133" b="1" noProof="0" dirty="0">
              <a:solidFill>
                <a:schemeClr val="accent4"/>
              </a:solidFill>
              <a:latin typeface="+mn-lt"/>
            </a:endParaRP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De indeling van een dia veranderen:</a:t>
            </a:r>
          </a:p>
          <a:p>
            <a:pPr marL="383386" lvl="1" indent="-190834">
              <a:lnSpc>
                <a:spcPct val="110000"/>
              </a:lnSpc>
              <a:buSzPct val="100000"/>
            </a:pPr>
            <a:r>
              <a:rPr lang="nl-NL" sz="1133" noProof="0" dirty="0">
                <a:solidFill>
                  <a:schemeClr val="tx1"/>
                </a:solidFill>
                <a:latin typeface="+mn-lt"/>
              </a:rPr>
              <a:t>Klik op het tabblad ‘</a:t>
            </a:r>
            <a:r>
              <a:rPr lang="nl-NL" sz="1133" b="0" noProof="0" dirty="0">
                <a:solidFill>
                  <a:schemeClr val="tx1"/>
                </a:solidFill>
                <a:latin typeface="+mn-lt"/>
              </a:rPr>
              <a:t>Start</a:t>
            </a:r>
            <a:r>
              <a:rPr lang="nl-NL" sz="1133" noProof="0" dirty="0">
                <a:solidFill>
                  <a:schemeClr val="tx1"/>
                </a:solidFill>
                <a:latin typeface="+mn-lt"/>
              </a:rPr>
              <a:t>’ op ‘</a:t>
            </a:r>
            <a:r>
              <a:rPr lang="nl-NL" sz="1133" b="1" noProof="0" dirty="0">
                <a:solidFill>
                  <a:schemeClr val="tx1"/>
                </a:solidFill>
                <a:latin typeface="+mn-lt"/>
              </a:rPr>
              <a:t>Indeling</a:t>
            </a:r>
            <a:r>
              <a:rPr lang="nl-NL" sz="1133" noProof="0" dirty="0">
                <a:solidFill>
                  <a:schemeClr val="tx1"/>
                </a:solidFill>
                <a:latin typeface="+mn-lt"/>
              </a:rPr>
              <a:t>’.</a:t>
            </a:r>
          </a:p>
          <a:p>
            <a:pPr marL="383386" lvl="1" indent="-190834">
              <a:lnSpc>
                <a:spcPct val="110000"/>
              </a:lnSpc>
              <a:buSzPct val="100000"/>
            </a:pPr>
            <a:r>
              <a:rPr lang="nl-NL" sz="1133" noProof="0" dirty="0">
                <a:solidFill>
                  <a:schemeClr val="tx1"/>
                </a:solidFill>
                <a:latin typeface="+mn-lt"/>
              </a:rPr>
              <a:t>Kies een andere Indeling</a:t>
            </a:r>
            <a:r>
              <a:rPr lang="nl-NL" sz="1133" baseline="0" noProof="0" dirty="0">
                <a:solidFill>
                  <a:schemeClr val="tx1"/>
                </a:solidFill>
                <a:latin typeface="+mn-lt"/>
              </a:rPr>
              <a:t> uit de lijst en deze wordt toegepast</a:t>
            </a:r>
            <a:endParaRPr lang="nl-NL" sz="1133" noProof="0" dirty="0">
              <a:solidFill>
                <a:schemeClr val="tx1"/>
              </a:solidFill>
              <a:latin typeface="+mn-lt"/>
            </a:endParaRPr>
          </a:p>
          <a:p>
            <a:pPr marL="190834" indent="-190834">
              <a:lnSpc>
                <a:spcPct val="110000"/>
              </a:lnSpc>
              <a:buSzPct val="100000"/>
              <a:buFont typeface="+mj-lt"/>
              <a:buAutoNum type="arabicPeriod"/>
            </a:pPr>
            <a:endParaRPr lang="nl-NL" sz="1133" noProof="0" dirty="0">
              <a:solidFill>
                <a:schemeClr val="tx1"/>
              </a:solidFill>
              <a:latin typeface="+mn-lt"/>
            </a:endParaRPr>
          </a:p>
          <a:p>
            <a:pPr marL="190834" indent="-190834">
              <a:lnSpc>
                <a:spcPct val="110000"/>
              </a:lnSpc>
              <a:buSzPct val="100000"/>
              <a:buFont typeface="+mj-lt"/>
              <a:buAutoNum type="arabicPeriod"/>
            </a:pPr>
            <a:r>
              <a:rPr lang="nl-NL" sz="1133" noProof="0" dirty="0">
                <a:solidFill>
                  <a:schemeClr val="tx1"/>
                </a:solidFill>
                <a:latin typeface="+mn-lt"/>
              </a:rPr>
              <a:t>De ‘</a:t>
            </a:r>
            <a:r>
              <a:rPr lang="nl-NL" sz="1133" b="1" noProof="0" dirty="0">
                <a:solidFill>
                  <a:schemeClr val="tx1"/>
                </a:solidFill>
                <a:latin typeface="+mn-lt"/>
              </a:rPr>
              <a:t>Opnieuw</a:t>
            </a:r>
            <a:r>
              <a:rPr lang="nl-NL" sz="1133" b="1" baseline="0" noProof="0" dirty="0">
                <a:solidFill>
                  <a:schemeClr val="tx1"/>
                </a:solidFill>
                <a:latin typeface="+mn-lt"/>
              </a:rPr>
              <a:t> instellen</a:t>
            </a:r>
            <a:r>
              <a:rPr lang="nl-NL" sz="1133" noProof="0" dirty="0">
                <a:solidFill>
                  <a:schemeClr val="tx1"/>
                </a:solidFill>
                <a:latin typeface="+mn-lt"/>
              </a:rPr>
              <a:t>’-knop past de huidige indeling opnieuw toe. </a:t>
            </a:r>
          </a:p>
        </p:txBody>
      </p:sp>
      <p:sp>
        <p:nvSpPr>
          <p:cNvPr id="8" name="Content Placeholder 4">
            <a:extLst>
              <a:ext uri="{FF2B5EF4-FFF2-40B4-BE49-F238E27FC236}">
                <a16:creationId xmlns:a16="http://schemas.microsoft.com/office/drawing/2014/main" id="{473E0ECD-4AAE-4CC2-8C8E-861EE883B07E}"/>
              </a:ext>
            </a:extLst>
          </p:cNvPr>
          <p:cNvSpPr txBox="1">
            <a:spLocks/>
          </p:cNvSpPr>
          <p:nvPr/>
        </p:nvSpPr>
        <p:spPr>
          <a:xfrm>
            <a:off x="6680901" y="2099435"/>
            <a:ext cx="4493993" cy="940386"/>
          </a:xfrm>
          <a:prstGeom prst="rect">
            <a:avLst/>
          </a:prstGeom>
        </p:spPr>
        <p:txBody>
          <a:bodyPr wrap="square" lIns="0" tIns="0" rIns="0" bIns="0">
            <a:spAutoFit/>
          </a:bodyPr>
          <a:lstStyle>
            <a:lvl1pPr marL="269875" indent="-269875" algn="l" defTabSz="914400" rtl="0" eaLnBrk="1" latinLnBrk="0" hangingPunct="1">
              <a:lnSpc>
                <a:spcPct val="120000"/>
              </a:lnSpc>
              <a:spcBef>
                <a:spcPts val="0"/>
              </a:spcBef>
              <a:buSzPct val="80000"/>
              <a:buFontTx/>
              <a:buBlip>
                <a:blip r:embed="rId7"/>
              </a:buBlip>
              <a:defRPr sz="1000" kern="1200">
                <a:solidFill>
                  <a:schemeClr val="tx2"/>
                </a:solidFill>
                <a:latin typeface="+mn-lt"/>
                <a:ea typeface="+mn-ea"/>
                <a:cs typeface="+mn-cs"/>
              </a:defRPr>
            </a:lvl1pPr>
            <a:lvl2pPr marL="447675" indent="-1778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2pPr>
            <a:lvl3pPr marL="628650" indent="-180975"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3pPr>
            <a:lvl4pPr marL="806450" indent="-177800" algn="l" defTabSz="914400" rtl="0" eaLnBrk="1" latinLnBrk="0" hangingPunct="1">
              <a:lnSpc>
                <a:spcPct val="120000"/>
              </a:lnSpc>
              <a:spcBef>
                <a:spcPts val="0"/>
              </a:spcBef>
              <a:buFont typeface="Ubuntu" panose="020B0504030602030204" pitchFamily="34" charset="0"/>
              <a:buChar char="·"/>
              <a:defRPr sz="1000" kern="1200">
                <a:solidFill>
                  <a:schemeClr val="tx2"/>
                </a:solidFill>
                <a:latin typeface="+mn-lt"/>
                <a:ea typeface="+mn-ea"/>
                <a:cs typeface="+mn-cs"/>
              </a:defRPr>
            </a:lvl4pPr>
            <a:lvl5pPr marL="2057400" indent="-228600" algn="l" defTabSz="914400" rtl="0" eaLnBrk="1" latinLnBrk="0" hangingPunct="1">
              <a:lnSpc>
                <a:spcPct val="120000"/>
              </a:lnSpc>
              <a:spcBef>
                <a:spcPts val="0"/>
              </a:spcBef>
              <a:buFont typeface="Ubuntu Light" panose="020B0304030602030204" pitchFamily="34" charset="0"/>
              <a:buChar char="»"/>
              <a:defRPr sz="1000" kern="1200">
                <a:solidFill>
                  <a:schemeClr val="tx2"/>
                </a:solidFill>
                <a:latin typeface="+mn-lt"/>
                <a:ea typeface="+mn-ea"/>
                <a:cs typeface="+mn-cs"/>
              </a:defRPr>
            </a:lvl5pPr>
            <a:lvl6pPr marL="25146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Ubuntu Light" panose="020B0304030602030204" pitchFamily="34" charset="0"/>
              <a:buChar char="•"/>
              <a:defRPr sz="2000" kern="1200">
                <a:solidFill>
                  <a:schemeClr val="tx1"/>
                </a:solidFill>
                <a:latin typeface="+mn-lt"/>
                <a:ea typeface="+mn-ea"/>
                <a:cs typeface="+mn-cs"/>
              </a:defRPr>
            </a:lvl9pPr>
          </a:lstStyle>
          <a:p>
            <a:pPr marL="0" indent="0">
              <a:lnSpc>
                <a:spcPct val="110000"/>
              </a:lnSpc>
              <a:buFontTx/>
              <a:buNone/>
            </a:pPr>
            <a:r>
              <a:rPr lang="nl-NL" sz="1133" noProof="0" dirty="0">
                <a:solidFill>
                  <a:schemeClr val="tx1"/>
                </a:solidFill>
                <a:latin typeface="+mn-lt"/>
              </a:rPr>
              <a:t>invoegen, bijvoorbeeld een tabel, een grafiek of een afbeelding uit bestand. Je kunt de pictogrammen ook negeren en gewoon een tekst typen. Bij tijdelijke aanduidingen met alleen het </a:t>
            </a:r>
            <a:r>
              <a:rPr lang="nl-NL" sz="1133" b="1" noProof="0" dirty="0" err="1">
                <a:solidFill>
                  <a:schemeClr val="tx1"/>
                </a:solidFill>
                <a:latin typeface="+mn-lt"/>
              </a:rPr>
              <a:t>Afbeeldings</a:t>
            </a:r>
            <a:r>
              <a:rPr lang="nl-NL" sz="1133" b="1" noProof="0" dirty="0">
                <a:solidFill>
                  <a:schemeClr val="tx1"/>
                </a:solidFill>
                <a:latin typeface="+mn-lt"/>
              </a:rPr>
              <a:t>-pictogram</a:t>
            </a:r>
            <a:r>
              <a:rPr lang="nl-NL" sz="1133" noProof="0" dirty="0">
                <a:solidFill>
                  <a:schemeClr val="tx1"/>
                </a:solidFill>
                <a:latin typeface="+mn-lt"/>
              </a:rPr>
              <a:t> (met grijze achtergrond) worden de foto’s op maat gemaakt.</a:t>
            </a:r>
          </a:p>
        </p:txBody>
      </p:sp>
      <p:sp>
        <p:nvSpPr>
          <p:cNvPr id="10" name="Content Placeholder 6">
            <a:extLst>
              <a:ext uri="{FF2B5EF4-FFF2-40B4-BE49-F238E27FC236}">
                <a16:creationId xmlns:a16="http://schemas.microsoft.com/office/drawing/2014/main" id="{00FF0DAC-F67F-4B88-B398-F25501B4C5F3}"/>
              </a:ext>
            </a:extLst>
          </p:cNvPr>
          <p:cNvSpPr txBox="1">
            <a:spLocks/>
          </p:cNvSpPr>
          <p:nvPr>
            <p:custDataLst>
              <p:tags r:id="rId1"/>
            </p:custDataLst>
          </p:nvPr>
        </p:nvSpPr>
        <p:spPr>
          <a:xfrm>
            <a:off x="6680900" y="5329905"/>
            <a:ext cx="4696181" cy="365036"/>
          </a:xfrm>
          <a:prstGeom prst="rect">
            <a:avLst/>
          </a:prstGeom>
        </p:spPr>
        <p:txBody>
          <a:bodyPr wrap="square" lIns="0" tIns="0" rIns="0" bIns="0">
            <a:spAutoFit/>
          </a:bodyPr>
          <a:lstStyle>
            <a:defPPr>
              <a:defRPr lang="nl-NL"/>
            </a:defPPr>
            <a:lvl1pPr indent="0">
              <a:lnSpc>
                <a:spcPct val="120000"/>
              </a:lnSpc>
              <a:spcBef>
                <a:spcPts val="0"/>
              </a:spcBef>
              <a:buSzPct val="80000"/>
              <a:buFontTx/>
              <a:buNone/>
              <a:defRPr sz="1000">
                <a:solidFill>
                  <a:schemeClr val="tx2"/>
                </a:solidFill>
              </a:defRPr>
            </a:lvl1pPr>
            <a:lvl2pPr marL="447675" indent="-177800">
              <a:lnSpc>
                <a:spcPct val="120000"/>
              </a:lnSpc>
              <a:spcBef>
                <a:spcPts val="0"/>
              </a:spcBef>
              <a:buFont typeface="Ubuntu Light" panose="020B0304030602030204" pitchFamily="34" charset="0"/>
              <a:buChar char="•"/>
              <a:defRPr sz="1000">
                <a:solidFill>
                  <a:schemeClr val="tx2"/>
                </a:solidFill>
              </a:defRPr>
            </a:lvl2pPr>
            <a:lvl3pPr marL="628650" indent="-180975">
              <a:lnSpc>
                <a:spcPct val="120000"/>
              </a:lnSpc>
              <a:spcBef>
                <a:spcPts val="0"/>
              </a:spcBef>
              <a:buFont typeface="Ubuntu" panose="020B0504030602030204" pitchFamily="34" charset="0"/>
              <a:buChar char="-"/>
              <a:defRPr sz="1000">
                <a:solidFill>
                  <a:schemeClr val="tx2"/>
                </a:solidFill>
              </a:defRPr>
            </a:lvl3pPr>
            <a:lvl4pPr marL="806450" indent="-177800">
              <a:lnSpc>
                <a:spcPct val="120000"/>
              </a:lnSpc>
              <a:spcBef>
                <a:spcPts val="0"/>
              </a:spcBef>
              <a:buFont typeface="Ubuntu" panose="020B0504030602030204" pitchFamily="34" charset="0"/>
              <a:buChar char="·"/>
              <a:defRPr sz="1000">
                <a:solidFill>
                  <a:schemeClr val="tx2"/>
                </a:solidFill>
              </a:defRPr>
            </a:lvl4pPr>
            <a:lvl5pPr marL="2057400" indent="-228600">
              <a:lnSpc>
                <a:spcPct val="120000"/>
              </a:lnSpc>
              <a:spcBef>
                <a:spcPts val="0"/>
              </a:spcBef>
              <a:buFont typeface="Ubuntu Light" panose="020B0304030602030204" pitchFamily="34" charset="0"/>
              <a:buChar char="»"/>
              <a:defRPr sz="1000">
                <a:solidFill>
                  <a:schemeClr val="tx2"/>
                </a:solidFill>
              </a:defRPr>
            </a:lvl5pPr>
            <a:lvl6pPr marL="2514600" indent="-228600">
              <a:spcBef>
                <a:spcPct val="20000"/>
              </a:spcBef>
              <a:buFont typeface="Ubuntu Light" panose="020B0304030602030204" pitchFamily="34" charset="0"/>
              <a:buChar char="•"/>
              <a:defRPr sz="2000"/>
            </a:lvl6pPr>
            <a:lvl7pPr marL="2971800" indent="-228600">
              <a:spcBef>
                <a:spcPct val="20000"/>
              </a:spcBef>
              <a:buFont typeface="Ubuntu Light" panose="020B0304030602030204" pitchFamily="34" charset="0"/>
              <a:buChar char="•"/>
              <a:defRPr sz="2000"/>
            </a:lvl7pPr>
            <a:lvl8pPr marL="3429000" indent="-228600">
              <a:spcBef>
                <a:spcPct val="20000"/>
              </a:spcBef>
              <a:buFont typeface="Ubuntu Light" panose="020B0304030602030204" pitchFamily="34" charset="0"/>
              <a:buChar char="•"/>
              <a:defRPr sz="2000"/>
            </a:lvl8pPr>
            <a:lvl9pPr marL="3886200" indent="-228600">
              <a:spcBef>
                <a:spcPct val="20000"/>
              </a:spcBef>
              <a:buFont typeface="Ubuntu Light" panose="020B0304030602030204" pitchFamily="34" charset="0"/>
              <a:buChar char="•"/>
              <a:defRPr sz="2000"/>
            </a:lvl9pPr>
          </a:lstStyle>
          <a:p>
            <a:pPr>
              <a:lnSpc>
                <a:spcPct val="110000"/>
              </a:lnSpc>
            </a:pPr>
            <a:r>
              <a:rPr lang="nl-NL" sz="1133" noProof="0" dirty="0">
                <a:solidFill>
                  <a:schemeClr val="tx1"/>
                </a:solidFill>
                <a:latin typeface="+mn-lt"/>
              </a:rPr>
              <a:t>Vul de </a:t>
            </a:r>
            <a:r>
              <a:rPr lang="nl-NL" sz="1133" b="1" noProof="0" dirty="0">
                <a:solidFill>
                  <a:schemeClr val="tx1"/>
                </a:solidFill>
                <a:latin typeface="+mn-lt"/>
              </a:rPr>
              <a:t>Presentatietitel </a:t>
            </a:r>
            <a:r>
              <a:rPr lang="nl-NL" sz="1133" b="0" noProof="0" dirty="0">
                <a:solidFill>
                  <a:schemeClr val="tx1"/>
                </a:solidFill>
                <a:latin typeface="+mn-lt"/>
              </a:rPr>
              <a:t>(links</a:t>
            </a:r>
            <a:r>
              <a:rPr lang="nl-NL" sz="1133" noProof="0" dirty="0">
                <a:solidFill>
                  <a:schemeClr val="tx1"/>
                </a:solidFill>
                <a:latin typeface="+mn-lt"/>
              </a:rPr>
              <a:t>onder op de dia) in via tabblad Invoegen – Koptekst en voettekst. Wanneer je geen voettekst wilt, vink je deze uit.</a:t>
            </a:r>
          </a:p>
        </p:txBody>
      </p:sp>
      <p:pic>
        <p:nvPicPr>
          <p:cNvPr id="12" name="Picture 7" descr="Pictogrammen in de indeling Titel en object">
            <a:extLst>
              <a:ext uri="{FF2B5EF4-FFF2-40B4-BE49-F238E27FC236}">
                <a16:creationId xmlns:a16="http://schemas.microsoft.com/office/drawing/2014/main" id="{56654791-B6BB-402C-BECF-4A15B885FA09}"/>
              </a:ext>
            </a:extLst>
          </p:cNvPr>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6680900" y="1316567"/>
            <a:ext cx="1036629" cy="7261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Oval 16">
            <a:extLst>
              <a:ext uri="{FF2B5EF4-FFF2-40B4-BE49-F238E27FC236}">
                <a16:creationId xmlns:a16="http://schemas.microsoft.com/office/drawing/2014/main" id="{1409AC04-90E7-4088-883C-9BDDA1C36C04}"/>
              </a:ext>
            </a:extLst>
          </p:cNvPr>
          <p:cNvSpPr/>
          <p:nvPr/>
        </p:nvSpPr>
        <p:spPr>
          <a:xfrm>
            <a:off x="2212432" y="2986433"/>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2</a:t>
            </a:r>
          </a:p>
        </p:txBody>
      </p:sp>
      <p:sp>
        <p:nvSpPr>
          <p:cNvPr id="17" name="Oval 16">
            <a:extLst>
              <a:ext uri="{FF2B5EF4-FFF2-40B4-BE49-F238E27FC236}">
                <a16:creationId xmlns:a16="http://schemas.microsoft.com/office/drawing/2014/main" id="{EB06F69A-9647-4B60-9ECA-38CCCE5FD725}"/>
              </a:ext>
            </a:extLst>
          </p:cNvPr>
          <p:cNvSpPr/>
          <p:nvPr/>
        </p:nvSpPr>
        <p:spPr>
          <a:xfrm>
            <a:off x="1667936" y="1764981"/>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3</a:t>
            </a:r>
          </a:p>
        </p:txBody>
      </p:sp>
      <p:sp>
        <p:nvSpPr>
          <p:cNvPr id="18" name="Oval 16">
            <a:extLst>
              <a:ext uri="{FF2B5EF4-FFF2-40B4-BE49-F238E27FC236}">
                <a16:creationId xmlns:a16="http://schemas.microsoft.com/office/drawing/2014/main" id="{FB726360-82D8-44CC-9455-B9354799AD0B}"/>
              </a:ext>
            </a:extLst>
          </p:cNvPr>
          <p:cNvSpPr/>
          <p:nvPr/>
        </p:nvSpPr>
        <p:spPr>
          <a:xfrm>
            <a:off x="1920036" y="1906715"/>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4</a:t>
            </a:r>
          </a:p>
        </p:txBody>
      </p:sp>
      <p:sp>
        <p:nvSpPr>
          <p:cNvPr id="15" name="Oval 1">
            <a:extLst>
              <a:ext uri="{FF2B5EF4-FFF2-40B4-BE49-F238E27FC236}">
                <a16:creationId xmlns:a16="http://schemas.microsoft.com/office/drawing/2014/main" id="{84B57F74-4446-44C7-BA9E-026BDB2D5389}"/>
              </a:ext>
            </a:extLst>
          </p:cNvPr>
          <p:cNvSpPr/>
          <p:nvPr/>
        </p:nvSpPr>
        <p:spPr>
          <a:xfrm>
            <a:off x="824215" y="1807565"/>
            <a:ext cx="246768" cy="246687"/>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b" anchorCtr="0"/>
          <a:lstStyle/>
          <a:p>
            <a:pPr algn="ctr">
              <a:lnSpc>
                <a:spcPct val="120000"/>
              </a:lnSpc>
            </a:pPr>
            <a:r>
              <a:rPr lang="nl-NL" sz="1300" b="1" noProof="0" dirty="0">
                <a:solidFill>
                  <a:schemeClr val="bg1"/>
                </a:solidFill>
                <a:latin typeface="+mn-lt"/>
              </a:rPr>
              <a:t>1</a:t>
            </a:r>
          </a:p>
        </p:txBody>
      </p:sp>
      <p:pic>
        <p:nvPicPr>
          <p:cNvPr id="24" name="Afbeelding 34">
            <a:extLst>
              <a:ext uri="{FF2B5EF4-FFF2-40B4-BE49-F238E27FC236}">
                <a16:creationId xmlns:a16="http://schemas.microsoft.com/office/drawing/2014/main" id="{E9B41ACA-83A8-40E4-9E54-D2D61030132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a:stretch/>
        </p:blipFill>
        <p:spPr>
          <a:xfrm>
            <a:off x="6680901" y="5794330"/>
            <a:ext cx="3060084" cy="325247"/>
          </a:xfrm>
          <a:prstGeom prst="rect">
            <a:avLst/>
          </a:prstGeom>
          <a:effectLst>
            <a:outerShdw blurRad="63500" sx="102000" sy="102000" algn="ctr" rotWithShape="0">
              <a:prstClr val="black">
                <a:alpha val="20000"/>
              </a:prstClr>
            </a:outerShdw>
          </a:effectLst>
        </p:spPr>
      </p:pic>
      <p:sp>
        <p:nvSpPr>
          <p:cNvPr id="25" name="Footer Placeholder 2">
            <a:extLst>
              <a:ext uri="{FF2B5EF4-FFF2-40B4-BE49-F238E27FC236}">
                <a16:creationId xmlns:a16="http://schemas.microsoft.com/office/drawing/2014/main" id="{824D3006-F403-4441-8A07-7EDF87ACA499}"/>
              </a:ext>
            </a:extLst>
          </p:cNvPr>
          <p:cNvSpPr txBox="1">
            <a:spLocks/>
          </p:cNvSpPr>
          <p:nvPr/>
        </p:nvSpPr>
        <p:spPr>
          <a:xfrm>
            <a:off x="814917" y="6433727"/>
            <a:ext cx="4848000" cy="164212"/>
          </a:xfrm>
          <a:prstGeom prst="rect">
            <a:avLst/>
          </a:prstGeom>
        </p:spPr>
        <p:txBody>
          <a:bodyPr vert="horz" wrap="square" lIns="0" tIns="0" rIns="0" bIns="0" rtlCol="0" anchor="ctr">
            <a:spAutoFit/>
          </a:bodyPr>
          <a:lstStyle>
            <a:defPPr>
              <a:defRPr lang="en-US"/>
            </a:defPPr>
            <a:lvl1pPr marL="0" algn="l" defTabSz="457200" rtl="0" eaLnBrk="1" latinLnBrk="0" hangingPunct="1">
              <a:defRPr sz="8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l-NL" sz="1067" dirty="0"/>
              <a:t>Vul de presentatietitel in via Invoegen - Koptekst en voettekst</a:t>
            </a:r>
          </a:p>
        </p:txBody>
      </p:sp>
      <p:sp>
        <p:nvSpPr>
          <p:cNvPr id="27" name="Content Placeholder 6">
            <a:extLst>
              <a:ext uri="{FF2B5EF4-FFF2-40B4-BE49-F238E27FC236}">
                <a16:creationId xmlns:a16="http://schemas.microsoft.com/office/drawing/2014/main" id="{68F2A257-FDA0-461C-B3AE-037BB75EA36B}"/>
              </a:ext>
            </a:extLst>
          </p:cNvPr>
          <p:cNvSpPr txBox="1">
            <a:spLocks/>
          </p:cNvSpPr>
          <p:nvPr>
            <p:custDataLst>
              <p:tags r:id="rId3"/>
            </p:custDataLst>
          </p:nvPr>
        </p:nvSpPr>
        <p:spPr>
          <a:xfrm>
            <a:off x="6680901" y="3316923"/>
            <a:ext cx="2151948" cy="173253"/>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5pPr>
            <a:lvl6pPr marL="2514600" indent="-228600">
              <a:spcBef>
                <a:spcPct val="20000"/>
              </a:spcBef>
              <a:buFont typeface="Ubuntu Light" panose="020B0304030602030204" pitchFamily="34" charset="0"/>
              <a:buChar char="•"/>
              <a:defRPr sz="2000">
                <a:latin typeface="+mn-lt"/>
                <a:cs typeface="+mn-cs"/>
              </a:defRPr>
            </a:lvl6pPr>
            <a:lvl7pPr marL="2971800" indent="-228600">
              <a:spcBef>
                <a:spcPct val="20000"/>
              </a:spcBef>
              <a:buFont typeface="Ubuntu Light" panose="020B0304030602030204" pitchFamily="34" charset="0"/>
              <a:buChar char="•"/>
              <a:defRPr sz="2000">
                <a:latin typeface="+mn-lt"/>
                <a:cs typeface="+mn-cs"/>
              </a:defRPr>
            </a:lvl7pPr>
            <a:lvl8pPr marL="3429000" indent="-228600">
              <a:spcBef>
                <a:spcPct val="20000"/>
              </a:spcBef>
              <a:buFont typeface="Ubuntu Light" panose="020B0304030602030204" pitchFamily="34" charset="0"/>
              <a:buChar char="•"/>
              <a:defRPr sz="2000">
                <a:latin typeface="+mn-lt"/>
                <a:cs typeface="+mn-cs"/>
              </a:defRPr>
            </a:lvl8pPr>
            <a:lvl9pPr marL="3886200" indent="-228600">
              <a:spcBef>
                <a:spcPct val="20000"/>
              </a:spcBef>
              <a:buFont typeface="Ubuntu Light" panose="020B0304030602030204" pitchFamily="34" charset="0"/>
              <a:buChar char="•"/>
              <a:defRPr sz="2000">
                <a:latin typeface="+mn-lt"/>
                <a:cs typeface="+mn-cs"/>
              </a:defRPr>
            </a:lvl9pPr>
          </a:lstStyle>
          <a:p>
            <a:pPr lvl="0">
              <a:lnSpc>
                <a:spcPct val="110000"/>
              </a:lnSpc>
            </a:pPr>
            <a:r>
              <a:rPr lang="nl-NL" sz="1133" noProof="0" dirty="0">
                <a:solidFill>
                  <a:schemeClr val="tx1"/>
                </a:solidFill>
              </a:rPr>
              <a:t>De </a:t>
            </a:r>
            <a:r>
              <a:rPr lang="nl-NL" sz="1133" b="1" noProof="0" dirty="0">
                <a:solidFill>
                  <a:schemeClr val="tx1"/>
                </a:solidFill>
              </a:rPr>
              <a:t>themakleuren</a:t>
            </a:r>
            <a:r>
              <a:rPr lang="nl-NL" sz="1133" noProof="0" dirty="0">
                <a:solidFill>
                  <a:schemeClr val="tx1"/>
                </a:solidFill>
              </a:rPr>
              <a:t> van Triple A</a:t>
            </a:r>
          </a:p>
        </p:txBody>
      </p:sp>
      <p:pic>
        <p:nvPicPr>
          <p:cNvPr id="2" name="Picture 1">
            <a:extLst>
              <a:ext uri="{FF2B5EF4-FFF2-40B4-BE49-F238E27FC236}">
                <a16:creationId xmlns:a16="http://schemas.microsoft.com/office/drawing/2014/main" id="{7BBCB446-4BCB-4506-A8FD-76CA6BF3A671}"/>
              </a:ext>
            </a:extLst>
          </p:cNvPr>
          <p:cNvPicPr>
            <a:picLocks noChangeAspect="1"/>
          </p:cNvPicPr>
          <p:nvPr/>
        </p:nvPicPr>
        <p:blipFill rotWithShape="1">
          <a:blip r:embed="rId10">
            <a:extLst>
              <a:ext uri="{28A0092B-C50C-407E-A947-70E740481C1C}">
                <a14:useLocalDpi xmlns:a14="http://schemas.microsoft.com/office/drawing/2010/main" val="0"/>
              </a:ext>
            </a:extLst>
          </a:blip>
          <a:srcRect/>
          <a:stretch/>
        </p:blipFill>
        <p:spPr>
          <a:xfrm>
            <a:off x="6680900" y="3662571"/>
            <a:ext cx="2200349" cy="1416000"/>
          </a:xfrm>
          <a:prstGeom prst="rect">
            <a:avLst/>
          </a:prstGeom>
          <a:effectLst>
            <a:outerShdw blurRad="63500" sx="102000" sy="102000" algn="ctr" rotWithShape="0">
              <a:prstClr val="black">
                <a:alpha val="20000"/>
              </a:prstClr>
            </a:outerShdw>
          </a:effectLst>
        </p:spPr>
      </p:pic>
      <p:grpSp>
        <p:nvGrpSpPr>
          <p:cNvPr id="9" name="Groep 8">
            <a:extLst>
              <a:ext uri="{FF2B5EF4-FFF2-40B4-BE49-F238E27FC236}">
                <a16:creationId xmlns:a16="http://schemas.microsoft.com/office/drawing/2014/main" id="{D0E8B2C3-010B-429C-B444-F5B5705CE71C}"/>
              </a:ext>
            </a:extLst>
          </p:cNvPr>
          <p:cNvGrpSpPr/>
          <p:nvPr/>
        </p:nvGrpSpPr>
        <p:grpSpPr>
          <a:xfrm>
            <a:off x="9080500" y="3662571"/>
            <a:ext cx="2296584" cy="1416000"/>
            <a:chOff x="6916783" y="2707096"/>
            <a:chExt cx="2024380" cy="1676400"/>
          </a:xfrm>
        </p:grpSpPr>
        <p:sp>
          <p:nvSpPr>
            <p:cNvPr id="20" name="Rechthoek 19">
              <a:extLst>
                <a:ext uri="{FF2B5EF4-FFF2-40B4-BE49-F238E27FC236}">
                  <a16:creationId xmlns:a16="http://schemas.microsoft.com/office/drawing/2014/main" id="{CA335D72-ACA1-4D65-B439-CC9B891944FD}"/>
                </a:ext>
              </a:extLst>
            </p:cNvPr>
            <p:cNvSpPr/>
            <p:nvPr userDrawn="1"/>
          </p:nvSpPr>
          <p:spPr>
            <a:xfrm>
              <a:off x="7617823" y="2707096"/>
              <a:ext cx="622300" cy="8001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211</a:t>
              </a:r>
            </a:p>
            <a:p>
              <a:pPr algn="ctr">
                <a:lnSpc>
                  <a:spcPct val="95000"/>
                </a:lnSpc>
              </a:pPr>
              <a:r>
                <a:rPr lang="nl-NL" sz="1133" dirty="0"/>
                <a:t>159</a:t>
              </a:r>
            </a:p>
            <a:p>
              <a:pPr algn="ctr">
                <a:lnSpc>
                  <a:spcPct val="95000"/>
                </a:lnSpc>
              </a:pPr>
              <a:r>
                <a:rPr lang="nl-NL" sz="1133" dirty="0"/>
                <a:t>39</a:t>
              </a:r>
            </a:p>
          </p:txBody>
        </p:sp>
        <p:sp>
          <p:nvSpPr>
            <p:cNvPr id="21" name="Rechthoek 20">
              <a:extLst>
                <a:ext uri="{FF2B5EF4-FFF2-40B4-BE49-F238E27FC236}">
                  <a16:creationId xmlns:a16="http://schemas.microsoft.com/office/drawing/2014/main" id="{3C36466A-1B6B-4F40-B07C-225D6D907007}"/>
                </a:ext>
              </a:extLst>
            </p:cNvPr>
            <p:cNvSpPr/>
            <p:nvPr userDrawn="1"/>
          </p:nvSpPr>
          <p:spPr>
            <a:xfrm>
              <a:off x="8318863" y="2707096"/>
              <a:ext cx="622300" cy="800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115</a:t>
              </a:r>
            </a:p>
            <a:p>
              <a:pPr algn="ctr">
                <a:lnSpc>
                  <a:spcPct val="95000"/>
                </a:lnSpc>
              </a:pPr>
              <a:r>
                <a:rPr lang="nl-NL" sz="1133" dirty="0"/>
                <a:t>171</a:t>
              </a:r>
            </a:p>
          </p:txBody>
        </p:sp>
        <p:sp>
          <p:nvSpPr>
            <p:cNvPr id="22" name="Rechthoek 21">
              <a:extLst>
                <a:ext uri="{FF2B5EF4-FFF2-40B4-BE49-F238E27FC236}">
                  <a16:creationId xmlns:a16="http://schemas.microsoft.com/office/drawing/2014/main" id="{F894B841-E76C-4125-8622-DDE3E898D44F}"/>
                </a:ext>
              </a:extLst>
            </p:cNvPr>
            <p:cNvSpPr/>
            <p:nvPr userDrawn="1"/>
          </p:nvSpPr>
          <p:spPr>
            <a:xfrm>
              <a:off x="6916783" y="2707096"/>
              <a:ext cx="622300" cy="800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54</a:t>
              </a:r>
            </a:p>
            <a:p>
              <a:pPr algn="ctr">
                <a:lnSpc>
                  <a:spcPct val="95000"/>
                </a:lnSpc>
              </a:pPr>
              <a:r>
                <a:rPr lang="nl-NL" sz="1133" dirty="0"/>
                <a:t>94</a:t>
              </a:r>
            </a:p>
          </p:txBody>
        </p:sp>
        <p:sp>
          <p:nvSpPr>
            <p:cNvPr id="23" name="Rechthoek 22">
              <a:extLst>
                <a:ext uri="{FF2B5EF4-FFF2-40B4-BE49-F238E27FC236}">
                  <a16:creationId xmlns:a16="http://schemas.microsoft.com/office/drawing/2014/main" id="{108C391D-6705-492F-B805-49CFA8A23374}"/>
                </a:ext>
              </a:extLst>
            </p:cNvPr>
            <p:cNvSpPr/>
            <p:nvPr userDrawn="1"/>
          </p:nvSpPr>
          <p:spPr>
            <a:xfrm>
              <a:off x="7617823" y="3583396"/>
              <a:ext cx="622300" cy="8001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solidFill>
                    <a:schemeClr val="tx1"/>
                  </a:solidFill>
                </a:rPr>
                <a:t>226</a:t>
              </a:r>
            </a:p>
            <a:p>
              <a:pPr algn="ctr">
                <a:lnSpc>
                  <a:spcPct val="95000"/>
                </a:lnSpc>
              </a:pPr>
              <a:r>
                <a:rPr lang="nl-NL" sz="1133" dirty="0">
                  <a:solidFill>
                    <a:schemeClr val="tx1"/>
                  </a:solidFill>
                </a:rPr>
                <a:t>238</a:t>
              </a:r>
            </a:p>
            <a:p>
              <a:pPr algn="ctr">
                <a:lnSpc>
                  <a:spcPct val="95000"/>
                </a:lnSpc>
              </a:pPr>
              <a:r>
                <a:rPr lang="nl-NL" sz="1133" dirty="0">
                  <a:solidFill>
                    <a:schemeClr val="tx1"/>
                  </a:solidFill>
                </a:rPr>
                <a:t>245</a:t>
              </a:r>
            </a:p>
          </p:txBody>
        </p:sp>
        <p:sp>
          <p:nvSpPr>
            <p:cNvPr id="26" name="Rechthoek 25">
              <a:extLst>
                <a:ext uri="{FF2B5EF4-FFF2-40B4-BE49-F238E27FC236}">
                  <a16:creationId xmlns:a16="http://schemas.microsoft.com/office/drawing/2014/main" id="{E3611EE5-0849-4EF2-842E-B527AB204F18}"/>
                </a:ext>
              </a:extLst>
            </p:cNvPr>
            <p:cNvSpPr/>
            <p:nvPr userDrawn="1"/>
          </p:nvSpPr>
          <p:spPr>
            <a:xfrm>
              <a:off x="8318863" y="3583396"/>
              <a:ext cx="622300" cy="8001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198</a:t>
              </a:r>
            </a:p>
            <a:p>
              <a:pPr algn="ctr">
                <a:lnSpc>
                  <a:spcPct val="95000"/>
                </a:lnSpc>
              </a:pPr>
              <a:r>
                <a:rPr lang="nl-NL" sz="1133" dirty="0"/>
                <a:t>198</a:t>
              </a:r>
            </a:p>
            <a:p>
              <a:pPr algn="ctr">
                <a:lnSpc>
                  <a:spcPct val="95000"/>
                </a:lnSpc>
              </a:pPr>
              <a:r>
                <a:rPr lang="nl-NL" sz="1133" dirty="0"/>
                <a:t>198</a:t>
              </a:r>
            </a:p>
          </p:txBody>
        </p:sp>
        <p:sp>
          <p:nvSpPr>
            <p:cNvPr id="28" name="Rechthoek 27">
              <a:extLst>
                <a:ext uri="{FF2B5EF4-FFF2-40B4-BE49-F238E27FC236}">
                  <a16:creationId xmlns:a16="http://schemas.microsoft.com/office/drawing/2014/main" id="{3C627FD5-81F2-40F8-BE34-0A41A6F60EF9}"/>
                </a:ext>
              </a:extLst>
            </p:cNvPr>
            <p:cNvSpPr/>
            <p:nvPr userDrawn="1"/>
          </p:nvSpPr>
          <p:spPr>
            <a:xfrm>
              <a:off x="6916783" y="3583396"/>
              <a:ext cx="622300" cy="8001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95000"/>
                </a:lnSpc>
              </a:pPr>
              <a:r>
                <a:rPr lang="nl-NL" sz="1133" dirty="0"/>
                <a:t>0</a:t>
              </a:r>
            </a:p>
            <a:p>
              <a:pPr algn="ctr">
                <a:lnSpc>
                  <a:spcPct val="95000"/>
                </a:lnSpc>
              </a:pPr>
              <a:r>
                <a:rPr lang="nl-NL" sz="1133" dirty="0"/>
                <a:t>146</a:t>
              </a:r>
            </a:p>
            <a:p>
              <a:pPr algn="ctr">
                <a:lnSpc>
                  <a:spcPct val="95000"/>
                </a:lnSpc>
              </a:pPr>
              <a:r>
                <a:rPr lang="nl-NL" sz="1133" dirty="0"/>
                <a:t>255</a:t>
              </a:r>
            </a:p>
          </p:txBody>
        </p:sp>
      </p:grpSp>
      <p:sp>
        <p:nvSpPr>
          <p:cNvPr id="29" name="Content Placeholder 6">
            <a:extLst>
              <a:ext uri="{FF2B5EF4-FFF2-40B4-BE49-F238E27FC236}">
                <a16:creationId xmlns:a16="http://schemas.microsoft.com/office/drawing/2014/main" id="{38724DF2-2A07-4C39-9771-80A2C1B8F6D7}"/>
              </a:ext>
            </a:extLst>
          </p:cNvPr>
          <p:cNvSpPr txBox="1">
            <a:spLocks/>
          </p:cNvSpPr>
          <p:nvPr>
            <p:custDataLst>
              <p:tags r:id="rId4"/>
            </p:custDataLst>
          </p:nvPr>
        </p:nvSpPr>
        <p:spPr>
          <a:xfrm>
            <a:off x="9080500" y="3316923"/>
            <a:ext cx="2295573" cy="173253"/>
          </a:xfrm>
          <a:prstGeom prst="rect">
            <a:avLst/>
          </a:prstGeom>
        </p:spPr>
        <p:txBody>
          <a:bodyPr wrap="square" lIns="0" tIns="0" rIns="0" bIns="0">
            <a:spAutoFit/>
          </a:bodyPr>
          <a:lstStyle>
            <a:defPPr>
              <a:defRPr lang="nl-NL"/>
            </a:defPPr>
            <a:lvl1pPr marL="0" lvl="0" indent="0" defTabSz="914400" eaLnBrk="1" latinLnBrk="0" hangingPunct="1">
              <a:lnSpc>
                <a:spcPct val="120000"/>
              </a:lnSpc>
              <a:spcBef>
                <a:spcPts val="0"/>
              </a:spcBef>
              <a:buSzPct val="80000"/>
              <a:buFontTx/>
              <a:buNone/>
              <a:defRPr sz="1000">
                <a:solidFill>
                  <a:schemeClr val="tx2"/>
                </a:solidFill>
                <a:latin typeface="+mn-lt"/>
                <a:cs typeface="+mn-cs"/>
              </a:defRPr>
            </a:lvl1pPr>
            <a:lvl2pPr marL="447675" indent="-1778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2pPr>
            <a:lvl3pPr marL="628650" indent="-180975"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3pPr>
            <a:lvl4pPr marL="806450" indent="-177800" defTabSz="914400" eaLnBrk="1" latinLnBrk="0" hangingPunct="1">
              <a:lnSpc>
                <a:spcPct val="120000"/>
              </a:lnSpc>
              <a:spcBef>
                <a:spcPts val="0"/>
              </a:spcBef>
              <a:buFont typeface="Ubuntu" panose="020B0504030602030204" pitchFamily="34" charset="0"/>
              <a:buChar char="·"/>
              <a:defRPr sz="1000">
                <a:solidFill>
                  <a:schemeClr val="tx2"/>
                </a:solidFill>
                <a:latin typeface="+mn-lt"/>
                <a:cs typeface="+mn-cs"/>
              </a:defRPr>
            </a:lvl4pPr>
            <a:lvl5pPr marL="2057400" indent="-228600" defTabSz="914400" eaLnBrk="1" latinLnBrk="0" hangingPunct="1">
              <a:lnSpc>
                <a:spcPct val="120000"/>
              </a:lnSpc>
              <a:spcBef>
                <a:spcPts val="0"/>
              </a:spcBef>
              <a:buFont typeface="Ubuntu Light" panose="020B0304030602030204" pitchFamily="34" charset="0"/>
              <a:buChar char="»"/>
              <a:defRPr sz="1000">
                <a:solidFill>
                  <a:schemeClr val="tx2"/>
                </a:solidFill>
                <a:latin typeface="+mn-lt"/>
                <a:cs typeface="+mn-cs"/>
              </a:defRPr>
            </a:lvl5pPr>
            <a:lvl6pPr marL="2514600" indent="-228600">
              <a:spcBef>
                <a:spcPct val="20000"/>
              </a:spcBef>
              <a:buFont typeface="Ubuntu Light" panose="020B0304030602030204" pitchFamily="34" charset="0"/>
              <a:buChar char="•"/>
              <a:defRPr sz="2000">
                <a:latin typeface="+mn-lt"/>
                <a:cs typeface="+mn-cs"/>
              </a:defRPr>
            </a:lvl6pPr>
            <a:lvl7pPr marL="2971800" indent="-228600">
              <a:spcBef>
                <a:spcPct val="20000"/>
              </a:spcBef>
              <a:buFont typeface="Ubuntu Light" panose="020B0304030602030204" pitchFamily="34" charset="0"/>
              <a:buChar char="•"/>
              <a:defRPr sz="2000">
                <a:latin typeface="+mn-lt"/>
                <a:cs typeface="+mn-cs"/>
              </a:defRPr>
            </a:lvl7pPr>
            <a:lvl8pPr marL="3429000" indent="-228600">
              <a:spcBef>
                <a:spcPct val="20000"/>
              </a:spcBef>
              <a:buFont typeface="Ubuntu Light" panose="020B0304030602030204" pitchFamily="34" charset="0"/>
              <a:buChar char="•"/>
              <a:defRPr sz="2000">
                <a:latin typeface="+mn-lt"/>
                <a:cs typeface="+mn-cs"/>
              </a:defRPr>
            </a:lvl8pPr>
            <a:lvl9pPr marL="3886200" indent="-228600">
              <a:spcBef>
                <a:spcPct val="20000"/>
              </a:spcBef>
              <a:buFont typeface="Ubuntu Light" panose="020B0304030602030204" pitchFamily="34" charset="0"/>
              <a:buChar char="•"/>
              <a:defRPr sz="2000">
                <a:latin typeface="+mn-lt"/>
                <a:cs typeface="+mn-cs"/>
              </a:defRPr>
            </a:lvl9pPr>
          </a:lstStyle>
          <a:p>
            <a:pPr lvl="0">
              <a:lnSpc>
                <a:spcPct val="110000"/>
              </a:lnSpc>
            </a:pPr>
            <a:r>
              <a:rPr lang="nl-NL" sz="1133" b="1" noProof="0" dirty="0">
                <a:solidFill>
                  <a:schemeClr val="tx1"/>
                </a:solidFill>
              </a:rPr>
              <a:t>RGB-waardes </a:t>
            </a:r>
            <a:r>
              <a:rPr lang="nl-NL" sz="1133" b="0" noProof="0" dirty="0">
                <a:solidFill>
                  <a:schemeClr val="tx1"/>
                </a:solidFill>
              </a:rPr>
              <a:t>van de themakleuren</a:t>
            </a:r>
          </a:p>
        </p:txBody>
      </p:sp>
    </p:spTree>
    <p:extLst>
      <p:ext uri="{BB962C8B-B14F-4D97-AF65-F5344CB8AC3E}">
        <p14:creationId xmlns:p14="http://schemas.microsoft.com/office/powerpoint/2010/main" val="71828476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smtClean="0"/>
              <a:t>Klik om de stijl te bewerken</a:t>
            </a:r>
            <a:endParaRPr lang="nl-NL"/>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smtClean="0"/>
              <a:t>Klik om de ondertitelstijl van het model te bewerken</a:t>
            </a:r>
            <a:endParaRPr lang="nl-NL"/>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nl-NL" smtClean="0"/>
              <a:t>Webinar Wet Toekomst Pensioenen</a:t>
            </a:r>
            <a:endParaRPr lang="nl-NL"/>
          </a:p>
        </p:txBody>
      </p:sp>
      <p:sp>
        <p:nvSpPr>
          <p:cNvPr id="6" name="Tijdelijke aanduiding voor dianummer 5"/>
          <p:cNvSpPr>
            <a:spLocks noGrp="1"/>
          </p:cNvSpPr>
          <p:nvPr>
            <p:ph type="sldNum" sz="quarter" idx="12"/>
          </p:nvPr>
        </p:nvSpPr>
        <p:spPr/>
        <p:txBody>
          <a:bodyPr/>
          <a:lstStyle/>
          <a:p>
            <a:fld id="{FFDD6BF4-F398-43E8-ACFA-0A2EC6044D72}" type="slidenum">
              <a:rPr lang="nl-NL" smtClean="0"/>
              <a:t>‹nr.›</a:t>
            </a:fld>
            <a:endParaRPr lang="nl-NL"/>
          </a:p>
        </p:txBody>
      </p:sp>
    </p:spTree>
    <p:extLst>
      <p:ext uri="{BB962C8B-B14F-4D97-AF65-F5344CB8AC3E}">
        <p14:creationId xmlns:p14="http://schemas.microsoft.com/office/powerpoint/2010/main" val="1831749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5" name="Footer Placeholder 4"/>
          <p:cNvSpPr>
            <a:spLocks noGrp="1"/>
          </p:cNvSpPr>
          <p:nvPr>
            <p:ph type="ftr" sz="quarter" idx="11"/>
          </p:nvPr>
        </p:nvSpPr>
        <p:spPr/>
        <p:txBody>
          <a:bodyPr/>
          <a:lstStyle/>
          <a:p>
            <a:r>
              <a:rPr lang="nl-NL" smtClean="0"/>
              <a:t>Beleidsopties Wet Toekomst Pensioenen</a:t>
            </a:r>
            <a:endParaRPr lang="nl-NL"/>
          </a:p>
        </p:txBody>
      </p:sp>
      <p:sp>
        <p:nvSpPr>
          <p:cNvPr id="6" name="Slide Number Placeholder 5"/>
          <p:cNvSpPr>
            <a:spLocks noGrp="1"/>
          </p:cNvSpPr>
          <p:nvPr>
            <p:ph type="sldNum" sz="quarter" idx="12"/>
          </p:nvPr>
        </p:nvSpPr>
        <p:spPr/>
        <p:txBody>
          <a:bodyPr/>
          <a:lstStyle/>
          <a:p>
            <a:fld id="{FFDD6BF4-F398-43E8-ACFA-0A2EC6044D72}" type="slidenum">
              <a:rPr lang="nl-NL" smtClean="0"/>
              <a:t>‹nr.›</a:t>
            </a:fld>
            <a:endParaRPr lang="nl-NL"/>
          </a:p>
        </p:txBody>
      </p:sp>
      <p:sp>
        <p:nvSpPr>
          <p:cNvPr id="8" name="Tijdelijke aanduiding voor tekst 7">
            <a:extLst>
              <a:ext uri="{FF2B5EF4-FFF2-40B4-BE49-F238E27FC236}">
                <a16:creationId xmlns:a16="http://schemas.microsoft.com/office/drawing/2014/main" id="{7089BE2F-A5A0-4F26-AE71-14C8EB155DB6}"/>
              </a:ext>
            </a:extLst>
          </p:cNvPr>
          <p:cNvSpPr>
            <a:spLocks noGrp="1"/>
          </p:cNvSpPr>
          <p:nvPr>
            <p:ph type="body" sz="quarter" idx="13"/>
          </p:nvPr>
        </p:nvSpPr>
        <p:spPr>
          <a:xfrm>
            <a:off x="503768" y="899462"/>
            <a:ext cx="11182349"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2" name="Titel 1">
            <a:extLst>
              <a:ext uri="{FF2B5EF4-FFF2-40B4-BE49-F238E27FC236}">
                <a16:creationId xmlns:a16="http://schemas.microsoft.com/office/drawing/2014/main" id="{3E8D776E-4D98-4992-84C4-27F08776782A}"/>
              </a:ext>
            </a:extLst>
          </p:cNvPr>
          <p:cNvSpPr>
            <a:spLocks noGrp="1"/>
          </p:cNvSpPr>
          <p:nvPr>
            <p:ph type="title"/>
          </p:nvPr>
        </p:nvSpPr>
        <p:spPr/>
        <p:txBody>
          <a:bodyPr/>
          <a:lstStyle/>
          <a:p>
            <a:r>
              <a:rPr lang="nl-NL" smtClean="0"/>
              <a:t>Klik om de stijl te bewerken</a:t>
            </a:r>
            <a:endParaRPr lang="nl-NL" dirty="0"/>
          </a:p>
        </p:txBody>
      </p:sp>
      <p:sp>
        <p:nvSpPr>
          <p:cNvPr id="7" name="Tijdelijke aanduiding voor tekst 2">
            <a:extLst>
              <a:ext uri="{FF2B5EF4-FFF2-40B4-BE49-F238E27FC236}">
                <a16:creationId xmlns:a16="http://schemas.microsoft.com/office/drawing/2014/main" id="{F7229857-55F0-45FA-8401-6F4E7F2310C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Tree>
    <p:extLst>
      <p:ext uri="{BB962C8B-B14F-4D97-AF65-F5344CB8AC3E}">
        <p14:creationId xmlns:p14="http://schemas.microsoft.com/office/powerpoint/2010/main" val="181546637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eldia">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nl-NL" smtClean="0"/>
              <a:t>Klik om de stijl te bewerken</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nl-NL" smtClean="0"/>
              <a:t>Klik om de ondertitelstijl van het model te bewerken</a:t>
            </a:r>
            <a:endParaRPr lang="en-US" dirty="0"/>
          </a:p>
        </p:txBody>
      </p:sp>
      <p:sp>
        <p:nvSpPr>
          <p:cNvPr id="4" name="Date Placeholder 3"/>
          <p:cNvSpPr>
            <a:spLocks noGrp="1"/>
          </p:cNvSpPr>
          <p:nvPr>
            <p:ph type="dt" sz="half" idx="10"/>
          </p:nvPr>
        </p:nvSpPr>
        <p:spPr/>
        <p:txBody>
          <a:bodyPr/>
          <a:lstStyle/>
          <a:p>
            <a:fld id="{2E2E07F0-95CD-488B-994F-9168530875DD}" type="datetime1">
              <a:rPr lang="nl-NL" smtClean="0"/>
              <a:t>31-3-2022</a:t>
            </a:fld>
            <a:endParaRPr lang="nl-NL"/>
          </a:p>
        </p:txBody>
      </p:sp>
      <p:sp>
        <p:nvSpPr>
          <p:cNvPr id="5" name="Footer Placeholder 4"/>
          <p:cNvSpPr>
            <a:spLocks noGrp="1"/>
          </p:cNvSpPr>
          <p:nvPr>
            <p:ph type="ftr" sz="quarter" idx="11"/>
          </p:nvPr>
        </p:nvSpPr>
        <p:spPr/>
        <p:txBody>
          <a:bodyPr/>
          <a:lstStyle/>
          <a:p>
            <a:r>
              <a:rPr lang="nl-NL" smtClean="0"/>
              <a:t>© Gielink Pensioenrecht BV | 18-6-2019</a:t>
            </a:r>
            <a:endParaRPr lang="nl-NL"/>
          </a:p>
        </p:txBody>
      </p:sp>
      <p:sp>
        <p:nvSpPr>
          <p:cNvPr id="6" name="Slide Number Placeholder 5"/>
          <p:cNvSpPr>
            <a:spLocks noGrp="1"/>
          </p:cNvSpPr>
          <p:nvPr>
            <p:ph type="sldNum" sz="quarter" idx="12"/>
          </p:nvPr>
        </p:nvSpPr>
        <p:spPr/>
        <p:txBody>
          <a:bodyPr/>
          <a:lstStyle/>
          <a:p>
            <a:fld id="{1E554E7E-9F1A-4168-8251-F60FE9396E1C}" type="slidenum">
              <a:rPr lang="nl-NL" smtClean="0"/>
              <a:t>‹nr.›</a:t>
            </a:fld>
            <a:endParaRPr lang="nl-NL"/>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3899124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3" name="Content Placeholder 2"/>
          <p:cNvSpPr>
            <a:spLocks noGrp="1"/>
          </p:cNvSpPr>
          <p:nvPr>
            <p:ph idx="1"/>
          </p:nvPr>
        </p:nvSpPr>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10"/>
          </p:nvPr>
        </p:nvSpPr>
        <p:spPr/>
        <p:txBody>
          <a:bodyPr/>
          <a:lstStyle/>
          <a:p>
            <a:fld id="{86F390F6-BD5C-46F5-9F13-BB7C4C20780F}" type="datetime1">
              <a:rPr lang="nl-NL" smtClean="0"/>
              <a:t>31-3-2022</a:t>
            </a:fld>
            <a:endParaRPr lang="nl-NL"/>
          </a:p>
        </p:txBody>
      </p:sp>
      <p:sp>
        <p:nvSpPr>
          <p:cNvPr id="5" name="Footer Placeholder 4"/>
          <p:cNvSpPr>
            <a:spLocks noGrp="1"/>
          </p:cNvSpPr>
          <p:nvPr>
            <p:ph type="ftr" sz="quarter" idx="11"/>
          </p:nvPr>
        </p:nvSpPr>
        <p:spPr/>
        <p:txBody>
          <a:bodyPr/>
          <a:lstStyle/>
          <a:p>
            <a:r>
              <a:rPr lang="nl-NL" smtClean="0"/>
              <a:t>© Gielink Pensioenrecht BV | 18-6-2019</a:t>
            </a:r>
            <a:endParaRPr lang="nl-NL"/>
          </a:p>
        </p:txBody>
      </p:sp>
      <p:sp>
        <p:nvSpPr>
          <p:cNvPr id="6" name="Slide Number Placeholder 5"/>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250502822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secHead" preserve="1">
  <p:cSld name="Sectiekop">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nl-NL" smtClean="0"/>
              <a:t>Klik om de stijl te bewerk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smtClean="0"/>
              <a:t>Tekststijl van het model bewerken</a:t>
            </a:r>
          </a:p>
        </p:txBody>
      </p:sp>
      <p:sp>
        <p:nvSpPr>
          <p:cNvPr id="4" name="Date Placeholder 3"/>
          <p:cNvSpPr>
            <a:spLocks noGrp="1"/>
          </p:cNvSpPr>
          <p:nvPr>
            <p:ph type="dt" sz="half" idx="10"/>
          </p:nvPr>
        </p:nvSpPr>
        <p:spPr/>
        <p:txBody>
          <a:bodyPr/>
          <a:lstStyle/>
          <a:p>
            <a:fld id="{F9FF11FD-CF8E-4EFF-8A75-1218B1075AEE}" type="datetime1">
              <a:rPr lang="nl-NL" smtClean="0"/>
              <a:t>31-3-2022</a:t>
            </a:fld>
            <a:endParaRPr lang="nl-NL"/>
          </a:p>
        </p:txBody>
      </p:sp>
      <p:sp>
        <p:nvSpPr>
          <p:cNvPr id="5" name="Footer Placeholder 4"/>
          <p:cNvSpPr>
            <a:spLocks noGrp="1"/>
          </p:cNvSpPr>
          <p:nvPr>
            <p:ph type="ftr" sz="quarter" idx="11"/>
          </p:nvPr>
        </p:nvSpPr>
        <p:spPr/>
        <p:txBody>
          <a:bodyPr/>
          <a:lstStyle/>
          <a:p>
            <a:r>
              <a:rPr lang="nl-NL" smtClean="0"/>
              <a:t>© Gielink Pensioenrecht BV | 18-6-2019</a:t>
            </a:r>
            <a:endParaRPr lang="nl-NL"/>
          </a:p>
        </p:txBody>
      </p:sp>
      <p:sp>
        <p:nvSpPr>
          <p:cNvPr id="6" name="Slide Number Placeholder 5"/>
          <p:cNvSpPr>
            <a:spLocks noGrp="1"/>
          </p:cNvSpPr>
          <p:nvPr>
            <p:ph type="sldNum" sz="quarter" idx="12"/>
          </p:nvPr>
        </p:nvSpPr>
        <p:spPr/>
        <p:txBody>
          <a:bodyPr/>
          <a:lstStyle/>
          <a:p>
            <a:fld id="{1E554E7E-9F1A-4168-8251-F60FE9396E1C}" type="slidenum">
              <a:rPr lang="nl-NL" smtClean="0"/>
              <a:t>‹nr.›</a:t>
            </a:fld>
            <a:endParaRPr lang="nl-NL"/>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27673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5"/>
            <a:ext cx="10058400" cy="1450757"/>
          </a:xfrm>
        </p:spPr>
        <p:txBody>
          <a:bodyPr/>
          <a:lstStyle/>
          <a:p>
            <a:r>
              <a:rPr lang="nl-NL" smtClean="0"/>
              <a:t>Klik om de stijl te bewerken</a:t>
            </a:r>
            <a:endParaRPr lang="en-US" dirty="0"/>
          </a:p>
        </p:txBody>
      </p:sp>
      <p:sp>
        <p:nvSpPr>
          <p:cNvPr id="3" name="Content Placeholder 2"/>
          <p:cNvSpPr>
            <a:spLocks noGrp="1"/>
          </p:cNvSpPr>
          <p:nvPr>
            <p:ph sz="half" idx="1"/>
          </p:nvPr>
        </p:nvSpPr>
        <p:spPr>
          <a:xfrm>
            <a:off x="1097280" y="1845734"/>
            <a:ext cx="4937760" cy="4023360"/>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Content Placeholder 3"/>
          <p:cNvSpPr>
            <a:spLocks noGrp="1"/>
          </p:cNvSpPr>
          <p:nvPr>
            <p:ph sz="half" idx="2"/>
          </p:nvPr>
        </p:nvSpPr>
        <p:spPr>
          <a:xfrm>
            <a:off x="6217920" y="1845737"/>
            <a:ext cx="4937760" cy="4023359"/>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5" name="Date Placeholder 4"/>
          <p:cNvSpPr>
            <a:spLocks noGrp="1"/>
          </p:cNvSpPr>
          <p:nvPr>
            <p:ph type="dt" sz="half" idx="10"/>
          </p:nvPr>
        </p:nvSpPr>
        <p:spPr/>
        <p:txBody>
          <a:bodyPr/>
          <a:lstStyle/>
          <a:p>
            <a:fld id="{E810E542-E1B5-4974-904A-D88B3949FE56}" type="datetime1">
              <a:rPr lang="nl-NL" smtClean="0"/>
              <a:t>31-3-2022</a:t>
            </a:fld>
            <a:endParaRPr lang="nl-NL"/>
          </a:p>
        </p:txBody>
      </p:sp>
      <p:sp>
        <p:nvSpPr>
          <p:cNvPr id="6" name="Footer Placeholder 5"/>
          <p:cNvSpPr>
            <a:spLocks noGrp="1"/>
          </p:cNvSpPr>
          <p:nvPr>
            <p:ph type="ftr" sz="quarter" idx="11"/>
          </p:nvPr>
        </p:nvSpPr>
        <p:spPr/>
        <p:txBody>
          <a:bodyPr/>
          <a:lstStyle/>
          <a:p>
            <a:r>
              <a:rPr lang="nl-NL" smtClean="0"/>
              <a:t>© Gielink Pensioenrecht BV | 18-6-2019</a:t>
            </a:r>
            <a:endParaRPr lang="nl-NL"/>
          </a:p>
        </p:txBody>
      </p:sp>
      <p:sp>
        <p:nvSpPr>
          <p:cNvPr id="7" name="Slide Number Placeholder 6"/>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330585738"/>
      </p:ext>
    </p:extLst>
  </p:cSld>
  <p:clrMapOvr>
    <a:masterClrMapping/>
  </p:clrMapOvr>
  <p:hf hd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5"/>
            <a:ext cx="10058400" cy="1450757"/>
          </a:xfrm>
        </p:spPr>
        <p:txBody>
          <a:bodyPr/>
          <a:lstStyle/>
          <a:p>
            <a:r>
              <a:rPr lang="nl-NL" smtClean="0"/>
              <a:t>Klik om de stijl te bewerk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Tekststijl van het model bewerken</a:t>
            </a:r>
          </a:p>
        </p:txBody>
      </p:sp>
      <p:sp>
        <p:nvSpPr>
          <p:cNvPr id="4" name="Content Placeholder 3"/>
          <p:cNvSpPr>
            <a:spLocks noGrp="1"/>
          </p:cNvSpPr>
          <p:nvPr>
            <p:ph sz="half" idx="2"/>
          </p:nvPr>
        </p:nvSpPr>
        <p:spPr>
          <a:xfrm>
            <a:off x="1097280" y="2582334"/>
            <a:ext cx="4937760" cy="3286760"/>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smtClean="0"/>
              <a:t>Tekststijl van het model bewerken</a:t>
            </a:r>
          </a:p>
        </p:txBody>
      </p:sp>
      <p:sp>
        <p:nvSpPr>
          <p:cNvPr id="6" name="Content Placeholder 5"/>
          <p:cNvSpPr>
            <a:spLocks noGrp="1"/>
          </p:cNvSpPr>
          <p:nvPr>
            <p:ph sz="quarter" idx="4"/>
          </p:nvPr>
        </p:nvSpPr>
        <p:spPr>
          <a:xfrm>
            <a:off x="6217920" y="2582334"/>
            <a:ext cx="4937760" cy="3286760"/>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7" name="Date Placeholder 6"/>
          <p:cNvSpPr>
            <a:spLocks noGrp="1"/>
          </p:cNvSpPr>
          <p:nvPr>
            <p:ph type="dt" sz="half" idx="10"/>
          </p:nvPr>
        </p:nvSpPr>
        <p:spPr/>
        <p:txBody>
          <a:bodyPr/>
          <a:lstStyle/>
          <a:p>
            <a:fld id="{36298CED-4E87-474D-81C5-E2C8BEA1D7FD}" type="datetime1">
              <a:rPr lang="nl-NL" smtClean="0"/>
              <a:t>31-3-2022</a:t>
            </a:fld>
            <a:endParaRPr lang="nl-NL"/>
          </a:p>
        </p:txBody>
      </p:sp>
      <p:sp>
        <p:nvSpPr>
          <p:cNvPr id="8" name="Footer Placeholder 7"/>
          <p:cNvSpPr>
            <a:spLocks noGrp="1"/>
          </p:cNvSpPr>
          <p:nvPr>
            <p:ph type="ftr" sz="quarter" idx="11"/>
          </p:nvPr>
        </p:nvSpPr>
        <p:spPr/>
        <p:txBody>
          <a:bodyPr/>
          <a:lstStyle/>
          <a:p>
            <a:r>
              <a:rPr lang="nl-NL" smtClean="0"/>
              <a:t>© Gielink Pensioenrecht BV | 18-6-2019</a:t>
            </a:r>
            <a:endParaRPr lang="nl-NL"/>
          </a:p>
        </p:txBody>
      </p:sp>
      <p:sp>
        <p:nvSpPr>
          <p:cNvPr id="9" name="Slide Number Placeholder 8"/>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38941824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3" name="Date Placeholder 2"/>
          <p:cNvSpPr>
            <a:spLocks noGrp="1"/>
          </p:cNvSpPr>
          <p:nvPr>
            <p:ph type="dt" sz="half" idx="10"/>
          </p:nvPr>
        </p:nvSpPr>
        <p:spPr/>
        <p:txBody>
          <a:bodyPr/>
          <a:lstStyle/>
          <a:p>
            <a:fld id="{6641E88A-2E25-45C6-BBBA-8BF182B0A3DE}" type="datetime1">
              <a:rPr lang="nl-NL" smtClean="0"/>
              <a:t>31-3-2022</a:t>
            </a:fld>
            <a:endParaRPr lang="nl-NL"/>
          </a:p>
        </p:txBody>
      </p:sp>
      <p:sp>
        <p:nvSpPr>
          <p:cNvPr id="4" name="Footer Placeholder 3"/>
          <p:cNvSpPr>
            <a:spLocks noGrp="1"/>
          </p:cNvSpPr>
          <p:nvPr>
            <p:ph type="ftr" sz="quarter" idx="11"/>
          </p:nvPr>
        </p:nvSpPr>
        <p:spPr/>
        <p:txBody>
          <a:bodyPr/>
          <a:lstStyle/>
          <a:p>
            <a:r>
              <a:rPr lang="nl-NL" smtClean="0"/>
              <a:t>© Gielink Pensioenrecht BV | 18-6-2019</a:t>
            </a:r>
            <a:endParaRPr lang="nl-NL"/>
          </a:p>
        </p:txBody>
      </p:sp>
      <p:sp>
        <p:nvSpPr>
          <p:cNvPr id="5" name="Slide Number Placeholder 4"/>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68027666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blank" preserve="1">
  <p:cSld name="Leeg">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54B78D2E-AF3E-40AC-9A86-15E3AFCCC745}" type="datetime1">
              <a:rPr lang="nl-NL" smtClean="0"/>
              <a:t>31-3-2022</a:t>
            </a:fld>
            <a:endParaRPr lang="nl-NL"/>
          </a:p>
        </p:txBody>
      </p:sp>
      <p:sp>
        <p:nvSpPr>
          <p:cNvPr id="8" name="Footer Placeholder 7"/>
          <p:cNvSpPr>
            <a:spLocks noGrp="1"/>
          </p:cNvSpPr>
          <p:nvPr>
            <p:ph type="ftr" sz="quarter" idx="11"/>
          </p:nvPr>
        </p:nvSpPr>
        <p:spPr/>
        <p:txBody>
          <a:bodyPr/>
          <a:lstStyle>
            <a:lvl1pPr>
              <a:defRPr>
                <a:solidFill>
                  <a:srgbClr val="FFFFFF"/>
                </a:solidFill>
              </a:defRPr>
            </a:lvl1pPr>
          </a:lstStyle>
          <a:p>
            <a:r>
              <a:rPr lang="nl-NL" smtClean="0"/>
              <a:t>© Gielink Pensioenrecht BV | 18-6-2019</a:t>
            </a:r>
            <a:endParaRPr lang="nl-NL"/>
          </a:p>
        </p:txBody>
      </p:sp>
      <p:sp>
        <p:nvSpPr>
          <p:cNvPr id="9" name="Slide Number Placeholder 8"/>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324995287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objTx" preserve="1">
  <p:cSld name="Inhoud met bijschrift">
    <p:spTree>
      <p:nvGrpSpPr>
        <p:cNvPr id="1" name=""/>
        <p:cNvGrpSpPr/>
        <p:nvPr/>
      </p:nvGrpSpPr>
      <p:grpSpPr>
        <a:xfrm>
          <a:off x="0" y="0"/>
          <a:ext cx="0" cy="0"/>
          <a:chOff x="0" y="0"/>
          <a:chExt cx="0" cy="0"/>
        </a:xfrm>
      </p:grpSpPr>
      <p:sp>
        <p:nvSpPr>
          <p:cNvPr id="8" name="Rectangle 7"/>
          <p:cNvSpPr/>
          <p:nvPr/>
        </p:nvSpPr>
        <p:spPr>
          <a:xfrm>
            <a:off x="18"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nl-NL" smtClean="0"/>
              <a:t>Klik om de stijl te bewerken</a:t>
            </a:r>
            <a:endParaRPr lang="en-US" dirty="0"/>
          </a:p>
        </p:txBody>
      </p:sp>
      <p:sp>
        <p:nvSpPr>
          <p:cNvPr id="3" name="Content Placeholder 2"/>
          <p:cNvSpPr>
            <a:spLocks noGrp="1"/>
          </p:cNvSpPr>
          <p:nvPr>
            <p:ph idx="1"/>
          </p:nvPr>
        </p:nvSpPr>
        <p:spPr>
          <a:xfrm>
            <a:off x="4613650" y="731520"/>
            <a:ext cx="6679191" cy="5257800"/>
          </a:xfrm>
        </p:spPr>
        <p:txBody>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Tekststijl van het model bewerken</a:t>
            </a:r>
          </a:p>
        </p:txBody>
      </p:sp>
      <p:sp>
        <p:nvSpPr>
          <p:cNvPr id="5" name="Date Placeholder 4"/>
          <p:cNvSpPr>
            <a:spLocks noGrp="1"/>
          </p:cNvSpPr>
          <p:nvPr>
            <p:ph type="dt" sz="half" idx="10"/>
          </p:nvPr>
        </p:nvSpPr>
        <p:spPr>
          <a:xfrm>
            <a:off x="465513" y="6459787"/>
            <a:ext cx="2618511" cy="365125"/>
          </a:xfrm>
        </p:spPr>
        <p:txBody>
          <a:bodyPr/>
          <a:lstStyle>
            <a:lvl1pPr algn="l">
              <a:defRPr/>
            </a:lvl1pPr>
          </a:lstStyle>
          <a:p>
            <a:fld id="{42F8335A-890E-42E5-ABB8-95439367BEB6}" type="datetime1">
              <a:rPr lang="nl-NL" smtClean="0"/>
              <a:t>31-3-2022</a:t>
            </a:fld>
            <a:endParaRPr lang="nl-NL"/>
          </a:p>
        </p:txBody>
      </p:sp>
      <p:sp>
        <p:nvSpPr>
          <p:cNvPr id="6" name="Footer Placeholder 5"/>
          <p:cNvSpPr>
            <a:spLocks noGrp="1"/>
          </p:cNvSpPr>
          <p:nvPr>
            <p:ph type="ftr" sz="quarter" idx="11"/>
          </p:nvPr>
        </p:nvSpPr>
        <p:spPr>
          <a:xfrm>
            <a:off x="4800600" y="6459787"/>
            <a:ext cx="4648200" cy="365125"/>
          </a:xfrm>
        </p:spPr>
        <p:txBody>
          <a:bodyPr/>
          <a:lstStyle>
            <a:lvl1pPr algn="l">
              <a:defRPr>
                <a:solidFill>
                  <a:schemeClr val="tx2"/>
                </a:solidFill>
              </a:defRPr>
            </a:lvl1pPr>
          </a:lstStyle>
          <a:p>
            <a:r>
              <a:rPr lang="nl-NL" smtClean="0"/>
              <a:t>© Gielink Pensioenrecht BV | 18-6-2019</a:t>
            </a:r>
            <a:endParaRPr lang="nl-NL"/>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1E554E7E-9F1A-4168-8251-F60FE9396E1C}" type="slidenum">
              <a:rPr lang="nl-NL" smtClean="0"/>
              <a:t>‹nr.›</a:t>
            </a:fld>
            <a:endParaRPr lang="nl-NL"/>
          </a:p>
        </p:txBody>
      </p:sp>
    </p:spTree>
    <p:extLst>
      <p:ext uri="{BB962C8B-B14F-4D97-AF65-F5344CB8AC3E}">
        <p14:creationId xmlns:p14="http://schemas.microsoft.com/office/powerpoint/2010/main" val="2657125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picTx" preserve="1">
  <p:cSld name="Afbeelding met bijschrift">
    <p:spTree>
      <p:nvGrpSpPr>
        <p:cNvPr id="1" name=""/>
        <p:cNvGrpSpPr/>
        <p:nvPr/>
      </p:nvGrpSpPr>
      <p:grpSpPr>
        <a:xfrm>
          <a:off x="0" y="0"/>
          <a:ext cx="0" cy="0"/>
          <a:chOff x="0" y="0"/>
          <a:chExt cx="0" cy="0"/>
        </a:xfrm>
      </p:grpSpPr>
      <p:sp>
        <p:nvSpPr>
          <p:cNvPr id="8" name="Rectangle 7"/>
          <p:cNvSpPr/>
          <p:nvPr/>
        </p:nvSpPr>
        <p:spPr>
          <a:xfrm>
            <a:off x="1"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7"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9360" cy="822960"/>
          </a:xfrm>
        </p:spPr>
        <p:txBody>
          <a:bodyPr tIns="0" bIns="0" anchor="b">
            <a:noAutofit/>
          </a:bodyPr>
          <a:lstStyle>
            <a:lvl1pPr>
              <a:defRPr sz="3600" b="0">
                <a:solidFill>
                  <a:srgbClr val="FFFFFF"/>
                </a:solidFill>
              </a:defRPr>
            </a:lvl1pPr>
          </a:lstStyle>
          <a:p>
            <a:r>
              <a:rPr lang="nl-NL" smtClean="0"/>
              <a:t>Klik om de stijl te bewerken</a:t>
            </a:r>
            <a:endParaRPr lang="en-US" dirty="0"/>
          </a:p>
        </p:txBody>
      </p:sp>
      <p:sp>
        <p:nvSpPr>
          <p:cNvPr id="3" name="Picture Placeholder 2"/>
          <p:cNvSpPr>
            <a:spLocks noGrp="1" noChangeAspect="1"/>
          </p:cNvSpPr>
          <p:nvPr>
            <p:ph type="pic" idx="1"/>
          </p:nvPr>
        </p:nvSpPr>
        <p:spPr>
          <a:xfrm>
            <a:off x="17" y="0"/>
            <a:ext cx="12191985" cy="4915076"/>
          </a:xfrm>
          <a:blipFill>
            <a:blip r:embed="rId2"/>
            <a:stretch>
              <a:fillRect/>
            </a:stretch>
          </a:blipFill>
        </p:spPr>
        <p:txBody>
          <a:bodyPr lIns="457200" tIns="457200" anchor="t"/>
          <a:lstStyle>
            <a:lvl1pPr marL="0" indent="0">
              <a:buNone/>
              <a:defRPr sz="3200">
                <a:solidFill>
                  <a:schemeClr val="bg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l-NL" smtClean="0"/>
              <a:t>Klik op het pictogram als u een afbeelding wilt toevoegen</a:t>
            </a:r>
            <a:endParaRPr lang="en-US" dirty="0"/>
          </a:p>
        </p:txBody>
      </p:sp>
      <p:sp>
        <p:nvSpPr>
          <p:cNvPr id="4" name="Text Placeholder 3"/>
          <p:cNvSpPr>
            <a:spLocks noGrp="1"/>
          </p:cNvSpPr>
          <p:nvPr>
            <p:ph type="body" sz="half" idx="2"/>
          </p:nvPr>
        </p:nvSpPr>
        <p:spPr>
          <a:xfrm>
            <a:off x="1097279" y="5907024"/>
            <a:ext cx="10119360"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smtClean="0"/>
              <a:t>Tekststijl van het model bewerken</a:t>
            </a:r>
          </a:p>
        </p:txBody>
      </p:sp>
      <p:sp>
        <p:nvSpPr>
          <p:cNvPr id="5" name="Date Placeholder 4"/>
          <p:cNvSpPr>
            <a:spLocks noGrp="1"/>
          </p:cNvSpPr>
          <p:nvPr>
            <p:ph type="dt" sz="half" idx="10"/>
          </p:nvPr>
        </p:nvSpPr>
        <p:spPr/>
        <p:txBody>
          <a:bodyPr/>
          <a:lstStyle/>
          <a:p>
            <a:fld id="{E810E542-E1B5-4974-904A-D88B3949FE56}" type="datetime1">
              <a:rPr lang="nl-NL" smtClean="0"/>
              <a:t>31-3-2022</a:t>
            </a:fld>
            <a:endParaRPr lang="nl-NL"/>
          </a:p>
        </p:txBody>
      </p:sp>
      <p:sp>
        <p:nvSpPr>
          <p:cNvPr id="6" name="Footer Placeholder 5"/>
          <p:cNvSpPr>
            <a:spLocks noGrp="1"/>
          </p:cNvSpPr>
          <p:nvPr>
            <p:ph type="ftr" sz="quarter" idx="11"/>
          </p:nvPr>
        </p:nvSpPr>
        <p:spPr/>
        <p:txBody>
          <a:bodyPr/>
          <a:lstStyle/>
          <a:p>
            <a:r>
              <a:rPr lang="nl-NL" smtClean="0"/>
              <a:t>© Gielink Pensioenrecht BV | 18-6-2019</a:t>
            </a:r>
            <a:endParaRPr lang="nl-NL"/>
          </a:p>
        </p:txBody>
      </p:sp>
      <p:sp>
        <p:nvSpPr>
          <p:cNvPr id="7" name="Slide Number Placeholder 6"/>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1655659151"/>
      </p:ext>
    </p:extLst>
  </p:cSld>
  <p:clrMapOvr>
    <a:masterClrMapping/>
  </p:clrMapOvr>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mtClean="0"/>
              <a:t>Klik om de stijl te bewerk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10"/>
          </p:nvPr>
        </p:nvSpPr>
        <p:spPr/>
        <p:txBody>
          <a:bodyPr/>
          <a:lstStyle/>
          <a:p>
            <a:fld id="{D2607EB7-4DCE-41B3-87EE-972C024361B8}" type="datetime1">
              <a:rPr lang="nl-NL" smtClean="0"/>
              <a:t>31-3-2022</a:t>
            </a:fld>
            <a:endParaRPr lang="nl-NL"/>
          </a:p>
        </p:txBody>
      </p:sp>
      <p:sp>
        <p:nvSpPr>
          <p:cNvPr id="5" name="Footer Placeholder 4"/>
          <p:cNvSpPr>
            <a:spLocks noGrp="1"/>
          </p:cNvSpPr>
          <p:nvPr>
            <p:ph type="ftr" sz="quarter" idx="11"/>
          </p:nvPr>
        </p:nvSpPr>
        <p:spPr/>
        <p:txBody>
          <a:bodyPr/>
          <a:lstStyle/>
          <a:p>
            <a:r>
              <a:rPr lang="nl-NL" smtClean="0"/>
              <a:t>© Gielink Pensioenrecht BV | 18-6-2019</a:t>
            </a:r>
            <a:endParaRPr lang="nl-NL"/>
          </a:p>
        </p:txBody>
      </p:sp>
      <p:sp>
        <p:nvSpPr>
          <p:cNvPr id="6" name="Slide Number Placeholder 5"/>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20636040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fbeelding en tekst">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1" y="0"/>
            <a:ext cx="5856000"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6142566" y="1365252"/>
            <a:ext cx="5543551"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10" name="Footer Placeholder 9">
            <a:extLst>
              <a:ext uri="{FF2B5EF4-FFF2-40B4-BE49-F238E27FC236}">
                <a16:creationId xmlns:a16="http://schemas.microsoft.com/office/drawing/2014/main" id="{308E37D4-F18C-4620-A099-F7497B8F39AA}"/>
              </a:ext>
            </a:extLst>
          </p:cNvPr>
          <p:cNvSpPr>
            <a:spLocks noGrp="1"/>
          </p:cNvSpPr>
          <p:nvPr>
            <p:ph type="ftr" sz="quarter" idx="13"/>
          </p:nvPr>
        </p:nvSpPr>
        <p:spPr>
          <a:xfrm>
            <a:off x="6337084" y="6433759"/>
            <a:ext cx="4512000" cy="164148"/>
          </a:xfrm>
        </p:spPr>
        <p:txBody>
          <a:bodyPr/>
          <a:lstStyle/>
          <a:p>
            <a:r>
              <a:rPr lang="nl-NL" smtClean="0"/>
              <a:t>Beleidsopties Wet Toekomst Pensioenen</a:t>
            </a:r>
            <a:endParaRPr lang="nl-NL"/>
          </a:p>
        </p:txBody>
      </p:sp>
      <p:sp>
        <p:nvSpPr>
          <p:cNvPr id="8" name="Tijdelijke aanduiding voor tekst 2">
            <a:extLst>
              <a:ext uri="{FF2B5EF4-FFF2-40B4-BE49-F238E27FC236}">
                <a16:creationId xmlns:a16="http://schemas.microsoft.com/office/drawing/2014/main" id="{D501FB6D-F508-465E-BCCD-F5C1BF83881E}"/>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2" name="Titel 1">
            <a:extLst>
              <a:ext uri="{FF2B5EF4-FFF2-40B4-BE49-F238E27FC236}">
                <a16:creationId xmlns:a16="http://schemas.microsoft.com/office/drawing/2014/main" id="{52AA2F04-7B83-4823-A95C-21ADF751828F}"/>
              </a:ext>
            </a:extLst>
          </p:cNvPr>
          <p:cNvSpPr>
            <a:spLocks noGrp="1"/>
          </p:cNvSpPr>
          <p:nvPr>
            <p:ph type="title"/>
          </p:nvPr>
        </p:nvSpPr>
        <p:spPr>
          <a:xfrm>
            <a:off x="6142566" y="1"/>
            <a:ext cx="5543551" cy="876940"/>
          </a:xfrm>
        </p:spPr>
        <p:txBody>
          <a:bodyPr/>
          <a:lstStyle/>
          <a:p>
            <a:r>
              <a:rPr lang="nl-NL" smtClean="0"/>
              <a:t>Klik om de stijl te bewerken</a:t>
            </a:r>
            <a:endParaRPr lang="nl-NL" dirty="0"/>
          </a:p>
        </p:txBody>
      </p:sp>
      <p:sp>
        <p:nvSpPr>
          <p:cNvPr id="11" name="Tijdelijke aanduiding voor tekst 7">
            <a:extLst>
              <a:ext uri="{FF2B5EF4-FFF2-40B4-BE49-F238E27FC236}">
                <a16:creationId xmlns:a16="http://schemas.microsoft.com/office/drawing/2014/main" id="{D3025802-92BC-42B2-815B-2F28E7A318C6}"/>
              </a:ext>
            </a:extLst>
          </p:cNvPr>
          <p:cNvSpPr>
            <a:spLocks noGrp="1"/>
          </p:cNvSpPr>
          <p:nvPr>
            <p:ph type="body" sz="quarter" idx="17"/>
          </p:nvPr>
        </p:nvSpPr>
        <p:spPr>
          <a:xfrm>
            <a:off x="6142566" y="899462"/>
            <a:ext cx="5543551" cy="465788"/>
          </a:xfrm>
        </p:spPr>
        <p:txBody>
          <a:bodyPr anchor="t">
            <a:no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Tree>
    <p:extLst>
      <p:ext uri="{BB962C8B-B14F-4D97-AF65-F5344CB8AC3E}">
        <p14:creationId xmlns:p14="http://schemas.microsoft.com/office/powerpoint/2010/main" val="57364040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vertTitleAndTx" preserve="1">
  <p:cSld name="Verticale titel en tekst">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1" y="414780"/>
            <a:ext cx="2628900" cy="5757421"/>
          </a:xfrm>
        </p:spPr>
        <p:txBody>
          <a:bodyPr vert="eaVert"/>
          <a:lstStyle/>
          <a:p>
            <a:r>
              <a:rPr lang="nl-NL" smtClean="0"/>
              <a:t>Klik om de stijl te bewerken</a:t>
            </a:r>
            <a:endParaRPr lang="en-US" dirty="0"/>
          </a:p>
        </p:txBody>
      </p:sp>
      <p:sp>
        <p:nvSpPr>
          <p:cNvPr id="3" name="Vertical Text Placeholder 2"/>
          <p:cNvSpPr>
            <a:spLocks noGrp="1"/>
          </p:cNvSpPr>
          <p:nvPr>
            <p:ph type="body" orient="vert" idx="1"/>
          </p:nvPr>
        </p:nvSpPr>
        <p:spPr>
          <a:xfrm>
            <a:off x="838201" y="414779"/>
            <a:ext cx="7734300" cy="5757420"/>
          </a:xfrm>
        </p:spPr>
        <p:txBody>
          <a:bodyPr vert="eaVert" lIns="45720" tIns="0" rIns="45720" bIns="0"/>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10"/>
          </p:nvPr>
        </p:nvSpPr>
        <p:spPr/>
        <p:txBody>
          <a:bodyPr/>
          <a:lstStyle/>
          <a:p>
            <a:fld id="{8B035B6D-46B3-457A-AC9D-FC7871AB2F4A}" type="datetime1">
              <a:rPr lang="nl-NL" smtClean="0"/>
              <a:t>31-3-2022</a:t>
            </a:fld>
            <a:endParaRPr lang="nl-NL"/>
          </a:p>
        </p:txBody>
      </p:sp>
      <p:sp>
        <p:nvSpPr>
          <p:cNvPr id="5" name="Footer Placeholder 4"/>
          <p:cNvSpPr>
            <a:spLocks noGrp="1"/>
          </p:cNvSpPr>
          <p:nvPr>
            <p:ph type="ftr" sz="quarter" idx="11"/>
          </p:nvPr>
        </p:nvSpPr>
        <p:spPr/>
        <p:txBody>
          <a:bodyPr/>
          <a:lstStyle/>
          <a:p>
            <a:r>
              <a:rPr lang="nl-NL" smtClean="0"/>
              <a:t>© Gielink Pensioenrecht BV | 18-6-2019</a:t>
            </a:r>
            <a:endParaRPr lang="nl-NL"/>
          </a:p>
        </p:txBody>
      </p:sp>
      <p:sp>
        <p:nvSpPr>
          <p:cNvPr id="6" name="Slide Number Placeholder 5"/>
          <p:cNvSpPr>
            <a:spLocks noGrp="1"/>
          </p:cNvSpPr>
          <p:nvPr>
            <p:ph type="sldNum" sz="quarter" idx="12"/>
          </p:nvPr>
        </p:nvSpPr>
        <p:spPr/>
        <p:txBody>
          <a:bodyPr/>
          <a:lstStyle/>
          <a:p>
            <a:fld id="{1E554E7E-9F1A-4168-8251-F60FE9396E1C}" type="slidenum">
              <a:rPr lang="nl-NL" smtClean="0"/>
              <a:t>‹nr.›</a:t>
            </a:fld>
            <a:endParaRPr lang="nl-NL"/>
          </a:p>
        </p:txBody>
      </p:sp>
    </p:spTree>
    <p:extLst>
      <p:ext uri="{BB962C8B-B14F-4D97-AF65-F5344CB8AC3E}">
        <p14:creationId xmlns:p14="http://schemas.microsoft.com/office/powerpoint/2010/main" val="201720009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3" name="Rechthoek: afgeronde diagonale hoeken 12">
            <a:extLst>
              <a:ext uri="{FF2B5EF4-FFF2-40B4-BE49-F238E27FC236}">
                <a16:creationId xmlns:a16="http://schemas.microsoft.com/office/drawing/2014/main" id="{84156E73-E3A2-4787-A579-31E129366650}"/>
              </a:ext>
            </a:extLst>
          </p:cNvPr>
          <p:cNvSpPr/>
          <p:nvPr userDrawn="1"/>
        </p:nvSpPr>
        <p:spPr>
          <a:xfrm>
            <a:off x="655814" y="1996819"/>
            <a:ext cx="8405150" cy="2408926"/>
          </a:xfrm>
          <a:prstGeom prst="round2DiagRect">
            <a:avLst>
              <a:gd name="adj1" fmla="val 0"/>
              <a:gd name="adj2" fmla="val 17647"/>
            </a:avLst>
          </a:prstGeom>
          <a:solidFill>
            <a:srgbClr val="E6F6E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14" name="Rectangle 13">
            <a:extLst>
              <a:ext uri="{FF2B5EF4-FFF2-40B4-BE49-F238E27FC236}">
                <a16:creationId xmlns:a16="http://schemas.microsoft.com/office/drawing/2014/main" id="{DBFCE3AF-4A9E-414A-A337-5A4B71B31BD1}"/>
              </a:ext>
            </a:extLst>
          </p:cNvPr>
          <p:cNvSpPr/>
          <p:nvPr userDrawn="1"/>
        </p:nvSpPr>
        <p:spPr>
          <a:xfrm>
            <a:off x="0" y="-28575"/>
            <a:ext cx="12192000" cy="685799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0080" tIns="48924" rIns="50080" bIns="48924" numCol="1" spcCol="0" rtlCol="0" fromWordArt="0" anchor="ctr" anchorCtr="0" forceAA="0" compatLnSpc="1">
            <a:prstTxWarp prst="textNoShape">
              <a:avLst/>
            </a:prstTxWarp>
            <a:noAutofit/>
          </a:bodyPr>
          <a:lstStyle/>
          <a:p>
            <a:pPr algn="ctr">
              <a:spcBef>
                <a:spcPts val="428"/>
              </a:spcBef>
            </a:pPr>
            <a:endParaRPr lang="en-US" sz="856" dirty="0">
              <a:solidFill>
                <a:schemeClr val="tx1"/>
              </a:solidFill>
            </a:endParaRPr>
          </a:p>
        </p:txBody>
      </p:sp>
      <p:sp>
        <p:nvSpPr>
          <p:cNvPr id="9" name="Presentation - Draft Watermark" hidden="1"/>
          <p:cNvSpPr txBox="1"/>
          <p:nvPr userDrawn="1"/>
        </p:nvSpPr>
        <p:spPr>
          <a:xfrm>
            <a:off x="10529455" y="927849"/>
            <a:ext cx="997527" cy="244411"/>
          </a:xfrm>
          <a:prstGeom prst="rect">
            <a:avLst/>
          </a:prstGeom>
          <a:noFill/>
        </p:spPr>
        <p:txBody>
          <a:bodyPr wrap="square" lIns="0" tIns="0" rIns="0" bIns="0" rtlCol="0" anchor="ctr" anchorCtr="0">
            <a:noAutofit/>
          </a:bodyPr>
          <a:lstStyle/>
          <a:p>
            <a:pPr algn="r"/>
            <a:r>
              <a:rPr lang="en-US" sz="1926" b="1" spc="0" dirty="0">
                <a:solidFill>
                  <a:srgbClr val="FF0000"/>
                </a:solidFill>
                <a:latin typeface="+mn-lt"/>
              </a:rPr>
              <a:t>DRAFT</a:t>
            </a:r>
          </a:p>
        </p:txBody>
      </p:sp>
      <p:sp>
        <p:nvSpPr>
          <p:cNvPr id="11" name="Presentation - Disclaimers" hidden="1"/>
          <p:cNvSpPr>
            <a:spLocks noChangeArrowheads="1"/>
          </p:cNvSpPr>
          <p:nvPr userDrawn="1">
            <p:custDataLst>
              <p:tags r:id="rId2"/>
            </p:custDataLst>
          </p:nvPr>
        </p:nvSpPr>
        <p:spPr bwMode="auto">
          <a:xfrm>
            <a:off x="4445009" y="6406179"/>
            <a:ext cx="3325091" cy="130805"/>
          </a:xfrm>
          <a:prstGeom prst="rect">
            <a:avLst/>
          </a:prstGeom>
          <a:noFill/>
          <a:ln w="9525">
            <a:noFill/>
            <a:miter lim="800000"/>
            <a:headEnd/>
            <a:tailEnd/>
          </a:ln>
        </p:spPr>
        <p:txBody>
          <a:bodyPr wrap="square" lIns="0" tIns="0" rIns="0" bIns="0" anchor="t" anchorCtr="0">
            <a:spAutoFit/>
          </a:bodyPr>
          <a:lstStyle/>
          <a:p>
            <a:pPr algn="ctr" defTabSz="897606">
              <a:lnSpc>
                <a:spcPts val="1057"/>
              </a:lnSpc>
            </a:pPr>
            <a:endParaRPr lang="en-US" sz="856" b="1" cap="all" dirty="0">
              <a:solidFill>
                <a:srgbClr val="FF0000"/>
              </a:solidFill>
              <a:latin typeface="Arial" panose="020B0604020202020204" pitchFamily="34" charset="0"/>
              <a:cs typeface="Arial" panose="020B0604020202020204" pitchFamily="34" charset="0"/>
            </a:endParaRPr>
          </a:p>
        </p:txBody>
      </p:sp>
      <p:sp>
        <p:nvSpPr>
          <p:cNvPr id="7" name="Logo - Client 1" hidden="1"/>
          <p:cNvSpPr>
            <a:spLocks/>
          </p:cNvSpPr>
          <p:nvPr userDrawn="1"/>
        </p:nvSpPr>
        <p:spPr>
          <a:xfrm>
            <a:off x="10285588" y="567633"/>
            <a:ext cx="1108825" cy="27431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56" dirty="0">
                <a:solidFill>
                  <a:schemeClr val="tx1"/>
                </a:solidFill>
              </a:rPr>
              <a:t>Client Logo</a:t>
            </a:r>
          </a:p>
        </p:txBody>
      </p:sp>
      <p:sp>
        <p:nvSpPr>
          <p:cNvPr id="31" name="Tijdelijke aanduiding voor voettekst 4">
            <a:extLst>
              <a:ext uri="{FF2B5EF4-FFF2-40B4-BE49-F238E27FC236}">
                <a16:creationId xmlns:a16="http://schemas.microsoft.com/office/drawing/2014/main" id="{CEFB5D99-04F0-401B-A5F2-1D35AE4613BC}"/>
              </a:ext>
            </a:extLst>
          </p:cNvPr>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algn="l">
              <a:defRPr sz="8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nl-NL"/>
              <a:t>Webinar Triple A 31 maart 2022</a:t>
            </a:r>
            <a:endParaRPr lang="nl-NL" dirty="0"/>
          </a:p>
        </p:txBody>
      </p:sp>
      <p:sp>
        <p:nvSpPr>
          <p:cNvPr id="32" name="Tijdelijke aanduiding voor dianummer 5">
            <a:extLst>
              <a:ext uri="{FF2B5EF4-FFF2-40B4-BE49-F238E27FC236}">
                <a16:creationId xmlns:a16="http://schemas.microsoft.com/office/drawing/2014/main" id="{7FEB4515-F1E9-4687-A678-0A9D34479A17}"/>
              </a:ext>
            </a:extLst>
          </p:cNvPr>
          <p:cNvSpPr>
            <a:spLocks noGrp="1"/>
          </p:cNvSpPr>
          <p:nvPr>
            <p:ph type="sldNum" sz="quarter" idx="4"/>
          </p:nvPr>
        </p:nvSpPr>
        <p:spPr>
          <a:xfrm>
            <a:off x="5313218" y="6353464"/>
            <a:ext cx="1565564" cy="365125"/>
          </a:xfrm>
          <a:prstGeom prst="rect">
            <a:avLst/>
          </a:prstGeom>
        </p:spPr>
        <p:txBody>
          <a:bodyPr vert="horz" lIns="91440" tIns="45720" rIns="91440" bIns="45720" rtlCol="0" anchor="ctr"/>
          <a:lstStyle>
            <a:lvl1pPr algn="ctr">
              <a:defRPr sz="10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stStyle>
          <a:p>
            <a:fld id="{A069B346-58ED-458C-B9CF-4422065AE6FF}" type="slidenum">
              <a:rPr lang="nl-NL" smtClean="0"/>
              <a:pPr/>
              <a:t>‹nr.›</a:t>
            </a:fld>
            <a:endParaRPr lang="nl-NL" dirty="0"/>
          </a:p>
        </p:txBody>
      </p:sp>
      <p:pic>
        <p:nvPicPr>
          <p:cNvPr id="33" name="Afbeelding 32">
            <a:extLst>
              <a:ext uri="{FF2B5EF4-FFF2-40B4-BE49-F238E27FC236}">
                <a16:creationId xmlns:a16="http://schemas.microsoft.com/office/drawing/2014/main" id="{F2798E34-3137-4A69-82B5-80880CB28C90}"/>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491310" y="1996819"/>
            <a:ext cx="2270344" cy="2270344"/>
          </a:xfrm>
          <a:prstGeom prst="rect">
            <a:avLst/>
          </a:prstGeom>
        </p:spPr>
      </p:pic>
      <p:sp>
        <p:nvSpPr>
          <p:cNvPr id="36" name="Ondertitel 2">
            <a:extLst>
              <a:ext uri="{FF2B5EF4-FFF2-40B4-BE49-F238E27FC236}">
                <a16:creationId xmlns:a16="http://schemas.microsoft.com/office/drawing/2014/main" id="{56628CD3-9715-4B98-B550-0F26B8CB7A6F}"/>
              </a:ext>
            </a:extLst>
          </p:cNvPr>
          <p:cNvSpPr>
            <a:spLocks noGrp="1"/>
          </p:cNvSpPr>
          <p:nvPr>
            <p:ph type="subTitle" idx="1"/>
          </p:nvPr>
        </p:nvSpPr>
        <p:spPr>
          <a:xfrm>
            <a:off x="655814" y="1996819"/>
            <a:ext cx="8405150" cy="2408926"/>
          </a:xfrm>
        </p:spPr>
        <p:txBody>
          <a:bodyPr>
            <a:noAutofit/>
          </a:bodyPr>
          <a:lstStyle>
            <a:lvl1pPr marL="0" indent="0" algn="l">
              <a:buNone/>
              <a:defRPr sz="4400" b="1">
                <a:latin typeface="Tenorite" panose="00000500000000000000" pitchFamily="2" charset="0"/>
                <a:ea typeface="Open Sans bold" panose="020B0806030504020204" pitchFamily="34" charset="0"/>
                <a:cs typeface="Open Sans bold" panose="020B08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dirty="0"/>
              <a:t>Klikken om de ondertitelstijl van het model te bewerken</a:t>
            </a:r>
          </a:p>
        </p:txBody>
      </p:sp>
    </p:spTree>
    <p:extLst>
      <p:ext uri="{BB962C8B-B14F-4D97-AF65-F5344CB8AC3E}">
        <p14:creationId xmlns:p14="http://schemas.microsoft.com/office/powerpoint/2010/main" val="13381871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el en opsomming">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1B80ABF7-323E-4155-AEB8-9A98AA6329B1}"/>
              </a:ext>
            </a:extLst>
          </p:cNvPr>
          <p:cNvSpPr>
            <a:spLocks noGrp="1"/>
          </p:cNvSpPr>
          <p:nvPr>
            <p:ph type="ftr" sz="quarter" idx="11"/>
          </p:nvPr>
        </p:nvSpPr>
        <p:spPr>
          <a:xfrm>
            <a:off x="838200" y="6353463"/>
            <a:ext cx="4240576" cy="365125"/>
          </a:xfrm>
        </p:spPr>
        <p:txBody>
          <a:bodyPr/>
          <a:lstStyle/>
          <a:p>
            <a:r>
              <a:rPr lang="nl-NL"/>
              <a:t>Webinar Triple A 31 maart 2022</a:t>
            </a:r>
            <a:endParaRPr lang="nl-NL" dirty="0"/>
          </a:p>
        </p:txBody>
      </p:sp>
      <p:sp>
        <p:nvSpPr>
          <p:cNvPr id="6" name="Tijdelijke aanduiding voor dianummer 5">
            <a:extLst>
              <a:ext uri="{FF2B5EF4-FFF2-40B4-BE49-F238E27FC236}">
                <a16:creationId xmlns:a16="http://schemas.microsoft.com/office/drawing/2014/main" id="{8C0C1A6C-B427-42E5-A251-C8C99E30AF02}"/>
              </a:ext>
            </a:extLst>
          </p:cNvPr>
          <p:cNvSpPr>
            <a:spLocks noGrp="1"/>
          </p:cNvSpPr>
          <p:nvPr>
            <p:ph type="sldNum" sz="quarter" idx="12"/>
          </p:nvPr>
        </p:nvSpPr>
        <p:spPr/>
        <p:txBody>
          <a:bodyPr/>
          <a:lstStyle/>
          <a:p>
            <a:fld id="{A069B346-58ED-458C-B9CF-4422065AE6FF}" type="slidenum">
              <a:rPr lang="nl-NL" smtClean="0"/>
              <a:t>‹nr.›</a:t>
            </a:fld>
            <a:endParaRPr lang="nl-NL"/>
          </a:p>
        </p:txBody>
      </p:sp>
      <p:sp>
        <p:nvSpPr>
          <p:cNvPr id="8" name="Tijdelijke aanduiding voor titel 1">
            <a:extLst>
              <a:ext uri="{FF2B5EF4-FFF2-40B4-BE49-F238E27FC236}">
                <a16:creationId xmlns:a16="http://schemas.microsoft.com/office/drawing/2014/main" id="{58BCA8A3-9EE8-4C2E-860B-2C09E9D19FA3}"/>
              </a:ext>
            </a:extLst>
          </p:cNvPr>
          <p:cNvSpPr>
            <a:spLocks noGrp="1"/>
          </p:cNvSpPr>
          <p:nvPr>
            <p:ph type="title"/>
          </p:nvPr>
        </p:nvSpPr>
        <p:spPr>
          <a:xfrm>
            <a:off x="211708" y="174841"/>
            <a:ext cx="2991841" cy="1844703"/>
          </a:xfrm>
          <a:prstGeom prst="rect">
            <a:avLst/>
          </a:prstGeom>
        </p:spPr>
        <p:txBody>
          <a:bodyPr vert="horz" lIns="91440" tIns="45720" rIns="91440" bIns="45720" rtlCol="0" anchor="ctr">
            <a:normAutofit/>
          </a:bodyPr>
          <a:lstStyle/>
          <a:p>
            <a:r>
              <a:rPr lang="nl-NL" dirty="0"/>
              <a:t>Klik om stijl te bewerken</a:t>
            </a:r>
          </a:p>
        </p:txBody>
      </p:sp>
      <p:sp>
        <p:nvSpPr>
          <p:cNvPr id="9" name="Tijdelijke aanduiding voor inhoud 2">
            <a:extLst>
              <a:ext uri="{FF2B5EF4-FFF2-40B4-BE49-F238E27FC236}">
                <a16:creationId xmlns:a16="http://schemas.microsoft.com/office/drawing/2014/main" id="{AE2DC58F-AE7A-4C83-9812-C6EA8EE64549}"/>
              </a:ext>
            </a:extLst>
          </p:cNvPr>
          <p:cNvSpPr>
            <a:spLocks noGrp="1"/>
          </p:cNvSpPr>
          <p:nvPr>
            <p:ph idx="1"/>
          </p:nvPr>
        </p:nvSpPr>
        <p:spPr>
          <a:xfrm>
            <a:off x="3389376" y="1915063"/>
            <a:ext cx="8590916" cy="4261899"/>
          </a:xfrm>
        </p:spPr>
        <p:txBody>
          <a:bodyPr>
            <a:normAutofit/>
          </a:bodyPr>
          <a:lstStyle>
            <a:lvl1pPr>
              <a:lnSpc>
                <a:spcPct val="110000"/>
              </a:lnSpc>
              <a:spcBef>
                <a:spcPts val="0"/>
              </a:spcBef>
              <a:defRPr sz="1800">
                <a:solidFill>
                  <a:srgbClr val="25224E"/>
                </a:solidFill>
              </a:defRPr>
            </a:lvl1pPr>
            <a:lvl2pPr>
              <a:lnSpc>
                <a:spcPct val="110000"/>
              </a:lnSpc>
              <a:spcBef>
                <a:spcPts val="0"/>
              </a:spcBef>
              <a:defRPr sz="1600">
                <a:solidFill>
                  <a:srgbClr val="25224E"/>
                </a:solidFill>
              </a:defRPr>
            </a:lvl2pPr>
            <a:lvl3pPr>
              <a:lnSpc>
                <a:spcPct val="110000"/>
              </a:lnSpc>
              <a:spcBef>
                <a:spcPts val="0"/>
              </a:spcBef>
              <a:defRPr sz="1400">
                <a:solidFill>
                  <a:srgbClr val="25224E"/>
                </a:solidFill>
              </a:defRPr>
            </a:lvl3pPr>
            <a:lvl4pPr>
              <a:lnSpc>
                <a:spcPct val="110000"/>
              </a:lnSpc>
              <a:spcBef>
                <a:spcPts val="0"/>
              </a:spcBef>
              <a:defRPr sz="1200">
                <a:solidFill>
                  <a:srgbClr val="25224E"/>
                </a:solidFill>
              </a:defRPr>
            </a:lvl4pPr>
            <a:lvl5pPr>
              <a:lnSpc>
                <a:spcPct val="110000"/>
              </a:lnSpc>
              <a:spcBef>
                <a:spcPts val="0"/>
              </a:spcBef>
              <a:defRPr sz="1200">
                <a:solidFill>
                  <a:srgbClr val="25224E"/>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Tree>
    <p:extLst>
      <p:ext uri="{BB962C8B-B14F-4D97-AF65-F5344CB8AC3E}">
        <p14:creationId xmlns:p14="http://schemas.microsoft.com/office/powerpoint/2010/main" val="154526378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el en half opsommmen">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5D6EF45C-454E-4AF4-9786-DADD56F9CD13}"/>
              </a:ext>
            </a:extLst>
          </p:cNvPr>
          <p:cNvSpPr>
            <a:spLocks noGrp="1"/>
          </p:cNvSpPr>
          <p:nvPr>
            <p:ph idx="1"/>
          </p:nvPr>
        </p:nvSpPr>
        <p:spPr>
          <a:xfrm>
            <a:off x="6096000" y="1915063"/>
            <a:ext cx="5884292" cy="4261899"/>
          </a:xfrm>
        </p:spPr>
        <p:txBody>
          <a:bodyPr>
            <a:normAutofit/>
          </a:bodyPr>
          <a:lstStyle>
            <a:lvl1pPr>
              <a:lnSpc>
                <a:spcPct val="110000"/>
              </a:lnSpc>
              <a:spcBef>
                <a:spcPts val="0"/>
              </a:spcBef>
              <a:defRPr sz="1800">
                <a:solidFill>
                  <a:srgbClr val="25224E"/>
                </a:solidFill>
              </a:defRPr>
            </a:lvl1pPr>
            <a:lvl2pPr>
              <a:lnSpc>
                <a:spcPct val="110000"/>
              </a:lnSpc>
              <a:spcBef>
                <a:spcPts val="0"/>
              </a:spcBef>
              <a:defRPr sz="1600">
                <a:solidFill>
                  <a:srgbClr val="25224E"/>
                </a:solidFill>
              </a:defRPr>
            </a:lvl2pPr>
            <a:lvl3pPr>
              <a:lnSpc>
                <a:spcPct val="110000"/>
              </a:lnSpc>
              <a:spcBef>
                <a:spcPts val="0"/>
              </a:spcBef>
              <a:defRPr sz="1400">
                <a:solidFill>
                  <a:srgbClr val="25224E"/>
                </a:solidFill>
              </a:defRPr>
            </a:lvl3pPr>
            <a:lvl4pPr>
              <a:lnSpc>
                <a:spcPct val="110000"/>
              </a:lnSpc>
              <a:spcBef>
                <a:spcPts val="0"/>
              </a:spcBef>
              <a:defRPr sz="1200">
                <a:solidFill>
                  <a:srgbClr val="25224E"/>
                </a:solidFill>
              </a:defRPr>
            </a:lvl4pPr>
            <a:lvl5pPr>
              <a:lnSpc>
                <a:spcPct val="110000"/>
              </a:lnSpc>
              <a:spcBef>
                <a:spcPts val="0"/>
              </a:spcBef>
              <a:defRPr sz="1200">
                <a:solidFill>
                  <a:srgbClr val="25224E"/>
                </a:solidFill>
              </a:defRPr>
            </a:lvl5p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a:extLst>
              <a:ext uri="{FF2B5EF4-FFF2-40B4-BE49-F238E27FC236}">
                <a16:creationId xmlns:a16="http://schemas.microsoft.com/office/drawing/2014/main" id="{1B80ABF7-323E-4155-AEB8-9A98AA6329B1}"/>
              </a:ext>
            </a:extLst>
          </p:cNvPr>
          <p:cNvSpPr>
            <a:spLocks noGrp="1"/>
          </p:cNvSpPr>
          <p:nvPr>
            <p:ph type="ftr" sz="quarter" idx="11"/>
          </p:nvPr>
        </p:nvSpPr>
        <p:spPr>
          <a:xfrm>
            <a:off x="838200" y="6353463"/>
            <a:ext cx="4240576" cy="365125"/>
          </a:xfrm>
        </p:spPr>
        <p:txBody>
          <a:bodyPr/>
          <a:lstStyle/>
          <a:p>
            <a:r>
              <a:rPr lang="nl-NL"/>
              <a:t>Webinar Triple A 31 maart 2022</a:t>
            </a:r>
            <a:endParaRPr lang="nl-NL" dirty="0"/>
          </a:p>
        </p:txBody>
      </p:sp>
      <p:sp>
        <p:nvSpPr>
          <p:cNvPr id="6" name="Tijdelijke aanduiding voor dianummer 5">
            <a:extLst>
              <a:ext uri="{FF2B5EF4-FFF2-40B4-BE49-F238E27FC236}">
                <a16:creationId xmlns:a16="http://schemas.microsoft.com/office/drawing/2014/main" id="{8C0C1A6C-B427-42E5-A251-C8C99E30AF02}"/>
              </a:ext>
            </a:extLst>
          </p:cNvPr>
          <p:cNvSpPr>
            <a:spLocks noGrp="1"/>
          </p:cNvSpPr>
          <p:nvPr>
            <p:ph type="sldNum" sz="quarter" idx="12"/>
          </p:nvPr>
        </p:nvSpPr>
        <p:spPr/>
        <p:txBody>
          <a:bodyPr/>
          <a:lstStyle/>
          <a:p>
            <a:fld id="{A069B346-58ED-458C-B9CF-4422065AE6FF}" type="slidenum">
              <a:rPr lang="nl-NL" smtClean="0"/>
              <a:t>‹nr.›</a:t>
            </a:fld>
            <a:endParaRPr lang="nl-NL"/>
          </a:p>
        </p:txBody>
      </p:sp>
      <p:sp>
        <p:nvSpPr>
          <p:cNvPr id="7" name="Tijdelijke aanduiding voor titel 1">
            <a:extLst>
              <a:ext uri="{FF2B5EF4-FFF2-40B4-BE49-F238E27FC236}">
                <a16:creationId xmlns:a16="http://schemas.microsoft.com/office/drawing/2014/main" id="{3291AC19-A73C-4A99-AB63-F7C7900136EC}"/>
              </a:ext>
            </a:extLst>
          </p:cNvPr>
          <p:cNvSpPr>
            <a:spLocks noGrp="1"/>
          </p:cNvSpPr>
          <p:nvPr>
            <p:ph type="title"/>
          </p:nvPr>
        </p:nvSpPr>
        <p:spPr>
          <a:xfrm>
            <a:off x="211708" y="174841"/>
            <a:ext cx="2991841" cy="1844703"/>
          </a:xfrm>
          <a:prstGeom prst="rect">
            <a:avLst/>
          </a:prstGeom>
        </p:spPr>
        <p:txBody>
          <a:bodyPr vert="horz" lIns="91440" tIns="45720" rIns="91440" bIns="45720" rtlCol="0" anchor="ctr">
            <a:normAutofit/>
          </a:bodyPr>
          <a:lstStyle/>
          <a:p>
            <a:r>
              <a:rPr lang="nl-NL" dirty="0"/>
              <a:t>Klik om stijl te bewerken</a:t>
            </a:r>
          </a:p>
        </p:txBody>
      </p:sp>
    </p:spTree>
    <p:extLst>
      <p:ext uri="{BB962C8B-B14F-4D97-AF65-F5344CB8AC3E}">
        <p14:creationId xmlns:p14="http://schemas.microsoft.com/office/powerpoint/2010/main" val="20201464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1B80ABF7-323E-4155-AEB8-9A98AA6329B1}"/>
              </a:ext>
            </a:extLst>
          </p:cNvPr>
          <p:cNvSpPr>
            <a:spLocks noGrp="1"/>
          </p:cNvSpPr>
          <p:nvPr>
            <p:ph type="ftr" sz="quarter" idx="11"/>
          </p:nvPr>
        </p:nvSpPr>
        <p:spPr>
          <a:xfrm>
            <a:off x="838200" y="6353464"/>
            <a:ext cx="4114800" cy="365125"/>
          </a:xfrm>
        </p:spPr>
        <p:txBody>
          <a:bodyPr/>
          <a:lstStyle/>
          <a:p>
            <a:r>
              <a:rPr lang="nl-NL"/>
              <a:t>Webinar Triple A 31 maart 2022</a:t>
            </a:r>
          </a:p>
        </p:txBody>
      </p:sp>
      <p:sp>
        <p:nvSpPr>
          <p:cNvPr id="6" name="Tijdelijke aanduiding voor dianummer 5">
            <a:extLst>
              <a:ext uri="{FF2B5EF4-FFF2-40B4-BE49-F238E27FC236}">
                <a16:creationId xmlns:a16="http://schemas.microsoft.com/office/drawing/2014/main" id="{8C0C1A6C-B427-42E5-A251-C8C99E30AF02}"/>
              </a:ext>
            </a:extLst>
          </p:cNvPr>
          <p:cNvSpPr>
            <a:spLocks noGrp="1"/>
          </p:cNvSpPr>
          <p:nvPr>
            <p:ph type="sldNum" sz="quarter" idx="12"/>
          </p:nvPr>
        </p:nvSpPr>
        <p:spPr/>
        <p:txBody>
          <a:bodyPr/>
          <a:lstStyle/>
          <a:p>
            <a:fld id="{A069B346-58ED-458C-B9CF-4422065AE6FF}" type="slidenum">
              <a:rPr lang="nl-NL" smtClean="0"/>
              <a:t>‹nr.›</a:t>
            </a:fld>
            <a:endParaRPr lang="nl-NL"/>
          </a:p>
        </p:txBody>
      </p:sp>
      <p:sp>
        <p:nvSpPr>
          <p:cNvPr id="7" name="Tijdelijke aanduiding voor titel 1">
            <a:extLst>
              <a:ext uri="{FF2B5EF4-FFF2-40B4-BE49-F238E27FC236}">
                <a16:creationId xmlns:a16="http://schemas.microsoft.com/office/drawing/2014/main" id="{F85E55BD-0FBF-4600-BFDA-EAE45DADCB9C}"/>
              </a:ext>
            </a:extLst>
          </p:cNvPr>
          <p:cNvSpPr>
            <a:spLocks noGrp="1"/>
          </p:cNvSpPr>
          <p:nvPr>
            <p:ph type="title"/>
          </p:nvPr>
        </p:nvSpPr>
        <p:spPr>
          <a:xfrm>
            <a:off x="211708" y="174841"/>
            <a:ext cx="2991841" cy="1844703"/>
          </a:xfrm>
          <a:prstGeom prst="rect">
            <a:avLst/>
          </a:prstGeom>
        </p:spPr>
        <p:txBody>
          <a:bodyPr vert="horz" lIns="91440" tIns="45720" rIns="91440" bIns="45720" rtlCol="0" anchor="ctr">
            <a:normAutofit/>
          </a:bodyPr>
          <a:lstStyle/>
          <a:p>
            <a:r>
              <a:rPr lang="nl-NL" dirty="0"/>
              <a:t>Klik om stijl te bewerken</a:t>
            </a:r>
          </a:p>
        </p:txBody>
      </p:sp>
    </p:spTree>
    <p:extLst>
      <p:ext uri="{BB962C8B-B14F-4D97-AF65-F5344CB8AC3E}">
        <p14:creationId xmlns:p14="http://schemas.microsoft.com/office/powerpoint/2010/main" val="2073911597"/>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el alleen">
    <p:spTree>
      <p:nvGrpSpPr>
        <p:cNvPr id="1" name=""/>
        <p:cNvGrpSpPr/>
        <p:nvPr/>
      </p:nvGrpSpPr>
      <p:grpSpPr>
        <a:xfrm>
          <a:off x="0" y="0"/>
          <a:ext cx="0" cy="0"/>
          <a:chOff x="0" y="0"/>
          <a:chExt cx="0" cy="0"/>
        </a:xfrm>
      </p:grpSpPr>
      <p:sp>
        <p:nvSpPr>
          <p:cNvPr id="5" name="Tijdelijke aanduiding voor voettekst 4">
            <a:extLst>
              <a:ext uri="{FF2B5EF4-FFF2-40B4-BE49-F238E27FC236}">
                <a16:creationId xmlns:a16="http://schemas.microsoft.com/office/drawing/2014/main" id="{1B80ABF7-323E-4155-AEB8-9A98AA6329B1}"/>
              </a:ext>
            </a:extLst>
          </p:cNvPr>
          <p:cNvSpPr>
            <a:spLocks noGrp="1"/>
          </p:cNvSpPr>
          <p:nvPr>
            <p:ph type="ftr" sz="quarter" idx="11"/>
          </p:nvPr>
        </p:nvSpPr>
        <p:spPr>
          <a:xfrm>
            <a:off x="838200" y="6353464"/>
            <a:ext cx="4114800" cy="365125"/>
          </a:xfrm>
        </p:spPr>
        <p:txBody>
          <a:bodyPr/>
          <a:lstStyle/>
          <a:p>
            <a:r>
              <a:rPr lang="nl-NL"/>
              <a:t>Presentatie voor bestuur Pensioenfonds Campina 25 maart 2022</a:t>
            </a:r>
          </a:p>
        </p:txBody>
      </p:sp>
      <p:sp>
        <p:nvSpPr>
          <p:cNvPr id="6" name="Tijdelijke aanduiding voor dianummer 5">
            <a:extLst>
              <a:ext uri="{FF2B5EF4-FFF2-40B4-BE49-F238E27FC236}">
                <a16:creationId xmlns:a16="http://schemas.microsoft.com/office/drawing/2014/main" id="{8C0C1A6C-B427-42E5-A251-C8C99E30AF02}"/>
              </a:ext>
            </a:extLst>
          </p:cNvPr>
          <p:cNvSpPr>
            <a:spLocks noGrp="1"/>
          </p:cNvSpPr>
          <p:nvPr>
            <p:ph type="sldNum" sz="quarter" idx="12"/>
          </p:nvPr>
        </p:nvSpPr>
        <p:spPr/>
        <p:txBody>
          <a:bodyPr/>
          <a:lstStyle/>
          <a:p>
            <a:fld id="{A069B346-58ED-458C-B9CF-4422065AE6FF}" type="slidenum">
              <a:rPr lang="nl-NL" smtClean="0"/>
              <a:t>‹nr.›</a:t>
            </a:fld>
            <a:endParaRPr lang="nl-NL"/>
          </a:p>
        </p:txBody>
      </p:sp>
      <p:sp>
        <p:nvSpPr>
          <p:cNvPr id="7" name="Tijdelijke aanduiding voor titel 1">
            <a:extLst>
              <a:ext uri="{FF2B5EF4-FFF2-40B4-BE49-F238E27FC236}">
                <a16:creationId xmlns:a16="http://schemas.microsoft.com/office/drawing/2014/main" id="{CD26C5F5-0A81-445B-9040-F091BAA46F28}"/>
              </a:ext>
            </a:extLst>
          </p:cNvPr>
          <p:cNvSpPr>
            <a:spLocks noGrp="1"/>
          </p:cNvSpPr>
          <p:nvPr>
            <p:ph type="title"/>
          </p:nvPr>
        </p:nvSpPr>
        <p:spPr>
          <a:xfrm>
            <a:off x="211708" y="174841"/>
            <a:ext cx="2991841" cy="1844703"/>
          </a:xfrm>
          <a:prstGeom prst="rect">
            <a:avLst/>
          </a:prstGeom>
        </p:spPr>
        <p:txBody>
          <a:bodyPr vert="horz" lIns="91440" tIns="45720" rIns="91440" bIns="45720" rtlCol="0" anchor="ctr">
            <a:normAutofit/>
          </a:bodyPr>
          <a:lstStyle/>
          <a:p>
            <a:r>
              <a:rPr lang="nl-NL" dirty="0"/>
              <a:t>Klik om stijl te bewerken</a:t>
            </a:r>
          </a:p>
        </p:txBody>
      </p:sp>
    </p:spTree>
    <p:extLst>
      <p:ext uri="{BB962C8B-B14F-4D97-AF65-F5344CB8AC3E}">
        <p14:creationId xmlns:p14="http://schemas.microsoft.com/office/powerpoint/2010/main" val="63463395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Slide - Co Branding">
    <p:bg>
      <p:bgRef idx="1001">
        <a:schemeClr val="bg1"/>
      </p:bgRef>
    </p:bg>
    <p:spTree>
      <p:nvGrpSpPr>
        <p:cNvPr id="1" name=""/>
        <p:cNvGrpSpPr/>
        <p:nvPr/>
      </p:nvGrpSpPr>
      <p:grpSpPr>
        <a:xfrm>
          <a:off x="0" y="0"/>
          <a:ext cx="0" cy="0"/>
          <a:chOff x="0" y="0"/>
          <a:chExt cx="0" cy="0"/>
        </a:xfrm>
      </p:grpSpPr>
      <p:sp>
        <p:nvSpPr>
          <p:cNvPr id="50" name="Rechteck 49"/>
          <p:cNvSpPr/>
          <p:nvPr userDrawn="1"/>
        </p:nvSpPr>
        <p:spPr bwMode="gray">
          <a:xfrm>
            <a:off x="4368740"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2" name="Textfeld 21"/>
          <p:cNvSpPr txBox="1"/>
          <p:nvPr userDrawn="1"/>
        </p:nvSpPr>
        <p:spPr bwMode="gray">
          <a:xfrm>
            <a:off x="4498217" y="2674421"/>
            <a:ext cx="7145216"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51" name="L-Form 50"/>
          <p:cNvSpPr/>
          <p:nvPr userDrawn="1"/>
        </p:nvSpPr>
        <p:spPr bwMode="auto">
          <a:xfrm>
            <a:off x="4368740" y="0"/>
            <a:ext cx="7403817" cy="5697538"/>
          </a:xfrm>
          <a:prstGeom prst="corner">
            <a:avLst>
              <a:gd name="adj1" fmla="val 36794"/>
              <a:gd name="adj2" fmla="val 42477"/>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2" name="Rechteck 1"/>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398770"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398770"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398769" y="4219125"/>
            <a:ext cx="3512620"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398771" y="906710"/>
            <a:ext cx="5800937"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6" name="Textplatzhalter 20"/>
          <p:cNvSpPr>
            <a:spLocks noGrp="1"/>
          </p:cNvSpPr>
          <p:nvPr>
            <p:ph type="body" sz="quarter" idx="15" hasCustomPrompt="1"/>
          </p:nvPr>
        </p:nvSpPr>
        <p:spPr bwMode="gray">
          <a:xfrm>
            <a:off x="398771" y="1461356"/>
            <a:ext cx="5800937" cy="1107996"/>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graphicFrame>
        <p:nvGraphicFramePr>
          <p:cNvPr id="7" name="Objekt 6"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4115"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7" name="Freihandform: Form 46">
            <a:extLst>
              <a:ext uri="{FF2B5EF4-FFF2-40B4-BE49-F238E27FC236}">
                <a16:creationId xmlns:a16="http://schemas.microsoft.com/office/drawing/2014/main" id="{4C487715-2AE3-4356-AF7A-FD071E21CA50}"/>
              </a:ext>
            </a:extLst>
          </p:cNvPr>
          <p:cNvSpPr/>
          <p:nvPr userDrawn="1"/>
        </p:nvSpPr>
        <p:spPr bwMode="gray">
          <a:xfrm flipH="1">
            <a:off x="-4" y="2"/>
            <a:ext cx="12192000" cy="6857999"/>
          </a:xfrm>
          <a:custGeom>
            <a:avLst/>
            <a:gdLst>
              <a:gd name="connsiteX0" fmla="*/ 9906000 w 9906000"/>
              <a:gd name="connsiteY0" fmla="*/ 4846173 h 6857999"/>
              <a:gd name="connsiteX1" fmla="*/ 6354931 w 9906000"/>
              <a:gd name="connsiteY1" fmla="*/ 4846173 h 6857999"/>
              <a:gd name="connsiteX2" fmla="*/ 6354931 w 9906000"/>
              <a:gd name="connsiteY2" fmla="*/ 5710515 h 6857999"/>
              <a:gd name="connsiteX3" fmla="*/ 334892 w 9906000"/>
              <a:gd name="connsiteY3" fmla="*/ 5710515 h 6857999"/>
              <a:gd name="connsiteX4" fmla="*/ 334892 w 9906000"/>
              <a:gd name="connsiteY4" fmla="*/ 5710517 h 6857999"/>
              <a:gd name="connsiteX5" fmla="*/ 1 w 9906000"/>
              <a:gd name="connsiteY5" fmla="*/ 5710517 h 6857999"/>
              <a:gd name="connsiteX6" fmla="*/ 1 w 9906000"/>
              <a:gd name="connsiteY6" fmla="*/ 5710515 h 6857999"/>
              <a:gd name="connsiteX7" fmla="*/ 0 w 9906000"/>
              <a:gd name="connsiteY7" fmla="*/ 5710515 h 6857999"/>
              <a:gd name="connsiteX8" fmla="*/ 0 w 9906000"/>
              <a:gd name="connsiteY8" fmla="*/ 6857998 h 6857999"/>
              <a:gd name="connsiteX9" fmla="*/ 6354931 w 9906000"/>
              <a:gd name="connsiteY9" fmla="*/ 6857998 h 6857999"/>
              <a:gd name="connsiteX10" fmla="*/ 6354931 w 9906000"/>
              <a:gd name="connsiteY10" fmla="*/ 6857999 h 6857999"/>
              <a:gd name="connsiteX11" fmla="*/ 9906000 w 9906000"/>
              <a:gd name="connsiteY11" fmla="*/ 6857999 h 6857999"/>
              <a:gd name="connsiteX12" fmla="*/ 334892 w 9906000"/>
              <a:gd name="connsiteY12" fmla="*/ 0 h 6857999"/>
              <a:gd name="connsiteX13" fmla="*/ 1 w 9906000"/>
              <a:gd name="connsiteY13" fmla="*/ 0 h 6857999"/>
              <a:gd name="connsiteX14" fmla="*/ 1 w 9906000"/>
              <a:gd name="connsiteY14" fmla="*/ 5710515 h 6857999"/>
              <a:gd name="connsiteX15" fmla="*/ 334892 w 9906000"/>
              <a:gd name="connsiteY15" fmla="*/ 5710515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7999">
                <a:moveTo>
                  <a:pt x="9906000" y="4846173"/>
                </a:moveTo>
                <a:lnTo>
                  <a:pt x="6354931" y="4846173"/>
                </a:lnTo>
                <a:lnTo>
                  <a:pt x="6354931" y="5710515"/>
                </a:lnTo>
                <a:lnTo>
                  <a:pt x="334892" y="5710515"/>
                </a:lnTo>
                <a:lnTo>
                  <a:pt x="334892" y="5710517"/>
                </a:lnTo>
                <a:lnTo>
                  <a:pt x="1" y="5710517"/>
                </a:lnTo>
                <a:lnTo>
                  <a:pt x="1" y="5710515"/>
                </a:lnTo>
                <a:lnTo>
                  <a:pt x="0" y="5710515"/>
                </a:lnTo>
                <a:lnTo>
                  <a:pt x="0" y="6857998"/>
                </a:lnTo>
                <a:lnTo>
                  <a:pt x="6354931" y="6857998"/>
                </a:lnTo>
                <a:lnTo>
                  <a:pt x="6354931" y="6857999"/>
                </a:lnTo>
                <a:lnTo>
                  <a:pt x="9906000" y="6857999"/>
                </a:lnTo>
                <a:close/>
                <a:moveTo>
                  <a:pt x="334892" y="0"/>
                </a:moveTo>
                <a:lnTo>
                  <a:pt x="1" y="0"/>
                </a:lnTo>
                <a:lnTo>
                  <a:pt x="1" y="5710515"/>
                </a:lnTo>
                <a:lnTo>
                  <a:pt x="334892" y="5710515"/>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6"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grpSp>
        <p:nvGrpSpPr>
          <p:cNvPr id="6" name="Gruppieren 5"/>
          <p:cNvGrpSpPr/>
          <p:nvPr userDrawn="1"/>
        </p:nvGrpSpPr>
        <p:grpSpPr bwMode="gray">
          <a:xfrm>
            <a:off x="4362968" y="6002251"/>
            <a:ext cx="1657597" cy="512330"/>
            <a:chOff x="3544910" y="6002251"/>
            <a:chExt cx="1346798" cy="512330"/>
          </a:xfrm>
        </p:grpSpPr>
        <p:sp>
          <p:nvSpPr>
            <p:cNvPr id="4" name="Ellipse 3"/>
            <p:cNvSpPr/>
            <p:nvPr userDrawn="1"/>
          </p:nvSpPr>
          <p:spPr bwMode="gray">
            <a:xfrm>
              <a:off x="3551281" y="6002251"/>
              <a:ext cx="512330" cy="512330"/>
            </a:xfrm>
            <a:prstGeom prst="ellipse">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path path="circle">
                <a:fillToRect l="50000" t="50000" r="50000" b="50000"/>
              </a:path>
              <a:tileRect/>
            </a:gradFill>
            <a:ln w="6350" cap="flat" cmpd="sng" algn="ctr">
              <a:noFill/>
              <a:prstDash val="solid"/>
              <a:round/>
              <a:headEnd type="none" w="med" len="med"/>
              <a:tailEnd type="none" w="med" len="med"/>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indent="0" algn="ctr" defTabSz="914400" rtl="0" eaLnBrk="1" fontAlgn="base" latinLnBrk="0" hangingPunct="1">
                <a:lnSpc>
                  <a:spcPct val="110000"/>
                </a:lnSpc>
                <a:spcBef>
                  <a:spcPct val="50000"/>
                </a:spcBef>
                <a:spcAft>
                  <a:spcPct val="25000"/>
                </a:spcAft>
                <a:buClr>
                  <a:schemeClr val="tx2"/>
                </a:buClr>
                <a:buSzTx/>
                <a:buFont typeface="Wingdings" pitchFamily="2" charset="2"/>
                <a:buNone/>
                <a:tabLst/>
              </a:pPr>
              <a:r>
                <a:rPr kumimoji="0" lang="en-GB" sz="3000" b="0" i="0" u="none" strike="noStrike" cap="none" normalizeH="0" baseline="0" noProof="0" dirty="0">
                  <a:ln>
                    <a:noFill/>
                  </a:ln>
                  <a:solidFill>
                    <a:schemeClr val="bg1"/>
                  </a:solidFill>
                  <a:effectLst/>
                  <a:latin typeface="Arial" charset="0"/>
                </a:rPr>
                <a:t>CO</a:t>
              </a:r>
            </a:p>
          </p:txBody>
        </p:sp>
        <p:grpSp>
          <p:nvGrpSpPr>
            <p:cNvPr id="5" name="Gruppieren 4"/>
            <p:cNvGrpSpPr/>
            <p:nvPr userDrawn="1"/>
          </p:nvGrpSpPr>
          <p:grpSpPr bwMode="gray">
            <a:xfrm>
              <a:off x="3544910" y="6079550"/>
              <a:ext cx="1346798" cy="369332"/>
              <a:chOff x="3544910" y="6152092"/>
              <a:chExt cx="1346798" cy="369332"/>
            </a:xfrm>
          </p:grpSpPr>
          <p:sp>
            <p:nvSpPr>
              <p:cNvPr id="42" name="TextBox 2"/>
              <p:cNvSpPr txBox="1"/>
              <p:nvPr userDrawn="1"/>
            </p:nvSpPr>
            <p:spPr bwMode="gray">
              <a:xfrm>
                <a:off x="4124571" y="6332141"/>
                <a:ext cx="53" cy="189283"/>
              </a:xfrm>
              <a:prstGeom prst="rect">
                <a:avLst/>
              </a:prstGeom>
            </p:spPr>
            <p:txBody>
              <a:bodyPr vert="horz" wrap="none" lIns="0" tIns="0" rIns="0" bIns="0" rtlCol="0" anchor="b">
                <a:spAutoFit/>
              </a:bodyPr>
              <a:lstStyle/>
              <a:p>
                <a:pPr algn="l"/>
                <a:endParaRPr lang="en-GB" sz="1230" b="1" noProof="0" dirty="0">
                  <a:solidFill>
                    <a:schemeClr val="accent2"/>
                  </a:solidFill>
                  <a:latin typeface="+mj-lt"/>
                  <a:ea typeface="Allianz Sans" panose="02000506030000020004" pitchFamily="2" charset="0"/>
                </a:endParaRPr>
              </a:p>
            </p:txBody>
          </p:sp>
          <p:sp>
            <p:nvSpPr>
              <p:cNvPr id="43" name="TextBox 2"/>
              <p:cNvSpPr txBox="1"/>
              <p:nvPr userDrawn="1"/>
            </p:nvSpPr>
            <p:spPr bwMode="gray">
              <a:xfrm>
                <a:off x="4124571" y="6236317"/>
                <a:ext cx="767137" cy="189283"/>
              </a:xfrm>
              <a:prstGeom prst="rect">
                <a:avLst/>
              </a:prstGeom>
            </p:spPr>
            <p:txBody>
              <a:bodyPr vert="horz" wrap="none" lIns="0" tIns="0" rIns="0" bIns="0" rtlCol="0" anchor="b">
                <a:spAutoFit/>
              </a:bodyPr>
              <a:lstStyle/>
              <a:p>
                <a:pPr algn="l"/>
                <a:r>
                  <a:rPr lang="en-GB" sz="1230" b="1" noProof="0" dirty="0">
                    <a:solidFill>
                      <a:schemeClr val="accent2"/>
                    </a:solidFill>
                    <a:latin typeface="+mj-lt"/>
                    <a:ea typeface="Allianz Sans" panose="02000506030000020004" pitchFamily="2" charset="0"/>
                  </a:rPr>
                  <a:t>Co</a:t>
                </a:r>
                <a:r>
                  <a:rPr lang="en-GB" sz="1230" b="1" baseline="0" noProof="0" dirty="0">
                    <a:solidFill>
                      <a:schemeClr val="accent2"/>
                    </a:solidFill>
                    <a:latin typeface="+mj-lt"/>
                    <a:ea typeface="Allianz Sans" panose="02000506030000020004" pitchFamily="2" charset="0"/>
                  </a:rPr>
                  <a:t> </a:t>
                </a:r>
                <a:r>
                  <a:rPr lang="en-GB" sz="1230" b="1" noProof="0" dirty="0">
                    <a:solidFill>
                      <a:schemeClr val="accent2"/>
                    </a:solidFill>
                    <a:latin typeface="+mj-lt"/>
                    <a:ea typeface="Allianz Sans" panose="02000506030000020004" pitchFamily="2" charset="0"/>
                  </a:rPr>
                  <a:t>Branding</a:t>
                </a:r>
              </a:p>
            </p:txBody>
          </p:sp>
          <p:sp>
            <p:nvSpPr>
              <p:cNvPr id="44" name="TextBox 2"/>
              <p:cNvSpPr txBox="1"/>
              <p:nvPr userDrawn="1"/>
            </p:nvSpPr>
            <p:spPr bwMode="gray">
              <a:xfrm>
                <a:off x="3544910" y="6152092"/>
                <a:ext cx="53" cy="369332"/>
              </a:xfrm>
              <a:prstGeom prst="rect">
                <a:avLst/>
              </a:prstGeom>
            </p:spPr>
            <p:txBody>
              <a:bodyPr vert="horz" wrap="none" lIns="0" tIns="0" rIns="0" bIns="0" rtlCol="0" anchor="b">
                <a:spAutoFit/>
              </a:bodyPr>
              <a:lstStyle/>
              <a:p>
                <a:pPr algn="l"/>
                <a:endParaRPr lang="en-GB" sz="2400" b="0" noProof="0" dirty="0">
                  <a:solidFill>
                    <a:schemeClr val="bg1"/>
                  </a:solidFill>
                  <a:latin typeface="+mj-lt"/>
                  <a:ea typeface="Allianz Sans" panose="02000506030000020004" pitchFamily="2" charset="0"/>
                </a:endParaRPr>
              </a:p>
            </p:txBody>
          </p:sp>
        </p:grpSp>
      </p:grpSp>
      <p:sp>
        <p:nvSpPr>
          <p:cNvPr id="49"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890754229"/>
      </p:ext>
    </p:extLst>
  </p:cSld>
  <p:clrMapOvr>
    <a:overrideClrMapping bg1="lt1" tx1="dk1" bg2="lt2" tx2="dk2" accent1="accent1" accent2="accent2" accent3="accent3" accent4="accent4" accent5="accent5" accent6="accent6" hlink="hlink" folHlink="folHlink"/>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Slide - Box right side">
    <p:bg>
      <p:bgRef idx="1001">
        <a:schemeClr val="bg1"/>
      </p:bgRef>
    </p:bg>
    <p:spTree>
      <p:nvGrpSpPr>
        <p:cNvPr id="1" name=""/>
        <p:cNvGrpSpPr/>
        <p:nvPr/>
      </p:nvGrpSpPr>
      <p:grpSpPr>
        <a:xfrm>
          <a:off x="0" y="0"/>
          <a:ext cx="0" cy="0"/>
          <a:chOff x="0" y="0"/>
          <a:chExt cx="0" cy="0"/>
        </a:xfrm>
      </p:grpSpPr>
      <p:sp>
        <p:nvSpPr>
          <p:cNvPr id="39" name="Rechteck 38"/>
          <p:cNvSpPr/>
          <p:nvPr userDrawn="1"/>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Textfeld 12"/>
          <p:cNvSpPr txBox="1"/>
          <p:nvPr userDrawn="1"/>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sp>
        <p:nvSpPr>
          <p:cNvPr id="14" name="L-Form 13"/>
          <p:cNvSpPr/>
          <p:nvPr userDrawn="1"/>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43" name="Freihandform: Form 42">
            <a:extLst>
              <a:ext uri="{FF2B5EF4-FFF2-40B4-BE49-F238E27FC236}">
                <a16:creationId xmlns:a16="http://schemas.microsoft.com/office/drawing/2014/main" id="{9B0A8140-6550-4414-B287-547857EB93C9}"/>
              </a:ext>
            </a:extLst>
          </p:cNvPr>
          <p:cNvSpPr/>
          <p:nvPr userDrawn="1"/>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7" name="Rechteck 36"/>
          <p:cNvSpPr/>
          <p:nvPr userDrawn="1"/>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6215185" y="906710"/>
            <a:ext cx="5139882" cy="553998"/>
          </a:xfrm>
        </p:spPr>
        <p:txBody>
          <a:bodyPr lIns="0" tIns="0" rIns="0" bIns="0" anchor="b">
            <a:spAutoFit/>
          </a:bodyPr>
          <a:lstStyle>
            <a:lvl1pPr marL="0" indent="0">
              <a:spcBef>
                <a:spcPts val="0"/>
              </a:spcBef>
              <a:spcAft>
                <a:spcPts val="0"/>
              </a:spcAft>
              <a:buNone/>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40" name="Textplatzhalter 20"/>
          <p:cNvSpPr>
            <a:spLocks noGrp="1"/>
          </p:cNvSpPr>
          <p:nvPr>
            <p:ph type="body" sz="quarter" idx="15" hasCustomPrompt="1"/>
          </p:nvPr>
        </p:nvSpPr>
        <p:spPr bwMode="gray">
          <a:xfrm>
            <a:off x="6215185" y="1460160"/>
            <a:ext cx="5139882"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p>
        </p:txBody>
      </p:sp>
      <p:sp>
        <p:nvSpPr>
          <p:cNvPr id="38"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298380943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itle Slide - Box right side - Alternative">
    <p:bg>
      <p:bgRef idx="1001">
        <a:schemeClr val="bg1"/>
      </p:bgRef>
    </p:bg>
    <p:spTree>
      <p:nvGrpSpPr>
        <p:cNvPr id="1" name=""/>
        <p:cNvGrpSpPr/>
        <p:nvPr/>
      </p:nvGrpSpPr>
      <p:grpSpPr>
        <a:xfrm>
          <a:off x="0" y="0"/>
          <a:ext cx="0" cy="0"/>
          <a:chOff x="0" y="0"/>
          <a:chExt cx="0" cy="0"/>
        </a:xfrm>
      </p:grpSpPr>
      <p:sp>
        <p:nvSpPr>
          <p:cNvPr id="53" name="Rechteck 52"/>
          <p:cNvSpPr/>
          <p:nvPr userDrawn="1"/>
        </p:nvSpPr>
        <p:spPr bwMode="gray">
          <a:xfrm>
            <a:off x="964" y="1"/>
            <a:ext cx="7404171" cy="5697538"/>
          </a:xfrm>
          <a:prstGeom prst="rect">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58" name="Textfeld 57"/>
          <p:cNvSpPr txBox="1"/>
          <p:nvPr userDrawn="1"/>
        </p:nvSpPr>
        <p:spPr bwMode="gray">
          <a:xfrm>
            <a:off x="142165" y="2674421"/>
            <a:ext cx="7121770" cy="369332"/>
          </a:xfrm>
          <a:prstGeom prst="rect">
            <a:avLst/>
          </a:prstGeom>
          <a:noFill/>
        </p:spPr>
        <p:txBody>
          <a:bodyPr wrap="square" lIns="0" tIns="0" rIns="0" bIns="0" rtlCol="0" anchor="ctr">
            <a:spAutoFit/>
          </a:bodyPr>
          <a:lstStyle/>
          <a:p>
            <a:pPr algn="ctr">
              <a:spcBef>
                <a:spcPts val="360"/>
              </a:spcBef>
              <a:spcAft>
                <a:spcPts val="360"/>
              </a:spcAft>
              <a:buClr>
                <a:schemeClr val="tx2"/>
              </a:buClr>
              <a:tabLst/>
            </a:pPr>
            <a:r>
              <a:rPr lang="en-GB" sz="2400" b="1" noProof="0" dirty="0">
                <a:solidFill>
                  <a:srgbClr val="F3B085"/>
                </a:solidFill>
              </a:rPr>
              <a:t>Picture to be placed in the slide master</a:t>
            </a:r>
          </a:p>
        </p:txBody>
      </p:sp>
      <p:graphicFrame>
        <p:nvGraphicFramePr>
          <p:cNvPr id="2" name="Objekt 1"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5139" name="think-cell Folie" r:id="rId4" imgW="270" imgH="270" progId="TCLayout.ActiveDocument.1">
                  <p:embed/>
                </p:oleObj>
              </mc:Choice>
              <mc:Fallback>
                <p:oleObj name="think-cell Folie" r:id="rId4" imgW="270" imgH="270" progId="TCLayout.ActiveDocument.1">
                  <p:embed/>
                  <p:pic>
                    <p:nvPicPr>
                      <p:cNvPr id="2" name="Objekt 1"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43" name="Freihandform: Form 42">
            <a:extLst>
              <a:ext uri="{FF2B5EF4-FFF2-40B4-BE49-F238E27FC236}">
                <a16:creationId xmlns:a16="http://schemas.microsoft.com/office/drawing/2014/main" id="{9B0A8140-6550-4414-B287-547857EB93C9}"/>
              </a:ext>
            </a:extLst>
          </p:cNvPr>
          <p:cNvSpPr/>
          <p:nvPr userDrawn="1"/>
        </p:nvSpPr>
        <p:spPr bwMode="gray">
          <a:xfrm>
            <a:off x="3" y="0"/>
            <a:ext cx="12191999" cy="6858000"/>
          </a:xfrm>
          <a:custGeom>
            <a:avLst/>
            <a:gdLst>
              <a:gd name="connsiteX0" fmla="*/ 6016670 w 9905999"/>
              <a:gd name="connsiteY0" fmla="*/ 0 h 6858000"/>
              <a:gd name="connsiteX1" fmla="*/ 9905999 w 9905999"/>
              <a:gd name="connsiteY1" fmla="*/ 0 h 6858000"/>
              <a:gd name="connsiteX2" fmla="*/ 9905999 w 9905999"/>
              <a:gd name="connsiteY2" fmla="*/ 6858000 h 6858000"/>
              <a:gd name="connsiteX3" fmla="*/ 6016670 w 9905999"/>
              <a:gd name="connsiteY3" fmla="*/ 6858000 h 6858000"/>
              <a:gd name="connsiteX4" fmla="*/ 6016670 w 9905999"/>
              <a:gd name="connsiteY4" fmla="*/ 6857999 h 6858000"/>
              <a:gd name="connsiteX5" fmla="*/ 0 w 9905999"/>
              <a:gd name="connsiteY5" fmla="*/ 6857999 h 6858000"/>
              <a:gd name="connsiteX6" fmla="*/ 0 w 9905999"/>
              <a:gd name="connsiteY6" fmla="*/ 5710516 h 6858000"/>
              <a:gd name="connsiteX7" fmla="*/ 6016670 w 9905999"/>
              <a:gd name="connsiteY7" fmla="*/ 57105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905999" h="6858000">
                <a:moveTo>
                  <a:pt x="6016670" y="0"/>
                </a:moveTo>
                <a:lnTo>
                  <a:pt x="9905999" y="0"/>
                </a:lnTo>
                <a:lnTo>
                  <a:pt x="9905999" y="6858000"/>
                </a:lnTo>
                <a:lnTo>
                  <a:pt x="6016670" y="6858000"/>
                </a:lnTo>
                <a:lnTo>
                  <a:pt x="6016670" y="6857999"/>
                </a:lnTo>
                <a:lnTo>
                  <a:pt x="0" y="6857999"/>
                </a:lnTo>
                <a:lnTo>
                  <a:pt x="0" y="5710516"/>
                </a:lnTo>
                <a:lnTo>
                  <a:pt x="6016670" y="5710516"/>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4"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38" name="L-Form 37"/>
          <p:cNvSpPr/>
          <p:nvPr userDrawn="1"/>
        </p:nvSpPr>
        <p:spPr bwMode="auto">
          <a:xfrm flipH="1">
            <a:off x="964" y="0"/>
            <a:ext cx="7403817" cy="5697538"/>
          </a:xfrm>
          <a:prstGeom prst="corner">
            <a:avLst>
              <a:gd name="adj1" fmla="val 37129"/>
              <a:gd name="adj2" fmla="val 42645"/>
            </a:avLst>
          </a:prstGeom>
          <a:solidFill>
            <a:srgbClr val="326295">
              <a:alpha val="40000"/>
            </a:srgbClr>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lvl="0">
              <a:lnSpc>
                <a:spcPct val="110000"/>
              </a:lnSpc>
              <a:spcBef>
                <a:spcPct val="50000"/>
              </a:spcBef>
              <a:spcAft>
                <a:spcPct val="25000"/>
              </a:spcAft>
              <a:tabLst/>
            </a:pPr>
            <a:endParaRPr kumimoji="0" lang="en-GB" sz="2400" b="0" i="0" u="none" strike="noStrike" cap="none" normalizeH="0" noProof="0" dirty="0">
              <a:ln>
                <a:noFill/>
              </a:ln>
              <a:solidFill>
                <a:schemeClr val="bg1"/>
              </a:solidFill>
              <a:effectLst/>
              <a:latin typeface="Arial" charset="0"/>
            </a:endParaRPr>
          </a:p>
        </p:txBody>
      </p:sp>
      <p:sp>
        <p:nvSpPr>
          <p:cNvPr id="37" name="Rechteck 36"/>
          <p:cNvSpPr/>
          <p:nvPr userDrawn="1"/>
        </p:nvSpPr>
        <p:spPr bwMode="gray">
          <a:xfrm>
            <a:off x="7405135"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 name="Textplatzhalter 2"/>
          <p:cNvSpPr>
            <a:spLocks noGrp="1"/>
          </p:cNvSpPr>
          <p:nvPr userDrawn="1">
            <p:ph type="body" sz="quarter" idx="13" hasCustomPrompt="1"/>
          </p:nvPr>
        </p:nvSpPr>
        <p:spPr bwMode="gray">
          <a:xfrm>
            <a:off x="7819386" y="3584683"/>
            <a:ext cx="3518255" cy="215444"/>
          </a:xfrm>
        </p:spPr>
        <p:txBody>
          <a:bodyPr lIns="0" rIns="0" anchor="b">
            <a:spAutoFit/>
          </a:bodyPr>
          <a:lstStyle>
            <a:lvl1pPr marL="0" indent="0">
              <a:buNone/>
              <a:defRPr sz="1400">
                <a:solidFill>
                  <a:schemeClr val="tx2"/>
                </a:solidFill>
              </a:defRPr>
            </a:lvl1pPr>
          </a:lstStyle>
          <a:p>
            <a:pPr lvl="0"/>
            <a:r>
              <a:rPr lang="en-GB" noProof="0" dirty="0"/>
              <a:t>Date of the presentation</a:t>
            </a:r>
          </a:p>
        </p:txBody>
      </p:sp>
      <p:sp>
        <p:nvSpPr>
          <p:cNvPr id="48" name="Textplatzhalter 2"/>
          <p:cNvSpPr>
            <a:spLocks noGrp="1"/>
          </p:cNvSpPr>
          <p:nvPr userDrawn="1">
            <p:ph type="body" sz="quarter" idx="14" hasCustomPrompt="1"/>
          </p:nvPr>
        </p:nvSpPr>
        <p:spPr bwMode="gray">
          <a:xfrm>
            <a:off x="7819386" y="3094923"/>
            <a:ext cx="3518254" cy="430887"/>
          </a:xfrm>
        </p:spPr>
        <p:txBody>
          <a:bodyPr lIns="0" rIns="0" anchor="b">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57" name="Textplatzhalter 12"/>
          <p:cNvSpPr>
            <a:spLocks noGrp="1"/>
          </p:cNvSpPr>
          <p:nvPr userDrawn="1">
            <p:ph type="body" sz="quarter" idx="11" hasCustomPrompt="1"/>
          </p:nvPr>
        </p:nvSpPr>
        <p:spPr bwMode="gray">
          <a:xfrm>
            <a:off x="7825020" y="4219125"/>
            <a:ext cx="3543717" cy="184666"/>
          </a:xfrm>
        </p:spPr>
        <p:txBody>
          <a:bodyPr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tx2"/>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107" name="Textplatzhalter 20"/>
          <p:cNvSpPr>
            <a:spLocks noGrp="1"/>
          </p:cNvSpPr>
          <p:nvPr userDrawn="1">
            <p:ph type="body" sz="quarter" idx="12" hasCustomPrompt="1"/>
          </p:nvPr>
        </p:nvSpPr>
        <p:spPr bwMode="gray">
          <a:xfrm>
            <a:off x="6215185" y="906710"/>
            <a:ext cx="5139882" cy="553998"/>
          </a:xfrm>
        </p:spPr>
        <p:txBody>
          <a:bodyPr lIns="0" tIns="0" rIns="0" bIns="0" anchor="b">
            <a:spAutoFit/>
          </a:bodyPr>
          <a:lstStyle>
            <a:lvl1pPr marL="1295400" indent="-1295400">
              <a:spcBef>
                <a:spcPts val="0"/>
              </a:spcBef>
              <a:spcAft>
                <a:spcPts val="0"/>
              </a:spcAft>
              <a:buNone/>
              <a:tabLst/>
              <a:defRPr sz="36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Placeholder (36pt)</a:t>
            </a:r>
          </a:p>
        </p:txBody>
      </p:sp>
      <p:sp>
        <p:nvSpPr>
          <p:cNvPr id="39" name="Textplatzhalter 20"/>
          <p:cNvSpPr>
            <a:spLocks noGrp="1"/>
          </p:cNvSpPr>
          <p:nvPr>
            <p:ph type="body" sz="quarter" idx="15" hasCustomPrompt="1"/>
          </p:nvPr>
        </p:nvSpPr>
        <p:spPr bwMode="gray">
          <a:xfrm>
            <a:off x="7819385" y="1460072"/>
            <a:ext cx="3535682" cy="1661993"/>
          </a:xfrm>
        </p:spPr>
        <p:txBody>
          <a:bodyPr lIns="0" tIns="0" rIns="0" bIns="0">
            <a:spAutoFit/>
          </a:bodyPr>
          <a:lstStyle>
            <a:lvl1pPr marL="0" indent="0">
              <a:spcBef>
                <a:spcPts val="0"/>
              </a:spcBef>
              <a:spcAft>
                <a:spcPts val="0"/>
              </a:spcAft>
              <a:buNone/>
              <a:tabLst/>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36pt)</a:t>
            </a:r>
          </a:p>
        </p:txBody>
      </p:sp>
      <p:sp>
        <p:nvSpPr>
          <p:cNvPr id="40"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7443163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Visual - 1">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6163" name="think-cell Folie" r:id="rId4" imgW="270" imgH="270" progId="TCLayout.ActiveDocument.1">
                  <p:embed/>
                </p:oleObj>
              </mc:Choice>
              <mc:Fallback>
                <p:oleObj name="think-cell Folie" r:id="rId4" imgW="270" imgH="270" progId="TCLayout.ActiveDocument.1">
                  <p:embed/>
                  <p:pic>
                    <p:nvPicPr>
                      <p:cNvPr id="4" name="Objekt 3" hidden="1"/>
                      <p:cNvPicPr/>
                      <p:nvPr/>
                    </p:nvPicPr>
                    <p:blipFill>
                      <a:blip r:embed="rId5"/>
                      <a:stretch>
                        <a:fillRect/>
                      </a:stretch>
                    </p:blipFill>
                    <p:spPr>
                      <a:xfrm>
                        <a:off x="1956" y="1591"/>
                        <a:ext cx="1953" cy="1587"/>
                      </a:xfrm>
                      <a:prstGeom prst="rect">
                        <a:avLst/>
                      </a:prstGeom>
                    </p:spPr>
                  </p:pic>
                </p:oleObj>
              </mc:Fallback>
            </mc:AlternateContent>
          </a:graphicData>
        </a:graphic>
      </p:graphicFrame>
      <p:sp>
        <p:nvSpPr>
          <p:cNvPr id="35" name="Rechteck 34"/>
          <p:cNvSpPr/>
          <p:nvPr userDrawn="1"/>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userDrawn="1"/>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33"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2868617"/>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100" name="Textplatzhalter 20"/>
          <p:cNvSpPr>
            <a:spLocks noGrp="1"/>
          </p:cNvSpPr>
          <p:nvPr>
            <p:ph type="body" sz="quarter" idx="12" hasCustomPrompt="1"/>
          </p:nvPr>
        </p:nvSpPr>
        <p:spPr bwMode="gray">
          <a:xfrm>
            <a:off x="398769" y="1029823"/>
            <a:ext cx="5261408" cy="430887"/>
          </a:xfrm>
        </p:spPr>
        <p:txBody>
          <a:bodyPr wrap="square" lIns="0" tIns="0" rIns="0" bIns="0" anchor="b">
            <a:spAutoFit/>
          </a:bodyPr>
          <a:lstStyle>
            <a:lvl1pPr marL="0" indent="0">
              <a:spcBef>
                <a:spcPts val="0"/>
              </a:spcBef>
              <a:spcAft>
                <a:spcPts val="0"/>
              </a:spcAft>
              <a:buNone/>
              <a:defRPr sz="2800" b="1" baseline="0">
                <a:solidFill>
                  <a:srgbClr val="326295"/>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Placeholder (28pt)</a:t>
            </a:r>
            <a:endParaRPr lang="en-GB" noProof="0" dirty="0">
              <a:solidFill>
                <a:schemeClr val="bg1"/>
              </a:solidFill>
            </a:endParaRPr>
          </a:p>
        </p:txBody>
      </p:sp>
      <p:sp>
        <p:nvSpPr>
          <p:cNvPr id="36" name="Textplatzhalter 20"/>
          <p:cNvSpPr>
            <a:spLocks noGrp="1"/>
          </p:cNvSpPr>
          <p:nvPr>
            <p:ph type="body" sz="quarter" idx="15" hasCustomPrompt="1"/>
          </p:nvPr>
        </p:nvSpPr>
        <p:spPr bwMode="gray">
          <a:xfrm>
            <a:off x="398771" y="1458916"/>
            <a:ext cx="8602783" cy="430887"/>
          </a:xfrm>
        </p:spPr>
        <p:txBody>
          <a:bodyPr lIns="0" tIns="0" rIns="0" bIns="0">
            <a:spAutoFit/>
          </a:bodyPr>
          <a:lstStyle>
            <a:lvl1pPr marL="0" indent="0">
              <a:spcBef>
                <a:spcPts val="0"/>
              </a:spcBef>
              <a:spcAft>
                <a:spcPts val="0"/>
              </a:spcAft>
              <a:buNone/>
              <a:defRPr sz="28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r>
              <a:rPr lang="en-GB" noProof="0" dirty="0"/>
              <a:t>Lorem ipsum </a:t>
            </a:r>
            <a:r>
              <a:rPr lang="en-GB" noProof="0" dirty="0" err="1"/>
              <a:t>dolor</a:t>
            </a:r>
            <a:r>
              <a:rPr lang="en-GB" noProof="0" dirty="0"/>
              <a:t> (28pt)</a:t>
            </a:r>
          </a:p>
        </p:txBody>
      </p:sp>
      <p:sp>
        <p:nvSpPr>
          <p:cNvPr id="37"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91730679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ekst en afbeelding">
    <p:spTree>
      <p:nvGrpSpPr>
        <p:cNvPr id="1" name=""/>
        <p:cNvGrpSpPr/>
        <p:nvPr/>
      </p:nvGrpSpPr>
      <p:grpSpPr>
        <a:xfrm>
          <a:off x="0" y="0"/>
          <a:ext cx="0" cy="0"/>
          <a:chOff x="0" y="0"/>
          <a:chExt cx="0" cy="0"/>
        </a:xfrm>
      </p:grpSpPr>
      <p:sp>
        <p:nvSpPr>
          <p:cNvPr id="12" name="Picture Placeholder 12">
            <a:extLst>
              <a:ext uri="{FF2B5EF4-FFF2-40B4-BE49-F238E27FC236}">
                <a16:creationId xmlns:a16="http://schemas.microsoft.com/office/drawing/2014/main" id="{8A8795C2-544A-41E4-8829-929DC53A1F1E}"/>
              </a:ext>
            </a:extLst>
          </p:cNvPr>
          <p:cNvSpPr>
            <a:spLocks noGrp="1"/>
          </p:cNvSpPr>
          <p:nvPr>
            <p:ph type="pic" sz="quarter" idx="11" hasCustomPrompt="1"/>
          </p:nvPr>
        </p:nvSpPr>
        <p:spPr>
          <a:xfrm>
            <a:off x="6336000" y="0"/>
            <a:ext cx="5856000" cy="6858000"/>
          </a:xfrm>
          <a:solidFill>
            <a:schemeClr val="bg2">
              <a:lumMod val="95000"/>
            </a:schemeClr>
          </a:solidFill>
        </p:spPr>
        <p:txBody>
          <a:bodyPr bIns="684000" anchor="ctr" anchorCtr="0">
            <a:normAutofit/>
          </a:bodyPr>
          <a:lstStyle>
            <a:lvl1pPr marL="0" indent="0" algn="ctr">
              <a:buFont typeface="Ubuntu Light" panose="020B0304030602030204" pitchFamily="34" charset="0"/>
              <a:buNone/>
              <a:defRPr sz="1600"/>
            </a:lvl1pPr>
          </a:lstStyle>
          <a:p>
            <a:r>
              <a:rPr lang="nl-NL" dirty="0"/>
              <a:t>Klik op icoon om afbeelding in te voegen</a:t>
            </a:r>
          </a:p>
        </p:txBody>
      </p:sp>
      <p:sp>
        <p:nvSpPr>
          <p:cNvPr id="6" name="Content Placeholder 5"/>
          <p:cNvSpPr>
            <a:spLocks noGrp="1"/>
          </p:cNvSpPr>
          <p:nvPr>
            <p:ph sz="quarter" idx="4" hasCustomPrompt="1"/>
          </p:nvPr>
        </p:nvSpPr>
        <p:spPr>
          <a:xfrm>
            <a:off x="503769" y="1365252"/>
            <a:ext cx="5543548" cy="4796365"/>
          </a:xfrm>
        </p:spPr>
        <p:txBody>
          <a:bodyPr/>
          <a:lstStyle/>
          <a:p>
            <a:pPr lvl="0"/>
            <a:r>
              <a:rPr lang="nl-NL" dirty="0" err="1"/>
              <a:t>Edit</a:t>
            </a:r>
            <a:r>
              <a:rPr lang="nl-NL" dirty="0"/>
              <a:t> Master </a:t>
            </a:r>
            <a:r>
              <a:rPr lang="nl-NL" dirty="0" err="1"/>
              <a:t>text</a:t>
            </a:r>
            <a:r>
              <a:rPr lang="nl-NL" dirty="0"/>
              <a:t> </a:t>
            </a:r>
            <a:r>
              <a:rPr lang="nl-NL" dirty="0" err="1"/>
              <a:t>styles</a:t>
            </a:r>
            <a:endParaRPr lang="nl-NL" dirty="0"/>
          </a:p>
          <a:p>
            <a:pPr lvl="1"/>
            <a:r>
              <a:rPr lang="nl-NL" dirty="0"/>
              <a:t>Second level</a:t>
            </a:r>
          </a:p>
          <a:p>
            <a:pPr lvl="2"/>
            <a:r>
              <a:rPr lang="nl-NL" dirty="0" err="1"/>
              <a:t>Third</a:t>
            </a:r>
            <a:r>
              <a:rPr lang="nl-NL" dirty="0"/>
              <a:t> level</a:t>
            </a:r>
          </a:p>
          <a:p>
            <a:pPr lvl="3"/>
            <a:r>
              <a:rPr lang="nl-NL" dirty="0" err="1"/>
              <a:t>Fourth</a:t>
            </a:r>
            <a:r>
              <a:rPr lang="nl-NL" dirty="0"/>
              <a:t> level</a:t>
            </a:r>
          </a:p>
          <a:p>
            <a:pPr lvl="4"/>
            <a:r>
              <a:rPr lang="nl-NL" dirty="0" err="1"/>
              <a:t>Fifth</a:t>
            </a:r>
            <a:r>
              <a:rPr lang="nl-NL" dirty="0"/>
              <a:t> level</a:t>
            </a:r>
          </a:p>
        </p:txBody>
      </p:sp>
      <p:sp>
        <p:nvSpPr>
          <p:cNvPr id="9" name="Slide Number Placeholder 8"/>
          <p:cNvSpPr>
            <a:spLocks noGrp="1"/>
          </p:cNvSpPr>
          <p:nvPr>
            <p:ph type="sldNum" sz="quarter" idx="12"/>
          </p:nvPr>
        </p:nvSpPr>
        <p:spPr/>
        <p:txBody>
          <a:bodyPr/>
          <a:lstStyle/>
          <a:p>
            <a:fld id="{FFDD6BF4-F398-43E8-ACFA-0A2EC6044D72}" type="slidenum">
              <a:rPr lang="nl-NL" smtClean="0"/>
              <a:t>‹nr.›</a:t>
            </a:fld>
            <a:endParaRPr lang="nl-NL"/>
          </a:p>
        </p:txBody>
      </p:sp>
      <p:sp>
        <p:nvSpPr>
          <p:cNvPr id="3" name="Titel 2">
            <a:extLst>
              <a:ext uri="{FF2B5EF4-FFF2-40B4-BE49-F238E27FC236}">
                <a16:creationId xmlns:a16="http://schemas.microsoft.com/office/drawing/2014/main" id="{90F38E3F-6DC6-42C1-B134-C8BE3ACAC4CE}"/>
              </a:ext>
            </a:extLst>
          </p:cNvPr>
          <p:cNvSpPr>
            <a:spLocks noGrp="1"/>
          </p:cNvSpPr>
          <p:nvPr>
            <p:ph type="title"/>
          </p:nvPr>
        </p:nvSpPr>
        <p:spPr>
          <a:xfrm>
            <a:off x="503768" y="1"/>
            <a:ext cx="5543549" cy="876940"/>
          </a:xfrm>
        </p:spPr>
        <p:txBody>
          <a:bodyPr/>
          <a:lstStyle/>
          <a:p>
            <a:r>
              <a:rPr lang="nl-NL" smtClean="0"/>
              <a:t>Klik om de stijl te bewerken</a:t>
            </a:r>
            <a:endParaRPr lang="nl-NL"/>
          </a:p>
        </p:txBody>
      </p:sp>
      <p:sp>
        <p:nvSpPr>
          <p:cNvPr id="11" name="Tijdelijke aanduiding voor tekst 7">
            <a:extLst>
              <a:ext uri="{FF2B5EF4-FFF2-40B4-BE49-F238E27FC236}">
                <a16:creationId xmlns:a16="http://schemas.microsoft.com/office/drawing/2014/main" id="{002021CF-71A7-44F5-B13A-D69372A2BD3A}"/>
              </a:ext>
            </a:extLst>
          </p:cNvPr>
          <p:cNvSpPr>
            <a:spLocks noGrp="1"/>
          </p:cNvSpPr>
          <p:nvPr>
            <p:ph type="body" sz="quarter" idx="17"/>
          </p:nvPr>
        </p:nvSpPr>
        <p:spPr>
          <a:xfrm>
            <a:off x="503768" y="899462"/>
            <a:ext cx="5543551" cy="465788"/>
          </a:xfrm>
        </p:spPr>
        <p:txBody>
          <a:bodyPr anchor="t">
            <a:normAutofit/>
          </a:bodyPr>
          <a:lstStyle>
            <a:lvl1pPr marL="0" indent="0">
              <a:buNone/>
              <a:defRPr sz="1467" cap="none" baseline="0">
                <a:solidFill>
                  <a:schemeClr val="accent3"/>
                </a:solidFill>
                <a:latin typeface="+mn-lt"/>
              </a:defRPr>
            </a:lvl1pPr>
          </a:lstStyle>
          <a:p>
            <a:pPr lvl="0"/>
            <a:r>
              <a:rPr lang="nl-NL" smtClean="0"/>
              <a:t>Tekststijl van het model bewerken</a:t>
            </a:r>
          </a:p>
        </p:txBody>
      </p:sp>
      <p:sp>
        <p:nvSpPr>
          <p:cNvPr id="8" name="Tijdelijke aanduiding voor tekst 2">
            <a:extLst>
              <a:ext uri="{FF2B5EF4-FFF2-40B4-BE49-F238E27FC236}">
                <a16:creationId xmlns:a16="http://schemas.microsoft.com/office/drawing/2014/main" id="{AA63253A-65DC-4FF7-BAE2-E735ACE214A5}"/>
              </a:ext>
            </a:extLst>
          </p:cNvPr>
          <p:cNvSpPr>
            <a:spLocks noGrp="1"/>
          </p:cNvSpPr>
          <p:nvPr>
            <p:ph type="body" sz="quarter" idx="16"/>
          </p:nvPr>
        </p:nvSpPr>
        <p:spPr>
          <a:xfrm>
            <a:off x="329704" y="6326064"/>
            <a:ext cx="344261" cy="379536"/>
          </a:xfrm>
          <a:blipFill>
            <a:blip r:embed="rId2"/>
            <a:srcRect/>
            <a:stretch>
              <a:fillRect l="741" r="741"/>
            </a:stretch>
          </a:blipFill>
        </p:spPr>
        <p:txBody>
          <a:bodyPr/>
          <a:lstStyle>
            <a:lvl1pPr marL="0" indent="0">
              <a:buNone/>
              <a:defRPr>
                <a:solidFill>
                  <a:schemeClr val="accent1">
                    <a:alpha val="0"/>
                  </a:schemeClr>
                </a:solidFill>
              </a:defRPr>
            </a:lvl1pPr>
          </a:lstStyle>
          <a:p>
            <a:pPr lvl="0"/>
            <a:r>
              <a:rPr lang="nl-NL" smtClean="0"/>
              <a:t>Tekststijl van het model bewerken</a:t>
            </a:r>
          </a:p>
        </p:txBody>
      </p:sp>
      <p:sp>
        <p:nvSpPr>
          <p:cNvPr id="13" name="Footer Placeholder 4">
            <a:extLst>
              <a:ext uri="{FF2B5EF4-FFF2-40B4-BE49-F238E27FC236}">
                <a16:creationId xmlns:a16="http://schemas.microsoft.com/office/drawing/2014/main" id="{B0542163-AD4C-46E9-9BBC-BCE1283A6C79}"/>
              </a:ext>
            </a:extLst>
          </p:cNvPr>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Tree>
    <p:extLst>
      <p:ext uri="{BB962C8B-B14F-4D97-AF65-F5344CB8AC3E}">
        <p14:creationId xmlns:p14="http://schemas.microsoft.com/office/powerpoint/2010/main" val="326529643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without Visual - 2">
    <p:bg>
      <p:bgRef idx="1001">
        <a:schemeClr val="bg1"/>
      </p:bgRef>
    </p:bg>
    <p:spTree>
      <p:nvGrpSpPr>
        <p:cNvPr id="1" name=""/>
        <p:cNvGrpSpPr/>
        <p:nvPr/>
      </p:nvGrpSpPr>
      <p:grpSpPr>
        <a:xfrm>
          <a:off x="0" y="0"/>
          <a:ext cx="0" cy="0"/>
          <a:chOff x="0" y="0"/>
          <a:chExt cx="0" cy="0"/>
        </a:xfrm>
      </p:grpSpPr>
      <p:sp>
        <p:nvSpPr>
          <p:cNvPr id="35" name="Rechteck 34"/>
          <p:cNvSpPr/>
          <p:nvPr userDrawn="1"/>
        </p:nvSpPr>
        <p:spPr bwMode="gray">
          <a:xfrm>
            <a:off x="5978771" y="0"/>
            <a:ext cx="3540708" cy="4845600"/>
          </a:xfrm>
          <a:prstGeom prst="rect">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Rechteck 1"/>
          <p:cNvSpPr/>
          <p:nvPr userDrawn="1"/>
        </p:nvSpPr>
        <p:spPr bwMode="gray">
          <a:xfrm>
            <a:off x="2" y="1479601"/>
            <a:ext cx="5978768" cy="4217938"/>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0" name="Textplatzhalter 20"/>
          <p:cNvSpPr>
            <a:spLocks noGrp="1"/>
          </p:cNvSpPr>
          <p:nvPr>
            <p:ph type="body" sz="quarter" idx="12" hasCustomPrompt="1"/>
          </p:nvPr>
        </p:nvSpPr>
        <p:spPr bwMode="gray">
          <a:xfrm>
            <a:off x="398771" y="1632606"/>
            <a:ext cx="8602783" cy="1661993"/>
          </a:xfrm>
        </p:spPr>
        <p:txBody>
          <a:bodyPr lIns="0" tIns="0" rIns="0" bIns="0">
            <a:spAutoFit/>
          </a:bodyPr>
          <a:lstStyle>
            <a:lvl1pPr marL="0" indent="0">
              <a:spcBef>
                <a:spcPts val="0"/>
              </a:spcBef>
              <a:spcAft>
                <a:spcPts val="0"/>
              </a:spcAft>
              <a:buNone/>
              <a:defRPr sz="3600" b="1" baseline="0">
                <a:solidFill>
                  <a:schemeClr val="tx2"/>
                </a:solidFill>
                <a:latin typeface="Arial" panose="020B0604020202020204" pitchFamily="34" charset="0"/>
              </a:defRPr>
            </a:lvl1pPr>
            <a:lvl2pPr marL="184150" indent="0">
              <a:buNone/>
              <a:defRPr sz="3000">
                <a:solidFill>
                  <a:schemeClr val="bg1"/>
                </a:solidFill>
              </a:defRPr>
            </a:lvl2pPr>
            <a:lvl3pPr marL="360362" indent="0">
              <a:buNone/>
              <a:defRPr sz="3000">
                <a:solidFill>
                  <a:schemeClr val="bg1"/>
                </a:solidFill>
              </a:defRPr>
            </a:lvl3pPr>
            <a:lvl4pPr marL="539750" indent="0">
              <a:buNone/>
              <a:defRPr sz="3000">
                <a:solidFill>
                  <a:schemeClr val="bg1"/>
                </a:solidFill>
              </a:defRPr>
            </a:lvl4pPr>
            <a:lvl5pPr marL="549275" indent="0">
              <a:buFont typeface="Arial" panose="020B0604020202020204" pitchFamily="34" charset="0"/>
              <a:buNone/>
              <a:defRPr sz="3000">
                <a:solidFill>
                  <a:schemeClr val="bg1"/>
                </a:solidFill>
              </a:defRPr>
            </a:lvl5pPr>
          </a:lstStyle>
          <a:p>
            <a:pPr lvl="0"/>
            <a:r>
              <a:rPr lang="en-GB" noProof="0" dirty="0"/>
              <a:t>Title of the presentation </a:t>
            </a:r>
            <a:br>
              <a:rPr lang="en-GB" noProof="0" dirty="0"/>
            </a:br>
            <a:r>
              <a:rPr lang="en-GB" noProof="0" dirty="0"/>
              <a:t>(36pt),</a:t>
            </a:r>
            <a:br>
              <a:rPr lang="en-GB" noProof="0" dirty="0"/>
            </a:br>
            <a:r>
              <a:rPr lang="en-GB" noProof="0" dirty="0"/>
              <a:t>max. three lines</a:t>
            </a:r>
          </a:p>
        </p:txBody>
      </p:sp>
      <p:sp>
        <p:nvSpPr>
          <p:cNvPr id="33" name="TextBox 2"/>
          <p:cNvSpPr txBox="1"/>
          <p:nvPr userDrawn="1"/>
        </p:nvSpPr>
        <p:spPr bwMode="gray">
          <a:xfrm>
            <a:off x="398769" y="6362624"/>
            <a:ext cx="1078116" cy="189283"/>
          </a:xfrm>
          <a:prstGeom prst="rect">
            <a:avLst/>
          </a:prstGeom>
        </p:spPr>
        <p:txBody>
          <a:bodyPr vert="horz" wrap="none" lIns="0" tIns="0" rIns="0" bIns="0" rtlCol="0" anchor="b">
            <a:spAutoFit/>
          </a:bodyPr>
          <a:lstStyle/>
          <a:p>
            <a:pPr algn="l"/>
            <a:r>
              <a:rPr lang="en-GB" sz="1230" b="1" noProof="0" dirty="0">
                <a:solidFill>
                  <a:srgbClr val="003781"/>
                </a:solidFill>
                <a:latin typeface="+mj-lt"/>
                <a:ea typeface="Allianz Sans" panose="02000506030000020004" pitchFamily="2" charset="0"/>
              </a:rPr>
              <a:t>Value. Shared.</a:t>
            </a:r>
          </a:p>
        </p:txBody>
      </p:sp>
      <p:sp>
        <p:nvSpPr>
          <p:cNvPr id="57" name="Textplatzhalter 12"/>
          <p:cNvSpPr>
            <a:spLocks noGrp="1"/>
          </p:cNvSpPr>
          <p:nvPr>
            <p:ph type="body" sz="quarter" idx="11" hasCustomPrompt="1"/>
          </p:nvPr>
        </p:nvSpPr>
        <p:spPr bwMode="gray">
          <a:xfrm>
            <a:off x="6207372" y="4308779"/>
            <a:ext cx="3082015" cy="184666"/>
          </a:xfrm>
        </p:spPr>
        <p:txBody>
          <a:bodyPr wrap="square" anchor="t" anchorCtr="0">
            <a:spAutoFit/>
          </a:bodyPr>
          <a:lstStyle>
            <a:lvl1pPr marL="0" marR="0" indent="0" algn="l" defTabSz="914400" rtl="0" eaLnBrk="1" fontAlgn="base" latinLnBrk="0" hangingPunct="1">
              <a:lnSpc>
                <a:spcPct val="100000"/>
              </a:lnSpc>
              <a:spcBef>
                <a:spcPts val="0"/>
              </a:spcBef>
              <a:spcAft>
                <a:spcPts val="0"/>
              </a:spcAft>
              <a:buClr>
                <a:schemeClr val="tx2"/>
              </a:buClr>
              <a:buSzTx/>
              <a:buFont typeface="Wingdings" pitchFamily="2" charset="2"/>
              <a:buNone/>
              <a:tabLst>
                <a:tab pos="182563" algn="l"/>
              </a:tabLst>
              <a:defRPr b="0" baseline="0">
                <a:solidFill>
                  <a:schemeClr val="bg1"/>
                </a:solidFill>
                <a:latin typeface="Arial" panose="020B0604020202020204" pitchFamily="34" charset="0"/>
              </a:defRPr>
            </a:lvl1pPr>
            <a:lvl2pPr marL="184150" indent="0">
              <a:buNone/>
              <a:defRPr/>
            </a:lvl2pPr>
            <a:lvl3pPr marL="320675" indent="0">
              <a:buNone/>
              <a:defRPr/>
            </a:lvl3pPr>
            <a:lvl4pPr marL="455613" indent="0">
              <a:buNone/>
              <a:defRPr/>
            </a:lvl4pPr>
            <a:lvl5pPr marL="549275" indent="0">
              <a:buNone/>
              <a:defRPr/>
            </a:lvl5pPr>
          </a:lstStyle>
          <a:p>
            <a:pPr lvl="0"/>
            <a:r>
              <a:rPr lang="en-GB" noProof="0" dirty="0"/>
              <a:t>Author / Department / Branch (12pt) </a:t>
            </a:r>
          </a:p>
        </p:txBody>
      </p:sp>
      <p:sp>
        <p:nvSpPr>
          <p:cNvPr id="3" name="Textplatzhalter 2"/>
          <p:cNvSpPr>
            <a:spLocks noGrp="1"/>
          </p:cNvSpPr>
          <p:nvPr>
            <p:ph type="body" sz="quarter" idx="13" hasCustomPrompt="1"/>
          </p:nvPr>
        </p:nvSpPr>
        <p:spPr bwMode="gray">
          <a:xfrm>
            <a:off x="6207370" y="3808812"/>
            <a:ext cx="3082825" cy="215444"/>
          </a:xfrm>
        </p:spPr>
        <p:txBody>
          <a:bodyPr lIns="0" rIns="0" anchor="b">
            <a:spAutoFit/>
          </a:bodyPr>
          <a:lstStyle>
            <a:lvl1pPr marL="0" indent="0">
              <a:buNone/>
              <a:defRPr sz="1400">
                <a:solidFill>
                  <a:schemeClr val="bg1"/>
                </a:solidFill>
              </a:defRPr>
            </a:lvl1pPr>
          </a:lstStyle>
          <a:p>
            <a:pPr lvl="0"/>
            <a:r>
              <a:rPr lang="en-GB" noProof="0" dirty="0"/>
              <a:t>Date of the presentation</a:t>
            </a:r>
          </a:p>
        </p:txBody>
      </p:sp>
      <p:sp>
        <p:nvSpPr>
          <p:cNvPr id="48" name="Textplatzhalter 2"/>
          <p:cNvSpPr>
            <a:spLocks noGrp="1"/>
          </p:cNvSpPr>
          <p:nvPr>
            <p:ph type="body" sz="quarter" idx="14" hasCustomPrompt="1"/>
          </p:nvPr>
        </p:nvSpPr>
        <p:spPr bwMode="gray">
          <a:xfrm>
            <a:off x="398769" y="3419361"/>
            <a:ext cx="5261408" cy="430887"/>
          </a:xfrm>
        </p:spPr>
        <p:txBody>
          <a:bodyPr wrap="square" lIns="0" rIns="0" anchor="t" anchorCtr="0">
            <a:spAutoFit/>
          </a:bodyPr>
          <a:lstStyle>
            <a:lvl1pPr marL="0" indent="0">
              <a:spcBef>
                <a:spcPts val="0"/>
              </a:spcBef>
              <a:spcAft>
                <a:spcPts val="0"/>
              </a:spcAft>
              <a:buNone/>
              <a:defRPr sz="1400">
                <a:solidFill>
                  <a:schemeClr val="tx2"/>
                </a:solidFill>
              </a:defRPr>
            </a:lvl1pPr>
          </a:lstStyle>
          <a:p>
            <a:pPr lvl="0"/>
            <a:r>
              <a:rPr lang="en-GB" noProof="0" dirty="0"/>
              <a:t>Subtitle of the presentation</a:t>
            </a:r>
          </a:p>
          <a:p>
            <a:pPr lvl="0"/>
            <a:r>
              <a:rPr lang="en-GB" noProof="0" dirty="0"/>
              <a:t>2nd line if required</a:t>
            </a:r>
          </a:p>
        </p:txBody>
      </p:sp>
      <p:sp>
        <p:nvSpPr>
          <p:cNvPr id="34" name="Freeform 614"/>
          <p:cNvSpPr>
            <a:spLocks noEditPoints="1"/>
          </p:cNvSpPr>
          <p:nvPr userDrawn="1"/>
        </p:nvSpPr>
        <p:spPr bwMode="gray">
          <a:xfrm>
            <a:off x="9888419" y="5953468"/>
            <a:ext cx="1881550" cy="564737"/>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p>
        </p:txBody>
      </p:sp>
    </p:spTree>
    <p:extLst>
      <p:ext uri="{BB962C8B-B14F-4D97-AF65-F5344CB8AC3E}">
        <p14:creationId xmlns:p14="http://schemas.microsoft.com/office/powerpoint/2010/main" val="3932717565"/>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Agenda Slide with Lis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4" name="Content Placeholder 12"/>
          <p:cNvSpPr>
            <a:spLocks noGrp="1"/>
          </p:cNvSpPr>
          <p:nvPr>
            <p:ph sz="quarter" idx="21" hasCustomPrompt="1"/>
          </p:nvPr>
        </p:nvSpPr>
        <p:spPr bwMode="gray">
          <a:xfrm>
            <a:off x="398769" y="2368800"/>
            <a:ext cx="11369354" cy="3794400"/>
          </a:xfrm>
        </p:spPr>
        <p:txBody>
          <a:bodyPr/>
          <a:lstStyle>
            <a:lvl1pPr marL="357188" indent="-357188">
              <a:buFont typeface="+mj-lt"/>
              <a:buAutoNum type="arabicPeriod"/>
              <a:tabLst/>
              <a:defRPr/>
            </a:lvl1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
        <p:nvSpPr>
          <p:cNvPr id="3" name="Titel 2"/>
          <p:cNvSpPr>
            <a:spLocks noGrp="1"/>
          </p:cNvSpPr>
          <p:nvPr>
            <p:ph type="title" hasCustomPrompt="1"/>
          </p:nvPr>
        </p:nvSpPr>
        <p:spPr bwMode="gray"/>
        <p:txBody>
          <a:bodyPr/>
          <a:lstStyle>
            <a:lvl1pPr>
              <a:defRPr/>
            </a:lvl1pPr>
          </a:lstStyle>
          <a:p>
            <a:r>
              <a:rPr lang="en-GB" noProof="0" dirty="0"/>
              <a:t>Agenda title (20pt)</a:t>
            </a:r>
          </a:p>
        </p:txBody>
      </p:sp>
    </p:spTree>
    <p:extLst>
      <p:ext uri="{BB962C8B-B14F-4D97-AF65-F5344CB8AC3E}">
        <p14:creationId xmlns:p14="http://schemas.microsoft.com/office/powerpoint/2010/main" val="1522482067"/>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Textplatzhalter 11"/>
          <p:cNvSpPr txBox="1">
            <a:spLocks/>
          </p:cNvSpPr>
          <p:nvPr userDrawn="1"/>
        </p:nvSpPr>
        <p:spPr bwMode="gray">
          <a:xfrm>
            <a:off x="0" y="2382367"/>
            <a:ext cx="5643067" cy="3325365"/>
          </a:xfrm>
          <a:prstGeom prst="rect">
            <a:avLst/>
          </a:prstGeom>
          <a:solidFill>
            <a:srgbClr val="D6E0EA"/>
          </a:solidFill>
          <a:ln w="25400" cap="flat" cmpd="sng" algn="ctr">
            <a:noFill/>
            <a:prstDash val="solid"/>
          </a:ln>
          <a:effectLst/>
        </p:spPr>
        <p:txBody>
          <a:bodyPr vert="horz" lIns="0" tIns="0" rIns="0" bIns="0" rtlCol="0" anchor="ctr">
            <a:noAutofit/>
          </a:bodyPr>
          <a:lstStyle>
            <a:lvl1pPr marL="0" indent="0" algn="l" defTabSz="1219170" rtl="0" eaLnBrk="1" latinLnBrk="0" hangingPunct="1">
              <a:lnSpc>
                <a:spcPct val="100000"/>
              </a:lnSpc>
              <a:spcBef>
                <a:spcPts val="200"/>
              </a:spcBef>
              <a:spcAft>
                <a:spcPts val="200"/>
              </a:spcAft>
              <a:buFont typeface="Arial" panose="020B0604020202020204" pitchFamily="34" charset="0"/>
              <a:buNone/>
              <a:defRPr lang="de-DE" sz="100" b="0" kern="1200" cap="none" baseline="0" dirty="0" smtClean="0">
                <a:solidFill>
                  <a:schemeClr val="lt1"/>
                </a:solidFill>
                <a:latin typeface="+mn-lt"/>
                <a:ea typeface="+mn-ea"/>
                <a:cs typeface="+mn-cs"/>
              </a:defRPr>
            </a:lvl1pPr>
            <a:lvl2pPr marL="179388" marR="0" indent="-179388" algn="l" defTabSz="1219170" rtl="0" eaLnBrk="1" fontAlgn="auto" latinLnBrk="0" hangingPunct="1">
              <a:lnSpc>
                <a:spcPct val="100000"/>
              </a:lnSpc>
              <a:spcBef>
                <a:spcPts val="200"/>
              </a:spcBef>
              <a:spcAft>
                <a:spcPts val="200"/>
              </a:spcAft>
              <a:buClrTx/>
              <a:buSzTx/>
              <a:buFont typeface="Arial" panose="020B0604020202020204" pitchFamily="34" charset="0"/>
              <a:buChar char="•"/>
              <a:tabLst/>
              <a:defRPr lang="en-GB" sz="1800" kern="1200" noProof="0" dirty="0" smtClean="0">
                <a:solidFill>
                  <a:schemeClr val="lt1"/>
                </a:solidFill>
                <a:latin typeface="+mn-lt"/>
                <a:ea typeface="+mn-ea"/>
                <a:cs typeface="+mn-cs"/>
              </a:defRPr>
            </a:lvl2pPr>
            <a:lvl3pPr marL="354013" indent="-179388" algn="l" defTabSz="1219170" rtl="0" eaLnBrk="1" latinLnBrk="0" hangingPunct="1">
              <a:lnSpc>
                <a:spcPct val="100000"/>
              </a:lnSpc>
              <a:spcBef>
                <a:spcPts val="200"/>
              </a:spcBef>
              <a:spcAft>
                <a:spcPts val="200"/>
              </a:spcAft>
              <a:buFont typeface="Symbol" panose="05050102010706020507" pitchFamily="18" charset="2"/>
              <a:buChar char="-"/>
              <a:defRPr sz="1600" kern="1200">
                <a:solidFill>
                  <a:schemeClr val="lt1"/>
                </a:solidFill>
                <a:latin typeface="+mn-lt"/>
                <a:ea typeface="+mn-ea"/>
                <a:cs typeface="+mn-cs"/>
              </a:defRPr>
            </a:lvl3pPr>
            <a:lvl4pPr marL="237061" indent="-237061" algn="l" defTabSz="1219170" rtl="0" eaLnBrk="1" latinLnBrk="0" hangingPunct="1">
              <a:lnSpc>
                <a:spcPct val="100000"/>
              </a:lnSpc>
              <a:spcBef>
                <a:spcPts val="200"/>
              </a:spcBef>
              <a:spcAft>
                <a:spcPts val="200"/>
              </a:spcAft>
              <a:buClr>
                <a:schemeClr val="tx1"/>
              </a:buClr>
              <a:buFont typeface="+mj-lt"/>
              <a:buAutoNum type="arabicPeriod"/>
              <a:defRPr sz="1600" kern="1200">
                <a:solidFill>
                  <a:schemeClr val="lt1"/>
                </a:solidFill>
                <a:latin typeface="+mn-lt"/>
                <a:ea typeface="+mn-ea"/>
                <a:cs typeface="+mn-cs"/>
              </a:defRPr>
            </a:lvl4pPr>
            <a:lvl5pPr marL="0" indent="0" algn="l" defTabSz="1219170" rtl="0" eaLnBrk="1" latinLnBrk="0" hangingPunct="1">
              <a:lnSpc>
                <a:spcPct val="100000"/>
              </a:lnSpc>
              <a:spcBef>
                <a:spcPts val="200"/>
              </a:spcBef>
              <a:spcAft>
                <a:spcPts val="200"/>
              </a:spcAft>
              <a:buFont typeface="Arial" panose="020B0604020202020204" pitchFamily="34" charset="0"/>
              <a:buNone/>
              <a:defRPr sz="1600" kern="1200" baseline="0">
                <a:solidFill>
                  <a:schemeClr val="lt1"/>
                </a:solidFill>
                <a:latin typeface="+mn-lt"/>
                <a:ea typeface="+mn-ea"/>
                <a:cs typeface="+mn-cs"/>
              </a:defRPr>
            </a:lvl5pPr>
            <a:lvl6pPr marL="179388" indent="-179388" algn="l" defTabSz="1219170" rtl="0" eaLnBrk="1" latinLnBrk="0" hangingPunct="1">
              <a:lnSpc>
                <a:spcPct val="100000"/>
              </a:lnSpc>
              <a:spcBef>
                <a:spcPts val="200"/>
              </a:spcBef>
              <a:spcAft>
                <a:spcPts val="200"/>
              </a:spcAft>
              <a:buFont typeface="Symbol" panose="05050102010706020507" pitchFamily="18" charset="2"/>
              <a:buChar char="-"/>
              <a:defRPr sz="1400" kern="1200">
                <a:solidFill>
                  <a:schemeClr val="lt1"/>
                </a:solidFill>
                <a:latin typeface="+mn-lt"/>
                <a:ea typeface="+mn-ea"/>
                <a:cs typeface="+mn-cs"/>
              </a:defRPr>
            </a:lvl6pPr>
            <a:lvl7pPr marL="0" indent="0" algn="l" defTabSz="1219170" rtl="0" eaLnBrk="1" latinLnBrk="0" hangingPunct="1">
              <a:lnSpc>
                <a:spcPct val="100000"/>
              </a:lnSpc>
              <a:spcBef>
                <a:spcPts val="200"/>
              </a:spcBef>
              <a:spcAft>
                <a:spcPts val="200"/>
              </a:spcAft>
              <a:buFont typeface="Arial" panose="020B0604020202020204" pitchFamily="34" charset="0"/>
              <a:buNone/>
              <a:defRPr sz="1400" kern="1200">
                <a:solidFill>
                  <a:schemeClr val="lt1"/>
                </a:solidFill>
                <a:latin typeface="+mn-lt"/>
                <a:ea typeface="+mn-ea"/>
                <a:cs typeface="+mn-cs"/>
              </a:defRPr>
            </a:lvl7pPr>
            <a:lvl8pPr marL="0" indent="0" algn="l" defTabSz="1219170" rtl="0" eaLnBrk="1" latinLnBrk="0" hangingPunct="1">
              <a:lnSpc>
                <a:spcPct val="100000"/>
              </a:lnSpc>
              <a:spcBef>
                <a:spcPts val="200"/>
              </a:spcBef>
              <a:spcAft>
                <a:spcPts val="200"/>
              </a:spcAft>
              <a:buFont typeface="Arial" panose="020B0604020202020204" pitchFamily="34" charset="0"/>
              <a:buNone/>
              <a:defRPr sz="1200" kern="1200">
                <a:solidFill>
                  <a:schemeClr val="lt1"/>
                </a:solidFill>
                <a:latin typeface="+mn-lt"/>
                <a:ea typeface="+mn-ea"/>
                <a:cs typeface="+mn-cs"/>
              </a:defRPr>
            </a:lvl8pPr>
            <a:lvl9pPr marL="122764" indent="-122764" algn="l" defTabSz="1219170" rtl="0" eaLnBrk="1" latinLnBrk="0" hangingPunct="1">
              <a:lnSpc>
                <a:spcPct val="100000"/>
              </a:lnSpc>
              <a:spcBef>
                <a:spcPts val="200"/>
              </a:spcBef>
              <a:spcAft>
                <a:spcPts val="200"/>
              </a:spcAft>
              <a:buFont typeface="+mj-lt"/>
              <a:buAutoNum type="arabicParenR"/>
              <a:defRPr sz="800" kern="1200">
                <a:solidFill>
                  <a:schemeClr val="lt1"/>
                </a:solidFill>
                <a:latin typeface="+mn-lt"/>
                <a:ea typeface="+mn-ea"/>
                <a:cs typeface="+mn-cs"/>
              </a:defRPr>
            </a:lvl9pPr>
          </a:lstStyle>
          <a:p>
            <a:pPr marL="0" marR="0" lvl="0" indent="0" algn="l" defTabSz="1219170" rtl="0" eaLnBrk="1" fontAlgn="auto" latinLnBrk="0" hangingPunct="1">
              <a:lnSpc>
                <a:spcPct val="100000"/>
              </a:lnSpc>
              <a:spcBef>
                <a:spcPts val="200"/>
              </a:spcBef>
              <a:spcAft>
                <a:spcPts val="200"/>
              </a:spcAft>
              <a:buClrTx/>
              <a:buSzTx/>
              <a:buFont typeface="Arial" panose="020B0604020202020204" pitchFamily="34" charset="0"/>
              <a:buNone/>
              <a:tabLst/>
              <a:defRPr/>
            </a:pPr>
            <a:endParaRPr kumimoji="0" lang="en-GB" sz="100" b="0" i="0" u="none" strike="noStrike" kern="1200" cap="none" spc="0" normalizeH="0" baseline="0" noProof="0" dirty="0">
              <a:ln>
                <a:noFill/>
              </a:ln>
              <a:solidFill>
                <a:srgbClr val="FFFFFF"/>
              </a:solidFill>
              <a:effectLst/>
              <a:uLnTx/>
              <a:uFillTx/>
              <a:latin typeface="Arial"/>
              <a:ea typeface="+mn-ea"/>
              <a:cs typeface="+mn-cs"/>
            </a:endParaRPr>
          </a:p>
        </p:txBody>
      </p:sp>
      <p:sp>
        <p:nvSpPr>
          <p:cNvPr id="6" name="Title 1"/>
          <p:cNvSpPr>
            <a:spLocks noGrp="1"/>
          </p:cNvSpPr>
          <p:nvPr>
            <p:ph type="title" hasCustomPrompt="1"/>
          </p:nvPr>
        </p:nvSpPr>
        <p:spPr bwMode="gray">
          <a:xfrm>
            <a:off x="401230" y="1611313"/>
            <a:ext cx="6105769" cy="2407766"/>
          </a:xfrm>
        </p:spPr>
        <p:txBody>
          <a:bodyPr anchor="t" anchorCtr="0"/>
          <a:lstStyle>
            <a:lvl1pPr marL="0" indent="0" algn="l">
              <a:buFont typeface="Wingdings" panose="05000000000000000000" pitchFamily="2" charset="2"/>
              <a:buNone/>
              <a:defRPr lang="en-US" sz="4800" b="1" kern="1200" dirty="0" smtClean="0">
                <a:solidFill>
                  <a:schemeClr val="tx2"/>
                </a:solidFill>
                <a:latin typeface="Arial" panose="020B0604020202020204" pitchFamily="34" charset="0"/>
                <a:ea typeface="+mn-ea"/>
                <a:cs typeface="+mn-cs"/>
              </a:defRPr>
            </a:lvl1pPr>
          </a:lstStyle>
          <a:p>
            <a:r>
              <a:rPr lang="en-GB" noProof="0" dirty="0"/>
              <a:t>Name of chapter     </a:t>
            </a:r>
            <a:br>
              <a:rPr lang="en-GB" noProof="0" dirty="0"/>
            </a:br>
            <a:r>
              <a:rPr lang="en-GB" noProof="0" dirty="0"/>
              <a:t>(48pt)</a:t>
            </a:r>
          </a:p>
        </p:txBody>
      </p:sp>
      <p:sp>
        <p:nvSpPr>
          <p:cNvPr id="5" name="Text Placeholder 2"/>
          <p:cNvSpPr>
            <a:spLocks noGrp="1"/>
          </p:cNvSpPr>
          <p:nvPr>
            <p:ph type="body" idx="1" hasCustomPrompt="1"/>
          </p:nvPr>
        </p:nvSpPr>
        <p:spPr bwMode="gray">
          <a:xfrm>
            <a:off x="6846278" y="2115747"/>
            <a:ext cx="2739244" cy="1903332"/>
          </a:xfrm>
        </p:spPr>
        <p:txBody>
          <a:bodyPr wrap="none" lIns="0" tIns="0" rIns="0" bIns="0" anchor="t" anchorCtr="0"/>
          <a:lstStyle>
            <a:lvl1pPr marL="0" indent="0" algn="r"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Tree>
    <p:extLst>
      <p:ext uri="{BB962C8B-B14F-4D97-AF65-F5344CB8AC3E}">
        <p14:creationId xmlns:p14="http://schemas.microsoft.com/office/powerpoint/2010/main" val="12842130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Introduction Slide">
    <p:spTree>
      <p:nvGrpSpPr>
        <p:cNvPr id="1" name=""/>
        <p:cNvGrpSpPr/>
        <p:nvPr/>
      </p:nvGrpSpPr>
      <p:grpSpPr>
        <a:xfrm>
          <a:off x="0" y="0"/>
          <a:ext cx="0" cy="0"/>
          <a:chOff x="0" y="0"/>
          <a:chExt cx="0" cy="0"/>
        </a:xfrm>
      </p:grpSpPr>
      <p:sp>
        <p:nvSpPr>
          <p:cNvPr id="6" name="Rechteck 5"/>
          <p:cNvSpPr/>
          <p:nvPr userDrawn="1"/>
        </p:nvSpPr>
        <p:spPr bwMode="gray">
          <a:xfrm>
            <a:off x="0" y="0"/>
            <a:ext cx="4368738"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0" name="Bildplatzhalter 3"/>
          <p:cNvSpPr>
            <a:spLocks noGrp="1"/>
          </p:cNvSpPr>
          <p:nvPr>
            <p:ph type="pic" sz="quarter" idx="23" hasCustomPrompt="1"/>
          </p:nvPr>
        </p:nvSpPr>
        <p:spPr bwMode="gray">
          <a:xfrm>
            <a:off x="4370548" y="3584448"/>
            <a:ext cx="7412113" cy="2113090"/>
          </a:xfrm>
          <a:solidFill>
            <a:srgbClr val="E1E1E1"/>
          </a:solidFill>
        </p:spPr>
        <p:txBody>
          <a:bodyPr/>
          <a:lstStyle>
            <a:lvl1pPr marL="0" indent="0">
              <a:buNone/>
              <a:defRPr>
                <a:latin typeface="Arial" panose="020B0604020202020204" pitchFamily="34" charset="0"/>
              </a:defRPr>
            </a:lvl1pPr>
          </a:lstStyle>
          <a:p>
            <a:r>
              <a:rPr lang="en-GB" noProof="0" dirty="0"/>
              <a:t>Click the image button below to insert an image (only this action guarantees a correct view)</a:t>
            </a:r>
            <a:br>
              <a:rPr lang="en-GB" noProof="0" dirty="0"/>
            </a:br>
            <a:r>
              <a:rPr lang="en-GB" noProof="0" dirty="0"/>
              <a:t>Note: All photography and video must comply with AllianzGI guidelines. Imagery is an expression of our brand personality and needs to reflect the business we are in. Our imagery needs to be thoughtful and serious, and must convey professionalism that inspires confidence and trust.</a:t>
            </a:r>
          </a:p>
          <a:p>
            <a:endParaRPr lang="en-GB" noProof="0" dirty="0"/>
          </a:p>
        </p:txBody>
      </p:sp>
      <p:sp>
        <p:nvSpPr>
          <p:cNvPr id="3" name="Textplatzhalter 2"/>
          <p:cNvSpPr>
            <a:spLocks noGrp="1"/>
          </p:cNvSpPr>
          <p:nvPr>
            <p:ph type="body" sz="quarter" idx="24" hasCustomPrompt="1"/>
          </p:nvPr>
        </p:nvSpPr>
        <p:spPr bwMode="gray">
          <a:xfrm>
            <a:off x="389066" y="2079299"/>
            <a:ext cx="7222154" cy="1514475"/>
          </a:xfrm>
        </p:spPr>
        <p:txBody>
          <a:bodyPr/>
          <a:lstStyle>
            <a:lvl1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1pPr>
            <a:lvl2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2pPr>
            <a:lvl3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3pPr>
            <a:lvl4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4pPr>
            <a:lvl5pPr marL="0" marR="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lang="de-DE" sz="4400" b="1" kern="1200" baseline="0" dirty="0" smtClean="0">
                <a:solidFill>
                  <a:schemeClr val="tx2"/>
                </a:solidFill>
                <a:latin typeface="Arial" panose="020B0604020202020204" pitchFamily="34" charset="0"/>
                <a:ea typeface="+mn-ea"/>
                <a:cs typeface="+mn-cs"/>
              </a:defRPr>
            </a:lvl5pPr>
          </a:lstStyle>
          <a:p>
            <a:pPr>
              <a:buClrTx/>
              <a:tabLst/>
            </a:pPr>
            <a:r>
              <a:rPr lang="en-GB" sz="4400" b="1" noProof="0" dirty="0">
                <a:solidFill>
                  <a:schemeClr val="tx2"/>
                </a:solidFill>
              </a:rPr>
              <a:t>Name of chapter (44pt) max. two lines</a:t>
            </a:r>
          </a:p>
        </p:txBody>
      </p:sp>
      <p:sp>
        <p:nvSpPr>
          <p:cNvPr id="8" name="Text Placeholder 2"/>
          <p:cNvSpPr>
            <a:spLocks noGrp="1"/>
          </p:cNvSpPr>
          <p:nvPr>
            <p:ph type="body" idx="1" hasCustomPrompt="1"/>
          </p:nvPr>
        </p:nvSpPr>
        <p:spPr bwMode="gray">
          <a:xfrm>
            <a:off x="389066" y="114782"/>
            <a:ext cx="7222154" cy="1844805"/>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None/>
              <a:tabLst/>
              <a:defRPr lang="en-GB" sz="12000" b="1" strike="noStrike" kern="0" spc="0" noProof="0" dirty="0" smtClean="0">
                <a:solidFill>
                  <a:schemeClr val="tx2"/>
                </a:solidFill>
              </a:defRPr>
            </a:lvl1pPr>
          </a:lstStyle>
          <a:p>
            <a:pPr marL="0" lvl="0" indent="0">
              <a:spcBef>
                <a:spcPts val="0"/>
              </a:spcBef>
              <a:spcAft>
                <a:spcPct val="0"/>
              </a:spcAft>
              <a:buClrTx/>
            </a:pPr>
            <a:r>
              <a:rPr lang="en-GB" noProof="0" dirty="0"/>
              <a:t>01</a:t>
            </a:r>
          </a:p>
        </p:txBody>
      </p:sp>
      <p:sp>
        <p:nvSpPr>
          <p:cNvPr id="7" name="Textplatzhalter 5"/>
          <p:cNvSpPr>
            <a:spLocks noGrp="1"/>
          </p:cNvSpPr>
          <p:nvPr>
            <p:ph type="body" sz="quarter" idx="11" hasCustomPrompt="1"/>
          </p:nvPr>
        </p:nvSpPr>
        <p:spPr bwMode="gray">
          <a:xfrm>
            <a:off x="394677" y="3697787"/>
            <a:ext cx="3589216" cy="708025"/>
          </a:xfrm>
        </p:spPr>
        <p:txBody>
          <a:bodyPr/>
          <a:lstStyle>
            <a:lvl1pPr marL="0" indent="0">
              <a:buFont typeface="Arial" panose="020B0604020202020204" pitchFamily="34" charse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Tree>
    <p:extLst>
      <p:ext uri="{BB962C8B-B14F-4D97-AF65-F5344CB8AC3E}">
        <p14:creationId xmlns:p14="http://schemas.microsoft.com/office/powerpoint/2010/main" val="271078267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Introduction Slide - Alternative">
    <p:spTree>
      <p:nvGrpSpPr>
        <p:cNvPr id="1" name=""/>
        <p:cNvGrpSpPr/>
        <p:nvPr/>
      </p:nvGrpSpPr>
      <p:grpSpPr>
        <a:xfrm>
          <a:off x="0" y="0"/>
          <a:ext cx="0" cy="0"/>
          <a:chOff x="0" y="0"/>
          <a:chExt cx="0" cy="0"/>
        </a:xfrm>
      </p:grpSpPr>
      <p:sp>
        <p:nvSpPr>
          <p:cNvPr id="9" name="Rechteck 8"/>
          <p:cNvSpPr/>
          <p:nvPr userDrawn="1"/>
        </p:nvSpPr>
        <p:spPr bwMode="gray">
          <a:xfrm>
            <a:off x="4370694" y="3585886"/>
            <a:ext cx="7404171" cy="2111655"/>
          </a:xfrm>
          <a:prstGeom prst="rect">
            <a:avLst/>
          </a:prstGeom>
          <a:blipFill dpi="0" rotWithShape="1">
            <a:blip r:embed="rId2">
              <a:extLst>
                <a:ext uri="{28A0092B-C50C-407E-A947-70E740481C1C}">
                  <a14:useLocalDpi xmlns:a14="http://schemas.microsoft.com/office/drawing/2010/main" val="0"/>
                </a:ext>
              </a:extLst>
            </a:blip>
            <a:srcRect/>
            <a:stretch>
              <a:fillRect/>
            </a:stretch>
          </a:blip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4" name="Rechteck 13"/>
          <p:cNvSpPr/>
          <p:nvPr userDrawn="1"/>
        </p:nvSpPr>
        <p:spPr bwMode="gray">
          <a:xfrm>
            <a:off x="0" y="0"/>
            <a:ext cx="4370693" cy="48456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5" name="Freihandform: Form 14">
            <a:extLst>
              <a:ext uri="{FF2B5EF4-FFF2-40B4-BE49-F238E27FC236}">
                <a16:creationId xmlns:a16="http://schemas.microsoft.com/office/drawing/2014/main" id="{BD9FCD38-CC46-4426-9E28-976D7ACF23BE}"/>
              </a:ext>
            </a:extLst>
          </p:cNvPr>
          <p:cNvSpPr/>
          <p:nvPr userDrawn="1"/>
        </p:nvSpPr>
        <p:spPr bwMode="gray">
          <a:xfrm flipH="1">
            <a:off x="-4" y="860615"/>
            <a:ext cx="12192001" cy="5558117"/>
          </a:xfrm>
          <a:custGeom>
            <a:avLst/>
            <a:gdLst>
              <a:gd name="connsiteX0" fmla="*/ 9906001 w 9906001"/>
              <a:gd name="connsiteY0" fmla="*/ 3984989 h 5558117"/>
              <a:gd name="connsiteX1" fmla="*/ 6354931 w 9906001"/>
              <a:gd name="connsiteY1" fmla="*/ 3984989 h 5558117"/>
              <a:gd name="connsiteX2" fmla="*/ 6354931 w 9906001"/>
              <a:gd name="connsiteY2" fmla="*/ 5558117 h 5558117"/>
              <a:gd name="connsiteX3" fmla="*/ 9906001 w 9906001"/>
              <a:gd name="connsiteY3" fmla="*/ 5558117 h 5558117"/>
              <a:gd name="connsiteX4" fmla="*/ 6354931 w 9906001"/>
              <a:gd name="connsiteY4" fmla="*/ 0 h 5558117"/>
              <a:gd name="connsiteX5" fmla="*/ 1 w 9906001"/>
              <a:gd name="connsiteY5" fmla="*/ 0 h 5558117"/>
              <a:gd name="connsiteX6" fmla="*/ 1 w 9906001"/>
              <a:gd name="connsiteY6" fmla="*/ 2723838 h 5558117"/>
              <a:gd name="connsiteX7" fmla="*/ 1 w 9906001"/>
              <a:gd name="connsiteY7" fmla="*/ 4849903 h 5558117"/>
              <a:gd name="connsiteX8" fmla="*/ 0 w 9906001"/>
              <a:gd name="connsiteY8" fmla="*/ 4849903 h 5558117"/>
              <a:gd name="connsiteX9" fmla="*/ 0 w 9906001"/>
              <a:gd name="connsiteY9" fmla="*/ 5558116 h 5558117"/>
              <a:gd name="connsiteX10" fmla="*/ 6354930 w 9906001"/>
              <a:gd name="connsiteY10" fmla="*/ 5558116 h 5558117"/>
              <a:gd name="connsiteX11" fmla="*/ 6354930 w 9906001"/>
              <a:gd name="connsiteY11" fmla="*/ 4849903 h 5558117"/>
              <a:gd name="connsiteX12" fmla="*/ 336547 w 9906001"/>
              <a:gd name="connsiteY12" fmla="*/ 4849903 h 5558117"/>
              <a:gd name="connsiteX13" fmla="*/ 336547 w 9906001"/>
              <a:gd name="connsiteY13" fmla="*/ 2723838 h 5558117"/>
              <a:gd name="connsiteX14" fmla="*/ 6354931 w 9906001"/>
              <a:gd name="connsiteY14" fmla="*/ 2723838 h 55581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906001" h="5558117">
                <a:moveTo>
                  <a:pt x="9906001" y="3984989"/>
                </a:moveTo>
                <a:lnTo>
                  <a:pt x="6354931" y="3984989"/>
                </a:lnTo>
                <a:lnTo>
                  <a:pt x="6354931" y="5558117"/>
                </a:lnTo>
                <a:lnTo>
                  <a:pt x="9906001" y="5558117"/>
                </a:lnTo>
                <a:close/>
                <a:moveTo>
                  <a:pt x="6354931" y="0"/>
                </a:moveTo>
                <a:lnTo>
                  <a:pt x="1" y="0"/>
                </a:lnTo>
                <a:lnTo>
                  <a:pt x="1" y="2723838"/>
                </a:lnTo>
                <a:lnTo>
                  <a:pt x="1" y="4849903"/>
                </a:lnTo>
                <a:lnTo>
                  <a:pt x="0" y="4849903"/>
                </a:lnTo>
                <a:lnTo>
                  <a:pt x="0" y="5558116"/>
                </a:lnTo>
                <a:lnTo>
                  <a:pt x="6354930" y="5558116"/>
                </a:lnTo>
                <a:lnTo>
                  <a:pt x="6354930" y="4849903"/>
                </a:lnTo>
                <a:lnTo>
                  <a:pt x="336547" y="4849903"/>
                </a:lnTo>
                <a:lnTo>
                  <a:pt x="336547" y="2723838"/>
                </a:lnTo>
                <a:lnTo>
                  <a:pt x="6354931" y="2723838"/>
                </a:lnTo>
                <a:close/>
              </a:path>
            </a:pathLst>
          </a:cu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2"/>
          <p:cNvSpPr>
            <a:spLocks noGrp="1"/>
          </p:cNvSpPr>
          <p:nvPr>
            <p:ph type="body" idx="1" hasCustomPrompt="1"/>
          </p:nvPr>
        </p:nvSpPr>
        <p:spPr bwMode="gray">
          <a:xfrm>
            <a:off x="389507" y="114508"/>
            <a:ext cx="7222431" cy="1843200"/>
          </a:xfrm>
          <a:noFill/>
          <a:ln w="9525">
            <a:noFill/>
            <a:miter lim="800000"/>
            <a:headEnd/>
            <a:tailEnd/>
          </a:ln>
          <a:effectLst/>
        </p:spPr>
        <p:txBody>
          <a:bodyPr vert="horz" wrap="square" lIns="0" tIns="0" rIns="0" bIns="0" numCol="1" anchor="t" anchorCtr="0" compatLnSpc="1">
            <a:prstTxWarp prst="textNoShape">
              <a:avLst/>
            </a:prstTxWarp>
            <a:noAutofit/>
          </a:bodyPr>
          <a:lstStyle>
            <a:lvl1pPr marL="0" indent="0">
              <a:buFont typeface="Arial" panose="020B0604020202020204" pitchFamily="34" charset="0"/>
              <a:buNone/>
              <a:defRPr lang="en-GB" sz="12000" b="1" strike="noStrike" kern="0" spc="0" noProof="0" dirty="0" smtClean="0">
                <a:solidFill>
                  <a:schemeClr val="tx2"/>
                </a:solidFill>
              </a:defRPr>
            </a:lvl1pPr>
          </a:lstStyle>
          <a:p>
            <a:pPr marL="0" lvl="0" indent="0">
              <a:spcBef>
                <a:spcPts val="0"/>
              </a:spcBef>
              <a:spcAft>
                <a:spcPct val="0"/>
              </a:spcAft>
              <a:buClrTx/>
              <a:tabLst/>
            </a:pPr>
            <a:r>
              <a:rPr lang="en-GB" noProof="0" dirty="0"/>
              <a:t>01</a:t>
            </a:r>
          </a:p>
        </p:txBody>
      </p:sp>
      <p:sp>
        <p:nvSpPr>
          <p:cNvPr id="13" name="Title 1"/>
          <p:cNvSpPr>
            <a:spLocks noGrp="1"/>
          </p:cNvSpPr>
          <p:nvPr>
            <p:ph type="title" hasCustomPrompt="1"/>
          </p:nvPr>
        </p:nvSpPr>
        <p:spPr bwMode="gray">
          <a:xfrm>
            <a:off x="389508" y="2082798"/>
            <a:ext cx="7222154" cy="1162575"/>
          </a:xfrm>
        </p:spPr>
        <p:txBody>
          <a:bodyPr anchor="t"/>
          <a:lstStyle>
            <a:lvl1pPr marL="0" indent="0" algn="l">
              <a:buFont typeface="Wingdings" panose="05000000000000000000" pitchFamily="2" charset="2"/>
              <a:buNone/>
              <a:defRPr lang="en-US" sz="4400" b="1" kern="1200" baseline="0" dirty="0" smtClean="0">
                <a:solidFill>
                  <a:schemeClr val="tx2"/>
                </a:solidFill>
                <a:latin typeface="Arial" panose="020B0604020202020204" pitchFamily="34" charset="0"/>
                <a:ea typeface="+mn-ea"/>
                <a:cs typeface="+mn-cs"/>
              </a:defRPr>
            </a:lvl1pPr>
          </a:lstStyle>
          <a:p>
            <a:pPr>
              <a:tabLst/>
            </a:pPr>
            <a:r>
              <a:rPr lang="en-GB" sz="4400" b="1" noProof="0" dirty="0">
                <a:solidFill>
                  <a:schemeClr val="tx2"/>
                </a:solidFill>
              </a:rPr>
              <a:t>Name of chapter (44pt) max. two lines</a:t>
            </a:r>
          </a:p>
        </p:txBody>
      </p:sp>
      <p:sp>
        <p:nvSpPr>
          <p:cNvPr id="19" name="Textplatzhalter 5"/>
          <p:cNvSpPr>
            <a:spLocks noGrp="1"/>
          </p:cNvSpPr>
          <p:nvPr>
            <p:ph type="body" sz="quarter" idx="11" hasCustomPrompt="1"/>
          </p:nvPr>
        </p:nvSpPr>
        <p:spPr bwMode="gray">
          <a:xfrm>
            <a:off x="394677" y="3697787"/>
            <a:ext cx="3589216" cy="708025"/>
          </a:xfrm>
        </p:spPr>
        <p:txBody>
          <a:bodyPr/>
          <a:lstStyle>
            <a:lvl1pPr marL="0" indent="0">
              <a:buNone/>
              <a:defRPr>
                <a:solidFill>
                  <a:schemeClr val="tx2"/>
                </a:solidFill>
              </a:defRPr>
            </a:lvl1pPr>
            <a:lvl2pPr marL="184150" indent="0">
              <a:buNone/>
              <a:defRPr/>
            </a:lvl2pPr>
            <a:lvl3pPr marL="360362" indent="0">
              <a:buNone/>
              <a:defRPr/>
            </a:lvl3pPr>
            <a:lvl4pPr marL="539750" indent="0">
              <a:buNone/>
              <a:defRPr/>
            </a:lvl4pPr>
            <a:lvl5pPr marL="720725" indent="0">
              <a:buNone/>
              <a:defRPr/>
            </a:lvl5pPr>
          </a:lstStyle>
          <a:p>
            <a:pPr lvl="0"/>
            <a:r>
              <a:rPr lang="en-GB" noProof="0" dirty="0"/>
              <a:t>Subtitle</a:t>
            </a:r>
          </a:p>
        </p:txBody>
      </p:sp>
    </p:spTree>
    <p:extLst>
      <p:ext uri="{BB962C8B-B14F-4D97-AF65-F5344CB8AC3E}">
        <p14:creationId xmlns:p14="http://schemas.microsoft.com/office/powerpoint/2010/main" val="117707270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Section Header - 2">
    <p:spTree>
      <p:nvGrpSpPr>
        <p:cNvPr id="1" name=""/>
        <p:cNvGrpSpPr/>
        <p:nvPr/>
      </p:nvGrpSpPr>
      <p:grpSpPr>
        <a:xfrm>
          <a:off x="0" y="0"/>
          <a:ext cx="0" cy="0"/>
          <a:chOff x="0" y="0"/>
          <a:chExt cx="0" cy="0"/>
        </a:xfrm>
      </p:grpSpPr>
      <p:sp>
        <p:nvSpPr>
          <p:cNvPr id="6" name="Rechteck 5"/>
          <p:cNvSpPr/>
          <p:nvPr userDrawn="1"/>
        </p:nvSpPr>
        <p:spPr bwMode="gray">
          <a:xfrm>
            <a:off x="0" y="0"/>
            <a:ext cx="4368738" cy="6858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2" name="Titel 1"/>
          <p:cNvSpPr>
            <a:spLocks noGrp="1"/>
          </p:cNvSpPr>
          <p:nvPr>
            <p:ph type="title" hasCustomPrompt="1"/>
          </p:nvPr>
        </p:nvSpPr>
        <p:spPr bwMode="gray">
          <a:xfrm>
            <a:off x="398769" y="660011"/>
            <a:ext cx="9459692" cy="607190"/>
          </a:xfrm>
        </p:spPr>
        <p:txBody>
          <a:bodyPr/>
          <a:lstStyle>
            <a:lvl1pPr>
              <a:defRPr baseline="0">
                <a:solidFill>
                  <a:schemeClr val="tx2"/>
                </a:solidFill>
                <a:latin typeface="Arial" panose="020B0604020202020204" pitchFamily="34" charset="0"/>
              </a:defRPr>
            </a:lvl1pPr>
          </a:lstStyle>
          <a:p>
            <a:r>
              <a:rPr lang="en-GB" noProof="0" dirty="0"/>
              <a:t>Chapter slide (20pt)</a:t>
            </a:r>
          </a:p>
        </p:txBody>
      </p:sp>
      <p:sp>
        <p:nvSpPr>
          <p:cNvPr id="7" name="Text Placeholder 2"/>
          <p:cNvSpPr>
            <a:spLocks noGrp="1"/>
          </p:cNvSpPr>
          <p:nvPr>
            <p:ph type="body" idx="1" hasCustomPrompt="1"/>
          </p:nvPr>
        </p:nvSpPr>
        <p:spPr bwMode="gray">
          <a:xfrm>
            <a:off x="398769" y="2010305"/>
            <a:ext cx="3606752" cy="2515658"/>
          </a:xfrm>
        </p:spPr>
        <p:txBody>
          <a:bodyPr wrap="none" lIns="0" tIns="0" rIns="0" bIns="0" anchor="t" anchorCtr="0"/>
          <a:lstStyle>
            <a:lvl1pPr marL="0" indent="0" algn="l" rtl="0" fontAlgn="base">
              <a:lnSpc>
                <a:spcPct val="100000"/>
              </a:lnSpc>
              <a:spcBef>
                <a:spcPts val="0"/>
              </a:spcBef>
              <a:spcAft>
                <a:spcPct val="0"/>
              </a:spcAft>
              <a:buClrTx/>
              <a:buFontTx/>
              <a:buNone/>
              <a:defRPr lang="en-US" sz="12000" b="1" strike="noStrike" kern="0" spc="0" baseline="0" dirty="0" smtClean="0">
                <a:solidFill>
                  <a:schemeClr val="tx2"/>
                </a:solidFill>
                <a:latin typeface="Arial" panose="020B0604020202020204" pitchFamily="34" charset="0"/>
                <a:ea typeface="+mn-ea"/>
                <a:cs typeface="+mn-cs"/>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GB" noProof="0" dirty="0"/>
              <a:t>01</a:t>
            </a:r>
          </a:p>
        </p:txBody>
      </p:sp>
      <p:sp>
        <p:nvSpPr>
          <p:cNvPr id="16" name="Textplatzhalter 15"/>
          <p:cNvSpPr>
            <a:spLocks noGrp="1"/>
          </p:cNvSpPr>
          <p:nvPr>
            <p:ph type="body" sz="quarter" idx="10" hasCustomPrompt="1"/>
          </p:nvPr>
        </p:nvSpPr>
        <p:spPr bwMode="gray">
          <a:xfrm>
            <a:off x="5495723" y="2368800"/>
            <a:ext cx="6278400" cy="3351600"/>
          </a:xfrm>
        </p:spPr>
        <p:txBody>
          <a:bodyPr/>
          <a:lstStyle>
            <a:lvl1pPr marL="358775" indent="-358775">
              <a:lnSpc>
                <a:spcPct val="120000"/>
              </a:lnSpc>
              <a:spcBef>
                <a:spcPts val="360"/>
              </a:spcBef>
              <a:spcAft>
                <a:spcPts val="360"/>
              </a:spcAft>
              <a:buFont typeface="+mj-lt"/>
              <a:buAutoNum type="arabicPeriod"/>
              <a:tabLst/>
              <a:defRPr sz="1200" b="0">
                <a:latin typeface="Arial" panose="020B0604020202020204" pitchFamily="34" charset="0"/>
              </a:defRPr>
            </a:lvl1pPr>
            <a:lvl2pPr marL="184150" indent="0">
              <a:lnSpc>
                <a:spcPct val="120000"/>
              </a:lnSpc>
              <a:spcBef>
                <a:spcPts val="360"/>
              </a:spcBef>
              <a:spcAft>
                <a:spcPts val="360"/>
              </a:spcAft>
              <a:buFont typeface="+mj-lt"/>
              <a:buNone/>
              <a:defRPr/>
            </a:lvl2pPr>
            <a:lvl3pPr marL="360362" indent="0">
              <a:lnSpc>
                <a:spcPct val="120000"/>
              </a:lnSpc>
              <a:spcBef>
                <a:spcPts val="360"/>
              </a:spcBef>
              <a:spcAft>
                <a:spcPts val="360"/>
              </a:spcAft>
              <a:buFont typeface="+mj-lt"/>
              <a:buNone/>
              <a:defRPr/>
            </a:lvl3pPr>
            <a:lvl4pPr marL="539750" indent="0">
              <a:lnSpc>
                <a:spcPct val="120000"/>
              </a:lnSpc>
              <a:spcBef>
                <a:spcPts val="360"/>
              </a:spcBef>
              <a:spcAft>
                <a:spcPts val="360"/>
              </a:spcAft>
              <a:buFont typeface="+mj-lt"/>
              <a:buNone/>
              <a:defRPr/>
            </a:lvl4pPr>
            <a:lvl5pPr marL="717550" indent="0">
              <a:lnSpc>
                <a:spcPct val="120000"/>
              </a:lnSpc>
              <a:spcBef>
                <a:spcPts val="360"/>
              </a:spcBef>
              <a:spcAft>
                <a:spcPts val="360"/>
              </a:spcAft>
              <a:buClr>
                <a:schemeClr val="tx2"/>
              </a:buClr>
              <a:buFont typeface="+mj-lt"/>
              <a:buNone/>
              <a:defRPr baseline="0"/>
            </a:lvl5pPr>
          </a:lstStyle>
          <a:p>
            <a:pPr lvl="0"/>
            <a:r>
              <a:rPr lang="en-GB" noProof="0" dirty="0"/>
              <a:t>Subchapter title (12pt)</a:t>
            </a:r>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a:p>
            <a:pPr lvl="0"/>
            <a:r>
              <a:rPr lang="en-GB" noProof="0" dirty="0"/>
              <a:t>Vero </a:t>
            </a:r>
            <a:r>
              <a:rPr lang="en-GB" noProof="0" dirty="0" err="1"/>
              <a:t>eros</a:t>
            </a:r>
            <a:r>
              <a:rPr lang="en-GB" noProof="0" dirty="0"/>
              <a:t> et </a:t>
            </a:r>
            <a:r>
              <a:rPr lang="en-GB" noProof="0" dirty="0" err="1"/>
              <a:t>accumsan</a:t>
            </a:r>
            <a:r>
              <a:rPr lang="en-GB" noProof="0" dirty="0"/>
              <a:t> et </a:t>
            </a:r>
            <a:r>
              <a:rPr lang="en-GB" noProof="0" dirty="0" err="1"/>
              <a:t>iusto</a:t>
            </a:r>
            <a:endParaRPr lang="en-GB" noProof="0" dirty="0"/>
          </a:p>
          <a:p>
            <a:pPr lvl="0"/>
            <a:r>
              <a:rPr lang="en-GB" noProof="0" dirty="0" err="1"/>
              <a:t>Euismod</a:t>
            </a:r>
            <a:r>
              <a:rPr lang="en-GB" noProof="0" dirty="0"/>
              <a:t> </a:t>
            </a:r>
            <a:r>
              <a:rPr lang="en-GB" noProof="0" dirty="0" err="1"/>
              <a:t>tincidunt</a:t>
            </a:r>
            <a:r>
              <a:rPr lang="en-GB" noProof="0" dirty="0"/>
              <a:t> </a:t>
            </a:r>
            <a:r>
              <a:rPr lang="en-GB" noProof="0" dirty="0" err="1"/>
              <a:t>ut</a:t>
            </a:r>
            <a:r>
              <a:rPr lang="en-GB" noProof="0" dirty="0"/>
              <a:t> </a:t>
            </a:r>
            <a:r>
              <a:rPr lang="en-GB" noProof="0" dirty="0" err="1"/>
              <a:t>laoreet</a:t>
            </a:r>
            <a:endParaRPr lang="en-GB" noProof="0" dirty="0"/>
          </a:p>
          <a:p>
            <a:pPr lvl="0"/>
            <a:r>
              <a:rPr lang="en-GB" noProof="0" dirty="0" err="1"/>
              <a:t>Mirum</a:t>
            </a:r>
            <a:r>
              <a:rPr lang="en-GB" noProof="0" dirty="0"/>
              <a:t> </a:t>
            </a:r>
            <a:r>
              <a:rPr lang="en-GB" noProof="0" dirty="0" err="1"/>
              <a:t>est</a:t>
            </a:r>
            <a:r>
              <a:rPr lang="en-GB" noProof="0" dirty="0"/>
              <a:t> </a:t>
            </a:r>
            <a:r>
              <a:rPr lang="en-GB" noProof="0" dirty="0" err="1"/>
              <a:t>notare</a:t>
            </a:r>
            <a:r>
              <a:rPr lang="en-GB" noProof="0" dirty="0"/>
              <a:t> quam </a:t>
            </a:r>
            <a:r>
              <a:rPr lang="en-GB" noProof="0" dirty="0" err="1"/>
              <a:t>littera</a:t>
            </a:r>
            <a:r>
              <a:rPr lang="en-GB" noProof="0" dirty="0"/>
              <a:t> </a:t>
            </a:r>
            <a:r>
              <a:rPr lang="en-GB" noProof="0" dirty="0" err="1"/>
              <a:t>gothica</a:t>
            </a:r>
            <a:endParaRPr lang="en-GB" noProof="0" dirty="0"/>
          </a:p>
          <a:p>
            <a:pPr lvl="0"/>
            <a:r>
              <a:rPr lang="en-GB" noProof="0" dirty="0" err="1"/>
              <a:t>Tempor</a:t>
            </a:r>
            <a:r>
              <a:rPr lang="en-GB" noProof="0" dirty="0"/>
              <a:t> cum </a:t>
            </a:r>
            <a:r>
              <a:rPr lang="en-GB" noProof="0" dirty="0" err="1"/>
              <a:t>soluta</a:t>
            </a:r>
            <a:r>
              <a:rPr lang="en-GB" noProof="0" dirty="0"/>
              <a:t> </a:t>
            </a:r>
            <a:r>
              <a:rPr lang="en-GB" noProof="0" dirty="0" err="1"/>
              <a:t>nobis</a:t>
            </a:r>
            <a:r>
              <a:rPr lang="en-GB" noProof="0" dirty="0"/>
              <a:t> </a:t>
            </a:r>
            <a:r>
              <a:rPr lang="en-GB" noProof="0" dirty="0" err="1"/>
              <a:t>eleifend</a:t>
            </a:r>
            <a:endParaRPr lang="en-GB" noProof="0" dirty="0"/>
          </a:p>
        </p:txBody>
      </p:sp>
    </p:spTree>
    <p:extLst>
      <p:ext uri="{BB962C8B-B14F-4D97-AF65-F5344CB8AC3E}">
        <p14:creationId xmlns:p14="http://schemas.microsoft.com/office/powerpoint/2010/main" val="19584781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8"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9"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2" name="Titel 1"/>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1403267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and Content with subheading &amp; disclaimer">
    <p:spTree>
      <p:nvGrpSpPr>
        <p:cNvPr id="1" name=""/>
        <p:cNvGrpSpPr/>
        <p:nvPr/>
      </p:nvGrpSpPr>
      <p:grpSpPr>
        <a:xfrm>
          <a:off x="0" y="0"/>
          <a:ext cx="0" cy="0"/>
          <a:chOff x="0" y="0"/>
          <a:chExt cx="0" cy="0"/>
        </a:xfrm>
      </p:grpSpPr>
      <p:sp>
        <p:nvSpPr>
          <p:cNvPr id="9" name="Rechteck 8"/>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3" name="Content Placeholder 12"/>
          <p:cNvSpPr>
            <a:spLocks noGrp="1"/>
          </p:cNvSpPr>
          <p:nvPr>
            <p:ph sz="quarter" idx="21"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8" name="Text Placeholder 17"/>
          <p:cNvSpPr>
            <a:spLocks noGrp="1"/>
          </p:cNvSpPr>
          <p:nvPr>
            <p:ph type="body" sz="quarter" idx="22"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baseline="0">
                <a:solidFill>
                  <a:schemeClr val="tx1"/>
                </a:solidFill>
                <a:latin typeface="Arial Narrow" panose="020B0606020202030204" pitchFamily="34" charset="0"/>
              </a:defRPr>
            </a:lvl1pPr>
          </a:lstStyle>
          <a:p>
            <a:pPr lvl="0"/>
            <a:r>
              <a:rPr lang="en-GB" noProof="0" dirty="0"/>
              <a:t>Disclaimer (optional) (8pt)</a:t>
            </a:r>
          </a:p>
        </p:txBody>
      </p:sp>
      <p:sp>
        <p:nvSpPr>
          <p:cNvPr id="20" name="Text Placeholder 19"/>
          <p:cNvSpPr>
            <a:spLocks noGrp="1"/>
          </p:cNvSpPr>
          <p:nvPr>
            <p:ph type="body" sz="quarter" idx="23" hasCustomPrompt="1"/>
          </p:nvPr>
        </p:nvSpPr>
        <p:spPr bwMode="gray">
          <a:xfrm>
            <a:off x="398769" y="1591200"/>
            <a:ext cx="11369354" cy="244800"/>
          </a:xfrm>
        </p:spPr>
        <p:txBody>
          <a:bodyPr/>
          <a:lstStyle>
            <a:lvl1pPr marL="0" indent="0">
              <a:buNone/>
              <a:defRPr sz="1400" b="1"/>
            </a:lvl1pPr>
          </a:lstStyle>
          <a:p>
            <a:pPr lvl="0"/>
            <a:r>
              <a:rPr lang="en-GB" noProof="0" dirty="0"/>
              <a:t>Sub headline (12-16pt)</a:t>
            </a:r>
          </a:p>
        </p:txBody>
      </p:sp>
      <p:sp>
        <p:nvSpPr>
          <p:cNvPr id="22" name="Text Placeholder 21"/>
          <p:cNvSpPr>
            <a:spLocks noGrp="1"/>
          </p:cNvSpPr>
          <p:nvPr>
            <p:ph type="body" sz="quarter" idx="24" hasCustomPrompt="1"/>
          </p:nvPr>
        </p:nvSpPr>
        <p:spPr bwMode="gray">
          <a:xfrm>
            <a:off x="398769" y="1842087"/>
            <a:ext cx="11369354" cy="244800"/>
          </a:xfrm>
        </p:spPr>
        <p:txBody>
          <a:bodyPr/>
          <a:lstStyle>
            <a:lvl1pPr marL="0" indent="0">
              <a:spcAft>
                <a:spcPts val="0"/>
              </a:spcAft>
              <a:buNone/>
              <a:defRPr/>
            </a:lvl1pPr>
          </a:lstStyle>
          <a:p>
            <a:pPr lvl="0"/>
            <a:r>
              <a:rPr lang="en-GB" noProof="0" dirty="0"/>
              <a:t>Second sub headline if required (12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20712187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Rechteck 5"/>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76692201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Content (Disclaimer)">
    <p:spTree>
      <p:nvGrpSpPr>
        <p:cNvPr id="1" name=""/>
        <p:cNvGrpSpPr/>
        <p:nvPr/>
      </p:nvGrpSpPr>
      <p:grpSpPr>
        <a:xfrm>
          <a:off x="0" y="0"/>
          <a:ext cx="0" cy="0"/>
          <a:chOff x="0" y="0"/>
          <a:chExt cx="0" cy="0"/>
        </a:xfrm>
      </p:grpSpPr>
      <p:sp>
        <p:nvSpPr>
          <p:cNvPr id="7" name="Rechteck 6"/>
          <p:cNvSpPr/>
          <p:nvPr userDrawn="1"/>
        </p:nvSpPr>
        <p:spPr bwMode="gray">
          <a:xfrm>
            <a:off x="0" y="0"/>
            <a:ext cx="7975385" cy="990000"/>
          </a:xfrm>
          <a:prstGeom prst="rect">
            <a:avLst/>
          </a:prstGeom>
          <a:solidFill>
            <a:srgbClr val="D6E0EA"/>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l" defTabSz="914400" rtl="0" eaLnBrk="1" fontAlgn="base" latinLnBrk="0" hangingPunct="1">
              <a:lnSpc>
                <a:spcPct val="110000"/>
              </a:lnSpc>
              <a:spcBef>
                <a:spcPct val="50000"/>
              </a:spcBef>
              <a:spcAft>
                <a:spcPct val="25000"/>
              </a:spcAft>
              <a:buClr>
                <a:schemeClr val="tx2"/>
              </a:buClr>
              <a:buSzTx/>
              <a:buFont typeface="Wingdings" pitchFamily="2" charset="2"/>
              <a:buNone/>
              <a:tabLst/>
            </a:pPr>
            <a:endParaRPr kumimoji="0" lang="en-GB" sz="1200" b="0" i="0" u="none" strike="noStrike" cap="none" normalizeH="0" baseline="0" noProof="0" dirty="0">
              <a:ln>
                <a:noFill/>
              </a:ln>
              <a:solidFill>
                <a:schemeClr val="bg1"/>
              </a:solidFill>
              <a:effectLst/>
              <a:latin typeface="Arial" charset="0"/>
            </a:endParaRPr>
          </a:p>
        </p:txBody>
      </p:sp>
      <p:sp>
        <p:nvSpPr>
          <p:cNvPr id="11" name="Inhaltsplatzhalter 3"/>
          <p:cNvSpPr>
            <a:spLocks noGrp="1"/>
          </p:cNvSpPr>
          <p:nvPr>
            <p:ph sz="quarter" idx="25" hasCustomPrompt="1"/>
          </p:nvPr>
        </p:nvSpPr>
        <p:spPr bwMode="gray">
          <a:xfrm>
            <a:off x="398769" y="2368800"/>
            <a:ext cx="11369354" cy="3794400"/>
          </a:xfrm>
        </p:spPr>
        <p:txBody>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4" name="Text Placeholder 3"/>
          <p:cNvSpPr>
            <a:spLocks noGrp="1"/>
          </p:cNvSpPr>
          <p:nvPr>
            <p:ph type="body" sz="quarter" idx="26" hasCustomPrompt="1"/>
          </p:nvPr>
        </p:nvSpPr>
        <p:spPr bwMode="gray">
          <a:xfrm>
            <a:off x="398771" y="6235200"/>
            <a:ext cx="10633846" cy="374400"/>
          </a:xfrm>
        </p:spPr>
        <p:txBody>
          <a:bodyPr anchor="b"/>
          <a:lstStyle>
            <a:lvl1pPr marL="0" indent="0">
              <a:lnSpc>
                <a:spcPct val="100000"/>
              </a:lnSpc>
              <a:spcBef>
                <a:spcPts val="0"/>
              </a:spcBef>
              <a:spcAft>
                <a:spcPts val="0"/>
              </a:spcAft>
              <a:buNone/>
              <a:defRPr sz="800">
                <a:solidFill>
                  <a:schemeClr val="tx1"/>
                </a:solidFill>
                <a:latin typeface="Arial Narrow" panose="020B0606020202030204" pitchFamily="34" charset="0"/>
              </a:defRPr>
            </a:lvl1pPr>
            <a:lvl2pPr>
              <a:lnSpc>
                <a:spcPct val="100000"/>
              </a:lnSpc>
              <a:spcBef>
                <a:spcPts val="0"/>
              </a:spcBef>
              <a:spcAft>
                <a:spcPts val="0"/>
              </a:spcAft>
              <a:defRPr sz="800">
                <a:solidFill>
                  <a:srgbClr val="4D4D4D"/>
                </a:solidFill>
              </a:defRPr>
            </a:lvl2pPr>
            <a:lvl3pPr>
              <a:lnSpc>
                <a:spcPct val="100000"/>
              </a:lnSpc>
              <a:spcBef>
                <a:spcPts val="0"/>
              </a:spcBef>
              <a:spcAft>
                <a:spcPts val="0"/>
              </a:spcAft>
              <a:defRPr sz="800">
                <a:solidFill>
                  <a:srgbClr val="4D4D4D"/>
                </a:solidFill>
              </a:defRPr>
            </a:lvl3pPr>
            <a:lvl4pPr>
              <a:lnSpc>
                <a:spcPct val="100000"/>
              </a:lnSpc>
              <a:spcBef>
                <a:spcPts val="0"/>
              </a:spcBef>
              <a:spcAft>
                <a:spcPts val="0"/>
              </a:spcAft>
              <a:defRPr sz="800">
                <a:solidFill>
                  <a:srgbClr val="4D4D4D"/>
                </a:solidFill>
              </a:defRPr>
            </a:lvl4pPr>
            <a:lvl5pPr>
              <a:lnSpc>
                <a:spcPct val="100000"/>
              </a:lnSpc>
              <a:spcBef>
                <a:spcPts val="0"/>
              </a:spcBef>
              <a:spcAft>
                <a:spcPts val="0"/>
              </a:spcAft>
              <a:defRPr sz="800">
                <a:solidFill>
                  <a:srgbClr val="4D4D4D"/>
                </a:solidFill>
              </a:defRPr>
            </a:lvl5pPr>
          </a:lstStyle>
          <a:p>
            <a:pPr lvl="0"/>
            <a:r>
              <a:rPr lang="en-GB" noProof="0" dirty="0"/>
              <a:t>Disclaimer (optional) (8pt)</a:t>
            </a:r>
          </a:p>
        </p:txBody>
      </p:sp>
      <p:sp>
        <p:nvSpPr>
          <p:cNvPr id="3" name="Titel 2"/>
          <p:cNvSpPr>
            <a:spLocks noGrp="1"/>
          </p:cNvSpPr>
          <p:nvPr>
            <p:ph type="title" hasCustomPrompt="1"/>
          </p:nvPr>
        </p:nvSpPr>
        <p:spPr bwMode="gray"/>
        <p:txBody>
          <a:bodyPr/>
          <a:lstStyle/>
          <a:p>
            <a:r>
              <a:rPr lang="en-GB" noProof="0" dirty="0"/>
              <a:t>Main slide heading appears here</a:t>
            </a:r>
            <a:br>
              <a:rPr lang="en-GB" noProof="0" dirty="0"/>
            </a:br>
            <a:r>
              <a:rPr lang="en-GB" noProof="0" dirty="0"/>
              <a:t>Second line if required (20pt)</a:t>
            </a:r>
          </a:p>
        </p:txBody>
      </p:sp>
    </p:spTree>
    <p:extLst>
      <p:ext uri="{BB962C8B-B14F-4D97-AF65-F5344CB8AC3E}">
        <p14:creationId xmlns:p14="http://schemas.microsoft.com/office/powerpoint/2010/main" val="35844580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18" Type="http://schemas.openxmlformats.org/officeDocument/2006/relationships/slideLayout" Target="../slideLayouts/slideLayout57.xml"/><Relationship Id="rId26" Type="http://schemas.openxmlformats.org/officeDocument/2006/relationships/slideLayout" Target="../slideLayouts/slideLayout65.xml"/><Relationship Id="rId3" Type="http://schemas.openxmlformats.org/officeDocument/2006/relationships/slideLayout" Target="../slideLayouts/slideLayout42.xml"/><Relationship Id="rId21" Type="http://schemas.openxmlformats.org/officeDocument/2006/relationships/slideLayout" Target="../slideLayouts/slideLayout60.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17" Type="http://schemas.openxmlformats.org/officeDocument/2006/relationships/slideLayout" Target="../slideLayouts/slideLayout56.xml"/><Relationship Id="rId25" Type="http://schemas.openxmlformats.org/officeDocument/2006/relationships/slideLayout" Target="../slideLayouts/slideLayout64.xml"/><Relationship Id="rId2" Type="http://schemas.openxmlformats.org/officeDocument/2006/relationships/slideLayout" Target="../slideLayouts/slideLayout41.xml"/><Relationship Id="rId16" Type="http://schemas.openxmlformats.org/officeDocument/2006/relationships/slideLayout" Target="../slideLayouts/slideLayout55.xml"/><Relationship Id="rId20" Type="http://schemas.openxmlformats.org/officeDocument/2006/relationships/slideLayout" Target="../slideLayouts/slideLayout59.xml"/><Relationship Id="rId29" Type="http://schemas.openxmlformats.org/officeDocument/2006/relationships/slideLayout" Target="../slideLayouts/slideLayout68.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24" Type="http://schemas.openxmlformats.org/officeDocument/2006/relationships/slideLayout" Target="../slideLayouts/slideLayout63.xml"/><Relationship Id="rId5" Type="http://schemas.openxmlformats.org/officeDocument/2006/relationships/slideLayout" Target="../slideLayouts/slideLayout44.xml"/><Relationship Id="rId15" Type="http://schemas.openxmlformats.org/officeDocument/2006/relationships/slideLayout" Target="../slideLayouts/slideLayout54.xml"/><Relationship Id="rId23" Type="http://schemas.openxmlformats.org/officeDocument/2006/relationships/slideLayout" Target="../slideLayouts/slideLayout62.xml"/><Relationship Id="rId28" Type="http://schemas.openxmlformats.org/officeDocument/2006/relationships/slideLayout" Target="../slideLayouts/slideLayout67.xml"/><Relationship Id="rId10" Type="http://schemas.openxmlformats.org/officeDocument/2006/relationships/slideLayout" Target="../slideLayouts/slideLayout49.xml"/><Relationship Id="rId19" Type="http://schemas.openxmlformats.org/officeDocument/2006/relationships/slideLayout" Target="../slideLayouts/slideLayout58.xml"/><Relationship Id="rId31" Type="http://schemas.openxmlformats.org/officeDocument/2006/relationships/theme" Target="../theme/theme3.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slideLayout" Target="../slideLayouts/slideLayout53.xml"/><Relationship Id="rId22" Type="http://schemas.openxmlformats.org/officeDocument/2006/relationships/slideLayout" Target="../slideLayouts/slideLayout61.xml"/><Relationship Id="rId27" Type="http://schemas.openxmlformats.org/officeDocument/2006/relationships/slideLayout" Target="../slideLayouts/slideLayout66.xml"/><Relationship Id="rId30"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4.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83.xml"/><Relationship Id="rId7" Type="http://schemas.openxmlformats.org/officeDocument/2006/relationships/image" Target="../media/image11.png"/><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5.xml"/><Relationship Id="rId5" Type="http://schemas.openxmlformats.org/officeDocument/2006/relationships/slideLayout" Target="../slideLayouts/slideLayout85.xml"/><Relationship Id="rId4" Type="http://schemas.openxmlformats.org/officeDocument/2006/relationships/slideLayout" Target="../slideLayouts/slideLayout84.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98.xml"/><Relationship Id="rId18" Type="http://schemas.openxmlformats.org/officeDocument/2006/relationships/slideLayout" Target="../slideLayouts/slideLayout103.xml"/><Relationship Id="rId26" Type="http://schemas.openxmlformats.org/officeDocument/2006/relationships/slideLayout" Target="../slideLayouts/slideLayout111.xml"/><Relationship Id="rId39" Type="http://schemas.openxmlformats.org/officeDocument/2006/relationships/slideLayout" Target="../slideLayouts/slideLayout124.xml"/><Relationship Id="rId3" Type="http://schemas.openxmlformats.org/officeDocument/2006/relationships/slideLayout" Target="../slideLayouts/slideLayout88.xml"/><Relationship Id="rId21" Type="http://schemas.openxmlformats.org/officeDocument/2006/relationships/slideLayout" Target="../slideLayouts/slideLayout106.xml"/><Relationship Id="rId34" Type="http://schemas.openxmlformats.org/officeDocument/2006/relationships/slideLayout" Target="../slideLayouts/slideLayout119.xml"/><Relationship Id="rId42" Type="http://schemas.openxmlformats.org/officeDocument/2006/relationships/slideLayout" Target="../slideLayouts/slideLayout127.xml"/><Relationship Id="rId47" Type="http://schemas.openxmlformats.org/officeDocument/2006/relationships/vmlDrawing" Target="../drawings/vmlDrawing1.vml"/><Relationship Id="rId50" Type="http://schemas.openxmlformats.org/officeDocument/2006/relationships/image" Target="../media/image14.emf"/><Relationship Id="rId7" Type="http://schemas.openxmlformats.org/officeDocument/2006/relationships/slideLayout" Target="../slideLayouts/slideLayout92.xml"/><Relationship Id="rId12" Type="http://schemas.openxmlformats.org/officeDocument/2006/relationships/slideLayout" Target="../slideLayouts/slideLayout97.xml"/><Relationship Id="rId17" Type="http://schemas.openxmlformats.org/officeDocument/2006/relationships/slideLayout" Target="../slideLayouts/slideLayout102.xml"/><Relationship Id="rId25" Type="http://schemas.openxmlformats.org/officeDocument/2006/relationships/slideLayout" Target="../slideLayouts/slideLayout110.xml"/><Relationship Id="rId33" Type="http://schemas.openxmlformats.org/officeDocument/2006/relationships/slideLayout" Target="../slideLayouts/slideLayout118.xml"/><Relationship Id="rId38" Type="http://schemas.openxmlformats.org/officeDocument/2006/relationships/slideLayout" Target="../slideLayouts/slideLayout123.xml"/><Relationship Id="rId46" Type="http://schemas.openxmlformats.org/officeDocument/2006/relationships/theme" Target="../theme/theme6.xml"/><Relationship Id="rId2" Type="http://schemas.openxmlformats.org/officeDocument/2006/relationships/slideLayout" Target="../slideLayouts/slideLayout87.xml"/><Relationship Id="rId16" Type="http://schemas.openxmlformats.org/officeDocument/2006/relationships/slideLayout" Target="../slideLayouts/slideLayout101.xml"/><Relationship Id="rId20" Type="http://schemas.openxmlformats.org/officeDocument/2006/relationships/slideLayout" Target="../slideLayouts/slideLayout105.xml"/><Relationship Id="rId29" Type="http://schemas.openxmlformats.org/officeDocument/2006/relationships/slideLayout" Target="../slideLayouts/slideLayout114.xml"/><Relationship Id="rId41" Type="http://schemas.openxmlformats.org/officeDocument/2006/relationships/slideLayout" Target="../slideLayouts/slideLayout126.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slideLayout" Target="../slideLayouts/slideLayout96.xml"/><Relationship Id="rId24" Type="http://schemas.openxmlformats.org/officeDocument/2006/relationships/slideLayout" Target="../slideLayouts/slideLayout109.xml"/><Relationship Id="rId32" Type="http://schemas.openxmlformats.org/officeDocument/2006/relationships/slideLayout" Target="../slideLayouts/slideLayout117.xml"/><Relationship Id="rId37" Type="http://schemas.openxmlformats.org/officeDocument/2006/relationships/slideLayout" Target="../slideLayouts/slideLayout122.xml"/><Relationship Id="rId40" Type="http://schemas.openxmlformats.org/officeDocument/2006/relationships/slideLayout" Target="../slideLayouts/slideLayout125.xml"/><Relationship Id="rId45" Type="http://schemas.openxmlformats.org/officeDocument/2006/relationships/slideLayout" Target="../slideLayouts/slideLayout130.xml"/><Relationship Id="rId5" Type="http://schemas.openxmlformats.org/officeDocument/2006/relationships/slideLayout" Target="../slideLayouts/slideLayout90.xml"/><Relationship Id="rId15" Type="http://schemas.openxmlformats.org/officeDocument/2006/relationships/slideLayout" Target="../slideLayouts/slideLayout100.xml"/><Relationship Id="rId23" Type="http://schemas.openxmlformats.org/officeDocument/2006/relationships/slideLayout" Target="../slideLayouts/slideLayout108.xml"/><Relationship Id="rId28" Type="http://schemas.openxmlformats.org/officeDocument/2006/relationships/slideLayout" Target="../slideLayouts/slideLayout113.xml"/><Relationship Id="rId36" Type="http://schemas.openxmlformats.org/officeDocument/2006/relationships/slideLayout" Target="../slideLayouts/slideLayout121.xml"/><Relationship Id="rId49" Type="http://schemas.openxmlformats.org/officeDocument/2006/relationships/oleObject" Target="../embeddings/oleObject1.bin"/><Relationship Id="rId10" Type="http://schemas.openxmlformats.org/officeDocument/2006/relationships/slideLayout" Target="../slideLayouts/slideLayout95.xml"/><Relationship Id="rId19" Type="http://schemas.openxmlformats.org/officeDocument/2006/relationships/slideLayout" Target="../slideLayouts/slideLayout104.xml"/><Relationship Id="rId31" Type="http://schemas.openxmlformats.org/officeDocument/2006/relationships/slideLayout" Target="../slideLayouts/slideLayout116.xml"/><Relationship Id="rId44" Type="http://schemas.openxmlformats.org/officeDocument/2006/relationships/slideLayout" Target="../slideLayouts/slideLayout129.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slideLayout" Target="../slideLayouts/slideLayout99.xml"/><Relationship Id="rId22" Type="http://schemas.openxmlformats.org/officeDocument/2006/relationships/slideLayout" Target="../slideLayouts/slideLayout107.xml"/><Relationship Id="rId27" Type="http://schemas.openxmlformats.org/officeDocument/2006/relationships/slideLayout" Target="../slideLayouts/slideLayout112.xml"/><Relationship Id="rId30" Type="http://schemas.openxmlformats.org/officeDocument/2006/relationships/slideLayout" Target="../slideLayouts/slideLayout115.xml"/><Relationship Id="rId35" Type="http://schemas.openxmlformats.org/officeDocument/2006/relationships/slideLayout" Target="../slideLayouts/slideLayout120.xml"/><Relationship Id="rId43" Type="http://schemas.openxmlformats.org/officeDocument/2006/relationships/slideLayout" Target="../slideLayouts/slideLayout128.xml"/><Relationship Id="rId48" Type="http://schemas.openxmlformats.org/officeDocument/2006/relationships/tags" Target="../tags/tag10.xml"/><Relationship Id="rId8" Type="http://schemas.openxmlformats.org/officeDocument/2006/relationships/slideLayout" Target="../slideLayouts/slideLayout93.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143.xml"/><Relationship Id="rId18" Type="http://schemas.openxmlformats.org/officeDocument/2006/relationships/slideLayout" Target="../slideLayouts/slideLayout148.xml"/><Relationship Id="rId26" Type="http://schemas.openxmlformats.org/officeDocument/2006/relationships/slideLayout" Target="../slideLayouts/slideLayout156.xml"/><Relationship Id="rId39" Type="http://schemas.openxmlformats.org/officeDocument/2006/relationships/slideLayout" Target="../slideLayouts/slideLayout169.xml"/><Relationship Id="rId3" Type="http://schemas.openxmlformats.org/officeDocument/2006/relationships/slideLayout" Target="../slideLayouts/slideLayout133.xml"/><Relationship Id="rId21" Type="http://schemas.openxmlformats.org/officeDocument/2006/relationships/slideLayout" Target="../slideLayouts/slideLayout151.xml"/><Relationship Id="rId34" Type="http://schemas.openxmlformats.org/officeDocument/2006/relationships/slideLayout" Target="../slideLayouts/slideLayout164.xml"/><Relationship Id="rId42" Type="http://schemas.openxmlformats.org/officeDocument/2006/relationships/slideLayout" Target="../slideLayouts/slideLayout172.xml"/><Relationship Id="rId47" Type="http://schemas.openxmlformats.org/officeDocument/2006/relationships/theme" Target="../theme/theme7.xml"/><Relationship Id="rId50" Type="http://schemas.openxmlformats.org/officeDocument/2006/relationships/oleObject" Target="../embeddings/oleObject8.bin"/><Relationship Id="rId7" Type="http://schemas.openxmlformats.org/officeDocument/2006/relationships/slideLayout" Target="../slideLayouts/slideLayout137.xml"/><Relationship Id="rId12" Type="http://schemas.openxmlformats.org/officeDocument/2006/relationships/slideLayout" Target="../slideLayouts/slideLayout142.xml"/><Relationship Id="rId17" Type="http://schemas.openxmlformats.org/officeDocument/2006/relationships/slideLayout" Target="../slideLayouts/slideLayout147.xml"/><Relationship Id="rId25" Type="http://schemas.openxmlformats.org/officeDocument/2006/relationships/slideLayout" Target="../slideLayouts/slideLayout155.xml"/><Relationship Id="rId33" Type="http://schemas.openxmlformats.org/officeDocument/2006/relationships/slideLayout" Target="../slideLayouts/slideLayout163.xml"/><Relationship Id="rId38" Type="http://schemas.openxmlformats.org/officeDocument/2006/relationships/slideLayout" Target="../slideLayouts/slideLayout168.xml"/><Relationship Id="rId46" Type="http://schemas.openxmlformats.org/officeDocument/2006/relationships/slideLayout" Target="../slideLayouts/slideLayout176.xml"/><Relationship Id="rId2" Type="http://schemas.openxmlformats.org/officeDocument/2006/relationships/slideLayout" Target="../slideLayouts/slideLayout132.xml"/><Relationship Id="rId16" Type="http://schemas.openxmlformats.org/officeDocument/2006/relationships/slideLayout" Target="../slideLayouts/slideLayout146.xml"/><Relationship Id="rId20" Type="http://schemas.openxmlformats.org/officeDocument/2006/relationships/slideLayout" Target="../slideLayouts/slideLayout150.xml"/><Relationship Id="rId29" Type="http://schemas.openxmlformats.org/officeDocument/2006/relationships/slideLayout" Target="../slideLayouts/slideLayout159.xml"/><Relationship Id="rId41" Type="http://schemas.openxmlformats.org/officeDocument/2006/relationships/slideLayout" Target="../slideLayouts/slideLayout171.xml"/><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24" Type="http://schemas.openxmlformats.org/officeDocument/2006/relationships/slideLayout" Target="../slideLayouts/slideLayout154.xml"/><Relationship Id="rId32" Type="http://schemas.openxmlformats.org/officeDocument/2006/relationships/slideLayout" Target="../slideLayouts/slideLayout162.xml"/><Relationship Id="rId37" Type="http://schemas.openxmlformats.org/officeDocument/2006/relationships/slideLayout" Target="../slideLayouts/slideLayout167.xml"/><Relationship Id="rId40" Type="http://schemas.openxmlformats.org/officeDocument/2006/relationships/slideLayout" Target="../slideLayouts/slideLayout170.xml"/><Relationship Id="rId45" Type="http://schemas.openxmlformats.org/officeDocument/2006/relationships/slideLayout" Target="../slideLayouts/slideLayout175.xml"/><Relationship Id="rId5" Type="http://schemas.openxmlformats.org/officeDocument/2006/relationships/slideLayout" Target="../slideLayouts/slideLayout135.xml"/><Relationship Id="rId15" Type="http://schemas.openxmlformats.org/officeDocument/2006/relationships/slideLayout" Target="../slideLayouts/slideLayout145.xml"/><Relationship Id="rId23" Type="http://schemas.openxmlformats.org/officeDocument/2006/relationships/slideLayout" Target="../slideLayouts/slideLayout153.xml"/><Relationship Id="rId28" Type="http://schemas.openxmlformats.org/officeDocument/2006/relationships/slideLayout" Target="../slideLayouts/slideLayout158.xml"/><Relationship Id="rId36" Type="http://schemas.openxmlformats.org/officeDocument/2006/relationships/slideLayout" Target="../slideLayouts/slideLayout166.xml"/><Relationship Id="rId49" Type="http://schemas.openxmlformats.org/officeDocument/2006/relationships/tags" Target="../tags/tag17.xml"/><Relationship Id="rId10" Type="http://schemas.openxmlformats.org/officeDocument/2006/relationships/slideLayout" Target="../slideLayouts/slideLayout140.xml"/><Relationship Id="rId19" Type="http://schemas.openxmlformats.org/officeDocument/2006/relationships/slideLayout" Target="../slideLayouts/slideLayout149.xml"/><Relationship Id="rId31" Type="http://schemas.openxmlformats.org/officeDocument/2006/relationships/slideLayout" Target="../slideLayouts/slideLayout161.xml"/><Relationship Id="rId44" Type="http://schemas.openxmlformats.org/officeDocument/2006/relationships/slideLayout" Target="../slideLayouts/slideLayout174.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 Id="rId22" Type="http://schemas.openxmlformats.org/officeDocument/2006/relationships/slideLayout" Target="../slideLayouts/slideLayout152.xml"/><Relationship Id="rId27" Type="http://schemas.openxmlformats.org/officeDocument/2006/relationships/slideLayout" Target="../slideLayouts/slideLayout157.xml"/><Relationship Id="rId30" Type="http://schemas.openxmlformats.org/officeDocument/2006/relationships/slideLayout" Target="../slideLayouts/slideLayout160.xml"/><Relationship Id="rId35" Type="http://schemas.openxmlformats.org/officeDocument/2006/relationships/slideLayout" Target="../slideLayouts/slideLayout165.xml"/><Relationship Id="rId43" Type="http://schemas.openxmlformats.org/officeDocument/2006/relationships/slideLayout" Target="../slideLayouts/slideLayout173.xml"/><Relationship Id="rId48" Type="http://schemas.openxmlformats.org/officeDocument/2006/relationships/vmlDrawing" Target="../drawings/vmlDrawing8.vml"/><Relationship Id="rId8" Type="http://schemas.openxmlformats.org/officeDocument/2006/relationships/slideLayout" Target="../slideLayouts/slideLayout138.xml"/><Relationship Id="rId51" Type="http://schemas.openxmlformats.org/officeDocument/2006/relationships/image" Target="../media/image14.emf"/></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89.xml"/><Relationship Id="rId18" Type="http://schemas.openxmlformats.org/officeDocument/2006/relationships/slideLayout" Target="../slideLayouts/slideLayout194.xml"/><Relationship Id="rId26" Type="http://schemas.openxmlformats.org/officeDocument/2006/relationships/slideLayout" Target="../slideLayouts/slideLayout202.xml"/><Relationship Id="rId39" Type="http://schemas.openxmlformats.org/officeDocument/2006/relationships/slideLayout" Target="../slideLayouts/slideLayout215.xml"/><Relationship Id="rId3" Type="http://schemas.openxmlformats.org/officeDocument/2006/relationships/slideLayout" Target="../slideLayouts/slideLayout179.xml"/><Relationship Id="rId21" Type="http://schemas.openxmlformats.org/officeDocument/2006/relationships/slideLayout" Target="../slideLayouts/slideLayout197.xml"/><Relationship Id="rId34" Type="http://schemas.openxmlformats.org/officeDocument/2006/relationships/slideLayout" Target="../slideLayouts/slideLayout210.xml"/><Relationship Id="rId42" Type="http://schemas.openxmlformats.org/officeDocument/2006/relationships/slideLayout" Target="../slideLayouts/slideLayout218.xml"/><Relationship Id="rId47" Type="http://schemas.openxmlformats.org/officeDocument/2006/relationships/theme" Target="../theme/theme8.xml"/><Relationship Id="rId50" Type="http://schemas.openxmlformats.org/officeDocument/2006/relationships/oleObject" Target="../embeddings/oleObject23.bin"/><Relationship Id="rId7" Type="http://schemas.openxmlformats.org/officeDocument/2006/relationships/slideLayout" Target="../slideLayouts/slideLayout183.xml"/><Relationship Id="rId12" Type="http://schemas.openxmlformats.org/officeDocument/2006/relationships/slideLayout" Target="../slideLayouts/slideLayout188.xml"/><Relationship Id="rId17" Type="http://schemas.openxmlformats.org/officeDocument/2006/relationships/slideLayout" Target="../slideLayouts/slideLayout193.xml"/><Relationship Id="rId25" Type="http://schemas.openxmlformats.org/officeDocument/2006/relationships/slideLayout" Target="../slideLayouts/slideLayout201.xml"/><Relationship Id="rId33" Type="http://schemas.openxmlformats.org/officeDocument/2006/relationships/slideLayout" Target="../slideLayouts/slideLayout209.xml"/><Relationship Id="rId38" Type="http://schemas.openxmlformats.org/officeDocument/2006/relationships/slideLayout" Target="../slideLayouts/slideLayout214.xml"/><Relationship Id="rId46" Type="http://schemas.openxmlformats.org/officeDocument/2006/relationships/slideLayout" Target="../slideLayouts/slideLayout222.xml"/><Relationship Id="rId2" Type="http://schemas.openxmlformats.org/officeDocument/2006/relationships/slideLayout" Target="../slideLayouts/slideLayout178.xml"/><Relationship Id="rId16" Type="http://schemas.openxmlformats.org/officeDocument/2006/relationships/slideLayout" Target="../slideLayouts/slideLayout192.xml"/><Relationship Id="rId20" Type="http://schemas.openxmlformats.org/officeDocument/2006/relationships/slideLayout" Target="../slideLayouts/slideLayout196.xml"/><Relationship Id="rId29" Type="http://schemas.openxmlformats.org/officeDocument/2006/relationships/slideLayout" Target="../slideLayouts/slideLayout205.xml"/><Relationship Id="rId41" Type="http://schemas.openxmlformats.org/officeDocument/2006/relationships/slideLayout" Target="../slideLayouts/slideLayout217.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24" Type="http://schemas.openxmlformats.org/officeDocument/2006/relationships/slideLayout" Target="../slideLayouts/slideLayout200.xml"/><Relationship Id="rId32" Type="http://schemas.openxmlformats.org/officeDocument/2006/relationships/slideLayout" Target="../slideLayouts/slideLayout208.xml"/><Relationship Id="rId37" Type="http://schemas.openxmlformats.org/officeDocument/2006/relationships/slideLayout" Target="../slideLayouts/slideLayout213.xml"/><Relationship Id="rId40" Type="http://schemas.openxmlformats.org/officeDocument/2006/relationships/slideLayout" Target="../slideLayouts/slideLayout216.xml"/><Relationship Id="rId45" Type="http://schemas.openxmlformats.org/officeDocument/2006/relationships/slideLayout" Target="../slideLayouts/slideLayout221.xml"/><Relationship Id="rId5" Type="http://schemas.openxmlformats.org/officeDocument/2006/relationships/slideLayout" Target="../slideLayouts/slideLayout181.xml"/><Relationship Id="rId15" Type="http://schemas.openxmlformats.org/officeDocument/2006/relationships/slideLayout" Target="../slideLayouts/slideLayout191.xml"/><Relationship Id="rId23" Type="http://schemas.openxmlformats.org/officeDocument/2006/relationships/slideLayout" Target="../slideLayouts/slideLayout199.xml"/><Relationship Id="rId28" Type="http://schemas.openxmlformats.org/officeDocument/2006/relationships/slideLayout" Target="../slideLayouts/slideLayout204.xml"/><Relationship Id="rId36" Type="http://schemas.openxmlformats.org/officeDocument/2006/relationships/slideLayout" Target="../slideLayouts/slideLayout212.xml"/><Relationship Id="rId49" Type="http://schemas.openxmlformats.org/officeDocument/2006/relationships/tags" Target="../tags/tag32.xml"/><Relationship Id="rId10" Type="http://schemas.openxmlformats.org/officeDocument/2006/relationships/slideLayout" Target="../slideLayouts/slideLayout186.xml"/><Relationship Id="rId19" Type="http://schemas.openxmlformats.org/officeDocument/2006/relationships/slideLayout" Target="../slideLayouts/slideLayout195.xml"/><Relationship Id="rId31" Type="http://schemas.openxmlformats.org/officeDocument/2006/relationships/slideLayout" Target="../slideLayouts/slideLayout207.xml"/><Relationship Id="rId44" Type="http://schemas.openxmlformats.org/officeDocument/2006/relationships/slideLayout" Target="../slideLayouts/slideLayout220.xml"/><Relationship Id="rId4" Type="http://schemas.openxmlformats.org/officeDocument/2006/relationships/slideLayout" Target="../slideLayouts/slideLayout180.xml"/><Relationship Id="rId9" Type="http://schemas.openxmlformats.org/officeDocument/2006/relationships/slideLayout" Target="../slideLayouts/slideLayout185.xml"/><Relationship Id="rId14" Type="http://schemas.openxmlformats.org/officeDocument/2006/relationships/slideLayout" Target="../slideLayouts/slideLayout190.xml"/><Relationship Id="rId22" Type="http://schemas.openxmlformats.org/officeDocument/2006/relationships/slideLayout" Target="../slideLayouts/slideLayout198.xml"/><Relationship Id="rId27" Type="http://schemas.openxmlformats.org/officeDocument/2006/relationships/slideLayout" Target="../slideLayouts/slideLayout203.xml"/><Relationship Id="rId30" Type="http://schemas.openxmlformats.org/officeDocument/2006/relationships/slideLayout" Target="../slideLayouts/slideLayout206.xml"/><Relationship Id="rId35" Type="http://schemas.openxmlformats.org/officeDocument/2006/relationships/slideLayout" Target="../slideLayouts/slideLayout211.xml"/><Relationship Id="rId43" Type="http://schemas.openxmlformats.org/officeDocument/2006/relationships/slideLayout" Target="../slideLayouts/slideLayout219.xml"/><Relationship Id="rId48" Type="http://schemas.openxmlformats.org/officeDocument/2006/relationships/vmlDrawing" Target="../drawings/vmlDrawing16.vml"/><Relationship Id="rId8" Type="http://schemas.openxmlformats.org/officeDocument/2006/relationships/slideLayout" Target="../slideLayouts/slideLayout184.xml"/><Relationship Id="rId51" Type="http://schemas.openxmlformats.org/officeDocument/2006/relationships/image" Target="../media/image14.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3768" y="1365251"/>
            <a:ext cx="11182349" cy="479636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Beleidsopties Wet Toekomst Pensioenen</a:t>
            </a:r>
            <a:endParaRPr lang="nl-NL"/>
          </a:p>
        </p:txBody>
      </p:sp>
      <p:sp>
        <p:nvSpPr>
          <p:cNvPr id="6" name="Slide Number Placeholder 5"/>
          <p:cNvSpPr>
            <a:spLocks noGrp="1"/>
          </p:cNvSpPr>
          <p:nvPr>
            <p:ph type="sldNum" sz="quarter" idx="4"/>
          </p:nvPr>
        </p:nvSpPr>
        <p:spPr>
          <a:xfrm>
            <a:off x="11068051" y="6433759"/>
            <a:ext cx="452967" cy="164148"/>
          </a:xfrm>
          <a:prstGeom prst="rect">
            <a:avLst/>
          </a:prstGeom>
        </p:spPr>
        <p:txBody>
          <a:bodyPr vert="horz" wrap="square" lIns="0" tIns="0" rIns="0" bIns="0" rtlCol="0" anchor="ctr">
            <a:spAutoFit/>
          </a:bodyPr>
          <a:lstStyle>
            <a:lvl1pPr algn="r">
              <a:defRPr sz="1067">
                <a:solidFill>
                  <a:schemeClr val="tx1">
                    <a:tint val="75000"/>
                  </a:schemeClr>
                </a:solidFill>
              </a:defRPr>
            </a:lvl1pPr>
          </a:lstStyle>
          <a:p>
            <a:fld id="{FFDD6BF4-F398-43E8-ACFA-0A2EC6044D72}" type="slidenum">
              <a:rPr lang="nl-NL" smtClean="0"/>
              <a:t>‹nr.›</a:t>
            </a:fld>
            <a:endParaRPr lang="nl-NL"/>
          </a:p>
        </p:txBody>
      </p:sp>
      <p:sp>
        <p:nvSpPr>
          <p:cNvPr id="10" name="Title Placeholder 1">
            <a:extLst>
              <a:ext uri="{FF2B5EF4-FFF2-40B4-BE49-F238E27FC236}">
                <a16:creationId xmlns:a16="http://schemas.microsoft.com/office/drawing/2014/main" id="{365FC4F1-54D2-4481-BA79-23B30250CE6C}"/>
              </a:ext>
            </a:extLst>
          </p:cNvPr>
          <p:cNvSpPr>
            <a:spLocks noGrp="1"/>
          </p:cNvSpPr>
          <p:nvPr>
            <p:ph type="title"/>
          </p:nvPr>
        </p:nvSpPr>
        <p:spPr>
          <a:xfrm>
            <a:off x="503768" y="1"/>
            <a:ext cx="11182349" cy="876940"/>
          </a:xfrm>
          <a:prstGeom prst="rect">
            <a:avLst/>
          </a:prstGeom>
        </p:spPr>
        <p:txBody>
          <a:bodyPr vert="horz" wrap="square" lIns="0" tIns="0" rIns="0" bIns="0" rtlCol="0" anchor="b" anchorCtr="0">
            <a:noAutofit/>
          </a:bodyPr>
          <a:lstStyle/>
          <a:p>
            <a:r>
              <a:rPr lang="nl-NL" smtClean="0"/>
              <a:t>Klik om de stijl te bewerken</a:t>
            </a:r>
            <a:endParaRPr lang="en-US" dirty="0"/>
          </a:p>
        </p:txBody>
      </p:sp>
      <p:cxnSp>
        <p:nvCxnSpPr>
          <p:cNvPr id="11" name="Rechte verbindingslijn 10" hidden="1">
            <a:extLst>
              <a:ext uri="{FF2B5EF4-FFF2-40B4-BE49-F238E27FC236}">
                <a16:creationId xmlns:a16="http://schemas.microsoft.com/office/drawing/2014/main" id="{83303730-0F4D-4C2E-AD54-4C7E4F3D4C81}"/>
              </a:ext>
            </a:extLst>
          </p:cNvPr>
          <p:cNvCxnSpPr>
            <a:cxnSpLocks/>
          </p:cNvCxnSpPr>
          <p:nvPr/>
        </p:nvCxnSpPr>
        <p:spPr>
          <a:xfrm>
            <a:off x="503767" y="1069237"/>
            <a:ext cx="1118235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82871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700" r:id="rId31"/>
  </p:sldLayoutIdLst>
  <p:hf hdr="0" dt="0"/>
  <p:txStyles>
    <p:titleStyle>
      <a:lvl1pPr algn="l" defTabSz="914377" rtl="0" eaLnBrk="1" latinLnBrk="0" hangingPunct="1">
        <a:lnSpc>
          <a:spcPct val="90000"/>
        </a:lnSpc>
        <a:spcBef>
          <a:spcPct val="0"/>
        </a:spcBef>
        <a:buNone/>
        <a:defRPr sz="2667" b="0" kern="1200" cap="none" baseline="0">
          <a:solidFill>
            <a:schemeClr val="accent3"/>
          </a:solidFill>
          <a:latin typeface="+mj-lt"/>
          <a:ea typeface="+mj-ea"/>
          <a:cs typeface="+mj-cs"/>
        </a:defRPr>
      </a:lvl1pPr>
    </p:titleStyle>
    <p:bodyStyle>
      <a:lvl1pPr marL="228594" indent="-228594"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1pPr>
      <a:lvl2pPr marL="478355"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721766"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954593"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198003"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15:clr>
            <a:srgbClr val="FBAE40"/>
          </p15:clr>
        </p15:guide>
        <p15:guide id="2" pos="7680">
          <p15:clr>
            <a:srgbClr val="FBAE40"/>
          </p15:clr>
        </p15:guide>
        <p15:guide id="3" pos="317">
          <p15:clr>
            <a:srgbClr val="FBAE40"/>
          </p15:clr>
        </p15:guide>
        <p15:guide id="4" pos="1440">
          <p15:clr>
            <a:srgbClr val="FBAE40"/>
          </p15:clr>
        </p15:guide>
        <p15:guide id="5" pos="1501">
          <p15:clr>
            <a:srgbClr val="FBAE40"/>
          </p15:clr>
        </p15:guide>
        <p15:guide id="6" pos="2625">
          <p15:clr>
            <a:srgbClr val="FBAE40"/>
          </p15:clr>
        </p15:guide>
        <p15:guide id="7" pos="2685">
          <p15:clr>
            <a:srgbClr val="FBAE40"/>
          </p15:clr>
        </p15:guide>
        <p15:guide id="8" pos="3809">
          <p15:clr>
            <a:srgbClr val="FBAE40"/>
          </p15:clr>
        </p15:guide>
        <p15:guide id="9" pos="3869">
          <p15:clr>
            <a:srgbClr val="FBAE40"/>
          </p15:clr>
        </p15:guide>
        <p15:guide id="10" pos="4993">
          <p15:clr>
            <a:srgbClr val="FBAE40"/>
          </p15:clr>
        </p15:guide>
        <p15:guide id="11" pos="5053">
          <p15:clr>
            <a:srgbClr val="FBAE40"/>
          </p15:clr>
        </p15:guide>
        <p15:guide id="12" pos="6177">
          <p15:clr>
            <a:srgbClr val="FBAE40"/>
          </p15:clr>
        </p15:guide>
        <p15:guide id="13" pos="6239">
          <p15:clr>
            <a:srgbClr val="FBAE40"/>
          </p15:clr>
        </p15:guide>
        <p15:guide id="14" pos="7361">
          <p15:clr>
            <a:srgbClr val="FBAE40"/>
          </p15:clr>
        </p15:guide>
        <p15:guide id="15" orient="horz">
          <p15:clr>
            <a:srgbClr val="FBAE40"/>
          </p15:clr>
        </p15:guide>
        <p15:guide id="16" orient="horz" pos="4320">
          <p15:clr>
            <a:srgbClr val="FBAE40"/>
          </p15:clr>
        </p15:guide>
        <p15:guide id="17" orient="horz" pos="860">
          <p15:clr>
            <a:srgbClr val="FBAE40"/>
          </p15:clr>
        </p15:guide>
        <p15:guide id="18" orient="horz" pos="1783">
          <p15:clr>
            <a:srgbClr val="FBAE40"/>
          </p15:clr>
        </p15:guide>
        <p15:guide id="19" orient="horz" pos="1844">
          <p15:clr>
            <a:srgbClr val="FBAE40"/>
          </p15:clr>
        </p15:guide>
        <p15:guide id="20" orient="horz" pos="2832">
          <p15:clr>
            <a:srgbClr val="FBAE40"/>
          </p15:clr>
        </p15:guide>
        <p15:guide id="21" orient="horz" pos="2892">
          <p15:clr>
            <a:srgbClr val="FBAE40"/>
          </p15:clr>
        </p15:guide>
        <p15:guide id="22" orient="horz" pos="388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3768" y="1261534"/>
            <a:ext cx="11182349" cy="4900084"/>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94267" y="6454277"/>
            <a:ext cx="6240000" cy="123111"/>
          </a:xfrm>
          <a:prstGeom prst="rect">
            <a:avLst/>
          </a:prstGeom>
        </p:spPr>
        <p:txBody>
          <a:bodyPr vert="horz" wrap="square" lIns="0" tIns="0" rIns="0" bIns="0" rtlCol="0" anchor="ctr">
            <a:spAutoFit/>
          </a:bodyPr>
          <a:lstStyle>
            <a:lvl1pPr algn="l">
              <a:defRPr sz="800">
                <a:solidFill>
                  <a:schemeClr val="tx1">
                    <a:tint val="75000"/>
                  </a:schemeClr>
                </a:solidFill>
              </a:defRPr>
            </a:lvl1pPr>
          </a:lstStyle>
          <a:p>
            <a:r>
              <a:rPr lang="nl-NL" smtClean="0"/>
              <a:t>Beleidsopties Wet Toekomst Pensioenen</a:t>
            </a:r>
            <a:endParaRPr lang="nl-NL" dirty="0"/>
          </a:p>
        </p:txBody>
      </p:sp>
      <p:sp>
        <p:nvSpPr>
          <p:cNvPr id="6" name="Slide Number Placeholder 5"/>
          <p:cNvSpPr>
            <a:spLocks noGrp="1"/>
          </p:cNvSpPr>
          <p:nvPr>
            <p:ph type="sldNum" sz="quarter" idx="4"/>
          </p:nvPr>
        </p:nvSpPr>
        <p:spPr>
          <a:xfrm>
            <a:off x="11068051" y="6454277"/>
            <a:ext cx="452967" cy="123111"/>
          </a:xfrm>
          <a:prstGeom prst="rect">
            <a:avLst/>
          </a:prstGeom>
        </p:spPr>
        <p:txBody>
          <a:bodyPr vert="horz" wrap="square" lIns="0" tIns="0" rIns="0" bIns="0" rtlCol="0" anchor="ctr">
            <a:spAutoFit/>
          </a:bodyPr>
          <a:lstStyle>
            <a:lvl1pPr algn="r">
              <a:defRPr sz="800">
                <a:solidFill>
                  <a:schemeClr val="tx1">
                    <a:tint val="75000"/>
                  </a:schemeClr>
                </a:solidFill>
              </a:defRPr>
            </a:lvl1pPr>
          </a:lstStyle>
          <a:p>
            <a:fld id="{3DB5CD4A-C15F-49D5-8EDA-2339ABBB057D}" type="slidenum">
              <a:rPr lang="nl-NL" smtClean="0"/>
              <a:pPr/>
              <a:t>‹nr.›</a:t>
            </a:fld>
            <a:endParaRPr lang="nl-NL" dirty="0"/>
          </a:p>
        </p:txBody>
      </p:sp>
      <p:sp>
        <p:nvSpPr>
          <p:cNvPr id="10" name="Title Placeholder 1">
            <a:extLst>
              <a:ext uri="{FF2B5EF4-FFF2-40B4-BE49-F238E27FC236}">
                <a16:creationId xmlns:a16="http://schemas.microsoft.com/office/drawing/2014/main" id="{365FC4F1-54D2-4481-BA79-23B30250CE6C}"/>
              </a:ext>
            </a:extLst>
          </p:cNvPr>
          <p:cNvSpPr>
            <a:spLocks noGrp="1"/>
          </p:cNvSpPr>
          <p:nvPr>
            <p:ph type="title"/>
          </p:nvPr>
        </p:nvSpPr>
        <p:spPr>
          <a:xfrm>
            <a:off x="503768" y="507609"/>
            <a:ext cx="11182349" cy="369332"/>
          </a:xfrm>
          <a:prstGeom prst="rect">
            <a:avLst/>
          </a:prstGeom>
        </p:spPr>
        <p:txBody>
          <a:bodyPr vert="horz" wrap="square" lIns="0" tIns="0" rIns="0" bIns="0" rtlCol="0" anchor="t" anchorCtr="0">
            <a:spAutoFit/>
          </a:bodyPr>
          <a:lstStyle/>
          <a:p>
            <a:r>
              <a:rPr lang="nl-NL" smtClean="0"/>
              <a:t>Klik om de stijl te bewerken</a:t>
            </a:r>
            <a:endParaRPr lang="en-US" dirty="0"/>
          </a:p>
        </p:txBody>
      </p:sp>
      <p:cxnSp>
        <p:nvCxnSpPr>
          <p:cNvPr id="11" name="Rechte verbindingslijn 10" hidden="1">
            <a:extLst>
              <a:ext uri="{FF2B5EF4-FFF2-40B4-BE49-F238E27FC236}">
                <a16:creationId xmlns:a16="http://schemas.microsoft.com/office/drawing/2014/main" id="{83303730-0F4D-4C2E-AD54-4C7E4F3D4C81}"/>
              </a:ext>
            </a:extLst>
          </p:cNvPr>
          <p:cNvCxnSpPr>
            <a:cxnSpLocks/>
          </p:cNvCxnSpPr>
          <p:nvPr/>
        </p:nvCxnSpPr>
        <p:spPr>
          <a:xfrm>
            <a:off x="503767" y="1069237"/>
            <a:ext cx="1118235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0637627"/>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Lst>
  <p:hf hdr="0" dt="0"/>
  <p:txStyles>
    <p:titleStyle>
      <a:lvl1pPr algn="l" defTabSz="914377" rtl="0" eaLnBrk="1" latinLnBrk="0" hangingPunct="1">
        <a:lnSpc>
          <a:spcPct val="90000"/>
        </a:lnSpc>
        <a:spcBef>
          <a:spcPct val="0"/>
        </a:spcBef>
        <a:buNone/>
        <a:defRPr sz="2667" b="0" kern="1200" cap="none" baseline="0">
          <a:solidFill>
            <a:schemeClr val="accent3"/>
          </a:solidFill>
          <a:latin typeface="+mj-lt"/>
          <a:ea typeface="+mj-ea"/>
          <a:cs typeface="+mj-cs"/>
        </a:defRPr>
      </a:lvl1pPr>
    </p:titleStyle>
    <p:bodyStyle>
      <a:lvl1pPr marL="0" indent="0" algn="l" defTabSz="914377" rtl="0" eaLnBrk="1" latinLnBrk="0" hangingPunct="1">
        <a:lnSpc>
          <a:spcPct val="110000"/>
        </a:lnSpc>
        <a:spcBef>
          <a:spcPts val="0"/>
        </a:spcBef>
        <a:spcAft>
          <a:spcPts val="800"/>
        </a:spcAft>
        <a:buClr>
          <a:schemeClr val="accent3"/>
        </a:buClr>
        <a:buFont typeface="Ubuntu Light" panose="020B0304030602030204" pitchFamily="34" charset="0"/>
        <a:buNone/>
        <a:defRPr sz="1200" kern="1200">
          <a:solidFill>
            <a:schemeClr val="accent1"/>
          </a:solidFill>
          <a:latin typeface="+mn-lt"/>
          <a:ea typeface="+mn-ea"/>
          <a:cs typeface="+mn-cs"/>
        </a:defRPr>
      </a:lvl1pPr>
      <a:lvl2pPr marL="120648" indent="-12064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200" kern="1200">
          <a:solidFill>
            <a:schemeClr val="accent1"/>
          </a:solidFill>
          <a:latin typeface="+mn-lt"/>
          <a:ea typeface="+mn-ea"/>
          <a:cs typeface="+mn-cs"/>
        </a:defRPr>
      </a:lvl2pPr>
      <a:lvl3pPr marL="0" indent="0" algn="l" defTabSz="914377" rtl="0" eaLnBrk="1" latinLnBrk="0" hangingPunct="1">
        <a:lnSpc>
          <a:spcPct val="110000"/>
        </a:lnSpc>
        <a:spcBef>
          <a:spcPts val="0"/>
        </a:spcBef>
        <a:spcAft>
          <a:spcPts val="800"/>
        </a:spcAft>
        <a:buClr>
          <a:schemeClr val="accent3"/>
        </a:buClr>
        <a:buFont typeface="Ubuntu Light" panose="020B0304030602030204" pitchFamily="34" charset="0"/>
        <a:buNone/>
        <a:defRPr sz="1200" b="1" kern="1200">
          <a:solidFill>
            <a:schemeClr val="accent1"/>
          </a:solidFill>
          <a:latin typeface="+mj-lt"/>
          <a:ea typeface="+mn-ea"/>
          <a:cs typeface="+mn-cs"/>
        </a:defRPr>
      </a:lvl3pPr>
      <a:lvl4pPr marL="954593"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200" kern="1200">
          <a:solidFill>
            <a:schemeClr val="accent1"/>
          </a:solidFill>
          <a:latin typeface="+mn-lt"/>
          <a:ea typeface="+mn-ea"/>
          <a:cs typeface="+mn-cs"/>
        </a:defRPr>
      </a:lvl4pPr>
      <a:lvl5pPr marL="1198003"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200"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15:clr>
            <a:srgbClr val="F26B43"/>
          </p15:clr>
        </p15:guide>
        <p15:guide id="2" pos="7680">
          <p15:clr>
            <a:srgbClr val="F26B43"/>
          </p15:clr>
        </p15:guide>
        <p15:guide id="3" pos="320">
          <p15:clr>
            <a:srgbClr val="F26B43"/>
          </p15:clr>
        </p15:guide>
        <p15:guide id="4" pos="2507">
          <p15:clr>
            <a:srgbClr val="F26B43"/>
          </p15:clr>
        </p15:guide>
        <p15:guide id="5" pos="2752">
          <p15:clr>
            <a:srgbClr val="F26B43"/>
          </p15:clr>
        </p15:guide>
        <p15:guide id="6" pos="4928">
          <p15:clr>
            <a:srgbClr val="F26B43"/>
          </p15:clr>
        </p15:guide>
        <p15:guide id="7" pos="5173">
          <p15:clr>
            <a:srgbClr val="F26B43"/>
          </p15:clr>
        </p15:guide>
        <p15:guide id="8" pos="7360">
          <p15:clr>
            <a:srgbClr val="F26B43"/>
          </p15:clr>
        </p15:guide>
        <p15:guide id="9" orient="horz">
          <p15:clr>
            <a:srgbClr val="F26B43"/>
          </p15:clr>
        </p15:guide>
        <p15:guide id="10" orient="horz" pos="4320">
          <p15:clr>
            <a:srgbClr val="F26B43"/>
          </p15:clr>
        </p15:guide>
        <p15:guide id="11" orient="horz" pos="789">
          <p15:clr>
            <a:srgbClr val="F26B43"/>
          </p15:clr>
        </p15:guide>
        <p15:guide id="12" orient="horz" pos="388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3768" y="1365251"/>
            <a:ext cx="11182349" cy="4796367"/>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3"/>
          </p:nvPr>
        </p:nvSpPr>
        <p:spPr>
          <a:xfrm>
            <a:off x="694267" y="6433759"/>
            <a:ext cx="6240000" cy="164148"/>
          </a:xfrm>
          <a:prstGeom prst="rect">
            <a:avLst/>
          </a:prstGeom>
        </p:spPr>
        <p:txBody>
          <a:bodyPr vert="horz" wrap="square" lIns="0" tIns="0" rIns="0" bIns="0" rtlCol="0" anchor="ctr">
            <a:spAutoFit/>
          </a:bodyPr>
          <a:lstStyle>
            <a:lvl1pPr algn="l">
              <a:defRPr sz="1067">
                <a:solidFill>
                  <a:schemeClr val="tx1">
                    <a:tint val="75000"/>
                  </a:schemeClr>
                </a:solidFill>
              </a:defRPr>
            </a:lvl1pPr>
          </a:lstStyle>
          <a:p>
            <a:r>
              <a:rPr lang="nl-NL" smtClean="0"/>
              <a:t>Webinar Wet Toekomst Pensioenen</a:t>
            </a:r>
            <a:endParaRPr lang="nl-NL"/>
          </a:p>
        </p:txBody>
      </p:sp>
      <p:sp>
        <p:nvSpPr>
          <p:cNvPr id="6" name="Slide Number Placeholder 5"/>
          <p:cNvSpPr>
            <a:spLocks noGrp="1"/>
          </p:cNvSpPr>
          <p:nvPr>
            <p:ph type="sldNum" sz="quarter" idx="4"/>
          </p:nvPr>
        </p:nvSpPr>
        <p:spPr>
          <a:xfrm>
            <a:off x="11068051" y="6433759"/>
            <a:ext cx="452967" cy="164148"/>
          </a:xfrm>
          <a:prstGeom prst="rect">
            <a:avLst/>
          </a:prstGeom>
        </p:spPr>
        <p:txBody>
          <a:bodyPr vert="horz" wrap="square" lIns="0" tIns="0" rIns="0" bIns="0" rtlCol="0" anchor="ctr">
            <a:spAutoFit/>
          </a:bodyPr>
          <a:lstStyle>
            <a:lvl1pPr algn="r">
              <a:defRPr sz="1067">
                <a:solidFill>
                  <a:schemeClr val="tx1">
                    <a:tint val="75000"/>
                  </a:schemeClr>
                </a:solidFill>
              </a:defRPr>
            </a:lvl1pPr>
          </a:lstStyle>
          <a:p>
            <a:fld id="{FFDD6BF4-F398-43E8-ACFA-0A2EC6044D72}" type="slidenum">
              <a:rPr lang="nl-NL" smtClean="0"/>
              <a:t>‹nr.›</a:t>
            </a:fld>
            <a:endParaRPr lang="nl-NL"/>
          </a:p>
        </p:txBody>
      </p:sp>
      <p:sp>
        <p:nvSpPr>
          <p:cNvPr id="10" name="Title Placeholder 1">
            <a:extLst>
              <a:ext uri="{FF2B5EF4-FFF2-40B4-BE49-F238E27FC236}">
                <a16:creationId xmlns:a16="http://schemas.microsoft.com/office/drawing/2014/main" id="{365FC4F1-54D2-4481-BA79-23B30250CE6C}"/>
              </a:ext>
            </a:extLst>
          </p:cNvPr>
          <p:cNvSpPr>
            <a:spLocks noGrp="1"/>
          </p:cNvSpPr>
          <p:nvPr>
            <p:ph type="title"/>
          </p:nvPr>
        </p:nvSpPr>
        <p:spPr>
          <a:xfrm>
            <a:off x="503768" y="1"/>
            <a:ext cx="11182349" cy="876940"/>
          </a:xfrm>
          <a:prstGeom prst="rect">
            <a:avLst/>
          </a:prstGeom>
        </p:spPr>
        <p:txBody>
          <a:bodyPr vert="horz" wrap="square" lIns="0" tIns="0" rIns="0" bIns="0" rtlCol="0" anchor="b" anchorCtr="0">
            <a:noAutofit/>
          </a:bodyPr>
          <a:lstStyle/>
          <a:p>
            <a:r>
              <a:rPr lang="nl-NL" smtClean="0"/>
              <a:t>Klik om de stijl te bewerken</a:t>
            </a:r>
            <a:endParaRPr lang="en-US" dirty="0"/>
          </a:p>
        </p:txBody>
      </p:sp>
      <p:cxnSp>
        <p:nvCxnSpPr>
          <p:cNvPr id="11" name="Rechte verbindingslijn 10" hidden="1">
            <a:extLst>
              <a:ext uri="{FF2B5EF4-FFF2-40B4-BE49-F238E27FC236}">
                <a16:creationId xmlns:a16="http://schemas.microsoft.com/office/drawing/2014/main" id="{83303730-0F4D-4C2E-AD54-4C7E4F3D4C81}"/>
              </a:ext>
            </a:extLst>
          </p:cNvPr>
          <p:cNvCxnSpPr>
            <a:cxnSpLocks/>
          </p:cNvCxnSpPr>
          <p:nvPr/>
        </p:nvCxnSpPr>
        <p:spPr>
          <a:xfrm>
            <a:off x="503767" y="1069237"/>
            <a:ext cx="11182351" cy="0"/>
          </a:xfrm>
          <a:prstGeom prst="line">
            <a:avLst/>
          </a:prstGeom>
          <a:ln w="31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184347"/>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4" r:id="rId23"/>
    <p:sldLayoutId id="2147483725" r:id="rId24"/>
    <p:sldLayoutId id="2147483726" r:id="rId25"/>
    <p:sldLayoutId id="2147483727" r:id="rId26"/>
    <p:sldLayoutId id="2147483728" r:id="rId27"/>
    <p:sldLayoutId id="2147483729" r:id="rId28"/>
    <p:sldLayoutId id="2147483730" r:id="rId29"/>
    <p:sldLayoutId id="2147483731" r:id="rId30"/>
  </p:sldLayoutIdLst>
  <p:hf hdr="0" dt="0"/>
  <p:txStyles>
    <p:titleStyle>
      <a:lvl1pPr algn="l" defTabSz="914377" rtl="0" eaLnBrk="1" latinLnBrk="0" hangingPunct="1">
        <a:lnSpc>
          <a:spcPct val="90000"/>
        </a:lnSpc>
        <a:spcBef>
          <a:spcPct val="0"/>
        </a:spcBef>
        <a:buNone/>
        <a:defRPr sz="2667" b="0" kern="1200" cap="none" baseline="0">
          <a:solidFill>
            <a:schemeClr val="accent3"/>
          </a:solidFill>
          <a:latin typeface="+mj-lt"/>
          <a:ea typeface="+mj-ea"/>
          <a:cs typeface="+mj-cs"/>
        </a:defRPr>
      </a:lvl1pPr>
    </p:titleStyle>
    <p:bodyStyle>
      <a:lvl1pPr marL="228594" indent="-228594"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1pPr>
      <a:lvl2pPr marL="478355"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721766"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954593"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198003"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15:clr>
            <a:srgbClr val="FBAE40"/>
          </p15:clr>
        </p15:guide>
        <p15:guide id="2" pos="7680">
          <p15:clr>
            <a:srgbClr val="FBAE40"/>
          </p15:clr>
        </p15:guide>
        <p15:guide id="3" pos="317">
          <p15:clr>
            <a:srgbClr val="FBAE40"/>
          </p15:clr>
        </p15:guide>
        <p15:guide id="4" pos="1440">
          <p15:clr>
            <a:srgbClr val="FBAE40"/>
          </p15:clr>
        </p15:guide>
        <p15:guide id="5" pos="1501">
          <p15:clr>
            <a:srgbClr val="FBAE40"/>
          </p15:clr>
        </p15:guide>
        <p15:guide id="6" pos="2625">
          <p15:clr>
            <a:srgbClr val="FBAE40"/>
          </p15:clr>
        </p15:guide>
        <p15:guide id="7" pos="2685">
          <p15:clr>
            <a:srgbClr val="FBAE40"/>
          </p15:clr>
        </p15:guide>
        <p15:guide id="8" pos="3809">
          <p15:clr>
            <a:srgbClr val="FBAE40"/>
          </p15:clr>
        </p15:guide>
        <p15:guide id="9" pos="3869">
          <p15:clr>
            <a:srgbClr val="FBAE40"/>
          </p15:clr>
        </p15:guide>
        <p15:guide id="10" pos="4993">
          <p15:clr>
            <a:srgbClr val="FBAE40"/>
          </p15:clr>
        </p15:guide>
        <p15:guide id="11" pos="5053">
          <p15:clr>
            <a:srgbClr val="FBAE40"/>
          </p15:clr>
        </p15:guide>
        <p15:guide id="12" pos="6177">
          <p15:clr>
            <a:srgbClr val="FBAE40"/>
          </p15:clr>
        </p15:guide>
        <p15:guide id="13" pos="6239">
          <p15:clr>
            <a:srgbClr val="FBAE40"/>
          </p15:clr>
        </p15:guide>
        <p15:guide id="14" pos="7361">
          <p15:clr>
            <a:srgbClr val="FBAE40"/>
          </p15:clr>
        </p15:guide>
        <p15:guide id="15" orient="horz">
          <p15:clr>
            <a:srgbClr val="FBAE40"/>
          </p15:clr>
        </p15:guide>
        <p15:guide id="16" orient="horz" pos="4320">
          <p15:clr>
            <a:srgbClr val="FBAE40"/>
          </p15:clr>
        </p15:guide>
        <p15:guide id="17" orient="horz" pos="860">
          <p15:clr>
            <a:srgbClr val="FBAE40"/>
          </p15:clr>
        </p15:guide>
        <p15:guide id="18" orient="horz" pos="1783">
          <p15:clr>
            <a:srgbClr val="FBAE40"/>
          </p15:clr>
        </p15:guide>
        <p15:guide id="19" orient="horz" pos="1844">
          <p15:clr>
            <a:srgbClr val="FBAE40"/>
          </p15:clr>
        </p15:guide>
        <p15:guide id="20" orient="horz" pos="2832">
          <p15:clr>
            <a:srgbClr val="FBAE40"/>
          </p15:clr>
        </p15:guide>
        <p15:guide id="21" orient="horz" pos="2892">
          <p15:clr>
            <a:srgbClr val="FBAE40"/>
          </p15:clr>
        </p15:guide>
        <p15:guide id="22" orient="horz" pos="3881">
          <p15:clr>
            <a:srgbClr val="FBAE40"/>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1"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 y="6334316"/>
            <a:ext cx="12192001" cy="65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5"/>
            <a:ext cx="10058400" cy="1450757"/>
          </a:xfrm>
          <a:prstGeom prst="rect">
            <a:avLst/>
          </a:prstGeom>
        </p:spPr>
        <p:txBody>
          <a:bodyPr vert="horz" lIns="91440" tIns="45720" rIns="91440" bIns="45720" rtlCol="0" anchor="b">
            <a:normAutofit/>
          </a:bodyPr>
          <a:lstStyle/>
          <a:p>
            <a:r>
              <a:rPr lang="nl-NL" smtClean="0"/>
              <a:t>Klik om de stijl te bewerken</a:t>
            </a:r>
            <a:endParaRPr lang="en-US" dirty="0"/>
          </a:p>
        </p:txBody>
      </p:sp>
      <p:sp>
        <p:nvSpPr>
          <p:cNvPr id="3" name="Text Placeholder 2"/>
          <p:cNvSpPr>
            <a:spLocks noGrp="1"/>
          </p:cNvSpPr>
          <p:nvPr>
            <p:ph type="body" idx="1"/>
          </p:nvPr>
        </p:nvSpPr>
        <p:spPr>
          <a:xfrm>
            <a:off x="1097279" y="1845734"/>
            <a:ext cx="10058401" cy="4023360"/>
          </a:xfrm>
          <a:prstGeom prst="rect">
            <a:avLst/>
          </a:prstGeom>
        </p:spPr>
        <p:txBody>
          <a:bodyPr vert="horz" lIns="0" tIns="45720" rIns="0" bIns="45720" rtlCol="0">
            <a:normAutofit/>
          </a:bodyPr>
          <a:lstStyle/>
          <a:p>
            <a:pPr lvl="0"/>
            <a:r>
              <a:rPr lang="nl-NL" smtClean="0"/>
              <a:t>Tekststijl van het model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dirty="0"/>
          </a:p>
        </p:txBody>
      </p:sp>
      <p:sp>
        <p:nvSpPr>
          <p:cNvPr id="4" name="Date Placeholder 3"/>
          <p:cNvSpPr>
            <a:spLocks noGrp="1"/>
          </p:cNvSpPr>
          <p:nvPr>
            <p:ph type="dt" sz="half" idx="2"/>
          </p:nvPr>
        </p:nvSpPr>
        <p:spPr>
          <a:xfrm>
            <a:off x="1097282" y="6459787"/>
            <a:ext cx="2472271" cy="365125"/>
          </a:xfrm>
          <a:prstGeom prst="rect">
            <a:avLst/>
          </a:prstGeom>
        </p:spPr>
        <p:txBody>
          <a:bodyPr vert="horz" lIns="91440" tIns="45720" rIns="91440" bIns="45720" rtlCol="0" anchor="ctr"/>
          <a:lstStyle>
            <a:lvl1pPr algn="l">
              <a:defRPr sz="900">
                <a:solidFill>
                  <a:srgbClr val="FFFFFF"/>
                </a:solidFill>
              </a:defRPr>
            </a:lvl1pPr>
          </a:lstStyle>
          <a:p>
            <a:fld id="{E810E542-E1B5-4974-904A-D88B3949FE56}" type="datetime1">
              <a:rPr lang="nl-NL" smtClean="0"/>
              <a:t>31-3-2022</a:t>
            </a:fld>
            <a:endParaRPr lang="nl-NL"/>
          </a:p>
        </p:txBody>
      </p:sp>
      <p:sp>
        <p:nvSpPr>
          <p:cNvPr id="5" name="Footer Placeholder 4"/>
          <p:cNvSpPr>
            <a:spLocks noGrp="1"/>
          </p:cNvSpPr>
          <p:nvPr>
            <p:ph type="ftr" sz="quarter" idx="3"/>
          </p:nvPr>
        </p:nvSpPr>
        <p:spPr>
          <a:xfrm>
            <a:off x="3686186" y="6459787"/>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nl-NL" smtClean="0"/>
              <a:t>© Gielink Pensioenrecht BV | 18-6-2019</a:t>
            </a:r>
            <a:endParaRPr lang="nl-NL"/>
          </a:p>
        </p:txBody>
      </p:sp>
      <p:sp>
        <p:nvSpPr>
          <p:cNvPr id="6" name="Slide Number Placeholder 5"/>
          <p:cNvSpPr>
            <a:spLocks noGrp="1"/>
          </p:cNvSpPr>
          <p:nvPr>
            <p:ph type="sldNum" sz="quarter" idx="4"/>
          </p:nvPr>
        </p:nvSpPr>
        <p:spPr>
          <a:xfrm>
            <a:off x="9900460" y="6459787"/>
            <a:ext cx="1312025" cy="365125"/>
          </a:xfrm>
          <a:prstGeom prst="rect">
            <a:avLst/>
          </a:prstGeom>
        </p:spPr>
        <p:txBody>
          <a:bodyPr vert="horz" lIns="91440" tIns="45720" rIns="91440" bIns="45720" rtlCol="0" anchor="ctr"/>
          <a:lstStyle>
            <a:lvl1pPr algn="r">
              <a:defRPr sz="1050">
                <a:solidFill>
                  <a:srgbClr val="FFFFFF"/>
                </a:solidFill>
              </a:defRPr>
            </a:lvl1pPr>
          </a:lstStyle>
          <a:p>
            <a:fld id="{1E554E7E-9F1A-4168-8251-F60FE9396E1C}" type="slidenum">
              <a:rPr lang="nl-NL" smtClean="0"/>
              <a:t>‹nr.›</a:t>
            </a:fld>
            <a:endParaRPr lang="nl-NL"/>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8461370"/>
      </p:ext>
    </p:extLst>
  </p:cSld>
  <p:clrMap bg1="lt1" tx1="dk1" bg2="lt2" tx2="dk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Lst>
  <p:hf hdr="0" dt="0"/>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Tijdelijke aanduiding voor tekst 2">
            <a:extLst>
              <a:ext uri="{FF2B5EF4-FFF2-40B4-BE49-F238E27FC236}">
                <a16:creationId xmlns:a16="http://schemas.microsoft.com/office/drawing/2014/main" id="{8AF19584-AA07-4EC1-AB93-E44731F1212F}"/>
              </a:ext>
            </a:extLst>
          </p:cNvPr>
          <p:cNvSpPr>
            <a:spLocks noGrp="1"/>
          </p:cNvSpPr>
          <p:nvPr>
            <p:ph type="body" idx="1"/>
          </p:nvPr>
        </p:nvSpPr>
        <p:spPr>
          <a:xfrm>
            <a:off x="2889848" y="1915064"/>
            <a:ext cx="8994204" cy="4140680"/>
          </a:xfrm>
          <a:prstGeom prst="rect">
            <a:avLst/>
          </a:prstGeom>
        </p:spPr>
        <p:txBody>
          <a:bodyPr vert="horz" lIns="91440" tIns="45720" rIns="91440" bIns="45720" rtlCol="0">
            <a:normAutofit/>
          </a:bodyPr>
          <a:lstStyle/>
          <a:p>
            <a:pPr lvl="0"/>
            <a:r>
              <a:rPr lang="nl-NL" dirty="0"/>
              <a:t>Klikken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voettekst 4">
            <a:extLst>
              <a:ext uri="{FF2B5EF4-FFF2-40B4-BE49-F238E27FC236}">
                <a16:creationId xmlns:a16="http://schemas.microsoft.com/office/drawing/2014/main" id="{27BF3DA6-C938-4B61-8BA4-0D7F11123D0B}"/>
              </a:ext>
            </a:extLst>
          </p:cNvPr>
          <p:cNvSpPr>
            <a:spLocks noGrp="1"/>
          </p:cNvSpPr>
          <p:nvPr>
            <p:ph type="ftr" sz="quarter" idx="3"/>
          </p:nvPr>
        </p:nvSpPr>
        <p:spPr>
          <a:xfrm>
            <a:off x="838200" y="6356350"/>
            <a:ext cx="4114800" cy="365125"/>
          </a:xfrm>
          <a:prstGeom prst="rect">
            <a:avLst/>
          </a:prstGeom>
        </p:spPr>
        <p:txBody>
          <a:bodyPr vert="horz" lIns="91440" tIns="45720" rIns="91440" bIns="45720" rtlCol="0" anchor="ctr"/>
          <a:lstStyle>
            <a:lvl1pPr algn="l">
              <a:defRPr sz="800">
                <a:solidFill>
                  <a:srgbClr val="25224E"/>
                </a:solidFill>
                <a:latin typeface="Open Sans" panose="020B0606030504020204" pitchFamily="34" charset="0"/>
                <a:ea typeface="Open Sans" panose="020B0606030504020204" pitchFamily="34" charset="0"/>
                <a:cs typeface="Open Sans" panose="020B0606030504020204" pitchFamily="34" charset="0"/>
              </a:defRPr>
            </a:lvl1pPr>
          </a:lstStyle>
          <a:p>
            <a:r>
              <a:rPr lang="nl-NL"/>
              <a:t>Webinar Triple A 31 maart 2022</a:t>
            </a:r>
            <a:endParaRPr lang="nl-NL" dirty="0"/>
          </a:p>
        </p:txBody>
      </p:sp>
      <p:sp>
        <p:nvSpPr>
          <p:cNvPr id="6" name="Tijdelijke aanduiding voor dianummer 5">
            <a:extLst>
              <a:ext uri="{FF2B5EF4-FFF2-40B4-BE49-F238E27FC236}">
                <a16:creationId xmlns:a16="http://schemas.microsoft.com/office/drawing/2014/main" id="{D4FC7CD7-DD1F-4483-8C97-4C19D84C7755}"/>
              </a:ext>
            </a:extLst>
          </p:cNvPr>
          <p:cNvSpPr>
            <a:spLocks noGrp="1"/>
          </p:cNvSpPr>
          <p:nvPr>
            <p:ph type="sldNum" sz="quarter" idx="4"/>
          </p:nvPr>
        </p:nvSpPr>
        <p:spPr>
          <a:xfrm>
            <a:off x="5313218" y="6353464"/>
            <a:ext cx="1565564" cy="365125"/>
          </a:xfrm>
          <a:prstGeom prst="rect">
            <a:avLst/>
          </a:prstGeom>
        </p:spPr>
        <p:txBody>
          <a:bodyPr vert="horz" lIns="91440" tIns="45720" rIns="91440" bIns="45720" rtlCol="0" anchor="ctr"/>
          <a:lstStyle>
            <a:lvl1pPr algn="ctr">
              <a:defRPr sz="1000">
                <a:solidFill>
                  <a:srgbClr val="25224E"/>
                </a:solidFill>
                <a:latin typeface="Open Sans" panose="020B0606030504020204" pitchFamily="34" charset="0"/>
                <a:ea typeface="Open Sans" panose="020B0606030504020204" pitchFamily="34" charset="0"/>
                <a:cs typeface="Open Sans" panose="020B0606030504020204" pitchFamily="34" charset="0"/>
              </a:defRPr>
            </a:lvl1pPr>
          </a:lstStyle>
          <a:p>
            <a:fld id="{A069B346-58ED-458C-B9CF-4422065AE6FF}" type="slidenum">
              <a:rPr lang="nl-NL" smtClean="0"/>
              <a:pPr/>
              <a:t>‹nr.›</a:t>
            </a:fld>
            <a:endParaRPr lang="nl-NL" dirty="0"/>
          </a:p>
        </p:txBody>
      </p:sp>
      <p:pic>
        <p:nvPicPr>
          <p:cNvPr id="7" name="Afbeelding 6">
            <a:extLst>
              <a:ext uri="{FF2B5EF4-FFF2-40B4-BE49-F238E27FC236}">
                <a16:creationId xmlns:a16="http://schemas.microsoft.com/office/drawing/2014/main" id="{E76E28FB-79FC-4FC5-A5BD-BF87571CF80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t="9829" r="6098"/>
          <a:stretch/>
        </p:blipFill>
        <p:spPr>
          <a:xfrm>
            <a:off x="9524524" y="-1"/>
            <a:ext cx="2667476" cy="2702621"/>
          </a:xfrm>
          <a:prstGeom prst="rect">
            <a:avLst/>
          </a:prstGeom>
        </p:spPr>
      </p:pic>
      <p:pic>
        <p:nvPicPr>
          <p:cNvPr id="8" name="Afbeelding 7">
            <a:extLst>
              <a:ext uri="{FF2B5EF4-FFF2-40B4-BE49-F238E27FC236}">
                <a16:creationId xmlns:a16="http://schemas.microsoft.com/office/drawing/2014/main" id="{A286C813-4C4B-443E-A2C9-45BE6FB5DDD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353800" y="6132375"/>
            <a:ext cx="530252" cy="530252"/>
          </a:xfrm>
          <a:prstGeom prst="rect">
            <a:avLst/>
          </a:prstGeom>
        </p:spPr>
      </p:pic>
      <p:sp>
        <p:nvSpPr>
          <p:cNvPr id="10" name="Rechthoek: afgeronde diagonale hoeken 9">
            <a:extLst>
              <a:ext uri="{FF2B5EF4-FFF2-40B4-BE49-F238E27FC236}">
                <a16:creationId xmlns:a16="http://schemas.microsoft.com/office/drawing/2014/main" id="{73F7B9FD-B003-4451-B1BF-0210CAB15243}"/>
              </a:ext>
            </a:extLst>
          </p:cNvPr>
          <p:cNvSpPr/>
          <p:nvPr userDrawn="1"/>
        </p:nvSpPr>
        <p:spPr>
          <a:xfrm>
            <a:off x="211708" y="142178"/>
            <a:ext cx="2991841" cy="1877366"/>
          </a:xfrm>
          <a:prstGeom prst="round2DiagRect">
            <a:avLst>
              <a:gd name="adj1" fmla="val 0"/>
              <a:gd name="adj2" fmla="val 17647"/>
            </a:avLst>
          </a:prstGeom>
          <a:solidFill>
            <a:srgbClr val="E6F6E2"/>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Tijdelijke aanduiding voor titel 1">
            <a:extLst>
              <a:ext uri="{FF2B5EF4-FFF2-40B4-BE49-F238E27FC236}">
                <a16:creationId xmlns:a16="http://schemas.microsoft.com/office/drawing/2014/main" id="{B46ADC58-0A0C-4BE5-8EDF-0F2FEB0F101B}"/>
              </a:ext>
            </a:extLst>
          </p:cNvPr>
          <p:cNvSpPr>
            <a:spLocks noGrp="1"/>
          </p:cNvSpPr>
          <p:nvPr>
            <p:ph type="title"/>
          </p:nvPr>
        </p:nvSpPr>
        <p:spPr>
          <a:xfrm>
            <a:off x="211708" y="174841"/>
            <a:ext cx="2991841" cy="1844703"/>
          </a:xfrm>
          <a:prstGeom prst="rect">
            <a:avLst/>
          </a:prstGeom>
        </p:spPr>
        <p:txBody>
          <a:bodyPr vert="horz" lIns="91440" tIns="45720" rIns="91440" bIns="45720" rtlCol="0" anchor="ctr">
            <a:normAutofit/>
          </a:bodyPr>
          <a:lstStyle/>
          <a:p>
            <a:r>
              <a:rPr lang="nl-NL" dirty="0"/>
              <a:t>Klik om stijl te bewerken</a:t>
            </a:r>
          </a:p>
        </p:txBody>
      </p:sp>
    </p:spTree>
    <p:extLst>
      <p:ext uri="{BB962C8B-B14F-4D97-AF65-F5344CB8AC3E}">
        <p14:creationId xmlns:p14="http://schemas.microsoft.com/office/powerpoint/2010/main" val="98515260"/>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Lst>
  <p:hf hdr="0" dt="0"/>
  <p:txStyles>
    <p:titleStyle>
      <a:lvl1pPr algn="ctr" defTabSz="914400" rtl="0" eaLnBrk="1" latinLnBrk="0" hangingPunct="1">
        <a:lnSpc>
          <a:spcPct val="100000"/>
        </a:lnSpc>
        <a:spcBef>
          <a:spcPct val="0"/>
        </a:spcBef>
        <a:buNone/>
        <a:defRPr sz="2400" b="1"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228600" indent="-228600" algn="l" defTabSz="914400" rtl="0" eaLnBrk="1" latinLnBrk="0" hangingPunct="1">
        <a:lnSpc>
          <a:spcPct val="110000"/>
        </a:lnSpc>
        <a:spcBef>
          <a:spcPts val="0"/>
        </a:spcBef>
        <a:buFont typeface="Arial" panose="020B0604020202020204" pitchFamily="34" charset="0"/>
        <a:buChar char="•"/>
        <a:defRPr sz="18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110000"/>
        </a:lnSpc>
        <a:spcBef>
          <a:spcPts val="0"/>
        </a:spcBef>
        <a:buFont typeface="Courier New" panose="02070309020205020404" pitchFamily="49" charset="0"/>
        <a:buChar char="o"/>
        <a:defRPr sz="16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110000"/>
        </a:lnSpc>
        <a:spcBef>
          <a:spcPts val="0"/>
        </a:spcBef>
        <a:buFont typeface="Arial" panose="020B0604020202020204" pitchFamily="34" charset="0"/>
        <a:buChar char="•"/>
        <a:defRPr sz="14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110000"/>
        </a:lnSpc>
        <a:spcBef>
          <a:spcPts val="0"/>
        </a:spcBef>
        <a:buFont typeface="Arial" panose="020B0604020202020204" pitchFamily="34" charset="0"/>
        <a:buChar char="•"/>
        <a:defRPr sz="12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110000"/>
        </a:lnSpc>
        <a:spcBef>
          <a:spcPts val="0"/>
        </a:spcBef>
        <a:buFont typeface="Arial" panose="020B0604020202020204" pitchFamily="34" charset="0"/>
        <a:buChar char="•"/>
        <a:defRPr sz="1200" kern="1200">
          <a:solidFill>
            <a:srgbClr val="002060"/>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8"/>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2067" name="think-cell Folie" r:id="rId49" imgW="270" imgH="270" progId="TCLayout.ActiveDocument.1">
                  <p:embed/>
                </p:oleObj>
              </mc:Choice>
              <mc:Fallback>
                <p:oleObj name="think-cell Folie" r:id="rId49" imgW="270" imgH="270" progId="TCLayout.ActiveDocument.1">
                  <p:embed/>
                  <p:pic>
                    <p:nvPicPr>
                      <p:cNvPr id="3" name="Objekt 2" hidden="1"/>
                      <p:cNvPicPr/>
                      <p:nvPr/>
                    </p:nvPicPr>
                    <p:blipFill>
                      <a:blip r:embed="rId50"/>
                      <a:stretch>
                        <a:fillRect/>
                      </a:stretch>
                    </p:blipFill>
                    <p:spPr>
                      <a:xfrm>
                        <a:off x="1956" y="1591"/>
                        <a:ext cx="1953" cy="1587"/>
                      </a:xfrm>
                      <a:prstGeom prst="rect">
                        <a:avLst/>
                      </a:prstGeom>
                    </p:spPr>
                  </p:pic>
                </p:oleObj>
              </mc:Fallback>
            </mc:AlternateContent>
          </a:graphicData>
        </a:graphic>
      </p:graphicFrame>
      <p:sp>
        <p:nvSpPr>
          <p:cNvPr id="1127" name="Rectangle 103"/>
          <p:cNvSpPr>
            <a:spLocks noGrp="1" noChangeArrowheads="1"/>
          </p:cNvSpPr>
          <p:nvPr>
            <p:ph type="body" idx="1"/>
          </p:nvPr>
        </p:nvSpPr>
        <p:spPr bwMode="auto">
          <a:xfrm>
            <a:off x="398769" y="2368800"/>
            <a:ext cx="11369354" cy="3794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26" name="Rectangle 2"/>
          <p:cNvSpPr>
            <a:spLocks noGrp="1" noChangeArrowheads="1"/>
          </p:cNvSpPr>
          <p:nvPr>
            <p:ph type="title"/>
          </p:nvPr>
        </p:nvSpPr>
        <p:spPr bwMode="auto">
          <a:xfrm>
            <a:off x="398769" y="660011"/>
            <a:ext cx="7488000"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Main slide heading appears here</a:t>
            </a:r>
            <a:br>
              <a:rPr lang="en-GB" noProof="0" dirty="0"/>
            </a:br>
            <a:r>
              <a:rPr lang="en-GB" noProof="0" dirty="0"/>
              <a:t>Second line if required (20pt)</a:t>
            </a:r>
          </a:p>
        </p:txBody>
      </p:sp>
      <p:sp>
        <p:nvSpPr>
          <p:cNvPr id="2" name="Textfeld 1"/>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Freeform 614"/>
          <p:cNvSpPr>
            <a:spLocks noEditPoints="1"/>
          </p:cNvSpPr>
          <p:nvPr/>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1068229978"/>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 id="2147483755" r:id="rId4"/>
    <p:sldLayoutId id="2147483756" r:id="rId5"/>
    <p:sldLayoutId id="2147483757" r:id="rId6"/>
    <p:sldLayoutId id="2147483758" r:id="rId7"/>
    <p:sldLayoutId id="2147483759" r:id="rId8"/>
    <p:sldLayoutId id="2147483760" r:id="rId9"/>
    <p:sldLayoutId id="2147483761" r:id="rId10"/>
    <p:sldLayoutId id="2147483762" r:id="rId11"/>
    <p:sldLayoutId id="2147483763" r:id="rId12"/>
    <p:sldLayoutId id="2147483764" r:id="rId13"/>
    <p:sldLayoutId id="2147483765" r:id="rId14"/>
    <p:sldLayoutId id="2147483766" r:id="rId15"/>
    <p:sldLayoutId id="2147483767" r:id="rId16"/>
    <p:sldLayoutId id="2147483768" r:id="rId17"/>
    <p:sldLayoutId id="2147483769" r:id="rId18"/>
    <p:sldLayoutId id="2147483770" r:id="rId19"/>
    <p:sldLayoutId id="2147483771" r:id="rId20"/>
    <p:sldLayoutId id="2147483772" r:id="rId21"/>
    <p:sldLayoutId id="2147483773" r:id="rId22"/>
    <p:sldLayoutId id="2147483774" r:id="rId23"/>
    <p:sldLayoutId id="2147483775" r:id="rId24"/>
    <p:sldLayoutId id="2147483776" r:id="rId25"/>
    <p:sldLayoutId id="2147483777" r:id="rId26"/>
    <p:sldLayoutId id="2147483778" r:id="rId27"/>
    <p:sldLayoutId id="2147483779" r:id="rId28"/>
    <p:sldLayoutId id="2147483780" r:id="rId29"/>
    <p:sldLayoutId id="2147483781" r:id="rId30"/>
    <p:sldLayoutId id="2147483782" r:id="rId31"/>
    <p:sldLayoutId id="2147483783" r:id="rId32"/>
    <p:sldLayoutId id="2147483784" r:id="rId33"/>
    <p:sldLayoutId id="2147483785" r:id="rId34"/>
    <p:sldLayoutId id="2147483786" r:id="rId35"/>
    <p:sldLayoutId id="2147483787" r:id="rId36"/>
    <p:sldLayoutId id="2147483788" r:id="rId37"/>
    <p:sldLayoutId id="2147483789" r:id="rId38"/>
    <p:sldLayoutId id="2147483790" r:id="rId39"/>
    <p:sldLayoutId id="2147483791" r:id="rId40"/>
    <p:sldLayoutId id="2147483792" r:id="rId41"/>
    <p:sldLayoutId id="2147483793" r:id="rId42"/>
    <p:sldLayoutId id="2147483794" r:id="rId43"/>
    <p:sldLayoutId id="2147483795" r:id="rId44"/>
    <p:sldLayoutId id="2147483796" r:id="rId45"/>
  </p:sldLayoutIdLst>
  <p:hf hdr="0"/>
  <p:txStyles>
    <p:titleStyle>
      <a:lvl1pPr algn="l" rtl="0" eaLnBrk="1" fontAlgn="base" hangingPunct="1">
        <a:spcBef>
          <a:spcPct val="0"/>
        </a:spcBef>
        <a:spcAft>
          <a:spcPct val="0"/>
        </a:spcAft>
        <a:defRPr sz="2000" baseline="0">
          <a:solidFill>
            <a:schemeClr val="tx2"/>
          </a:solidFill>
          <a:latin typeface="Arial" panose="020B0604020202020204" pitchFamily="34" charset="0"/>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p:titleStyle>
    <p:body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p:bodyStyle>
    <p:otherStyle>
      <a:defPPr>
        <a:defRPr lang="en-US"/>
      </a:defPPr>
      <a:lvl1pPr marL="0" algn="l" defTabSz="914400" rtl="0" eaLnBrk="1" fontAlgn="b" latinLnBrk="0" hangingPunct="1">
        <a:defRPr sz="1200"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2">
          <p15:clr>
            <a:srgbClr val="F26B43"/>
          </p15:clr>
        </p15:guide>
        <p15:guide id="3" pos="6029">
          <p15:clr>
            <a:srgbClr val="F26B43"/>
          </p15:clr>
        </p15:guide>
        <p15:guide id="4" orient="horz" pos="3888">
          <p15:clr>
            <a:srgbClr val="F26B43"/>
          </p15:clr>
        </p15:guide>
        <p15:guide id="5" orient="horz" pos="1491">
          <p15:clr>
            <a:srgbClr val="F26B43"/>
          </p15:clr>
        </p15:guide>
        <p15:guide id="6" orient="horz" pos="413">
          <p15:clr>
            <a:srgbClr val="F26B43"/>
          </p15:clr>
        </p15:guide>
        <p15:guide id="7" orient="horz" pos="1003">
          <p15:clr>
            <a:srgbClr val="F26B43"/>
          </p15:clr>
        </p15:guide>
        <p15:guide id="8" orient="horz" pos="1321">
          <p15:clr>
            <a:srgbClr val="F26B43"/>
          </p15:clr>
        </p15:guide>
        <p15:guide id="9" orient="horz" pos="4156">
          <p15:clr>
            <a:srgbClr val="F26B43"/>
          </p15:clr>
        </p15:guide>
        <p15:guide id="10" orient="horz" pos="3589">
          <p15:clr>
            <a:srgbClr val="F26B43"/>
          </p15:clr>
        </p15:guide>
        <p15:guide id="11" orient="horz" pos="142">
          <p15:clr>
            <a:srgbClr val="F26B43"/>
          </p15:clr>
        </p15:guide>
        <p15:guide id="12" pos="1578">
          <p15:clr>
            <a:srgbClr val="F26B43"/>
          </p15:clr>
        </p15:guide>
        <p15:guide id="13" pos="1691">
          <p15:clr>
            <a:srgbClr val="F26B43"/>
          </p15:clr>
        </p15:guide>
        <p15:guide id="14" pos="3059">
          <p15:clr>
            <a:srgbClr val="F26B43"/>
          </p15:clr>
        </p15:guide>
        <p15:guide id="15" pos="3176">
          <p15:clr>
            <a:srgbClr val="F26B43"/>
          </p15:clr>
        </p15:guide>
        <p15:guide id="16" pos="4546">
          <p15:clr>
            <a:srgbClr val="F26B43"/>
          </p15:clr>
        </p15:guide>
        <p15:guide id="17" pos="4659">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9"/>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0259" name="think-cell Folie" r:id="rId50" imgW="270" imgH="270" progId="TCLayout.ActiveDocument.1">
                  <p:embed/>
                </p:oleObj>
              </mc:Choice>
              <mc:Fallback>
                <p:oleObj name="think-cell Folie" r:id="rId50" imgW="270" imgH="270" progId="TCLayout.ActiveDocument.1">
                  <p:embed/>
                  <p:pic>
                    <p:nvPicPr>
                      <p:cNvPr id="3" name="Objekt 2" hidden="1"/>
                      <p:cNvPicPr/>
                      <p:nvPr/>
                    </p:nvPicPr>
                    <p:blipFill>
                      <a:blip r:embed="rId51"/>
                      <a:stretch>
                        <a:fillRect/>
                      </a:stretch>
                    </p:blipFill>
                    <p:spPr>
                      <a:xfrm>
                        <a:off x="1956" y="1591"/>
                        <a:ext cx="1953" cy="1587"/>
                      </a:xfrm>
                      <a:prstGeom prst="rect">
                        <a:avLst/>
                      </a:prstGeom>
                    </p:spPr>
                  </p:pic>
                </p:oleObj>
              </mc:Fallback>
            </mc:AlternateContent>
          </a:graphicData>
        </a:graphic>
      </p:graphicFrame>
      <p:sp>
        <p:nvSpPr>
          <p:cNvPr id="1127" name="Rectangle 103"/>
          <p:cNvSpPr>
            <a:spLocks noGrp="1" noChangeArrowheads="1"/>
          </p:cNvSpPr>
          <p:nvPr>
            <p:ph type="body" idx="1"/>
          </p:nvPr>
        </p:nvSpPr>
        <p:spPr bwMode="auto">
          <a:xfrm>
            <a:off x="398769" y="2368800"/>
            <a:ext cx="11369354" cy="3794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26" name="Rectangle 2"/>
          <p:cNvSpPr>
            <a:spLocks noGrp="1" noChangeArrowheads="1"/>
          </p:cNvSpPr>
          <p:nvPr>
            <p:ph type="title"/>
          </p:nvPr>
        </p:nvSpPr>
        <p:spPr bwMode="auto">
          <a:xfrm>
            <a:off x="398769" y="660011"/>
            <a:ext cx="7488000"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Main slide heading appears here</a:t>
            </a:r>
            <a:br>
              <a:rPr lang="en-GB" noProof="0" dirty="0"/>
            </a:br>
            <a:r>
              <a:rPr lang="en-GB" noProof="0" dirty="0"/>
              <a:t>Second line if required (20pt)</a:t>
            </a:r>
          </a:p>
        </p:txBody>
      </p:sp>
      <p:sp>
        <p:nvSpPr>
          <p:cNvPr id="2" name="Textfeld 1"/>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Freeform 614"/>
          <p:cNvSpPr>
            <a:spLocks noEditPoints="1"/>
          </p:cNvSpPr>
          <p:nvPr/>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1782768832"/>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0" r:id="rId3"/>
    <p:sldLayoutId id="2147483801" r:id="rId4"/>
    <p:sldLayoutId id="2147483802" r:id="rId5"/>
    <p:sldLayoutId id="2147483803" r:id="rId6"/>
    <p:sldLayoutId id="2147483804" r:id="rId7"/>
    <p:sldLayoutId id="2147483805" r:id="rId8"/>
    <p:sldLayoutId id="2147483806" r:id="rId9"/>
    <p:sldLayoutId id="2147483807" r:id="rId10"/>
    <p:sldLayoutId id="2147483808" r:id="rId11"/>
    <p:sldLayoutId id="2147483809" r:id="rId12"/>
    <p:sldLayoutId id="2147483810" r:id="rId13"/>
    <p:sldLayoutId id="2147483811" r:id="rId14"/>
    <p:sldLayoutId id="2147483812" r:id="rId15"/>
    <p:sldLayoutId id="2147483813" r:id="rId16"/>
    <p:sldLayoutId id="2147483814" r:id="rId17"/>
    <p:sldLayoutId id="2147483815" r:id="rId18"/>
    <p:sldLayoutId id="2147483816" r:id="rId19"/>
    <p:sldLayoutId id="2147483817" r:id="rId20"/>
    <p:sldLayoutId id="2147483818" r:id="rId21"/>
    <p:sldLayoutId id="2147483819" r:id="rId22"/>
    <p:sldLayoutId id="2147483820" r:id="rId23"/>
    <p:sldLayoutId id="2147483821" r:id="rId24"/>
    <p:sldLayoutId id="2147483822" r:id="rId25"/>
    <p:sldLayoutId id="2147483823" r:id="rId26"/>
    <p:sldLayoutId id="2147483824" r:id="rId27"/>
    <p:sldLayoutId id="2147483825" r:id="rId28"/>
    <p:sldLayoutId id="2147483826" r:id="rId29"/>
    <p:sldLayoutId id="2147483827" r:id="rId30"/>
    <p:sldLayoutId id="2147483828" r:id="rId31"/>
    <p:sldLayoutId id="2147483829" r:id="rId32"/>
    <p:sldLayoutId id="2147483830" r:id="rId33"/>
    <p:sldLayoutId id="2147483831" r:id="rId34"/>
    <p:sldLayoutId id="2147483832" r:id="rId35"/>
    <p:sldLayoutId id="2147483833" r:id="rId36"/>
    <p:sldLayoutId id="2147483834" r:id="rId37"/>
    <p:sldLayoutId id="2147483835" r:id="rId38"/>
    <p:sldLayoutId id="2147483836" r:id="rId39"/>
    <p:sldLayoutId id="2147483837" r:id="rId40"/>
    <p:sldLayoutId id="2147483838" r:id="rId41"/>
    <p:sldLayoutId id="2147483839" r:id="rId42"/>
    <p:sldLayoutId id="2147483840" r:id="rId43"/>
    <p:sldLayoutId id="2147483841" r:id="rId44"/>
    <p:sldLayoutId id="2147483842" r:id="rId45"/>
    <p:sldLayoutId id="2147483843" r:id="rId46"/>
  </p:sldLayoutIdLst>
  <p:hf hdr="0"/>
  <p:txStyles>
    <p:titleStyle>
      <a:lvl1pPr algn="l" rtl="0" eaLnBrk="1" fontAlgn="base" hangingPunct="1">
        <a:spcBef>
          <a:spcPct val="0"/>
        </a:spcBef>
        <a:spcAft>
          <a:spcPct val="0"/>
        </a:spcAft>
        <a:defRPr sz="2000" baseline="0">
          <a:solidFill>
            <a:schemeClr val="tx2"/>
          </a:solidFill>
          <a:latin typeface="Arial" panose="020B0604020202020204" pitchFamily="34" charset="0"/>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p:titleStyle>
    <p:body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p:bodyStyle>
    <p:otherStyle>
      <a:defPPr>
        <a:defRPr lang="en-US"/>
      </a:defPPr>
      <a:lvl1pPr marL="0" algn="l" defTabSz="914400" rtl="0" eaLnBrk="1" fontAlgn="b" latinLnBrk="0" hangingPunct="1">
        <a:defRPr sz="1200"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2">
          <p15:clr>
            <a:srgbClr val="F26B43"/>
          </p15:clr>
        </p15:guide>
        <p15:guide id="3" pos="6029">
          <p15:clr>
            <a:srgbClr val="F26B43"/>
          </p15:clr>
        </p15:guide>
        <p15:guide id="4" orient="horz" pos="3888">
          <p15:clr>
            <a:srgbClr val="F26B43"/>
          </p15:clr>
        </p15:guide>
        <p15:guide id="5" orient="horz" pos="1491">
          <p15:clr>
            <a:srgbClr val="F26B43"/>
          </p15:clr>
        </p15:guide>
        <p15:guide id="6" orient="horz" pos="413">
          <p15:clr>
            <a:srgbClr val="F26B43"/>
          </p15:clr>
        </p15:guide>
        <p15:guide id="7" orient="horz" pos="1003">
          <p15:clr>
            <a:srgbClr val="F26B43"/>
          </p15:clr>
        </p15:guide>
        <p15:guide id="8" orient="horz" pos="1321">
          <p15:clr>
            <a:srgbClr val="F26B43"/>
          </p15:clr>
        </p15:guide>
        <p15:guide id="9" orient="horz" pos="4156">
          <p15:clr>
            <a:srgbClr val="F26B43"/>
          </p15:clr>
        </p15:guide>
        <p15:guide id="10" orient="horz" pos="3589">
          <p15:clr>
            <a:srgbClr val="F26B43"/>
          </p15:clr>
        </p15:guide>
        <p15:guide id="11" orient="horz" pos="142">
          <p15:clr>
            <a:srgbClr val="F26B43"/>
          </p15:clr>
        </p15:guide>
        <p15:guide id="12" pos="1578">
          <p15:clr>
            <a:srgbClr val="F26B43"/>
          </p15:clr>
        </p15:guide>
        <p15:guide id="13" pos="1691">
          <p15:clr>
            <a:srgbClr val="F26B43"/>
          </p15:clr>
        </p15:guide>
        <p15:guide id="14" pos="3059">
          <p15:clr>
            <a:srgbClr val="F26B43"/>
          </p15:clr>
        </p15:guide>
        <p15:guide id="15" pos="3176">
          <p15:clr>
            <a:srgbClr val="F26B43"/>
          </p15:clr>
        </p15:guide>
        <p15:guide id="16" pos="4546">
          <p15:clr>
            <a:srgbClr val="F26B43"/>
          </p15:clr>
        </p15:guide>
        <p15:guide id="17" pos="4659">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49"/>
            </p:custDataLst>
            <p:ext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9462" name="think-cell Folie" r:id="rId50" imgW="270" imgH="270" progId="TCLayout.ActiveDocument.1">
                  <p:embed/>
                </p:oleObj>
              </mc:Choice>
              <mc:Fallback>
                <p:oleObj name="think-cell Folie" r:id="rId50" imgW="270" imgH="270" progId="TCLayout.ActiveDocument.1">
                  <p:embed/>
                  <p:pic>
                    <p:nvPicPr>
                      <p:cNvPr id="3" name="Objekt 2" hidden="1"/>
                      <p:cNvPicPr/>
                      <p:nvPr/>
                    </p:nvPicPr>
                    <p:blipFill>
                      <a:blip r:embed="rId51"/>
                      <a:stretch>
                        <a:fillRect/>
                      </a:stretch>
                    </p:blipFill>
                    <p:spPr>
                      <a:xfrm>
                        <a:off x="1956" y="1591"/>
                        <a:ext cx="1953" cy="1587"/>
                      </a:xfrm>
                      <a:prstGeom prst="rect">
                        <a:avLst/>
                      </a:prstGeom>
                    </p:spPr>
                  </p:pic>
                </p:oleObj>
              </mc:Fallback>
            </mc:AlternateContent>
          </a:graphicData>
        </a:graphic>
      </p:graphicFrame>
      <p:sp>
        <p:nvSpPr>
          <p:cNvPr id="1127" name="Rectangle 103"/>
          <p:cNvSpPr>
            <a:spLocks noGrp="1" noChangeArrowheads="1"/>
          </p:cNvSpPr>
          <p:nvPr>
            <p:ph type="body" idx="1"/>
          </p:nvPr>
        </p:nvSpPr>
        <p:spPr bwMode="auto">
          <a:xfrm>
            <a:off x="398769" y="2368800"/>
            <a:ext cx="11369354" cy="37944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1st Level (12pt)</a:t>
            </a:r>
          </a:p>
          <a:p>
            <a:pPr lvl="1"/>
            <a:r>
              <a:rPr lang="en-GB" noProof="0" dirty="0"/>
              <a:t>2nd Level</a:t>
            </a:r>
          </a:p>
          <a:p>
            <a:pPr lvl="2"/>
            <a:r>
              <a:rPr lang="en-GB" noProof="0" dirty="0"/>
              <a:t>3rd Level</a:t>
            </a:r>
          </a:p>
          <a:p>
            <a:pPr lvl="3"/>
            <a:r>
              <a:rPr lang="en-GB" noProof="0" dirty="0"/>
              <a:t>4th Level</a:t>
            </a:r>
          </a:p>
          <a:p>
            <a:pPr lvl="4"/>
            <a:r>
              <a:rPr lang="en-GB" noProof="0" dirty="0"/>
              <a:t>5th Level</a:t>
            </a:r>
          </a:p>
        </p:txBody>
      </p:sp>
      <p:sp>
        <p:nvSpPr>
          <p:cNvPr id="1026" name="Rectangle 2"/>
          <p:cNvSpPr>
            <a:spLocks noGrp="1" noChangeArrowheads="1"/>
          </p:cNvSpPr>
          <p:nvPr>
            <p:ph type="title"/>
          </p:nvPr>
        </p:nvSpPr>
        <p:spPr bwMode="auto">
          <a:xfrm>
            <a:off x="398769" y="660011"/>
            <a:ext cx="7488000" cy="60719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Main slide heading appears here</a:t>
            </a:r>
            <a:br>
              <a:rPr lang="en-GB" noProof="0" dirty="0"/>
            </a:br>
            <a:r>
              <a:rPr lang="en-GB" noProof="0" dirty="0"/>
              <a:t>Second line if required (20pt)</a:t>
            </a:r>
          </a:p>
        </p:txBody>
      </p:sp>
      <p:sp>
        <p:nvSpPr>
          <p:cNvPr id="2" name="Textfeld 1"/>
          <p:cNvSpPr txBox="1"/>
          <p:nvPr/>
        </p:nvSpPr>
        <p:spPr>
          <a:xfrm>
            <a:off x="10309581" y="6526800"/>
            <a:ext cx="1496482" cy="84138"/>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defPPr>
              <a:defRPr lang="de-DE"/>
            </a:defPPr>
            <a:lvl1pPr algn="r">
              <a:spcBef>
                <a:spcPct val="0"/>
              </a:spcBef>
              <a:spcAft>
                <a:spcPct val="0"/>
              </a:spcAft>
              <a:buClrTx/>
              <a:buFontTx/>
              <a:buNone/>
              <a:defRPr sz="800">
                <a:solidFill>
                  <a:schemeClr val="bg2"/>
                </a:solidFill>
              </a:defRPr>
            </a:lvl1pPr>
          </a:lstStyle>
          <a:p>
            <a:pPr lvl="0"/>
            <a:fld id="{DB156008-3848-4AC2-BCDB-869BEFD744C5}" type="slidenum">
              <a:rPr lang="en-GB" sz="800" baseline="0" noProof="0" smtClean="0">
                <a:solidFill>
                  <a:schemeClr val="tx2"/>
                </a:solidFill>
                <a:latin typeface="Arial" panose="020B0604020202020204" pitchFamily="34" charset="0"/>
              </a:rPr>
              <a:pPr lvl="0"/>
              <a:t>‹nr.›</a:t>
            </a:fld>
            <a:endParaRPr lang="en-GB" sz="800" baseline="0" noProof="0" dirty="0">
              <a:solidFill>
                <a:schemeClr val="tx2"/>
              </a:solidFill>
              <a:latin typeface="Arial" panose="020B0604020202020204" pitchFamily="34" charset="0"/>
            </a:endParaRPr>
          </a:p>
        </p:txBody>
      </p:sp>
      <p:sp>
        <p:nvSpPr>
          <p:cNvPr id="8" name="Freeform 614"/>
          <p:cNvSpPr>
            <a:spLocks noEditPoints="1"/>
          </p:cNvSpPr>
          <p:nvPr/>
        </p:nvSpPr>
        <p:spPr bwMode="gray">
          <a:xfrm>
            <a:off x="10392508" y="239713"/>
            <a:ext cx="1381369" cy="414610"/>
          </a:xfrm>
          <a:custGeom>
            <a:avLst/>
            <a:gdLst/>
            <a:ahLst/>
            <a:cxnLst>
              <a:cxn ang="0">
                <a:pos x="41" y="126"/>
              </a:cxn>
              <a:cxn ang="0">
                <a:pos x="25" y="28"/>
              </a:cxn>
              <a:cxn ang="0">
                <a:pos x="32" y="157"/>
              </a:cxn>
              <a:cxn ang="0">
                <a:pos x="122" y="39"/>
              </a:cxn>
              <a:cxn ang="0">
                <a:pos x="202" y="28"/>
              </a:cxn>
              <a:cxn ang="0">
                <a:pos x="212" y="157"/>
              </a:cxn>
              <a:cxn ang="0">
                <a:pos x="264" y="157"/>
              </a:cxn>
              <a:cxn ang="0">
                <a:pos x="234" y="78"/>
              </a:cxn>
              <a:cxn ang="0">
                <a:pos x="307" y="128"/>
              </a:cxn>
              <a:cxn ang="0">
                <a:pos x="331" y="94"/>
              </a:cxn>
              <a:cxn ang="0">
                <a:pos x="332" y="147"/>
              </a:cxn>
              <a:cxn ang="0">
                <a:pos x="360" y="138"/>
              </a:cxn>
              <a:cxn ang="0">
                <a:pos x="413" y="157"/>
              </a:cxn>
              <a:cxn ang="0">
                <a:pos x="468" y="91"/>
              </a:cxn>
              <a:cxn ang="0">
                <a:pos x="374" y="60"/>
              </a:cxn>
              <a:cxn ang="0">
                <a:pos x="557" y="137"/>
              </a:cxn>
              <a:cxn ang="0">
                <a:pos x="482" y="88"/>
              </a:cxn>
              <a:cxn ang="0">
                <a:pos x="481" y="157"/>
              </a:cxn>
              <a:cxn ang="0">
                <a:pos x="679" y="33"/>
              </a:cxn>
              <a:cxn ang="0">
                <a:pos x="729" y="155"/>
              </a:cxn>
              <a:cxn ang="0">
                <a:pos x="675" y="155"/>
              </a:cxn>
              <a:cxn ang="0">
                <a:pos x="784" y="99"/>
              </a:cxn>
              <a:cxn ang="0">
                <a:pos x="702" y="0"/>
              </a:cxn>
              <a:cxn ang="0">
                <a:pos x="7" y="234"/>
              </a:cxn>
              <a:cxn ang="0">
                <a:pos x="36" y="287"/>
              </a:cxn>
              <a:cxn ang="0">
                <a:pos x="72" y="295"/>
              </a:cxn>
              <a:cxn ang="0">
                <a:pos x="95" y="268"/>
              </a:cxn>
              <a:cxn ang="0">
                <a:pos x="118" y="288"/>
              </a:cxn>
              <a:cxn ang="0">
                <a:pos x="154" y="213"/>
              </a:cxn>
              <a:cxn ang="0">
                <a:pos x="176" y="246"/>
              </a:cxn>
              <a:cxn ang="0">
                <a:pos x="238" y="295"/>
              </a:cxn>
              <a:cxn ang="0">
                <a:pos x="238" y="256"/>
              </a:cxn>
              <a:cxn ang="0">
                <a:pos x="248" y="294"/>
              </a:cxn>
              <a:cxn ang="0">
                <a:pos x="238" y="277"/>
              </a:cxn>
              <a:cxn ang="0">
                <a:pos x="263" y="295"/>
              </a:cxn>
              <a:cxn ang="0">
                <a:pos x="371" y="295"/>
              </a:cxn>
              <a:cxn ang="0">
                <a:pos x="337" y="239"/>
              </a:cxn>
              <a:cxn ang="0">
                <a:pos x="381" y="295"/>
              </a:cxn>
              <a:cxn ang="0">
                <a:pos x="410" y="275"/>
              </a:cxn>
              <a:cxn ang="0">
                <a:pos x="451" y="268"/>
              </a:cxn>
              <a:cxn ang="0">
                <a:pos x="464" y="238"/>
              </a:cxn>
              <a:cxn ang="0">
                <a:pos x="475" y="261"/>
              </a:cxn>
              <a:cxn ang="0">
                <a:pos x="519" y="281"/>
              </a:cxn>
              <a:cxn ang="0">
                <a:pos x="526" y="251"/>
              </a:cxn>
              <a:cxn ang="0">
                <a:pos x="509" y="295"/>
              </a:cxn>
              <a:cxn ang="0">
                <a:pos x="536" y="246"/>
              </a:cxn>
              <a:cxn ang="0">
                <a:pos x="565" y="239"/>
              </a:cxn>
              <a:cxn ang="0">
                <a:pos x="565" y="285"/>
              </a:cxn>
              <a:cxn ang="0">
                <a:pos x="595" y="296"/>
              </a:cxn>
              <a:cxn ang="0">
                <a:pos x="659" y="249"/>
              </a:cxn>
              <a:cxn ang="0">
                <a:pos x="641" y="239"/>
              </a:cxn>
              <a:cxn ang="0">
                <a:pos x="665" y="291"/>
              </a:cxn>
              <a:cxn ang="0">
                <a:pos x="666" y="253"/>
              </a:cxn>
              <a:cxn ang="0">
                <a:pos x="683" y="261"/>
              </a:cxn>
            </a:cxnLst>
            <a:rect l="0" t="0" r="r" b="b"/>
            <a:pathLst>
              <a:path w="801" h="296">
                <a:moveTo>
                  <a:pt x="73" y="105"/>
                </a:moveTo>
                <a:cubicBezTo>
                  <a:pt x="46" y="105"/>
                  <a:pt x="46" y="105"/>
                  <a:pt x="46" y="105"/>
                </a:cubicBezTo>
                <a:cubicBezTo>
                  <a:pt x="60" y="57"/>
                  <a:pt x="60" y="57"/>
                  <a:pt x="60" y="57"/>
                </a:cubicBezTo>
                <a:lnTo>
                  <a:pt x="73" y="105"/>
                </a:lnTo>
                <a:close/>
                <a:moveTo>
                  <a:pt x="32" y="157"/>
                </a:moveTo>
                <a:cubicBezTo>
                  <a:pt x="41" y="126"/>
                  <a:pt x="41" y="126"/>
                  <a:pt x="41" y="126"/>
                </a:cubicBezTo>
                <a:cubicBezTo>
                  <a:pt x="78" y="126"/>
                  <a:pt x="78" y="126"/>
                  <a:pt x="78" y="126"/>
                </a:cubicBezTo>
                <a:cubicBezTo>
                  <a:pt x="87" y="157"/>
                  <a:pt x="87" y="157"/>
                  <a:pt x="87" y="157"/>
                </a:cubicBezTo>
                <a:cubicBezTo>
                  <a:pt x="121" y="157"/>
                  <a:pt x="121" y="157"/>
                  <a:pt x="121" y="157"/>
                </a:cubicBezTo>
                <a:cubicBezTo>
                  <a:pt x="87" y="38"/>
                  <a:pt x="87" y="38"/>
                  <a:pt x="87" y="38"/>
                </a:cubicBezTo>
                <a:cubicBezTo>
                  <a:pt x="85" y="31"/>
                  <a:pt x="81" y="28"/>
                  <a:pt x="73" y="28"/>
                </a:cubicBezTo>
                <a:cubicBezTo>
                  <a:pt x="25" y="28"/>
                  <a:pt x="25" y="28"/>
                  <a:pt x="25" y="28"/>
                </a:cubicBezTo>
                <a:cubicBezTo>
                  <a:pt x="25" y="39"/>
                  <a:pt x="25" y="39"/>
                  <a:pt x="25" y="39"/>
                </a:cubicBezTo>
                <a:cubicBezTo>
                  <a:pt x="29" y="39"/>
                  <a:pt x="29" y="39"/>
                  <a:pt x="29" y="39"/>
                </a:cubicBezTo>
                <a:cubicBezTo>
                  <a:pt x="34" y="39"/>
                  <a:pt x="37" y="41"/>
                  <a:pt x="37" y="45"/>
                </a:cubicBezTo>
                <a:cubicBezTo>
                  <a:pt x="37" y="47"/>
                  <a:pt x="36" y="49"/>
                  <a:pt x="34" y="55"/>
                </a:cubicBezTo>
                <a:cubicBezTo>
                  <a:pt x="0" y="157"/>
                  <a:pt x="0" y="157"/>
                  <a:pt x="0" y="157"/>
                </a:cubicBezTo>
                <a:lnTo>
                  <a:pt x="32" y="157"/>
                </a:lnTo>
                <a:close/>
                <a:moveTo>
                  <a:pt x="160" y="157"/>
                </a:moveTo>
                <a:cubicBezTo>
                  <a:pt x="160" y="38"/>
                  <a:pt x="160" y="38"/>
                  <a:pt x="160" y="38"/>
                </a:cubicBezTo>
                <a:cubicBezTo>
                  <a:pt x="160" y="31"/>
                  <a:pt x="156" y="28"/>
                  <a:pt x="150" y="28"/>
                </a:cubicBezTo>
                <a:cubicBezTo>
                  <a:pt x="121" y="28"/>
                  <a:pt x="121" y="28"/>
                  <a:pt x="121" y="28"/>
                </a:cubicBezTo>
                <a:cubicBezTo>
                  <a:pt x="121" y="39"/>
                  <a:pt x="121" y="39"/>
                  <a:pt x="121" y="39"/>
                </a:cubicBezTo>
                <a:cubicBezTo>
                  <a:pt x="122" y="39"/>
                  <a:pt x="122" y="39"/>
                  <a:pt x="122" y="39"/>
                </a:cubicBezTo>
                <a:cubicBezTo>
                  <a:pt x="128" y="39"/>
                  <a:pt x="130" y="41"/>
                  <a:pt x="130" y="46"/>
                </a:cubicBezTo>
                <a:cubicBezTo>
                  <a:pt x="130" y="157"/>
                  <a:pt x="130" y="157"/>
                  <a:pt x="130" y="157"/>
                </a:cubicBezTo>
                <a:lnTo>
                  <a:pt x="160" y="157"/>
                </a:lnTo>
                <a:close/>
                <a:moveTo>
                  <a:pt x="212" y="157"/>
                </a:moveTo>
                <a:cubicBezTo>
                  <a:pt x="212" y="38"/>
                  <a:pt x="212" y="38"/>
                  <a:pt x="212" y="38"/>
                </a:cubicBezTo>
                <a:cubicBezTo>
                  <a:pt x="212" y="31"/>
                  <a:pt x="208" y="28"/>
                  <a:pt x="202" y="28"/>
                </a:cubicBezTo>
                <a:cubicBezTo>
                  <a:pt x="172" y="28"/>
                  <a:pt x="172" y="28"/>
                  <a:pt x="172" y="28"/>
                </a:cubicBezTo>
                <a:cubicBezTo>
                  <a:pt x="172" y="39"/>
                  <a:pt x="172" y="39"/>
                  <a:pt x="172" y="39"/>
                </a:cubicBezTo>
                <a:cubicBezTo>
                  <a:pt x="174" y="39"/>
                  <a:pt x="174" y="39"/>
                  <a:pt x="174" y="39"/>
                </a:cubicBezTo>
                <a:cubicBezTo>
                  <a:pt x="179" y="39"/>
                  <a:pt x="181" y="41"/>
                  <a:pt x="181" y="46"/>
                </a:cubicBezTo>
                <a:cubicBezTo>
                  <a:pt x="181" y="157"/>
                  <a:pt x="181" y="157"/>
                  <a:pt x="181" y="157"/>
                </a:cubicBezTo>
                <a:lnTo>
                  <a:pt x="212" y="157"/>
                </a:lnTo>
                <a:close/>
                <a:moveTo>
                  <a:pt x="265" y="39"/>
                </a:moveTo>
                <a:cubicBezTo>
                  <a:pt x="265" y="31"/>
                  <a:pt x="259" y="26"/>
                  <a:pt x="247" y="26"/>
                </a:cubicBezTo>
                <a:cubicBezTo>
                  <a:pt x="237" y="26"/>
                  <a:pt x="230" y="31"/>
                  <a:pt x="230" y="39"/>
                </a:cubicBezTo>
                <a:cubicBezTo>
                  <a:pt x="230" y="48"/>
                  <a:pt x="237" y="53"/>
                  <a:pt x="247" y="53"/>
                </a:cubicBezTo>
                <a:cubicBezTo>
                  <a:pt x="259" y="53"/>
                  <a:pt x="265" y="48"/>
                  <a:pt x="265" y="39"/>
                </a:cubicBezTo>
                <a:moveTo>
                  <a:pt x="264" y="157"/>
                </a:moveTo>
                <a:cubicBezTo>
                  <a:pt x="264" y="70"/>
                  <a:pt x="264" y="70"/>
                  <a:pt x="264" y="70"/>
                </a:cubicBezTo>
                <a:cubicBezTo>
                  <a:pt x="264" y="64"/>
                  <a:pt x="261" y="60"/>
                  <a:pt x="255" y="60"/>
                </a:cubicBezTo>
                <a:cubicBezTo>
                  <a:pt x="225" y="60"/>
                  <a:pt x="225" y="60"/>
                  <a:pt x="225" y="60"/>
                </a:cubicBezTo>
                <a:cubicBezTo>
                  <a:pt x="225" y="71"/>
                  <a:pt x="225" y="71"/>
                  <a:pt x="225" y="71"/>
                </a:cubicBezTo>
                <a:cubicBezTo>
                  <a:pt x="227" y="71"/>
                  <a:pt x="227" y="71"/>
                  <a:pt x="227" y="71"/>
                </a:cubicBezTo>
                <a:cubicBezTo>
                  <a:pt x="232" y="71"/>
                  <a:pt x="234" y="73"/>
                  <a:pt x="234" y="78"/>
                </a:cubicBezTo>
                <a:cubicBezTo>
                  <a:pt x="234" y="157"/>
                  <a:pt x="234" y="157"/>
                  <a:pt x="234" y="157"/>
                </a:cubicBezTo>
                <a:lnTo>
                  <a:pt x="264" y="157"/>
                </a:lnTo>
                <a:close/>
                <a:moveTo>
                  <a:pt x="331" y="110"/>
                </a:moveTo>
                <a:cubicBezTo>
                  <a:pt x="331" y="129"/>
                  <a:pt x="331" y="129"/>
                  <a:pt x="331" y="129"/>
                </a:cubicBezTo>
                <a:cubicBezTo>
                  <a:pt x="326" y="135"/>
                  <a:pt x="320" y="138"/>
                  <a:pt x="315" y="138"/>
                </a:cubicBezTo>
                <a:cubicBezTo>
                  <a:pt x="309" y="138"/>
                  <a:pt x="307" y="135"/>
                  <a:pt x="307" y="128"/>
                </a:cubicBezTo>
                <a:cubicBezTo>
                  <a:pt x="307" y="121"/>
                  <a:pt x="309" y="117"/>
                  <a:pt x="314" y="115"/>
                </a:cubicBezTo>
                <a:cubicBezTo>
                  <a:pt x="318" y="113"/>
                  <a:pt x="323" y="112"/>
                  <a:pt x="331" y="110"/>
                </a:cubicBezTo>
                <a:moveTo>
                  <a:pt x="290" y="88"/>
                </a:moveTo>
                <a:cubicBezTo>
                  <a:pt x="300" y="83"/>
                  <a:pt x="311" y="80"/>
                  <a:pt x="320" y="80"/>
                </a:cubicBezTo>
                <a:cubicBezTo>
                  <a:pt x="328" y="80"/>
                  <a:pt x="331" y="83"/>
                  <a:pt x="331" y="92"/>
                </a:cubicBezTo>
                <a:cubicBezTo>
                  <a:pt x="331" y="94"/>
                  <a:pt x="331" y="94"/>
                  <a:pt x="331" y="94"/>
                </a:cubicBezTo>
                <a:cubicBezTo>
                  <a:pt x="319" y="96"/>
                  <a:pt x="315" y="97"/>
                  <a:pt x="308" y="98"/>
                </a:cubicBezTo>
                <a:cubicBezTo>
                  <a:pt x="304" y="99"/>
                  <a:pt x="300" y="100"/>
                  <a:pt x="296" y="102"/>
                </a:cubicBezTo>
                <a:cubicBezTo>
                  <a:pt x="284" y="107"/>
                  <a:pt x="278" y="116"/>
                  <a:pt x="278" y="131"/>
                </a:cubicBezTo>
                <a:cubicBezTo>
                  <a:pt x="278" y="149"/>
                  <a:pt x="286" y="158"/>
                  <a:pt x="303" y="158"/>
                </a:cubicBezTo>
                <a:cubicBezTo>
                  <a:pt x="309" y="158"/>
                  <a:pt x="314" y="157"/>
                  <a:pt x="319" y="155"/>
                </a:cubicBezTo>
                <a:cubicBezTo>
                  <a:pt x="323" y="153"/>
                  <a:pt x="326" y="151"/>
                  <a:pt x="332" y="147"/>
                </a:cubicBezTo>
                <a:cubicBezTo>
                  <a:pt x="332" y="148"/>
                  <a:pt x="332" y="148"/>
                  <a:pt x="332" y="148"/>
                </a:cubicBezTo>
                <a:cubicBezTo>
                  <a:pt x="332" y="154"/>
                  <a:pt x="335" y="157"/>
                  <a:pt x="341" y="157"/>
                </a:cubicBezTo>
                <a:cubicBezTo>
                  <a:pt x="369" y="157"/>
                  <a:pt x="369" y="157"/>
                  <a:pt x="369" y="157"/>
                </a:cubicBezTo>
                <a:cubicBezTo>
                  <a:pt x="369" y="147"/>
                  <a:pt x="369" y="147"/>
                  <a:pt x="369" y="147"/>
                </a:cubicBezTo>
                <a:cubicBezTo>
                  <a:pt x="367" y="147"/>
                  <a:pt x="367" y="147"/>
                  <a:pt x="367" y="147"/>
                </a:cubicBezTo>
                <a:cubicBezTo>
                  <a:pt x="362" y="147"/>
                  <a:pt x="360" y="144"/>
                  <a:pt x="360" y="138"/>
                </a:cubicBezTo>
                <a:cubicBezTo>
                  <a:pt x="360" y="92"/>
                  <a:pt x="360" y="92"/>
                  <a:pt x="360" y="92"/>
                </a:cubicBezTo>
                <a:cubicBezTo>
                  <a:pt x="360" y="67"/>
                  <a:pt x="352" y="59"/>
                  <a:pt x="327" y="59"/>
                </a:cubicBezTo>
                <a:cubicBezTo>
                  <a:pt x="319" y="59"/>
                  <a:pt x="311" y="60"/>
                  <a:pt x="304" y="61"/>
                </a:cubicBezTo>
                <a:cubicBezTo>
                  <a:pt x="296" y="63"/>
                  <a:pt x="292" y="65"/>
                  <a:pt x="283" y="69"/>
                </a:cubicBezTo>
                <a:lnTo>
                  <a:pt x="290" y="88"/>
                </a:lnTo>
                <a:close/>
                <a:moveTo>
                  <a:pt x="413" y="157"/>
                </a:moveTo>
                <a:cubicBezTo>
                  <a:pt x="413" y="91"/>
                  <a:pt x="413" y="91"/>
                  <a:pt x="413" y="91"/>
                </a:cubicBezTo>
                <a:cubicBezTo>
                  <a:pt x="418" y="86"/>
                  <a:pt x="423" y="83"/>
                  <a:pt x="429" y="83"/>
                </a:cubicBezTo>
                <a:cubicBezTo>
                  <a:pt x="436" y="83"/>
                  <a:pt x="437" y="86"/>
                  <a:pt x="437" y="96"/>
                </a:cubicBezTo>
                <a:cubicBezTo>
                  <a:pt x="437" y="157"/>
                  <a:pt x="437" y="157"/>
                  <a:pt x="437" y="157"/>
                </a:cubicBezTo>
                <a:cubicBezTo>
                  <a:pt x="468" y="157"/>
                  <a:pt x="468" y="157"/>
                  <a:pt x="468" y="157"/>
                </a:cubicBezTo>
                <a:cubicBezTo>
                  <a:pt x="468" y="91"/>
                  <a:pt x="468" y="91"/>
                  <a:pt x="468" y="91"/>
                </a:cubicBezTo>
                <a:cubicBezTo>
                  <a:pt x="468" y="76"/>
                  <a:pt x="466" y="71"/>
                  <a:pt x="462" y="66"/>
                </a:cubicBezTo>
                <a:cubicBezTo>
                  <a:pt x="457" y="61"/>
                  <a:pt x="451" y="59"/>
                  <a:pt x="443" y="59"/>
                </a:cubicBezTo>
                <a:cubicBezTo>
                  <a:pt x="431" y="59"/>
                  <a:pt x="423" y="63"/>
                  <a:pt x="412" y="73"/>
                </a:cubicBezTo>
                <a:cubicBezTo>
                  <a:pt x="412" y="69"/>
                  <a:pt x="412" y="69"/>
                  <a:pt x="412" y="69"/>
                </a:cubicBezTo>
                <a:cubicBezTo>
                  <a:pt x="412" y="63"/>
                  <a:pt x="409" y="60"/>
                  <a:pt x="403" y="60"/>
                </a:cubicBezTo>
                <a:cubicBezTo>
                  <a:pt x="374" y="60"/>
                  <a:pt x="374" y="60"/>
                  <a:pt x="374" y="60"/>
                </a:cubicBezTo>
                <a:cubicBezTo>
                  <a:pt x="374" y="71"/>
                  <a:pt x="374" y="71"/>
                  <a:pt x="374" y="71"/>
                </a:cubicBezTo>
                <a:cubicBezTo>
                  <a:pt x="376" y="71"/>
                  <a:pt x="376" y="71"/>
                  <a:pt x="376" y="71"/>
                </a:cubicBezTo>
                <a:cubicBezTo>
                  <a:pt x="381" y="71"/>
                  <a:pt x="383" y="73"/>
                  <a:pt x="383" y="78"/>
                </a:cubicBezTo>
                <a:cubicBezTo>
                  <a:pt x="383" y="157"/>
                  <a:pt x="383" y="157"/>
                  <a:pt x="383" y="157"/>
                </a:cubicBezTo>
                <a:lnTo>
                  <a:pt x="413" y="157"/>
                </a:lnTo>
                <a:close/>
                <a:moveTo>
                  <a:pt x="557" y="137"/>
                </a:moveTo>
                <a:cubicBezTo>
                  <a:pt x="515" y="137"/>
                  <a:pt x="515" y="137"/>
                  <a:pt x="515" y="137"/>
                </a:cubicBezTo>
                <a:cubicBezTo>
                  <a:pt x="555" y="80"/>
                  <a:pt x="555" y="80"/>
                  <a:pt x="555" y="80"/>
                </a:cubicBezTo>
                <a:cubicBezTo>
                  <a:pt x="555" y="60"/>
                  <a:pt x="555" y="60"/>
                  <a:pt x="555" y="60"/>
                </a:cubicBezTo>
                <a:cubicBezTo>
                  <a:pt x="492" y="60"/>
                  <a:pt x="492" y="60"/>
                  <a:pt x="492" y="60"/>
                </a:cubicBezTo>
                <a:cubicBezTo>
                  <a:pt x="485" y="60"/>
                  <a:pt x="482" y="63"/>
                  <a:pt x="482" y="71"/>
                </a:cubicBezTo>
                <a:cubicBezTo>
                  <a:pt x="482" y="88"/>
                  <a:pt x="482" y="88"/>
                  <a:pt x="482" y="88"/>
                </a:cubicBezTo>
                <a:cubicBezTo>
                  <a:pt x="493" y="88"/>
                  <a:pt x="493" y="88"/>
                  <a:pt x="493" y="88"/>
                </a:cubicBezTo>
                <a:cubicBezTo>
                  <a:pt x="493" y="86"/>
                  <a:pt x="493" y="86"/>
                  <a:pt x="493" y="86"/>
                </a:cubicBezTo>
                <a:cubicBezTo>
                  <a:pt x="493" y="82"/>
                  <a:pt x="495" y="80"/>
                  <a:pt x="500" y="80"/>
                </a:cubicBezTo>
                <a:cubicBezTo>
                  <a:pt x="522" y="80"/>
                  <a:pt x="522" y="80"/>
                  <a:pt x="522" y="80"/>
                </a:cubicBezTo>
                <a:cubicBezTo>
                  <a:pt x="481" y="137"/>
                  <a:pt x="481" y="137"/>
                  <a:pt x="481" y="137"/>
                </a:cubicBezTo>
                <a:cubicBezTo>
                  <a:pt x="481" y="157"/>
                  <a:pt x="481" y="157"/>
                  <a:pt x="481" y="157"/>
                </a:cubicBezTo>
                <a:cubicBezTo>
                  <a:pt x="557" y="157"/>
                  <a:pt x="557" y="157"/>
                  <a:pt x="557" y="157"/>
                </a:cubicBezTo>
                <a:lnTo>
                  <a:pt x="557" y="137"/>
                </a:lnTo>
                <a:close/>
                <a:moveTo>
                  <a:pt x="716" y="155"/>
                </a:moveTo>
                <a:cubicBezTo>
                  <a:pt x="716" y="45"/>
                  <a:pt x="716" y="45"/>
                  <a:pt x="716" y="45"/>
                </a:cubicBezTo>
                <a:cubicBezTo>
                  <a:pt x="716" y="36"/>
                  <a:pt x="713" y="33"/>
                  <a:pt x="705" y="33"/>
                </a:cubicBezTo>
                <a:cubicBezTo>
                  <a:pt x="679" y="33"/>
                  <a:pt x="679" y="33"/>
                  <a:pt x="679" y="33"/>
                </a:cubicBezTo>
                <a:cubicBezTo>
                  <a:pt x="679" y="46"/>
                  <a:pt x="679" y="46"/>
                  <a:pt x="679" y="46"/>
                </a:cubicBezTo>
                <a:cubicBezTo>
                  <a:pt x="680" y="46"/>
                  <a:pt x="680" y="46"/>
                  <a:pt x="680" y="46"/>
                </a:cubicBezTo>
                <a:cubicBezTo>
                  <a:pt x="686" y="46"/>
                  <a:pt x="687" y="47"/>
                  <a:pt x="687" y="54"/>
                </a:cubicBezTo>
                <a:cubicBezTo>
                  <a:pt x="687" y="155"/>
                  <a:pt x="687" y="155"/>
                  <a:pt x="687" y="155"/>
                </a:cubicBezTo>
                <a:lnTo>
                  <a:pt x="716" y="155"/>
                </a:lnTo>
                <a:close/>
                <a:moveTo>
                  <a:pt x="729" y="155"/>
                </a:moveTo>
                <a:cubicBezTo>
                  <a:pt x="757" y="155"/>
                  <a:pt x="757" y="155"/>
                  <a:pt x="757" y="155"/>
                </a:cubicBezTo>
                <a:cubicBezTo>
                  <a:pt x="757" y="69"/>
                  <a:pt x="757" y="69"/>
                  <a:pt x="757" y="69"/>
                </a:cubicBezTo>
                <a:cubicBezTo>
                  <a:pt x="757" y="61"/>
                  <a:pt x="754" y="58"/>
                  <a:pt x="746" y="58"/>
                </a:cubicBezTo>
                <a:cubicBezTo>
                  <a:pt x="729" y="58"/>
                  <a:pt x="729" y="58"/>
                  <a:pt x="729" y="58"/>
                </a:cubicBezTo>
                <a:lnTo>
                  <a:pt x="729" y="155"/>
                </a:lnTo>
                <a:close/>
                <a:moveTo>
                  <a:pt x="675" y="155"/>
                </a:moveTo>
                <a:cubicBezTo>
                  <a:pt x="675" y="58"/>
                  <a:pt x="675" y="58"/>
                  <a:pt x="675" y="58"/>
                </a:cubicBezTo>
                <a:cubicBezTo>
                  <a:pt x="658" y="58"/>
                  <a:pt x="658" y="58"/>
                  <a:pt x="658" y="58"/>
                </a:cubicBezTo>
                <a:cubicBezTo>
                  <a:pt x="650" y="58"/>
                  <a:pt x="646" y="61"/>
                  <a:pt x="646" y="69"/>
                </a:cubicBezTo>
                <a:cubicBezTo>
                  <a:pt x="646" y="155"/>
                  <a:pt x="646" y="155"/>
                  <a:pt x="646" y="155"/>
                </a:cubicBezTo>
                <a:lnTo>
                  <a:pt x="675" y="155"/>
                </a:lnTo>
                <a:close/>
                <a:moveTo>
                  <a:pt x="784" y="99"/>
                </a:moveTo>
                <a:cubicBezTo>
                  <a:pt x="784" y="147"/>
                  <a:pt x="749" y="182"/>
                  <a:pt x="702" y="182"/>
                </a:cubicBezTo>
                <a:cubicBezTo>
                  <a:pt x="654" y="182"/>
                  <a:pt x="619" y="147"/>
                  <a:pt x="619" y="99"/>
                </a:cubicBezTo>
                <a:cubicBezTo>
                  <a:pt x="619" y="51"/>
                  <a:pt x="654" y="15"/>
                  <a:pt x="702" y="15"/>
                </a:cubicBezTo>
                <a:cubicBezTo>
                  <a:pt x="749" y="15"/>
                  <a:pt x="784" y="51"/>
                  <a:pt x="784" y="99"/>
                </a:cubicBezTo>
                <a:moveTo>
                  <a:pt x="801" y="99"/>
                </a:moveTo>
                <a:cubicBezTo>
                  <a:pt x="801" y="42"/>
                  <a:pt x="759" y="0"/>
                  <a:pt x="702" y="0"/>
                </a:cubicBezTo>
                <a:cubicBezTo>
                  <a:pt x="645" y="0"/>
                  <a:pt x="602" y="42"/>
                  <a:pt x="602" y="99"/>
                </a:cubicBezTo>
                <a:cubicBezTo>
                  <a:pt x="602" y="156"/>
                  <a:pt x="645" y="198"/>
                  <a:pt x="702" y="198"/>
                </a:cubicBezTo>
                <a:cubicBezTo>
                  <a:pt x="759" y="198"/>
                  <a:pt x="801" y="156"/>
                  <a:pt x="801" y="99"/>
                </a:cubicBezTo>
                <a:moveTo>
                  <a:pt x="35" y="295"/>
                </a:moveTo>
                <a:cubicBezTo>
                  <a:pt x="13" y="295"/>
                  <a:pt x="2" y="281"/>
                  <a:pt x="2" y="258"/>
                </a:cubicBezTo>
                <a:cubicBezTo>
                  <a:pt x="2" y="251"/>
                  <a:pt x="2" y="242"/>
                  <a:pt x="7" y="234"/>
                </a:cubicBezTo>
                <a:cubicBezTo>
                  <a:pt x="13" y="224"/>
                  <a:pt x="23" y="218"/>
                  <a:pt x="38" y="218"/>
                </a:cubicBezTo>
                <a:cubicBezTo>
                  <a:pt x="51" y="218"/>
                  <a:pt x="58" y="223"/>
                  <a:pt x="58" y="223"/>
                </a:cubicBezTo>
                <a:cubicBezTo>
                  <a:pt x="58" y="233"/>
                  <a:pt x="58" y="233"/>
                  <a:pt x="58" y="233"/>
                </a:cubicBezTo>
                <a:cubicBezTo>
                  <a:pt x="58" y="233"/>
                  <a:pt x="52" y="226"/>
                  <a:pt x="38" y="226"/>
                </a:cubicBezTo>
                <a:cubicBezTo>
                  <a:pt x="19" y="226"/>
                  <a:pt x="12" y="241"/>
                  <a:pt x="12" y="257"/>
                </a:cubicBezTo>
                <a:cubicBezTo>
                  <a:pt x="12" y="277"/>
                  <a:pt x="20" y="287"/>
                  <a:pt x="36" y="287"/>
                </a:cubicBezTo>
                <a:cubicBezTo>
                  <a:pt x="43" y="287"/>
                  <a:pt x="47" y="285"/>
                  <a:pt x="47" y="285"/>
                </a:cubicBezTo>
                <a:cubicBezTo>
                  <a:pt x="47" y="261"/>
                  <a:pt x="47" y="261"/>
                  <a:pt x="47" y="261"/>
                </a:cubicBezTo>
                <a:cubicBezTo>
                  <a:pt x="58" y="261"/>
                  <a:pt x="58" y="261"/>
                  <a:pt x="58" y="261"/>
                </a:cubicBezTo>
                <a:cubicBezTo>
                  <a:pt x="58" y="289"/>
                  <a:pt x="58" y="289"/>
                  <a:pt x="58" y="289"/>
                </a:cubicBezTo>
                <a:cubicBezTo>
                  <a:pt x="58" y="289"/>
                  <a:pt x="51" y="295"/>
                  <a:pt x="35" y="295"/>
                </a:cubicBezTo>
                <a:close/>
                <a:moveTo>
                  <a:pt x="72" y="295"/>
                </a:moveTo>
                <a:cubicBezTo>
                  <a:pt x="72" y="213"/>
                  <a:pt x="72" y="213"/>
                  <a:pt x="72" y="213"/>
                </a:cubicBezTo>
                <a:cubicBezTo>
                  <a:pt x="83" y="212"/>
                  <a:pt x="83" y="212"/>
                  <a:pt x="83" y="212"/>
                </a:cubicBezTo>
                <a:cubicBezTo>
                  <a:pt x="83" y="295"/>
                  <a:pt x="83" y="295"/>
                  <a:pt x="83" y="295"/>
                </a:cubicBezTo>
                <a:lnTo>
                  <a:pt x="72" y="295"/>
                </a:lnTo>
                <a:close/>
                <a:moveTo>
                  <a:pt x="118" y="296"/>
                </a:moveTo>
                <a:cubicBezTo>
                  <a:pt x="104" y="296"/>
                  <a:pt x="95" y="286"/>
                  <a:pt x="95" y="268"/>
                </a:cubicBezTo>
                <a:cubicBezTo>
                  <a:pt x="95" y="250"/>
                  <a:pt x="103" y="238"/>
                  <a:pt x="119" y="238"/>
                </a:cubicBezTo>
                <a:cubicBezTo>
                  <a:pt x="133" y="238"/>
                  <a:pt x="142" y="248"/>
                  <a:pt x="142" y="266"/>
                </a:cubicBezTo>
                <a:cubicBezTo>
                  <a:pt x="142" y="284"/>
                  <a:pt x="134" y="296"/>
                  <a:pt x="118" y="296"/>
                </a:cubicBezTo>
                <a:close/>
                <a:moveTo>
                  <a:pt x="118" y="246"/>
                </a:moveTo>
                <a:cubicBezTo>
                  <a:pt x="109" y="246"/>
                  <a:pt x="105" y="253"/>
                  <a:pt x="105" y="267"/>
                </a:cubicBezTo>
                <a:cubicBezTo>
                  <a:pt x="105" y="279"/>
                  <a:pt x="108" y="288"/>
                  <a:pt x="118" y="288"/>
                </a:cubicBezTo>
                <a:cubicBezTo>
                  <a:pt x="128" y="288"/>
                  <a:pt x="132" y="281"/>
                  <a:pt x="132" y="267"/>
                </a:cubicBezTo>
                <a:cubicBezTo>
                  <a:pt x="132" y="255"/>
                  <a:pt x="129" y="246"/>
                  <a:pt x="118" y="246"/>
                </a:cubicBezTo>
                <a:close/>
                <a:moveTo>
                  <a:pt x="176" y="295"/>
                </a:moveTo>
                <a:cubicBezTo>
                  <a:pt x="167" y="295"/>
                  <a:pt x="163" y="291"/>
                  <a:pt x="163" y="291"/>
                </a:cubicBezTo>
                <a:cubicBezTo>
                  <a:pt x="154" y="295"/>
                  <a:pt x="154" y="295"/>
                  <a:pt x="154" y="295"/>
                </a:cubicBezTo>
                <a:cubicBezTo>
                  <a:pt x="154" y="213"/>
                  <a:pt x="154" y="213"/>
                  <a:pt x="154" y="213"/>
                </a:cubicBezTo>
                <a:cubicBezTo>
                  <a:pt x="164" y="212"/>
                  <a:pt x="164" y="212"/>
                  <a:pt x="164" y="212"/>
                </a:cubicBezTo>
                <a:cubicBezTo>
                  <a:pt x="164" y="245"/>
                  <a:pt x="164" y="245"/>
                  <a:pt x="164" y="245"/>
                </a:cubicBezTo>
                <a:cubicBezTo>
                  <a:pt x="164" y="245"/>
                  <a:pt x="168" y="238"/>
                  <a:pt x="178" y="238"/>
                </a:cubicBezTo>
                <a:cubicBezTo>
                  <a:pt x="193" y="238"/>
                  <a:pt x="199" y="250"/>
                  <a:pt x="199" y="265"/>
                </a:cubicBezTo>
                <a:cubicBezTo>
                  <a:pt x="199" y="290"/>
                  <a:pt x="187" y="295"/>
                  <a:pt x="176" y="295"/>
                </a:cubicBezTo>
                <a:close/>
                <a:moveTo>
                  <a:pt x="176" y="246"/>
                </a:moveTo>
                <a:cubicBezTo>
                  <a:pt x="169" y="246"/>
                  <a:pt x="164" y="250"/>
                  <a:pt x="164" y="257"/>
                </a:cubicBezTo>
                <a:cubicBezTo>
                  <a:pt x="164" y="284"/>
                  <a:pt x="164" y="284"/>
                  <a:pt x="164" y="284"/>
                </a:cubicBezTo>
                <a:cubicBezTo>
                  <a:pt x="164" y="284"/>
                  <a:pt x="167" y="288"/>
                  <a:pt x="174" y="288"/>
                </a:cubicBezTo>
                <a:cubicBezTo>
                  <a:pt x="184" y="288"/>
                  <a:pt x="189" y="281"/>
                  <a:pt x="189" y="267"/>
                </a:cubicBezTo>
                <a:cubicBezTo>
                  <a:pt x="189" y="252"/>
                  <a:pt x="184" y="246"/>
                  <a:pt x="176" y="246"/>
                </a:cubicBezTo>
                <a:close/>
                <a:moveTo>
                  <a:pt x="238" y="295"/>
                </a:moveTo>
                <a:cubicBezTo>
                  <a:pt x="238" y="288"/>
                  <a:pt x="238" y="288"/>
                  <a:pt x="238" y="288"/>
                </a:cubicBezTo>
                <a:cubicBezTo>
                  <a:pt x="238" y="288"/>
                  <a:pt x="235" y="295"/>
                  <a:pt x="224" y="295"/>
                </a:cubicBezTo>
                <a:cubicBezTo>
                  <a:pt x="212" y="295"/>
                  <a:pt x="208" y="287"/>
                  <a:pt x="208" y="279"/>
                </a:cubicBezTo>
                <a:cubicBezTo>
                  <a:pt x="208" y="262"/>
                  <a:pt x="222" y="261"/>
                  <a:pt x="232" y="261"/>
                </a:cubicBezTo>
                <a:cubicBezTo>
                  <a:pt x="238" y="260"/>
                  <a:pt x="238" y="260"/>
                  <a:pt x="238" y="260"/>
                </a:cubicBezTo>
                <a:cubicBezTo>
                  <a:pt x="238" y="256"/>
                  <a:pt x="238" y="256"/>
                  <a:pt x="238" y="256"/>
                </a:cubicBezTo>
                <a:cubicBezTo>
                  <a:pt x="238" y="252"/>
                  <a:pt x="238" y="246"/>
                  <a:pt x="227" y="246"/>
                </a:cubicBezTo>
                <a:cubicBezTo>
                  <a:pt x="218" y="246"/>
                  <a:pt x="213" y="251"/>
                  <a:pt x="213" y="251"/>
                </a:cubicBezTo>
                <a:cubicBezTo>
                  <a:pt x="213" y="242"/>
                  <a:pt x="213" y="242"/>
                  <a:pt x="213" y="242"/>
                </a:cubicBezTo>
                <a:cubicBezTo>
                  <a:pt x="213" y="242"/>
                  <a:pt x="218" y="238"/>
                  <a:pt x="230" y="238"/>
                </a:cubicBezTo>
                <a:cubicBezTo>
                  <a:pt x="247" y="238"/>
                  <a:pt x="248" y="249"/>
                  <a:pt x="248" y="256"/>
                </a:cubicBezTo>
                <a:cubicBezTo>
                  <a:pt x="248" y="294"/>
                  <a:pt x="248" y="294"/>
                  <a:pt x="248" y="294"/>
                </a:cubicBezTo>
                <a:lnTo>
                  <a:pt x="238" y="295"/>
                </a:lnTo>
                <a:close/>
                <a:moveTo>
                  <a:pt x="238" y="267"/>
                </a:moveTo>
                <a:cubicBezTo>
                  <a:pt x="232" y="268"/>
                  <a:pt x="232" y="268"/>
                  <a:pt x="232" y="268"/>
                </a:cubicBezTo>
                <a:cubicBezTo>
                  <a:pt x="224" y="268"/>
                  <a:pt x="218" y="270"/>
                  <a:pt x="218" y="278"/>
                </a:cubicBezTo>
                <a:cubicBezTo>
                  <a:pt x="218" y="282"/>
                  <a:pt x="220" y="287"/>
                  <a:pt x="227" y="287"/>
                </a:cubicBezTo>
                <a:cubicBezTo>
                  <a:pt x="234" y="287"/>
                  <a:pt x="238" y="283"/>
                  <a:pt x="238" y="277"/>
                </a:cubicBezTo>
                <a:lnTo>
                  <a:pt x="238" y="267"/>
                </a:lnTo>
                <a:close/>
                <a:moveTo>
                  <a:pt x="263" y="295"/>
                </a:moveTo>
                <a:cubicBezTo>
                  <a:pt x="263" y="213"/>
                  <a:pt x="263" y="213"/>
                  <a:pt x="263" y="213"/>
                </a:cubicBezTo>
                <a:cubicBezTo>
                  <a:pt x="273" y="212"/>
                  <a:pt x="273" y="212"/>
                  <a:pt x="273" y="212"/>
                </a:cubicBezTo>
                <a:cubicBezTo>
                  <a:pt x="273" y="295"/>
                  <a:pt x="273" y="295"/>
                  <a:pt x="273" y="295"/>
                </a:cubicBezTo>
                <a:lnTo>
                  <a:pt x="263" y="295"/>
                </a:lnTo>
                <a:close/>
                <a:moveTo>
                  <a:pt x="311" y="295"/>
                </a:moveTo>
                <a:cubicBezTo>
                  <a:pt x="311" y="219"/>
                  <a:pt x="311" y="219"/>
                  <a:pt x="311" y="219"/>
                </a:cubicBezTo>
                <a:cubicBezTo>
                  <a:pt x="322" y="219"/>
                  <a:pt x="322" y="219"/>
                  <a:pt x="322" y="219"/>
                </a:cubicBezTo>
                <a:cubicBezTo>
                  <a:pt x="322" y="295"/>
                  <a:pt x="322" y="295"/>
                  <a:pt x="322" y="295"/>
                </a:cubicBezTo>
                <a:lnTo>
                  <a:pt x="311" y="295"/>
                </a:lnTo>
                <a:close/>
                <a:moveTo>
                  <a:pt x="371" y="295"/>
                </a:moveTo>
                <a:cubicBezTo>
                  <a:pt x="371" y="261"/>
                  <a:pt x="371" y="261"/>
                  <a:pt x="371" y="261"/>
                </a:cubicBezTo>
                <a:cubicBezTo>
                  <a:pt x="371" y="255"/>
                  <a:pt x="371" y="247"/>
                  <a:pt x="359" y="247"/>
                </a:cubicBezTo>
                <a:cubicBezTo>
                  <a:pt x="354" y="247"/>
                  <a:pt x="348" y="249"/>
                  <a:pt x="348" y="257"/>
                </a:cubicBezTo>
                <a:cubicBezTo>
                  <a:pt x="348" y="295"/>
                  <a:pt x="348" y="295"/>
                  <a:pt x="348" y="295"/>
                </a:cubicBezTo>
                <a:cubicBezTo>
                  <a:pt x="337" y="295"/>
                  <a:pt x="337" y="295"/>
                  <a:pt x="337" y="295"/>
                </a:cubicBezTo>
                <a:cubicBezTo>
                  <a:pt x="337" y="239"/>
                  <a:pt x="337" y="239"/>
                  <a:pt x="337" y="239"/>
                </a:cubicBezTo>
                <a:cubicBezTo>
                  <a:pt x="347" y="239"/>
                  <a:pt x="347" y="239"/>
                  <a:pt x="347" y="239"/>
                </a:cubicBezTo>
                <a:cubicBezTo>
                  <a:pt x="347" y="246"/>
                  <a:pt x="347" y="246"/>
                  <a:pt x="347" y="246"/>
                </a:cubicBezTo>
                <a:cubicBezTo>
                  <a:pt x="347" y="246"/>
                  <a:pt x="351" y="238"/>
                  <a:pt x="363" y="238"/>
                </a:cubicBezTo>
                <a:cubicBezTo>
                  <a:pt x="369" y="238"/>
                  <a:pt x="373" y="240"/>
                  <a:pt x="376" y="242"/>
                </a:cubicBezTo>
                <a:cubicBezTo>
                  <a:pt x="381" y="247"/>
                  <a:pt x="381" y="254"/>
                  <a:pt x="381" y="259"/>
                </a:cubicBezTo>
                <a:cubicBezTo>
                  <a:pt x="381" y="295"/>
                  <a:pt x="381" y="295"/>
                  <a:pt x="381" y="295"/>
                </a:cubicBezTo>
                <a:lnTo>
                  <a:pt x="371" y="295"/>
                </a:lnTo>
                <a:close/>
                <a:moveTo>
                  <a:pt x="417" y="295"/>
                </a:moveTo>
                <a:cubicBezTo>
                  <a:pt x="407" y="295"/>
                  <a:pt x="407" y="295"/>
                  <a:pt x="407" y="295"/>
                </a:cubicBezTo>
                <a:cubicBezTo>
                  <a:pt x="388" y="239"/>
                  <a:pt x="388" y="239"/>
                  <a:pt x="388" y="239"/>
                </a:cubicBezTo>
                <a:cubicBezTo>
                  <a:pt x="399" y="239"/>
                  <a:pt x="399" y="239"/>
                  <a:pt x="399" y="239"/>
                </a:cubicBezTo>
                <a:cubicBezTo>
                  <a:pt x="410" y="275"/>
                  <a:pt x="410" y="275"/>
                  <a:pt x="410" y="275"/>
                </a:cubicBezTo>
                <a:cubicBezTo>
                  <a:pt x="412" y="280"/>
                  <a:pt x="412" y="285"/>
                  <a:pt x="412" y="285"/>
                </a:cubicBezTo>
                <a:cubicBezTo>
                  <a:pt x="412" y="285"/>
                  <a:pt x="413" y="281"/>
                  <a:pt x="415" y="275"/>
                </a:cubicBezTo>
                <a:cubicBezTo>
                  <a:pt x="427" y="239"/>
                  <a:pt x="427" y="239"/>
                  <a:pt x="427" y="239"/>
                </a:cubicBezTo>
                <a:cubicBezTo>
                  <a:pt x="436" y="239"/>
                  <a:pt x="436" y="239"/>
                  <a:pt x="436" y="239"/>
                </a:cubicBezTo>
                <a:lnTo>
                  <a:pt x="417" y="295"/>
                </a:lnTo>
                <a:close/>
                <a:moveTo>
                  <a:pt x="451" y="268"/>
                </a:moveTo>
                <a:cubicBezTo>
                  <a:pt x="451" y="279"/>
                  <a:pt x="454" y="288"/>
                  <a:pt x="468" y="288"/>
                </a:cubicBezTo>
                <a:cubicBezTo>
                  <a:pt x="478" y="288"/>
                  <a:pt x="483" y="282"/>
                  <a:pt x="483" y="282"/>
                </a:cubicBezTo>
                <a:cubicBezTo>
                  <a:pt x="482" y="291"/>
                  <a:pt x="482" y="291"/>
                  <a:pt x="482" y="291"/>
                </a:cubicBezTo>
                <a:cubicBezTo>
                  <a:pt x="482" y="291"/>
                  <a:pt x="478" y="295"/>
                  <a:pt x="465" y="295"/>
                </a:cubicBezTo>
                <a:cubicBezTo>
                  <a:pt x="454" y="295"/>
                  <a:pt x="441" y="291"/>
                  <a:pt x="441" y="267"/>
                </a:cubicBezTo>
                <a:cubicBezTo>
                  <a:pt x="441" y="250"/>
                  <a:pt x="448" y="238"/>
                  <a:pt x="464" y="238"/>
                </a:cubicBezTo>
                <a:cubicBezTo>
                  <a:pt x="483" y="238"/>
                  <a:pt x="485" y="254"/>
                  <a:pt x="485" y="266"/>
                </a:cubicBezTo>
                <a:cubicBezTo>
                  <a:pt x="485" y="268"/>
                  <a:pt x="485" y="268"/>
                  <a:pt x="485" y="268"/>
                </a:cubicBezTo>
                <a:lnTo>
                  <a:pt x="451" y="268"/>
                </a:lnTo>
                <a:close/>
                <a:moveTo>
                  <a:pt x="464" y="245"/>
                </a:moveTo>
                <a:cubicBezTo>
                  <a:pt x="452" y="245"/>
                  <a:pt x="451" y="256"/>
                  <a:pt x="451" y="261"/>
                </a:cubicBezTo>
                <a:cubicBezTo>
                  <a:pt x="475" y="261"/>
                  <a:pt x="475" y="261"/>
                  <a:pt x="475" y="261"/>
                </a:cubicBezTo>
                <a:cubicBezTo>
                  <a:pt x="475" y="253"/>
                  <a:pt x="474" y="245"/>
                  <a:pt x="464" y="245"/>
                </a:cubicBezTo>
                <a:close/>
                <a:moveTo>
                  <a:pt x="509" y="295"/>
                </a:moveTo>
                <a:cubicBezTo>
                  <a:pt x="499" y="295"/>
                  <a:pt x="494" y="291"/>
                  <a:pt x="494" y="291"/>
                </a:cubicBezTo>
                <a:cubicBezTo>
                  <a:pt x="493" y="282"/>
                  <a:pt x="493" y="282"/>
                  <a:pt x="493" y="282"/>
                </a:cubicBezTo>
                <a:cubicBezTo>
                  <a:pt x="493" y="282"/>
                  <a:pt x="499" y="288"/>
                  <a:pt x="509" y="288"/>
                </a:cubicBezTo>
                <a:cubicBezTo>
                  <a:pt x="515" y="288"/>
                  <a:pt x="519" y="286"/>
                  <a:pt x="519" y="281"/>
                </a:cubicBezTo>
                <a:cubicBezTo>
                  <a:pt x="519" y="276"/>
                  <a:pt x="517" y="275"/>
                  <a:pt x="512" y="272"/>
                </a:cubicBezTo>
                <a:cubicBezTo>
                  <a:pt x="506" y="269"/>
                  <a:pt x="506" y="269"/>
                  <a:pt x="506" y="269"/>
                </a:cubicBezTo>
                <a:cubicBezTo>
                  <a:pt x="501" y="266"/>
                  <a:pt x="495" y="262"/>
                  <a:pt x="495" y="253"/>
                </a:cubicBezTo>
                <a:cubicBezTo>
                  <a:pt x="495" y="240"/>
                  <a:pt x="506" y="238"/>
                  <a:pt x="512" y="238"/>
                </a:cubicBezTo>
                <a:cubicBezTo>
                  <a:pt x="522" y="238"/>
                  <a:pt x="526" y="242"/>
                  <a:pt x="526" y="242"/>
                </a:cubicBezTo>
                <a:cubicBezTo>
                  <a:pt x="526" y="251"/>
                  <a:pt x="526" y="251"/>
                  <a:pt x="526" y="251"/>
                </a:cubicBezTo>
                <a:cubicBezTo>
                  <a:pt x="526" y="251"/>
                  <a:pt x="521" y="246"/>
                  <a:pt x="513" y="246"/>
                </a:cubicBezTo>
                <a:cubicBezTo>
                  <a:pt x="505" y="246"/>
                  <a:pt x="504" y="250"/>
                  <a:pt x="504" y="252"/>
                </a:cubicBezTo>
                <a:cubicBezTo>
                  <a:pt x="504" y="257"/>
                  <a:pt x="507" y="258"/>
                  <a:pt x="511" y="261"/>
                </a:cubicBezTo>
                <a:cubicBezTo>
                  <a:pt x="517" y="264"/>
                  <a:pt x="517" y="264"/>
                  <a:pt x="517" y="264"/>
                </a:cubicBezTo>
                <a:cubicBezTo>
                  <a:pt x="523" y="267"/>
                  <a:pt x="528" y="271"/>
                  <a:pt x="528" y="279"/>
                </a:cubicBezTo>
                <a:cubicBezTo>
                  <a:pt x="528" y="293"/>
                  <a:pt x="517" y="295"/>
                  <a:pt x="509" y="295"/>
                </a:cubicBezTo>
                <a:close/>
                <a:moveTo>
                  <a:pt x="564" y="293"/>
                </a:moveTo>
                <a:cubicBezTo>
                  <a:pt x="564" y="293"/>
                  <a:pt x="561" y="295"/>
                  <a:pt x="555" y="295"/>
                </a:cubicBezTo>
                <a:cubicBezTo>
                  <a:pt x="551" y="295"/>
                  <a:pt x="547" y="294"/>
                  <a:pt x="544" y="290"/>
                </a:cubicBezTo>
                <a:cubicBezTo>
                  <a:pt x="542" y="287"/>
                  <a:pt x="541" y="283"/>
                  <a:pt x="541" y="278"/>
                </a:cubicBezTo>
                <a:cubicBezTo>
                  <a:pt x="541" y="246"/>
                  <a:pt x="541" y="246"/>
                  <a:pt x="541" y="246"/>
                </a:cubicBezTo>
                <a:cubicBezTo>
                  <a:pt x="536" y="246"/>
                  <a:pt x="536" y="246"/>
                  <a:pt x="536" y="246"/>
                </a:cubicBezTo>
                <a:cubicBezTo>
                  <a:pt x="536" y="239"/>
                  <a:pt x="536" y="239"/>
                  <a:pt x="536" y="239"/>
                </a:cubicBezTo>
                <a:cubicBezTo>
                  <a:pt x="541" y="239"/>
                  <a:pt x="541" y="239"/>
                  <a:pt x="541" y="239"/>
                </a:cubicBezTo>
                <a:cubicBezTo>
                  <a:pt x="541" y="229"/>
                  <a:pt x="541" y="229"/>
                  <a:pt x="541" y="229"/>
                </a:cubicBezTo>
                <a:cubicBezTo>
                  <a:pt x="551" y="227"/>
                  <a:pt x="551" y="227"/>
                  <a:pt x="551" y="227"/>
                </a:cubicBezTo>
                <a:cubicBezTo>
                  <a:pt x="551" y="239"/>
                  <a:pt x="551" y="239"/>
                  <a:pt x="551" y="239"/>
                </a:cubicBezTo>
                <a:cubicBezTo>
                  <a:pt x="565" y="239"/>
                  <a:pt x="565" y="239"/>
                  <a:pt x="565" y="239"/>
                </a:cubicBezTo>
                <a:cubicBezTo>
                  <a:pt x="565" y="246"/>
                  <a:pt x="565" y="246"/>
                  <a:pt x="565" y="246"/>
                </a:cubicBezTo>
                <a:cubicBezTo>
                  <a:pt x="551" y="246"/>
                  <a:pt x="551" y="246"/>
                  <a:pt x="551" y="246"/>
                </a:cubicBezTo>
                <a:cubicBezTo>
                  <a:pt x="551" y="278"/>
                  <a:pt x="551" y="278"/>
                  <a:pt x="551" y="278"/>
                </a:cubicBezTo>
                <a:cubicBezTo>
                  <a:pt x="551" y="281"/>
                  <a:pt x="552" y="284"/>
                  <a:pt x="553" y="285"/>
                </a:cubicBezTo>
                <a:cubicBezTo>
                  <a:pt x="554" y="287"/>
                  <a:pt x="555" y="288"/>
                  <a:pt x="558" y="288"/>
                </a:cubicBezTo>
                <a:cubicBezTo>
                  <a:pt x="563" y="288"/>
                  <a:pt x="565" y="285"/>
                  <a:pt x="565" y="285"/>
                </a:cubicBezTo>
                <a:lnTo>
                  <a:pt x="564" y="293"/>
                </a:lnTo>
                <a:close/>
                <a:moveTo>
                  <a:pt x="595" y="296"/>
                </a:moveTo>
                <a:cubicBezTo>
                  <a:pt x="581" y="296"/>
                  <a:pt x="572" y="286"/>
                  <a:pt x="572" y="268"/>
                </a:cubicBezTo>
                <a:cubicBezTo>
                  <a:pt x="572" y="250"/>
                  <a:pt x="579" y="238"/>
                  <a:pt x="596" y="238"/>
                </a:cubicBezTo>
                <a:cubicBezTo>
                  <a:pt x="610" y="238"/>
                  <a:pt x="619" y="248"/>
                  <a:pt x="619" y="266"/>
                </a:cubicBezTo>
                <a:cubicBezTo>
                  <a:pt x="619" y="284"/>
                  <a:pt x="611" y="296"/>
                  <a:pt x="595" y="296"/>
                </a:cubicBezTo>
                <a:close/>
                <a:moveTo>
                  <a:pt x="595" y="246"/>
                </a:moveTo>
                <a:cubicBezTo>
                  <a:pt x="586" y="246"/>
                  <a:pt x="582" y="253"/>
                  <a:pt x="582" y="267"/>
                </a:cubicBezTo>
                <a:cubicBezTo>
                  <a:pt x="582" y="279"/>
                  <a:pt x="585" y="288"/>
                  <a:pt x="595" y="288"/>
                </a:cubicBezTo>
                <a:cubicBezTo>
                  <a:pt x="604" y="288"/>
                  <a:pt x="608" y="281"/>
                  <a:pt x="608" y="267"/>
                </a:cubicBezTo>
                <a:cubicBezTo>
                  <a:pt x="608" y="255"/>
                  <a:pt x="605" y="246"/>
                  <a:pt x="595" y="246"/>
                </a:cubicBezTo>
                <a:close/>
                <a:moveTo>
                  <a:pt x="659" y="249"/>
                </a:moveTo>
                <a:cubicBezTo>
                  <a:pt x="659" y="249"/>
                  <a:pt x="657" y="247"/>
                  <a:pt x="651" y="247"/>
                </a:cubicBezTo>
                <a:cubicBezTo>
                  <a:pt x="644" y="247"/>
                  <a:pt x="641" y="253"/>
                  <a:pt x="641" y="259"/>
                </a:cubicBezTo>
                <a:cubicBezTo>
                  <a:pt x="641" y="295"/>
                  <a:pt x="641" y="295"/>
                  <a:pt x="641" y="295"/>
                </a:cubicBezTo>
                <a:cubicBezTo>
                  <a:pt x="631" y="295"/>
                  <a:pt x="631" y="295"/>
                  <a:pt x="631" y="295"/>
                </a:cubicBezTo>
                <a:cubicBezTo>
                  <a:pt x="631" y="239"/>
                  <a:pt x="631" y="239"/>
                  <a:pt x="631" y="239"/>
                </a:cubicBezTo>
                <a:cubicBezTo>
                  <a:pt x="641" y="239"/>
                  <a:pt x="641" y="239"/>
                  <a:pt x="641" y="239"/>
                </a:cubicBezTo>
                <a:cubicBezTo>
                  <a:pt x="641" y="247"/>
                  <a:pt x="641" y="247"/>
                  <a:pt x="641" y="247"/>
                </a:cubicBezTo>
                <a:cubicBezTo>
                  <a:pt x="641" y="247"/>
                  <a:pt x="644" y="238"/>
                  <a:pt x="653" y="238"/>
                </a:cubicBezTo>
                <a:cubicBezTo>
                  <a:pt x="658" y="238"/>
                  <a:pt x="660" y="240"/>
                  <a:pt x="660" y="240"/>
                </a:cubicBezTo>
                <a:lnTo>
                  <a:pt x="659" y="249"/>
                </a:lnTo>
                <a:close/>
                <a:moveTo>
                  <a:pt x="681" y="295"/>
                </a:moveTo>
                <a:cubicBezTo>
                  <a:pt x="670" y="295"/>
                  <a:pt x="665" y="291"/>
                  <a:pt x="665" y="291"/>
                </a:cubicBezTo>
                <a:cubicBezTo>
                  <a:pt x="665" y="282"/>
                  <a:pt x="665" y="282"/>
                  <a:pt x="665" y="282"/>
                </a:cubicBezTo>
                <a:cubicBezTo>
                  <a:pt x="665" y="282"/>
                  <a:pt x="670" y="288"/>
                  <a:pt x="680" y="288"/>
                </a:cubicBezTo>
                <a:cubicBezTo>
                  <a:pt x="686" y="288"/>
                  <a:pt x="690" y="286"/>
                  <a:pt x="690" y="281"/>
                </a:cubicBezTo>
                <a:cubicBezTo>
                  <a:pt x="690" y="276"/>
                  <a:pt x="689" y="275"/>
                  <a:pt x="683" y="272"/>
                </a:cubicBezTo>
                <a:cubicBezTo>
                  <a:pt x="677" y="269"/>
                  <a:pt x="677" y="269"/>
                  <a:pt x="677" y="269"/>
                </a:cubicBezTo>
                <a:cubicBezTo>
                  <a:pt x="672" y="266"/>
                  <a:pt x="666" y="262"/>
                  <a:pt x="666" y="253"/>
                </a:cubicBezTo>
                <a:cubicBezTo>
                  <a:pt x="666" y="240"/>
                  <a:pt x="677" y="238"/>
                  <a:pt x="684" y="238"/>
                </a:cubicBezTo>
                <a:cubicBezTo>
                  <a:pt x="693" y="238"/>
                  <a:pt x="697" y="242"/>
                  <a:pt x="697" y="242"/>
                </a:cubicBezTo>
                <a:cubicBezTo>
                  <a:pt x="697" y="251"/>
                  <a:pt x="697" y="251"/>
                  <a:pt x="697" y="251"/>
                </a:cubicBezTo>
                <a:cubicBezTo>
                  <a:pt x="697" y="251"/>
                  <a:pt x="692" y="246"/>
                  <a:pt x="684" y="246"/>
                </a:cubicBezTo>
                <a:cubicBezTo>
                  <a:pt x="676" y="246"/>
                  <a:pt x="675" y="250"/>
                  <a:pt x="675" y="252"/>
                </a:cubicBezTo>
                <a:cubicBezTo>
                  <a:pt x="675" y="257"/>
                  <a:pt x="678" y="258"/>
                  <a:pt x="683" y="261"/>
                </a:cubicBezTo>
                <a:cubicBezTo>
                  <a:pt x="689" y="264"/>
                  <a:pt x="689" y="264"/>
                  <a:pt x="689" y="264"/>
                </a:cubicBezTo>
                <a:cubicBezTo>
                  <a:pt x="694" y="267"/>
                  <a:pt x="700" y="271"/>
                  <a:pt x="700" y="279"/>
                </a:cubicBezTo>
                <a:cubicBezTo>
                  <a:pt x="700" y="293"/>
                  <a:pt x="689" y="295"/>
                  <a:pt x="681" y="295"/>
                </a:cubicBezTo>
                <a:close/>
              </a:path>
            </a:pathLst>
          </a:custGeom>
          <a:solidFill>
            <a:srgbClr val="003087"/>
          </a:solidFill>
          <a:ln w="9525">
            <a:noFill/>
            <a:round/>
            <a:headEnd/>
            <a:tailEnd/>
          </a:ln>
        </p:spPr>
        <p:txBody>
          <a:bodyPr/>
          <a:lstStyle/>
          <a:p>
            <a:endParaRPr lang="en-GB" sz="2400" noProof="0" dirty="0">
              <a:latin typeface="Arial" panose="020B0604020202020204" pitchFamily="34" charset="0"/>
            </a:endParaRPr>
          </a:p>
        </p:txBody>
      </p:sp>
    </p:spTree>
    <p:extLst>
      <p:ext uri="{BB962C8B-B14F-4D97-AF65-F5344CB8AC3E}">
        <p14:creationId xmlns:p14="http://schemas.microsoft.com/office/powerpoint/2010/main" val="103748282"/>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 id="2147483862" r:id="rId18"/>
    <p:sldLayoutId id="2147483863" r:id="rId19"/>
    <p:sldLayoutId id="2147483864" r:id="rId20"/>
    <p:sldLayoutId id="2147483865" r:id="rId21"/>
    <p:sldLayoutId id="2147483866" r:id="rId22"/>
    <p:sldLayoutId id="2147483867" r:id="rId23"/>
    <p:sldLayoutId id="2147483868" r:id="rId24"/>
    <p:sldLayoutId id="2147483869" r:id="rId25"/>
    <p:sldLayoutId id="2147483870" r:id="rId26"/>
    <p:sldLayoutId id="2147483871" r:id="rId27"/>
    <p:sldLayoutId id="2147483872" r:id="rId28"/>
    <p:sldLayoutId id="2147483873" r:id="rId29"/>
    <p:sldLayoutId id="2147483874" r:id="rId30"/>
    <p:sldLayoutId id="2147483875" r:id="rId31"/>
    <p:sldLayoutId id="2147483876" r:id="rId32"/>
    <p:sldLayoutId id="2147483877" r:id="rId33"/>
    <p:sldLayoutId id="2147483878" r:id="rId34"/>
    <p:sldLayoutId id="2147483879" r:id="rId35"/>
    <p:sldLayoutId id="2147483880" r:id="rId36"/>
    <p:sldLayoutId id="2147483881" r:id="rId37"/>
    <p:sldLayoutId id="2147483882" r:id="rId38"/>
    <p:sldLayoutId id="2147483883" r:id="rId39"/>
    <p:sldLayoutId id="2147483884" r:id="rId40"/>
    <p:sldLayoutId id="2147483885" r:id="rId41"/>
    <p:sldLayoutId id="2147483886" r:id="rId42"/>
    <p:sldLayoutId id="2147483887" r:id="rId43"/>
    <p:sldLayoutId id="2147483888" r:id="rId44"/>
    <p:sldLayoutId id="2147483889" r:id="rId45"/>
    <p:sldLayoutId id="2147483890" r:id="rId46"/>
  </p:sldLayoutIdLst>
  <p:hf hdr="0"/>
  <p:txStyles>
    <p:titleStyle>
      <a:lvl1pPr algn="l" rtl="0" eaLnBrk="1" fontAlgn="base" hangingPunct="1">
        <a:spcBef>
          <a:spcPct val="0"/>
        </a:spcBef>
        <a:spcAft>
          <a:spcPct val="0"/>
        </a:spcAft>
        <a:defRPr sz="2000" baseline="0">
          <a:solidFill>
            <a:schemeClr val="tx2"/>
          </a:solidFill>
          <a:latin typeface="Arial" panose="020B0604020202020204" pitchFamily="34" charset="0"/>
          <a:ea typeface="+mj-ea"/>
          <a:cs typeface="+mj-cs"/>
        </a:defRPr>
      </a:lvl1pPr>
      <a:lvl2pPr algn="l" rtl="0" eaLnBrk="1" fontAlgn="base" hangingPunct="1">
        <a:spcBef>
          <a:spcPct val="0"/>
        </a:spcBef>
        <a:spcAft>
          <a:spcPct val="0"/>
        </a:spcAft>
        <a:defRPr sz="2000">
          <a:solidFill>
            <a:schemeClr val="tx2"/>
          </a:solidFill>
          <a:latin typeface="Arial" charset="0"/>
        </a:defRPr>
      </a:lvl2pPr>
      <a:lvl3pPr algn="l" rtl="0" eaLnBrk="1" fontAlgn="base" hangingPunct="1">
        <a:spcBef>
          <a:spcPct val="0"/>
        </a:spcBef>
        <a:spcAft>
          <a:spcPct val="0"/>
        </a:spcAft>
        <a:defRPr sz="2000">
          <a:solidFill>
            <a:schemeClr val="tx2"/>
          </a:solidFill>
          <a:latin typeface="Arial" charset="0"/>
        </a:defRPr>
      </a:lvl3pPr>
      <a:lvl4pPr algn="l" rtl="0" eaLnBrk="1" fontAlgn="base" hangingPunct="1">
        <a:spcBef>
          <a:spcPct val="0"/>
        </a:spcBef>
        <a:spcAft>
          <a:spcPct val="0"/>
        </a:spcAft>
        <a:defRPr sz="2000">
          <a:solidFill>
            <a:schemeClr val="tx2"/>
          </a:solidFill>
          <a:latin typeface="Arial" charset="0"/>
        </a:defRPr>
      </a:lvl4pPr>
      <a:lvl5pPr algn="l" rtl="0" eaLnBrk="1" fontAlgn="base" hangingPunct="1">
        <a:spcBef>
          <a:spcPct val="0"/>
        </a:spcBef>
        <a:spcAft>
          <a:spcPct val="0"/>
        </a:spcAft>
        <a:defRPr sz="2000">
          <a:solidFill>
            <a:schemeClr val="tx2"/>
          </a:solidFill>
          <a:latin typeface="Arial" charset="0"/>
        </a:defRPr>
      </a:lvl5pPr>
      <a:lvl6pPr marL="457200" algn="l" rtl="0" eaLnBrk="1" fontAlgn="base" hangingPunct="1">
        <a:spcBef>
          <a:spcPct val="0"/>
        </a:spcBef>
        <a:spcAft>
          <a:spcPct val="0"/>
        </a:spcAft>
        <a:defRPr sz="2000">
          <a:solidFill>
            <a:schemeClr val="tx2"/>
          </a:solidFill>
          <a:latin typeface="Arial" charset="0"/>
        </a:defRPr>
      </a:lvl6pPr>
      <a:lvl7pPr marL="914400" algn="l" rtl="0" eaLnBrk="1" fontAlgn="base" hangingPunct="1">
        <a:spcBef>
          <a:spcPct val="0"/>
        </a:spcBef>
        <a:spcAft>
          <a:spcPct val="0"/>
        </a:spcAft>
        <a:defRPr sz="2000">
          <a:solidFill>
            <a:schemeClr val="tx2"/>
          </a:solidFill>
          <a:latin typeface="Arial" charset="0"/>
        </a:defRPr>
      </a:lvl7pPr>
      <a:lvl8pPr marL="1371600" algn="l" rtl="0" eaLnBrk="1" fontAlgn="base" hangingPunct="1">
        <a:spcBef>
          <a:spcPct val="0"/>
        </a:spcBef>
        <a:spcAft>
          <a:spcPct val="0"/>
        </a:spcAft>
        <a:defRPr sz="2000">
          <a:solidFill>
            <a:schemeClr val="tx2"/>
          </a:solidFill>
          <a:latin typeface="Arial" charset="0"/>
        </a:defRPr>
      </a:lvl8pPr>
      <a:lvl9pPr marL="1828800" algn="l" rtl="0" eaLnBrk="1" fontAlgn="base" hangingPunct="1">
        <a:spcBef>
          <a:spcPct val="0"/>
        </a:spcBef>
        <a:spcAft>
          <a:spcPct val="0"/>
        </a:spcAft>
        <a:defRPr sz="2000">
          <a:solidFill>
            <a:schemeClr val="tx2"/>
          </a:solidFill>
          <a:latin typeface="Arial" charset="0"/>
        </a:defRPr>
      </a:lvl9pPr>
    </p:titleStyle>
    <p:body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p:bodyStyle>
    <p:otherStyle>
      <a:defPPr>
        <a:defRPr lang="en-US"/>
      </a:defPPr>
      <a:lvl1pPr marL="0" algn="l" defTabSz="914400" rtl="0" eaLnBrk="1" fontAlgn="b" latinLnBrk="0" hangingPunct="1">
        <a:defRPr sz="1200" kern="1200">
          <a:solidFill>
            <a:schemeClr val="tx1"/>
          </a:solidFill>
          <a:latin typeface="+mn-lt"/>
          <a:ea typeface="+mn-ea"/>
          <a:cs typeface="+mn-cs"/>
        </a:defRPr>
      </a:lvl1pPr>
      <a:lvl2pPr marL="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02">
          <p15:clr>
            <a:srgbClr val="F26B43"/>
          </p15:clr>
        </p15:guide>
        <p15:guide id="3" pos="6029">
          <p15:clr>
            <a:srgbClr val="F26B43"/>
          </p15:clr>
        </p15:guide>
        <p15:guide id="4" orient="horz" pos="3888">
          <p15:clr>
            <a:srgbClr val="F26B43"/>
          </p15:clr>
        </p15:guide>
        <p15:guide id="5" orient="horz" pos="1491">
          <p15:clr>
            <a:srgbClr val="F26B43"/>
          </p15:clr>
        </p15:guide>
        <p15:guide id="6" orient="horz" pos="413">
          <p15:clr>
            <a:srgbClr val="F26B43"/>
          </p15:clr>
        </p15:guide>
        <p15:guide id="7" orient="horz" pos="1003">
          <p15:clr>
            <a:srgbClr val="F26B43"/>
          </p15:clr>
        </p15:guide>
        <p15:guide id="8" orient="horz" pos="1321">
          <p15:clr>
            <a:srgbClr val="F26B43"/>
          </p15:clr>
        </p15:guide>
        <p15:guide id="9" orient="horz" pos="4156">
          <p15:clr>
            <a:srgbClr val="F26B43"/>
          </p15:clr>
        </p15:guide>
        <p15:guide id="10" orient="horz" pos="3589">
          <p15:clr>
            <a:srgbClr val="F26B43"/>
          </p15:clr>
        </p15:guide>
        <p15:guide id="11" orient="horz" pos="142">
          <p15:clr>
            <a:srgbClr val="F26B43"/>
          </p15:clr>
        </p15:guide>
        <p15:guide id="12" pos="1578">
          <p15:clr>
            <a:srgbClr val="F26B43"/>
          </p15:clr>
        </p15:guide>
        <p15:guide id="13" pos="1691">
          <p15:clr>
            <a:srgbClr val="F26B43"/>
          </p15:clr>
        </p15:guide>
        <p15:guide id="14" pos="3059">
          <p15:clr>
            <a:srgbClr val="F26B43"/>
          </p15:clr>
        </p15:guide>
        <p15:guide id="15" pos="3176">
          <p15:clr>
            <a:srgbClr val="F26B43"/>
          </p15:clr>
        </p15:guide>
        <p15:guide id="16" pos="4546">
          <p15:clr>
            <a:srgbClr val="F26B43"/>
          </p15:clr>
        </p15:guide>
        <p15:guide id="17" pos="465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0.tif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0.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50.xml"/></Relationships>
</file>

<file path=ppt/slides/_rels/slide21.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2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2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2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2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43.emf"/><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3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37.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38.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39.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1.xml"/></Relationships>
</file>

<file path=ppt/slides/_rels/slide4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4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1.xml"/></Relationships>
</file>

<file path=ppt/slides/_rels/slide42.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2.xml"/></Relationships>
</file>

<file path=ppt/slides/_rels/slide4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82.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xml"/><Relationship Id="rId1"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notesSlide" Target="../notesSlides/notesSlide4.xml"/><Relationship Id="rId1" Type="http://schemas.openxmlformats.org/officeDocument/2006/relationships/slideLayout" Target="../slideLayouts/slideLayout84.xml"/></Relationships>
</file>

<file path=ppt/slides/_rels/slide4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84.xml"/></Relationships>
</file>

<file path=ppt/slides/_rels/slide4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8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8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8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9.xml"/><Relationship Id="rId1" Type="http://schemas.openxmlformats.org/officeDocument/2006/relationships/slideLayout" Target="../slideLayouts/slideLayout85.xml"/><Relationship Id="rId6" Type="http://schemas.openxmlformats.org/officeDocument/2006/relationships/image" Target="../media/image50.jpeg"/><Relationship Id="rId5" Type="http://schemas.openxmlformats.org/officeDocument/2006/relationships/image" Target="../media/image49.jpg"/><Relationship Id="rId4" Type="http://schemas.openxmlformats.org/officeDocument/2006/relationships/image" Target="../media/image48.jpeg"/></Relationships>
</file>

<file path=ppt/slides/_rels/slide53.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hyperlink" Target="mailto:Gerard.Pereboom@lifetri.nl" TargetMode="External"/><Relationship Id="rId7" Type="http://schemas.openxmlformats.org/officeDocument/2006/relationships/image" Target="../media/image13.svg"/><Relationship Id="rId2" Type="http://schemas.openxmlformats.org/officeDocument/2006/relationships/notesSlide" Target="../notesSlides/notesSlide10.xml"/><Relationship Id="rId1" Type="http://schemas.openxmlformats.org/officeDocument/2006/relationships/slideLayout" Target="../slideLayouts/slideLayout85.xml"/><Relationship Id="rId6" Type="http://schemas.openxmlformats.org/officeDocument/2006/relationships/image" Target="../media/image52.png"/><Relationship Id="rId5" Type="http://schemas.openxmlformats.org/officeDocument/2006/relationships/image" Target="../media/image11.svg"/><Relationship Id="rId4" Type="http://schemas.openxmlformats.org/officeDocument/2006/relationships/image" Target="../media/image51.png"/></Relationships>
</file>

<file path=ppt/slides/_rels/slide54.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11.xml"/><Relationship Id="rId1" Type="http://schemas.openxmlformats.org/officeDocument/2006/relationships/slideLayout" Target="../slideLayouts/slideLayout177.xml"/><Relationship Id="rId4" Type="http://schemas.openxmlformats.org/officeDocument/2006/relationships/image" Target="../media/image55.png"/></Relationships>
</file>

<file path=ppt/slides/_rels/slide5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0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93.xml"/></Relationships>
</file>

<file path=ppt/slides/_rels/slide58.xml.rels><?xml version="1.0" encoding="UTF-8" standalone="yes"?>
<Relationships xmlns="http://schemas.openxmlformats.org/package/2006/relationships"><Relationship Id="rId3" Type="http://schemas.openxmlformats.org/officeDocument/2006/relationships/image" Target="../media/image56.emf"/><Relationship Id="rId2" Type="http://schemas.openxmlformats.org/officeDocument/2006/relationships/notesSlide" Target="../notesSlides/notesSlide12.xml"/><Relationship Id="rId1" Type="http://schemas.openxmlformats.org/officeDocument/2006/relationships/slideLayout" Target="../slideLayouts/slideLayout192.xml"/><Relationship Id="rId4" Type="http://schemas.openxmlformats.org/officeDocument/2006/relationships/chart" Target="../charts/chart4.xml"/></Relationships>
</file>

<file path=ppt/slides/_rels/slide59.xml.rels><?xml version="1.0" encoding="UTF-8" standalone="yes"?>
<Relationships xmlns="http://schemas.openxmlformats.org/package/2006/relationships"><Relationship Id="rId8" Type="http://schemas.openxmlformats.org/officeDocument/2006/relationships/image" Target="../media/image59.emf"/><Relationship Id="rId3" Type="http://schemas.openxmlformats.org/officeDocument/2006/relationships/slideLayout" Target="../slideLayouts/slideLayout192.xml"/><Relationship Id="rId7" Type="http://schemas.openxmlformats.org/officeDocument/2006/relationships/image" Target="../media/image58.emf"/><Relationship Id="rId12" Type="http://schemas.openxmlformats.org/officeDocument/2006/relationships/image" Target="NULL"/><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57.emf"/><Relationship Id="rId11" Type="http://schemas.openxmlformats.org/officeDocument/2006/relationships/image" Target="../media/image62.png"/><Relationship Id="rId5" Type="http://schemas.openxmlformats.org/officeDocument/2006/relationships/oleObject" Target="../embeddings/oleObject31.bin"/><Relationship Id="rId10" Type="http://schemas.openxmlformats.org/officeDocument/2006/relationships/image" Target="../media/image61.emf"/><Relationship Id="rId4" Type="http://schemas.openxmlformats.org/officeDocument/2006/relationships/notesSlide" Target="../notesSlides/notesSlide13.xml"/><Relationship Id="rId9" Type="http://schemas.openxmlformats.org/officeDocument/2006/relationships/image" Target="../media/image60.emf"/></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3" Type="http://schemas.openxmlformats.org/officeDocument/2006/relationships/image" Target="../media/image58.emf"/><Relationship Id="rId2" Type="http://schemas.openxmlformats.org/officeDocument/2006/relationships/notesSlide" Target="../notesSlides/notesSlide14.xml"/><Relationship Id="rId1" Type="http://schemas.openxmlformats.org/officeDocument/2006/relationships/slideLayout" Target="../slideLayouts/slideLayout188.xml"/><Relationship Id="rId5" Type="http://schemas.openxmlformats.org/officeDocument/2006/relationships/chart" Target="../charts/chart6.xml"/><Relationship Id="rId4" Type="http://schemas.openxmlformats.org/officeDocument/2006/relationships/chart" Target="../charts/chart5.xml"/></Relationships>
</file>

<file path=ppt/slides/_rels/slide6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147.xml"/></Relationships>
</file>

<file path=ppt/slides/_rels/slide62.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147.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64.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143.xml"/><Relationship Id="rId4" Type="http://schemas.openxmlformats.org/officeDocument/2006/relationships/image" Target="../media/image65.png"/></Relationships>
</file>

<file path=ppt/slides/_rels/slide6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6.xml"/><Relationship Id="rId1" Type="http://schemas.openxmlformats.org/officeDocument/2006/relationships/slideLayout" Target="../slideLayouts/slideLayout143.xml"/><Relationship Id="rId4" Type="http://schemas.openxmlformats.org/officeDocument/2006/relationships/image" Target="../media/image65.png"/></Relationships>
</file>

<file path=ppt/slides/_rels/slide66.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7.xml"/><Relationship Id="rId1" Type="http://schemas.openxmlformats.org/officeDocument/2006/relationships/slideLayout" Target="../slideLayouts/slideLayout143.xml"/></Relationships>
</file>

<file path=ppt/slides/_rels/slide67.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149.xml"/><Relationship Id="rId4" Type="http://schemas.openxmlformats.org/officeDocument/2006/relationships/image" Target="../media/image61.emf"/></Relationships>
</file>

<file path=ppt/slides/_rels/slide6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45.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71.xml"/></Relationships>
</file>

<file path=ppt/slides/_rels/slide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7.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Tijdelijke aanduiding voor afbeelding 7"/>
          <p:cNvPicPr>
            <a:picLocks noGrp="1" noChangeAspect="1"/>
          </p:cNvPicPr>
          <p:nvPr>
            <p:ph type="pic" sz="quarter" idx="11"/>
          </p:nvPr>
        </p:nvPicPr>
        <p:blipFill>
          <a:blip r:embed="rId2" cstate="print">
            <a:extLst>
              <a:ext uri="{28A0092B-C50C-407E-A947-70E740481C1C}">
                <a14:useLocalDpi xmlns:a14="http://schemas.microsoft.com/office/drawing/2010/main" val="0"/>
              </a:ext>
            </a:extLst>
          </a:blip>
          <a:srcRect t="19419" b="19419"/>
          <a:stretch>
            <a:fillRect/>
          </a:stretch>
        </p:blipFill>
        <p:spPr/>
      </p:pic>
      <p:sp>
        <p:nvSpPr>
          <p:cNvPr id="2" name="Titel 1"/>
          <p:cNvSpPr>
            <a:spLocks noGrp="1"/>
          </p:cNvSpPr>
          <p:nvPr>
            <p:ph type="ctrTitle"/>
          </p:nvPr>
        </p:nvSpPr>
        <p:spPr>
          <a:xfrm>
            <a:off x="3834063" y="4052398"/>
            <a:ext cx="8122805" cy="907043"/>
          </a:xfrm>
        </p:spPr>
        <p:txBody>
          <a:bodyPr/>
          <a:lstStyle/>
          <a:p>
            <a:r>
              <a:rPr lang="en-US" dirty="0" err="1" smtClean="0"/>
              <a:t>Beleidsopties</a:t>
            </a:r>
            <a:r>
              <a:rPr lang="en-US" dirty="0" smtClean="0"/>
              <a:t> Wet </a:t>
            </a:r>
            <a:r>
              <a:rPr lang="en-US" dirty="0" err="1" smtClean="0"/>
              <a:t>Toekomst</a:t>
            </a:r>
            <a:r>
              <a:rPr lang="en-US" dirty="0" smtClean="0"/>
              <a:t> Pensioenen</a:t>
            </a:r>
            <a:endParaRPr lang="nl-NL" dirty="0"/>
          </a:p>
        </p:txBody>
      </p:sp>
      <p:sp>
        <p:nvSpPr>
          <p:cNvPr id="3" name="Ondertitel 2"/>
          <p:cNvSpPr>
            <a:spLocks noGrp="1"/>
          </p:cNvSpPr>
          <p:nvPr>
            <p:ph type="subTitle" idx="1"/>
          </p:nvPr>
        </p:nvSpPr>
        <p:spPr>
          <a:xfrm>
            <a:off x="4066420" y="5051516"/>
            <a:ext cx="7310664" cy="887551"/>
          </a:xfrm>
        </p:spPr>
        <p:txBody>
          <a:bodyPr/>
          <a:lstStyle/>
          <a:p>
            <a:endParaRPr lang="nl-NL" dirty="0" smtClean="0"/>
          </a:p>
          <a:p>
            <a:r>
              <a:rPr lang="nl-NL" dirty="0" smtClean="0"/>
              <a:t>31 maart 2022</a:t>
            </a:r>
            <a:endParaRPr lang="nl-NL" dirty="0"/>
          </a:p>
        </p:txBody>
      </p:sp>
      <p:sp>
        <p:nvSpPr>
          <p:cNvPr id="5" name="Tijdelijke aanduiding voor tekst 4"/>
          <p:cNvSpPr>
            <a:spLocks noGrp="1"/>
          </p:cNvSpPr>
          <p:nvPr>
            <p:ph type="body" sz="quarter" idx="10"/>
          </p:nvPr>
        </p:nvSpPr>
        <p:spPr/>
        <p:txBody>
          <a:bodyPr/>
          <a:lstStyle/>
          <a:p>
            <a:endParaRPr lang="nl-NL" dirty="0"/>
          </a:p>
        </p:txBody>
      </p:sp>
    </p:spTree>
    <p:extLst>
      <p:ext uri="{BB962C8B-B14F-4D97-AF65-F5344CB8AC3E}">
        <p14:creationId xmlns:p14="http://schemas.microsoft.com/office/powerpoint/2010/main" val="1488470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pPr fontAlgn="base"/>
            <a:r>
              <a:rPr lang="nl-NL" sz="1600" b="1" dirty="0" smtClean="0"/>
              <a:t>Transitie </a:t>
            </a:r>
            <a:r>
              <a:rPr lang="nl-NL" sz="1600" b="1" dirty="0"/>
              <a:t>als geheel evenwichtig</a:t>
            </a:r>
            <a:br>
              <a:rPr lang="nl-NL" sz="1600" b="1" dirty="0"/>
            </a:br>
            <a:r>
              <a:rPr lang="nl-NL" sz="1600" dirty="0"/>
              <a:t>Het uitgangspunt voor de transitie naar het nieuwe pensioenstelsel is dat deze als geheel evenwichtig dient te zijn. Dit houdt in dat het afschaffen van de doorsneesystematiek, het wijzigen van de pensioenregeling, de keuze om wel of niet in te varen en de afspraken over compensatie in het geheel doorlopen moeten zijn en in het geheel moeten zijn bekeken. Deze situatie wordt afgezet tegen de situatie dat de huidige pensioenregeling ongewijzigd wordt voortgezet onder het huidig financiële toetsingskader</a:t>
            </a:r>
            <a:r>
              <a:rPr lang="nl-NL" sz="1600" dirty="0" smtClean="0"/>
              <a:t>.</a:t>
            </a:r>
          </a:p>
          <a:p>
            <a:pPr fontAlgn="base"/>
            <a:r>
              <a:rPr lang="nl-NL" sz="1600" b="1" dirty="0" smtClean="0"/>
              <a:t>Transitie-effect</a:t>
            </a:r>
            <a:br>
              <a:rPr lang="nl-NL" sz="1600" b="1" dirty="0" smtClean="0"/>
            </a:br>
            <a:r>
              <a:rPr lang="nl-NL" sz="1600" dirty="0" smtClean="0"/>
              <a:t>De </a:t>
            </a:r>
            <a:r>
              <a:rPr lang="nl-NL" sz="1600" dirty="0"/>
              <a:t>transitie-effecten moeten inzichtelijk gemaakt worden door in ieder geval de netto profijt effecten van de transitie in kaart te brengen of, in uitzonderingsgevallen, de bruto profijt </a:t>
            </a:r>
            <a:r>
              <a:rPr lang="nl-NL" sz="1600" dirty="0" smtClean="0"/>
              <a:t>effecten.</a:t>
            </a:r>
          </a:p>
          <a:p>
            <a:pPr lvl="0" fontAlgn="base"/>
            <a:r>
              <a:rPr lang="nl-NL" sz="1600" b="1" dirty="0" smtClean="0"/>
              <a:t>Standaardmethode</a:t>
            </a:r>
            <a:br>
              <a:rPr lang="nl-NL" sz="1600" b="1" dirty="0" smtClean="0"/>
            </a:br>
            <a:r>
              <a:rPr lang="nl-NL" sz="1600" dirty="0" smtClean="0"/>
              <a:t>Bij </a:t>
            </a:r>
            <a:r>
              <a:rPr lang="nl-NL" sz="1600" dirty="0"/>
              <a:t>invaren met de standaardmethode wordt eerst volgens een standaardregel het collectieve vermogen van het pensioenfonds volledig omgerekend naar persoonlijke pensioenvermogens in de gewijzigde pensioenregeling</a:t>
            </a:r>
            <a:r>
              <a:rPr lang="nl-NL" sz="1600" dirty="0" smtClean="0"/>
              <a:t>. </a:t>
            </a:r>
            <a:br>
              <a:rPr lang="nl-NL" sz="1600" dirty="0" smtClean="0"/>
            </a:br>
            <a:r>
              <a:rPr lang="nl-NL" sz="1600" b="1" i="1" dirty="0" smtClean="0"/>
              <a:t>De </a:t>
            </a:r>
            <a:r>
              <a:rPr lang="nl-NL" sz="1600" b="1" i="1" dirty="0"/>
              <a:t>uitkomsten na het toepassen van de standaardregel mogen worden aangepast als fondsbesturen en sociale partners dat evenwichtig vinden</a:t>
            </a:r>
            <a:r>
              <a:rPr lang="nl-NL" sz="1600" dirty="0"/>
              <a:t> en als daarbij per leeftijdscohort per deelnemersgroep de negatieve netto profijt effecten niet negatiever worden en de positieve netto profijt effecten niet negatief worden.</a:t>
            </a:r>
          </a:p>
          <a:p>
            <a:endParaRPr lang="en-US" sz="1600" dirty="0" smtClean="0"/>
          </a:p>
          <a:p>
            <a:endParaRPr lang="nl-NL" sz="1600" dirty="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0</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r>
              <a:rPr lang="nl-NL" dirty="0" smtClean="0"/>
              <a:t>Memorie van Toelichting WTP</a:t>
            </a:r>
            <a:endParaRPr lang="nl-NL" dirty="0"/>
          </a:p>
        </p:txBody>
      </p:sp>
      <p:sp>
        <p:nvSpPr>
          <p:cNvPr id="6" name="Titel 5"/>
          <p:cNvSpPr>
            <a:spLocks noGrp="1"/>
          </p:cNvSpPr>
          <p:nvPr>
            <p:ph type="title"/>
          </p:nvPr>
        </p:nvSpPr>
        <p:spPr/>
        <p:txBody>
          <a:bodyPr/>
          <a:lstStyle/>
          <a:p>
            <a:r>
              <a:rPr lang="nl-NL" dirty="0" smtClean="0"/>
              <a:t>Evenwichtigheid in het kort</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246371472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endParaRPr lang="nl-NL" sz="1600" b="1" dirty="0" smtClean="0"/>
          </a:p>
          <a:p>
            <a:r>
              <a:rPr lang="nl-NL" sz="1600" b="1" dirty="0" smtClean="0"/>
              <a:t>Inclusieve marktwaarde in de uitkeringsovereenkomst:</a:t>
            </a:r>
            <a:r>
              <a:rPr lang="nl-NL" sz="1600" b="1" dirty="0"/>
              <a:t> </a:t>
            </a:r>
            <a:r>
              <a:rPr lang="nl-NL" sz="1600" dirty="0" smtClean="0"/>
              <a:t/>
            </a:r>
            <a:br>
              <a:rPr lang="nl-NL" sz="1600" dirty="0" smtClean="0"/>
            </a:br>
            <a:r>
              <a:rPr lang="nl-NL" sz="1600" dirty="0" smtClean="0"/>
              <a:t>In </a:t>
            </a:r>
            <a:r>
              <a:rPr lang="nl-NL" sz="1600" dirty="0"/>
              <a:t>een uitkeringsovereenkomst heeft iedereen in het deelnemersbestand pensioenaanspraken en pensioenrechten die worden verhoogd als een pensioenfonds er financieel goed voorstaat en verlaagd als het slecht gaat, op grond van de verhoog- en verlaagregels van het huidig financieel toetsingskader. Bij het bepalen van de marktwaarde van de opgebouwde pensioenaanspraken en pensioenrechten in de uitkeringsovereenkomst wordt rekening gehouden met deze voorwaardelijke elementen. Daarom wordt dit ook wel het bepalen van de </a:t>
            </a:r>
            <a:r>
              <a:rPr lang="nl-NL" sz="1600" i="1" dirty="0"/>
              <a:t>inclusieve </a:t>
            </a:r>
            <a:r>
              <a:rPr lang="nl-NL" sz="1600" dirty="0"/>
              <a:t>marktwaarde genoemd. </a:t>
            </a:r>
            <a:br>
              <a:rPr lang="nl-NL" sz="1600" dirty="0"/>
            </a:br>
            <a:r>
              <a:rPr lang="nl-NL" sz="1600" dirty="0" smtClean="0"/>
              <a:t/>
            </a:r>
            <a:br>
              <a:rPr lang="nl-NL" sz="1600" dirty="0" smtClean="0"/>
            </a:br>
            <a:r>
              <a:rPr lang="nl-NL" sz="1600" dirty="0" smtClean="0"/>
              <a:t>Ook </a:t>
            </a:r>
            <a:r>
              <a:rPr lang="nl-NL" sz="1600" dirty="0"/>
              <a:t>relevante </a:t>
            </a:r>
            <a:r>
              <a:rPr lang="nl-NL" sz="1600" dirty="0" err="1"/>
              <a:t>fondsspecifieke</a:t>
            </a:r>
            <a:r>
              <a:rPr lang="nl-NL" sz="1600" dirty="0"/>
              <a:t> kenmerken zoals de dekkingsgraad, bestandssamenstelling en financiële opzet van het pensioenfonds (waaronder inbegrepen het beleggings-, premie- en verhoog- en kortingsbeleid) zijn van invloed op de hoogte van de marktwaarde. Met deze marktwaarde wordt aangesloten op het huidig financieel toetsingskader en op de specifieke (beleids-) kenmerken van het pensioenfonds en de uitkeringsovereenkomst.</a:t>
            </a:r>
          </a:p>
          <a:p>
            <a:endParaRPr lang="nl-NL" sz="1600" dirty="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1</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r>
              <a:rPr lang="nl-NL" dirty="0" smtClean="0"/>
              <a:t>Memorie van Toelichting WTP</a:t>
            </a:r>
            <a:endParaRPr lang="nl-NL" dirty="0"/>
          </a:p>
        </p:txBody>
      </p:sp>
      <p:sp>
        <p:nvSpPr>
          <p:cNvPr id="6" name="Titel 5"/>
          <p:cNvSpPr>
            <a:spLocks noGrp="1"/>
          </p:cNvSpPr>
          <p:nvPr>
            <p:ph type="title"/>
          </p:nvPr>
        </p:nvSpPr>
        <p:spPr/>
        <p:txBody>
          <a:bodyPr/>
          <a:lstStyle/>
          <a:p>
            <a:r>
              <a:rPr lang="nl-NL" dirty="0" smtClean="0"/>
              <a:t>Inclusieve marktwaarde</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212368814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endParaRPr lang="nl-NL" sz="1600" b="1" dirty="0" smtClean="0"/>
          </a:p>
          <a:p>
            <a:r>
              <a:rPr lang="nl-NL" sz="1600" b="1" dirty="0" smtClean="0"/>
              <a:t>Inclusieve marktwaarde in de solidaire of flexibele premieregeling</a:t>
            </a:r>
            <a:br>
              <a:rPr lang="nl-NL" sz="1600" b="1" dirty="0" smtClean="0"/>
            </a:br>
            <a:r>
              <a:rPr lang="nl-NL" sz="1600" dirty="0" smtClean="0"/>
              <a:t>In </a:t>
            </a:r>
            <a:r>
              <a:rPr lang="nl-NL" sz="1600" dirty="0"/>
              <a:t>de solidaire premieregeling of de flexibele premieregeling kan - conform </a:t>
            </a:r>
            <a:r>
              <a:rPr lang="nl-NL" sz="1600" dirty="0" smtClean="0"/>
              <a:t>de beschrijving op de vorige slide </a:t>
            </a:r>
            <a:r>
              <a:rPr lang="nl-NL" sz="1600" dirty="0"/>
              <a:t>- de marktwaarde van de persoonlijke pensioenvermogens worden vastgesteld. </a:t>
            </a:r>
            <a:r>
              <a:rPr lang="nl-NL" sz="1600" dirty="0" smtClean="0"/>
              <a:t/>
            </a:r>
            <a:br>
              <a:rPr lang="nl-NL" sz="1600" dirty="0" smtClean="0"/>
            </a:br>
            <a:r>
              <a:rPr lang="nl-NL" sz="1600" dirty="0" smtClean="0"/>
              <a:t/>
            </a:r>
            <a:br>
              <a:rPr lang="nl-NL" sz="1600" dirty="0" smtClean="0"/>
            </a:br>
            <a:r>
              <a:rPr lang="nl-NL" sz="1600" dirty="0" smtClean="0"/>
              <a:t>De </a:t>
            </a:r>
            <a:r>
              <a:rPr lang="nl-NL" sz="1600" dirty="0"/>
              <a:t>voorwaardelijke elementen die hier een rol spelen, zijn de solidariteitsreserve/risicodelingsreserve en het compensatiedepot. Vandaaruit kunnen namelijk bedragen toe- en afvloeien naar de persoonlijke pensioenvermogens, afhankelijk van toekomstige economische ontwikkelingen. Bij het vaststellen van de marktwaarde van de persoonlijke pensioenvermogens moet hiermee rekening gehouden worden</a:t>
            </a:r>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2</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r>
              <a:rPr lang="nl-NL" dirty="0" smtClean="0"/>
              <a:t>Memorie van Toelichting WTP</a:t>
            </a:r>
            <a:endParaRPr lang="nl-NL" dirty="0"/>
          </a:p>
        </p:txBody>
      </p:sp>
      <p:sp>
        <p:nvSpPr>
          <p:cNvPr id="6" name="Titel 5"/>
          <p:cNvSpPr>
            <a:spLocks noGrp="1"/>
          </p:cNvSpPr>
          <p:nvPr>
            <p:ph type="title"/>
          </p:nvPr>
        </p:nvSpPr>
        <p:spPr/>
        <p:txBody>
          <a:bodyPr/>
          <a:lstStyle/>
          <a:p>
            <a:r>
              <a:rPr lang="nl-NL" dirty="0" smtClean="0"/>
              <a:t>Inclusieve marktwaarde</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39706036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endParaRPr lang="nl-NL" sz="1600" b="1" dirty="0" smtClean="0"/>
          </a:p>
          <a:p>
            <a:r>
              <a:rPr lang="nl-NL" sz="1600" b="1" dirty="0" smtClean="0"/>
              <a:t>Netto profijt</a:t>
            </a:r>
            <a:r>
              <a:rPr lang="nl-NL" sz="1600" dirty="0" smtClean="0"/>
              <a:t/>
            </a:r>
            <a:br>
              <a:rPr lang="nl-NL" sz="1600" dirty="0" smtClean="0"/>
            </a:br>
            <a:r>
              <a:rPr lang="nl-NL" sz="1600" dirty="0" smtClean="0"/>
              <a:t>Het </a:t>
            </a:r>
            <a:r>
              <a:rPr lang="nl-NL" sz="1600" dirty="0"/>
              <a:t>netto profijt is het verschil tussen de inclusieve </a:t>
            </a:r>
            <a:r>
              <a:rPr lang="nl-NL" sz="1600" dirty="0" smtClean="0"/>
              <a:t>marktwaarde </a:t>
            </a:r>
            <a:r>
              <a:rPr lang="nl-NL" sz="1600" dirty="0"/>
              <a:t>van de te verwachten pensioenuitkeringen en de inclusieve marktwaarde van de toekomstige </a:t>
            </a:r>
            <a:r>
              <a:rPr lang="nl-NL" sz="1600" dirty="0" smtClean="0"/>
              <a:t>premie-inleg.</a:t>
            </a:r>
          </a:p>
          <a:p>
            <a:r>
              <a:rPr lang="nl-NL" sz="1600" b="1" dirty="0" smtClean="0"/>
              <a:t>Transitie-effect</a:t>
            </a:r>
            <a:r>
              <a:rPr lang="nl-NL" sz="1600" dirty="0" smtClean="0"/>
              <a:t/>
            </a:r>
            <a:br>
              <a:rPr lang="nl-NL" sz="1600" dirty="0" smtClean="0"/>
            </a:br>
            <a:r>
              <a:rPr lang="nl-NL" sz="1600" dirty="0" smtClean="0"/>
              <a:t>De </a:t>
            </a:r>
            <a:r>
              <a:rPr lang="nl-NL" sz="1600" dirty="0"/>
              <a:t>transitie-effecten </a:t>
            </a:r>
            <a:r>
              <a:rPr lang="nl-NL" sz="1600" b="1" u="sng" dirty="0"/>
              <a:t>moeten</a:t>
            </a:r>
            <a:r>
              <a:rPr lang="nl-NL" sz="1600" b="1" dirty="0"/>
              <a:t> </a:t>
            </a:r>
            <a:r>
              <a:rPr lang="nl-NL" sz="1600" dirty="0"/>
              <a:t>inzichtelijk gemaakt worden door in ieder geval de netto profijt effecten van de transitie in kaart te </a:t>
            </a:r>
            <a:r>
              <a:rPr lang="nl-NL" sz="1600" dirty="0" smtClean="0"/>
              <a:t>brengen of, in uitzonderingsgevallen, de bruto profijt effecten.</a:t>
            </a:r>
            <a:endParaRPr lang="nl-NL" sz="1600" dirty="0"/>
          </a:p>
          <a:p>
            <a:endParaRPr lang="nl-NL" sz="1600" dirty="0" smtClean="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3</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r>
              <a:rPr lang="nl-NL" dirty="0" smtClean="0"/>
              <a:t>Memorie van Toelichting WTP</a:t>
            </a:r>
            <a:endParaRPr lang="nl-NL" dirty="0"/>
          </a:p>
        </p:txBody>
      </p:sp>
      <p:sp>
        <p:nvSpPr>
          <p:cNvPr id="6" name="Titel 5"/>
          <p:cNvSpPr>
            <a:spLocks noGrp="1"/>
          </p:cNvSpPr>
          <p:nvPr>
            <p:ph type="title"/>
          </p:nvPr>
        </p:nvSpPr>
        <p:spPr/>
        <p:txBody>
          <a:bodyPr/>
          <a:lstStyle/>
          <a:p>
            <a:r>
              <a:rPr lang="nl-NL" dirty="0" smtClean="0"/>
              <a:t>Netto profijt</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36818274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inhoud 8"/>
          <p:cNvPicPr>
            <a:picLocks noGrp="1" noChangeAspect="1"/>
          </p:cNvPicPr>
          <p:nvPr>
            <p:ph sz="half" idx="1"/>
          </p:nvPr>
        </p:nvPicPr>
        <p:blipFill>
          <a:blip r:embed="rId2"/>
          <a:stretch>
            <a:fillRect/>
          </a:stretch>
        </p:blipFill>
        <p:spPr>
          <a:xfrm>
            <a:off x="503238" y="1994377"/>
            <a:ext cx="5543550" cy="3537584"/>
          </a:xfrm>
          <a:prstGeom prst="rect">
            <a:avLst/>
          </a:prstGeom>
        </p:spPr>
      </p:pic>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4</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nl-NL" dirty="0" smtClean="0"/>
          </a:p>
          <a:p>
            <a:endParaRPr lang="nl-NL" dirty="0"/>
          </a:p>
          <a:p>
            <a:r>
              <a:rPr lang="nl-NL" dirty="0" smtClean="0"/>
              <a:t>Aanvangsdekkingsgraad</a:t>
            </a:r>
            <a:r>
              <a:rPr lang="nl-NL" dirty="0"/>
              <a:t>: 115%</a:t>
            </a:r>
          </a:p>
          <a:p>
            <a:r>
              <a:rPr lang="nl-NL" dirty="0"/>
              <a:t>Invaarkapitalen op basis van standaardmethode</a:t>
            </a:r>
          </a:p>
          <a:p>
            <a:r>
              <a:rPr lang="nl-NL" dirty="0"/>
              <a:t>Volledige buffer wordt aangewend voor invaarkapitalen</a:t>
            </a:r>
          </a:p>
        </p:txBody>
      </p:sp>
      <p:sp>
        <p:nvSpPr>
          <p:cNvPr id="5" name="Titel 4"/>
          <p:cNvSpPr>
            <a:spLocks noGrp="1"/>
          </p:cNvSpPr>
          <p:nvPr>
            <p:ph type="title"/>
          </p:nvPr>
        </p:nvSpPr>
        <p:spPr/>
        <p:txBody>
          <a:bodyPr/>
          <a:lstStyle/>
          <a:p>
            <a:r>
              <a:rPr lang="en-US" dirty="0" err="1" smtClean="0"/>
              <a:t>Uitgangssituatie</a:t>
            </a:r>
            <a:r>
              <a:rPr lang="en-US" dirty="0" smtClean="0"/>
              <a:t> </a:t>
            </a:r>
            <a:r>
              <a:rPr lang="en-US" dirty="0" err="1" smtClean="0"/>
              <a:t>voorbeeld</a:t>
            </a:r>
            <a:endParaRPr lang="nl-NL" dirty="0"/>
          </a:p>
        </p:txBody>
      </p:sp>
      <p:sp>
        <p:nvSpPr>
          <p:cNvPr id="6" name="Tijdelijke aanduiding voor tekst 5"/>
          <p:cNvSpPr>
            <a:spLocks noGrp="1"/>
          </p:cNvSpPr>
          <p:nvPr>
            <p:ph type="body" sz="quarter" idx="14"/>
          </p:nvPr>
        </p:nvSpPr>
        <p:spPr/>
        <p:txBody>
          <a:bodyPr/>
          <a:lstStyle/>
          <a:p>
            <a:r>
              <a:rPr lang="en-US" dirty="0" err="1" smtClean="0"/>
              <a:t>Invaarkapitalen</a:t>
            </a:r>
            <a:r>
              <a:rPr lang="en-US" dirty="0" smtClean="0"/>
              <a:t> </a:t>
            </a:r>
            <a:r>
              <a:rPr lang="en-US" dirty="0" err="1" smtClean="0"/>
              <a:t>Standaardmethode</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91493053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5</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nl-NL" dirty="0" smtClean="0"/>
          </a:p>
          <a:p>
            <a:r>
              <a:rPr lang="en-US" dirty="0" err="1" smtClean="0"/>
              <a:t>Uitdelen</a:t>
            </a:r>
            <a:r>
              <a:rPr lang="en-US" dirty="0" smtClean="0"/>
              <a:t> buffers (nu </a:t>
            </a:r>
            <a:r>
              <a:rPr lang="en-US" dirty="0" err="1" smtClean="0"/>
              <a:t>en</a:t>
            </a:r>
            <a:r>
              <a:rPr lang="en-US" dirty="0" smtClean="0"/>
              <a:t> in de </a:t>
            </a:r>
            <a:r>
              <a:rPr lang="en-US" dirty="0" err="1" smtClean="0"/>
              <a:t>toekomst</a:t>
            </a:r>
            <a:r>
              <a:rPr lang="en-US" dirty="0" smtClean="0"/>
              <a:t>) </a:t>
            </a:r>
            <a:r>
              <a:rPr lang="en-US" dirty="0" err="1" smtClean="0"/>
              <a:t>leidt</a:t>
            </a:r>
            <a:r>
              <a:rPr lang="en-US" dirty="0" smtClean="0"/>
              <a:t> tot </a:t>
            </a:r>
            <a:r>
              <a:rPr lang="en-US" dirty="0" err="1" smtClean="0"/>
              <a:t>hogere</a:t>
            </a:r>
            <a:r>
              <a:rPr lang="en-US" dirty="0" smtClean="0"/>
              <a:t> </a:t>
            </a:r>
            <a:r>
              <a:rPr lang="en-US" dirty="0" err="1" smtClean="0"/>
              <a:t>netto</a:t>
            </a:r>
            <a:r>
              <a:rPr lang="en-US" dirty="0" smtClean="0"/>
              <a:t> </a:t>
            </a:r>
            <a:r>
              <a:rPr lang="en-US" dirty="0" err="1" smtClean="0"/>
              <a:t>profijt</a:t>
            </a:r>
            <a:r>
              <a:rPr lang="en-US" dirty="0" smtClean="0"/>
              <a:t>.</a:t>
            </a:r>
          </a:p>
          <a:p>
            <a:r>
              <a:rPr lang="en-US" dirty="0" err="1" smtClean="0"/>
              <a:t>Introductie</a:t>
            </a:r>
            <a:r>
              <a:rPr lang="en-US" dirty="0" smtClean="0"/>
              <a:t> </a:t>
            </a:r>
            <a:r>
              <a:rPr lang="en-US" dirty="0" err="1" smtClean="0"/>
              <a:t>uniforme</a:t>
            </a:r>
            <a:r>
              <a:rPr lang="en-US" dirty="0" smtClean="0"/>
              <a:t> </a:t>
            </a:r>
            <a:r>
              <a:rPr lang="en-US" dirty="0" err="1" smtClean="0"/>
              <a:t>premie</a:t>
            </a:r>
            <a:r>
              <a:rPr lang="en-US" dirty="0" smtClean="0"/>
              <a:t> </a:t>
            </a:r>
            <a:r>
              <a:rPr lang="en-US" dirty="0" err="1" smtClean="0"/>
              <a:t>leidt</a:t>
            </a:r>
            <a:r>
              <a:rPr lang="en-US" dirty="0" smtClean="0"/>
              <a:t> tot </a:t>
            </a:r>
            <a:r>
              <a:rPr lang="en-US" dirty="0" err="1" smtClean="0"/>
              <a:t>lagere</a:t>
            </a:r>
            <a:r>
              <a:rPr lang="en-US" dirty="0" smtClean="0"/>
              <a:t> </a:t>
            </a:r>
            <a:r>
              <a:rPr lang="en-US" dirty="0" err="1" smtClean="0"/>
              <a:t>netto</a:t>
            </a:r>
            <a:r>
              <a:rPr lang="en-US" dirty="0" smtClean="0"/>
              <a:t> </a:t>
            </a:r>
            <a:r>
              <a:rPr lang="en-US" dirty="0" err="1" smtClean="0"/>
              <a:t>profijt</a:t>
            </a:r>
            <a:r>
              <a:rPr lang="en-US" dirty="0" smtClean="0"/>
              <a:t>, met name </a:t>
            </a:r>
            <a:r>
              <a:rPr lang="en-US" dirty="0" err="1" smtClean="0"/>
              <a:t>voor</a:t>
            </a:r>
            <a:r>
              <a:rPr lang="en-US" dirty="0" smtClean="0"/>
              <a:t> </a:t>
            </a:r>
            <a:r>
              <a:rPr lang="en-US" dirty="0" err="1" smtClean="0"/>
              <a:t>actieven</a:t>
            </a:r>
            <a:r>
              <a:rPr lang="en-US" dirty="0" smtClean="0"/>
              <a:t> van </a:t>
            </a:r>
            <a:r>
              <a:rPr lang="en-US" dirty="0" err="1" smtClean="0"/>
              <a:t>middelbare</a:t>
            </a:r>
            <a:r>
              <a:rPr lang="en-US" dirty="0" smtClean="0"/>
              <a:t> </a:t>
            </a:r>
            <a:r>
              <a:rPr lang="en-US" dirty="0" err="1" smtClean="0"/>
              <a:t>leeftijd</a:t>
            </a:r>
            <a:r>
              <a:rPr lang="en-US" dirty="0" smtClean="0"/>
              <a:t>.</a:t>
            </a:r>
          </a:p>
          <a:p>
            <a:r>
              <a:rPr lang="en-US" dirty="0" err="1" smtClean="0"/>
              <a:t>Vraag</a:t>
            </a:r>
            <a:r>
              <a:rPr lang="en-US" dirty="0" smtClean="0"/>
              <a:t>: is </a:t>
            </a:r>
            <a:r>
              <a:rPr lang="en-US" dirty="0" err="1" smtClean="0"/>
              <a:t>invaren</a:t>
            </a:r>
            <a:r>
              <a:rPr lang="en-US" dirty="0" smtClean="0"/>
              <a:t> op </a:t>
            </a:r>
            <a:r>
              <a:rPr lang="en-US" dirty="0" err="1" smtClean="0"/>
              <a:t>deze</a:t>
            </a:r>
            <a:r>
              <a:rPr lang="en-US" dirty="0" smtClean="0"/>
              <a:t> </a:t>
            </a:r>
            <a:r>
              <a:rPr lang="en-US" dirty="0" err="1" smtClean="0"/>
              <a:t>manier</a:t>
            </a:r>
            <a:r>
              <a:rPr lang="en-US" dirty="0" smtClean="0"/>
              <a:t> </a:t>
            </a:r>
            <a:r>
              <a:rPr lang="en-US" dirty="0" err="1" smtClean="0"/>
              <a:t>evenwichtig</a:t>
            </a:r>
            <a:r>
              <a:rPr lang="en-US" dirty="0" smtClean="0"/>
              <a:t>?</a:t>
            </a:r>
            <a:endParaRPr lang="nl-NL" dirty="0"/>
          </a:p>
        </p:txBody>
      </p:sp>
      <p:sp>
        <p:nvSpPr>
          <p:cNvPr id="5" name="Titel 4"/>
          <p:cNvSpPr>
            <a:spLocks noGrp="1"/>
          </p:cNvSpPr>
          <p:nvPr>
            <p:ph type="title"/>
          </p:nvPr>
        </p:nvSpPr>
        <p:spPr/>
        <p:txBody>
          <a:bodyPr/>
          <a:lstStyle/>
          <a:p>
            <a:r>
              <a:rPr lang="en-US" dirty="0" err="1" smtClean="0"/>
              <a:t>Uitgangssituatie</a:t>
            </a:r>
            <a:r>
              <a:rPr lang="en-US" dirty="0" smtClean="0"/>
              <a:t> </a:t>
            </a:r>
            <a:r>
              <a:rPr lang="en-US" dirty="0" err="1" smtClean="0"/>
              <a:t>voorbeeld</a:t>
            </a:r>
            <a:endParaRPr lang="nl-NL" dirty="0"/>
          </a:p>
        </p:txBody>
      </p:sp>
      <p:sp>
        <p:nvSpPr>
          <p:cNvPr id="6" name="Tijdelijke aanduiding voor tekst 5"/>
          <p:cNvSpPr>
            <a:spLocks noGrp="1"/>
          </p:cNvSpPr>
          <p:nvPr>
            <p:ph type="body" sz="quarter" idx="14"/>
          </p:nvPr>
        </p:nvSpPr>
        <p:spPr/>
        <p:txBody>
          <a:bodyPr/>
          <a:lstStyle/>
          <a:p>
            <a:r>
              <a:rPr lang="en-US" dirty="0" smtClean="0"/>
              <a:t>Delta </a:t>
            </a:r>
            <a:r>
              <a:rPr lang="en-US" dirty="0" err="1" smtClean="0"/>
              <a:t>Netto</a:t>
            </a:r>
            <a:r>
              <a:rPr lang="en-US" dirty="0" smtClean="0"/>
              <a:t> </a:t>
            </a:r>
            <a:r>
              <a:rPr lang="en-US" dirty="0" err="1" smtClean="0"/>
              <a:t>profijt</a:t>
            </a:r>
            <a:r>
              <a:rPr lang="en-US" dirty="0" smtClean="0"/>
              <a:t> SPR ten </a:t>
            </a:r>
            <a:r>
              <a:rPr lang="en-US" dirty="0" err="1" smtClean="0"/>
              <a:t>opzichte</a:t>
            </a:r>
            <a:r>
              <a:rPr lang="en-US" dirty="0" smtClean="0"/>
              <a:t> van FTK</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10" name="Tijdelijke aanduiding voor inhoud 9"/>
          <p:cNvPicPr>
            <a:picLocks noGrp="1" noChangeAspect="1"/>
          </p:cNvPicPr>
          <p:nvPr>
            <p:ph sz="half" idx="1"/>
          </p:nvPr>
        </p:nvPicPr>
        <p:blipFill>
          <a:blip r:embed="rId2"/>
          <a:stretch>
            <a:fillRect/>
          </a:stretch>
        </p:blipFill>
        <p:spPr>
          <a:xfrm>
            <a:off x="503238" y="1997234"/>
            <a:ext cx="5543550" cy="3531870"/>
          </a:xfrm>
          <a:prstGeom prst="rect">
            <a:avLst/>
          </a:prstGeom>
        </p:spPr>
      </p:pic>
    </p:spTree>
    <p:extLst>
      <p:ext uri="{BB962C8B-B14F-4D97-AF65-F5344CB8AC3E}">
        <p14:creationId xmlns:p14="http://schemas.microsoft.com/office/powerpoint/2010/main" val="320655657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6</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nl-NL" dirty="0" smtClean="0"/>
          </a:p>
          <a:p>
            <a:endParaRPr lang="en-US" dirty="0" smtClean="0"/>
          </a:p>
        </p:txBody>
      </p:sp>
      <p:sp>
        <p:nvSpPr>
          <p:cNvPr id="5" name="Titel 4"/>
          <p:cNvSpPr>
            <a:spLocks noGrp="1"/>
          </p:cNvSpPr>
          <p:nvPr>
            <p:ph type="title"/>
          </p:nvPr>
        </p:nvSpPr>
        <p:spPr/>
        <p:txBody>
          <a:bodyPr/>
          <a:lstStyle/>
          <a:p>
            <a:r>
              <a:rPr lang="en-US" dirty="0" err="1" smtClean="0"/>
              <a:t>Uitgangssituatie</a:t>
            </a:r>
            <a:r>
              <a:rPr lang="en-US" dirty="0" smtClean="0"/>
              <a:t> </a:t>
            </a:r>
            <a:r>
              <a:rPr lang="en-US" dirty="0" err="1" smtClean="0"/>
              <a:t>voorbeeld</a:t>
            </a:r>
            <a:endParaRPr lang="nl-NL" dirty="0"/>
          </a:p>
        </p:txBody>
      </p:sp>
      <p:sp>
        <p:nvSpPr>
          <p:cNvPr id="6" name="Tijdelijke aanduiding voor tekst 5"/>
          <p:cNvSpPr>
            <a:spLocks noGrp="1"/>
          </p:cNvSpPr>
          <p:nvPr>
            <p:ph type="body" sz="quarter" idx="14"/>
          </p:nvPr>
        </p:nvSpPr>
        <p:spPr/>
        <p:txBody>
          <a:bodyPr/>
          <a:lstStyle/>
          <a:p>
            <a:r>
              <a:rPr lang="en-US" dirty="0" err="1" smtClean="0"/>
              <a:t>Vervangingsratio</a:t>
            </a:r>
            <a:r>
              <a:rPr lang="en-US" dirty="0" smtClean="0"/>
              <a:t> SPR ten </a:t>
            </a:r>
            <a:r>
              <a:rPr lang="en-US" dirty="0" err="1" smtClean="0"/>
              <a:t>opzichte</a:t>
            </a:r>
            <a:r>
              <a:rPr lang="en-US" dirty="0" smtClean="0"/>
              <a:t> van FTK</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9" name="Tijdelijke aanduiding voor inhoud 8"/>
          <p:cNvPicPr>
            <a:picLocks noGrp="1" noChangeAspect="1"/>
          </p:cNvPicPr>
          <p:nvPr>
            <p:ph sz="half" idx="1"/>
          </p:nvPr>
        </p:nvPicPr>
        <p:blipFill>
          <a:blip r:embed="rId2"/>
          <a:stretch>
            <a:fillRect/>
          </a:stretch>
        </p:blipFill>
        <p:spPr>
          <a:xfrm>
            <a:off x="503238" y="1995411"/>
            <a:ext cx="5543550" cy="3535515"/>
          </a:xfrm>
          <a:prstGeom prst="rect">
            <a:avLst/>
          </a:prstGeom>
        </p:spPr>
      </p:pic>
      <p:pic>
        <p:nvPicPr>
          <p:cNvPr id="11" name="Afbeelding 10"/>
          <p:cNvPicPr>
            <a:picLocks noChangeAspect="1"/>
          </p:cNvPicPr>
          <p:nvPr/>
        </p:nvPicPr>
        <p:blipFill>
          <a:blip r:embed="rId3"/>
          <a:stretch>
            <a:fillRect/>
          </a:stretch>
        </p:blipFill>
        <p:spPr>
          <a:xfrm>
            <a:off x="6099042" y="1997043"/>
            <a:ext cx="5539813" cy="3535200"/>
          </a:xfrm>
          <a:prstGeom prst="rect">
            <a:avLst/>
          </a:prstGeom>
        </p:spPr>
      </p:pic>
    </p:spTree>
    <p:extLst>
      <p:ext uri="{BB962C8B-B14F-4D97-AF65-F5344CB8AC3E}">
        <p14:creationId xmlns:p14="http://schemas.microsoft.com/office/powerpoint/2010/main" val="31051771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inhoud 8"/>
          <p:cNvPicPr>
            <a:picLocks noGrp="1" noChangeAspect="1"/>
          </p:cNvPicPr>
          <p:nvPr>
            <p:ph sz="half" idx="1"/>
          </p:nvPr>
        </p:nvPicPr>
        <p:blipFill>
          <a:blip r:embed="rId2"/>
          <a:stretch>
            <a:fillRect/>
          </a:stretch>
        </p:blipFill>
        <p:spPr>
          <a:xfrm>
            <a:off x="503238" y="1995411"/>
            <a:ext cx="5543550" cy="3535515"/>
          </a:xfrm>
          <a:prstGeom prst="rect">
            <a:avLst/>
          </a:prstGeom>
        </p:spPr>
      </p:pic>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7</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10" name="Tijdelijke aanduiding voor inhoud 9"/>
          <p:cNvPicPr>
            <a:picLocks noGrp="1" noChangeAspect="1"/>
          </p:cNvPicPr>
          <p:nvPr>
            <p:ph sz="half" idx="13"/>
          </p:nvPr>
        </p:nvPicPr>
        <p:blipFill>
          <a:blip r:embed="rId3"/>
          <a:stretch>
            <a:fillRect/>
          </a:stretch>
        </p:blipFill>
        <p:spPr>
          <a:xfrm>
            <a:off x="6142038" y="1994377"/>
            <a:ext cx="5543550" cy="3537584"/>
          </a:xfrm>
          <a:prstGeom prst="rect">
            <a:avLst/>
          </a:prstGeom>
        </p:spPr>
      </p:pic>
      <p:sp>
        <p:nvSpPr>
          <p:cNvPr id="5" name="Titel 4"/>
          <p:cNvSpPr>
            <a:spLocks noGrp="1"/>
          </p:cNvSpPr>
          <p:nvPr>
            <p:ph type="title"/>
          </p:nvPr>
        </p:nvSpPr>
        <p:spPr/>
        <p:txBody>
          <a:bodyPr/>
          <a:lstStyle/>
          <a:p>
            <a:r>
              <a:rPr lang="en-US" dirty="0" err="1" smtClean="0"/>
              <a:t>Uitgangssituatie</a:t>
            </a:r>
            <a:r>
              <a:rPr lang="en-US" dirty="0" smtClean="0"/>
              <a:t> </a:t>
            </a:r>
            <a:r>
              <a:rPr lang="en-US" dirty="0" err="1" smtClean="0"/>
              <a:t>voorbeeld</a:t>
            </a:r>
            <a:endParaRPr lang="nl-NL" dirty="0"/>
          </a:p>
        </p:txBody>
      </p:sp>
      <p:sp>
        <p:nvSpPr>
          <p:cNvPr id="6" name="Tijdelijke aanduiding voor tekst 5"/>
          <p:cNvSpPr>
            <a:spLocks noGrp="1"/>
          </p:cNvSpPr>
          <p:nvPr>
            <p:ph type="body" sz="quarter" idx="14"/>
          </p:nvPr>
        </p:nvSpPr>
        <p:spPr/>
        <p:txBody>
          <a:bodyPr/>
          <a:lstStyle/>
          <a:p>
            <a:r>
              <a:rPr lang="en-US" dirty="0" err="1"/>
              <a:t>Vervangingsratio</a:t>
            </a:r>
            <a:r>
              <a:rPr lang="en-US" dirty="0"/>
              <a:t> SPR ten </a:t>
            </a:r>
            <a:r>
              <a:rPr lang="en-US" dirty="0" err="1"/>
              <a:t>opzichte</a:t>
            </a:r>
            <a:r>
              <a:rPr lang="en-US" dirty="0"/>
              <a:t> van FTK</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15139616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8</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nl-NL" dirty="0" smtClean="0"/>
          </a:p>
          <a:p>
            <a:r>
              <a:rPr lang="en-US" dirty="0" smtClean="0"/>
              <a:t>Delta </a:t>
            </a:r>
            <a:r>
              <a:rPr lang="en-US" dirty="0" err="1" smtClean="0"/>
              <a:t>netto</a:t>
            </a:r>
            <a:r>
              <a:rPr lang="en-US" dirty="0" smtClean="0"/>
              <a:t> </a:t>
            </a:r>
            <a:r>
              <a:rPr lang="en-US" dirty="0" err="1" smtClean="0"/>
              <a:t>profijt</a:t>
            </a:r>
            <a:r>
              <a:rPr lang="en-US" dirty="0"/>
              <a:t> </a:t>
            </a:r>
            <a:r>
              <a:rPr lang="en-US" dirty="0" smtClean="0"/>
              <a:t>`</a:t>
            </a:r>
            <a:r>
              <a:rPr lang="en-US" dirty="0" err="1" smtClean="0"/>
              <a:t>horizontaal</a:t>
            </a:r>
            <a:r>
              <a:rPr lang="en-US" dirty="0" smtClean="0"/>
              <a:t>` </a:t>
            </a:r>
            <a:r>
              <a:rPr lang="en-US" dirty="0" err="1" smtClean="0"/>
              <a:t>gemaakt</a:t>
            </a:r>
            <a:r>
              <a:rPr lang="en-US" dirty="0" smtClean="0"/>
              <a:t> door </a:t>
            </a:r>
            <a:r>
              <a:rPr lang="en-US" dirty="0" err="1" smtClean="0"/>
              <a:t>aanpassing</a:t>
            </a:r>
            <a:r>
              <a:rPr lang="en-US" dirty="0" smtClean="0"/>
              <a:t> van de </a:t>
            </a:r>
            <a:r>
              <a:rPr lang="en-US" dirty="0" err="1" smtClean="0"/>
              <a:t>invaarkapitalen</a:t>
            </a:r>
            <a:r>
              <a:rPr lang="en-US" dirty="0" smtClean="0"/>
              <a:t>. </a:t>
            </a:r>
          </a:p>
          <a:p>
            <a:r>
              <a:rPr lang="en-US" dirty="0" err="1" smtClean="0"/>
              <a:t>Vraag</a:t>
            </a:r>
            <a:r>
              <a:rPr lang="en-US" dirty="0" smtClean="0"/>
              <a:t>: is </a:t>
            </a:r>
            <a:r>
              <a:rPr lang="en-US" dirty="0" err="1" smtClean="0"/>
              <a:t>invaren</a:t>
            </a:r>
            <a:r>
              <a:rPr lang="en-US" dirty="0" smtClean="0"/>
              <a:t> op </a:t>
            </a:r>
            <a:r>
              <a:rPr lang="en-US" dirty="0" err="1" smtClean="0"/>
              <a:t>deze</a:t>
            </a:r>
            <a:r>
              <a:rPr lang="en-US" dirty="0" smtClean="0"/>
              <a:t> </a:t>
            </a:r>
            <a:r>
              <a:rPr lang="en-US" dirty="0" err="1" smtClean="0"/>
              <a:t>manier</a:t>
            </a:r>
            <a:r>
              <a:rPr lang="en-US" dirty="0" smtClean="0"/>
              <a:t> </a:t>
            </a:r>
            <a:r>
              <a:rPr lang="en-US" dirty="0" err="1" smtClean="0"/>
              <a:t>evenwichtig</a:t>
            </a:r>
            <a:r>
              <a:rPr lang="en-US" dirty="0" smtClean="0"/>
              <a:t>?</a:t>
            </a:r>
            <a:endParaRPr lang="nl-NL" dirty="0"/>
          </a:p>
        </p:txBody>
      </p:sp>
      <p:sp>
        <p:nvSpPr>
          <p:cNvPr id="5" name="Titel 4"/>
          <p:cNvSpPr>
            <a:spLocks noGrp="1"/>
          </p:cNvSpPr>
          <p:nvPr>
            <p:ph type="title"/>
          </p:nvPr>
        </p:nvSpPr>
        <p:spPr/>
        <p:txBody>
          <a:bodyPr/>
          <a:lstStyle/>
          <a:p>
            <a:r>
              <a:rPr lang="en-US" dirty="0" err="1" smtClean="0"/>
              <a:t>Voorbeeld</a:t>
            </a:r>
            <a:r>
              <a:rPr lang="en-US" dirty="0" smtClean="0"/>
              <a:t> 1</a:t>
            </a:r>
            <a:endParaRPr lang="nl-NL" dirty="0"/>
          </a:p>
        </p:txBody>
      </p:sp>
      <p:sp>
        <p:nvSpPr>
          <p:cNvPr id="6" name="Tijdelijke aanduiding voor tekst 5"/>
          <p:cNvSpPr>
            <a:spLocks noGrp="1"/>
          </p:cNvSpPr>
          <p:nvPr>
            <p:ph type="body" sz="quarter" idx="14"/>
          </p:nvPr>
        </p:nvSpPr>
        <p:spPr/>
        <p:txBody>
          <a:bodyPr/>
          <a:lstStyle/>
          <a:p>
            <a:r>
              <a:rPr lang="en-US" dirty="0" err="1" smtClean="0"/>
              <a:t>Compensatie</a:t>
            </a:r>
            <a:r>
              <a:rPr lang="en-US" dirty="0" smtClean="0"/>
              <a:t> door </a:t>
            </a:r>
            <a:r>
              <a:rPr lang="en-US" dirty="0" err="1" smtClean="0"/>
              <a:t>aanpassen</a:t>
            </a:r>
            <a:r>
              <a:rPr lang="en-US" dirty="0" smtClean="0"/>
              <a:t> </a:t>
            </a:r>
            <a:r>
              <a:rPr lang="en-US" dirty="0" err="1" smtClean="0"/>
              <a:t>invaarkapitalen</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9" name="Tijdelijke aanduiding voor inhoud 8"/>
          <p:cNvPicPr>
            <a:picLocks noGrp="1" noChangeAspect="1"/>
          </p:cNvPicPr>
          <p:nvPr>
            <p:ph sz="half" idx="1"/>
          </p:nvPr>
        </p:nvPicPr>
        <p:blipFill>
          <a:blip r:embed="rId2"/>
          <a:stretch>
            <a:fillRect/>
          </a:stretch>
        </p:blipFill>
        <p:spPr>
          <a:xfrm>
            <a:off x="503238" y="1997234"/>
            <a:ext cx="5543550" cy="3531870"/>
          </a:xfrm>
          <a:prstGeom prst="rect">
            <a:avLst/>
          </a:prstGeom>
        </p:spPr>
      </p:pic>
    </p:spTree>
    <p:extLst>
      <p:ext uri="{BB962C8B-B14F-4D97-AF65-F5344CB8AC3E}">
        <p14:creationId xmlns:p14="http://schemas.microsoft.com/office/powerpoint/2010/main" val="295217408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Tijdelijke aanduiding voor inhoud 9"/>
          <p:cNvPicPr>
            <a:picLocks noGrp="1" noChangeAspect="1"/>
          </p:cNvPicPr>
          <p:nvPr>
            <p:ph sz="half" idx="1"/>
          </p:nvPr>
        </p:nvPicPr>
        <p:blipFill>
          <a:blip r:embed="rId2"/>
          <a:stretch>
            <a:fillRect/>
          </a:stretch>
        </p:blipFill>
        <p:spPr>
          <a:xfrm>
            <a:off x="503238" y="1997234"/>
            <a:ext cx="5543550" cy="3531870"/>
          </a:xfrm>
          <a:prstGeom prst="rect">
            <a:avLst/>
          </a:prstGeom>
        </p:spPr>
      </p:pic>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19</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9" name="Tijdelijke aanduiding voor inhoud 8"/>
          <p:cNvPicPr>
            <a:picLocks noGrp="1" noChangeAspect="1"/>
          </p:cNvPicPr>
          <p:nvPr>
            <p:ph sz="half" idx="13"/>
          </p:nvPr>
        </p:nvPicPr>
        <p:blipFill>
          <a:blip r:embed="rId3"/>
          <a:stretch>
            <a:fillRect/>
          </a:stretch>
        </p:blipFill>
        <p:spPr>
          <a:xfrm>
            <a:off x="6142038" y="1997234"/>
            <a:ext cx="5543550" cy="3531870"/>
          </a:xfrm>
          <a:prstGeom prst="rect">
            <a:avLst/>
          </a:prstGeom>
        </p:spPr>
      </p:pic>
      <p:sp>
        <p:nvSpPr>
          <p:cNvPr id="5" name="Titel 4"/>
          <p:cNvSpPr>
            <a:spLocks noGrp="1"/>
          </p:cNvSpPr>
          <p:nvPr>
            <p:ph type="title"/>
          </p:nvPr>
        </p:nvSpPr>
        <p:spPr/>
        <p:txBody>
          <a:bodyPr/>
          <a:lstStyle/>
          <a:p>
            <a:r>
              <a:rPr lang="en-US" dirty="0" err="1" smtClean="0"/>
              <a:t>Voorbeeld</a:t>
            </a:r>
            <a:r>
              <a:rPr lang="en-US" dirty="0" smtClean="0"/>
              <a:t> 1</a:t>
            </a:r>
            <a:endParaRPr lang="nl-NL" dirty="0"/>
          </a:p>
        </p:txBody>
      </p:sp>
      <p:sp>
        <p:nvSpPr>
          <p:cNvPr id="6" name="Tijdelijke aanduiding voor tekst 5"/>
          <p:cNvSpPr>
            <a:spLocks noGrp="1"/>
          </p:cNvSpPr>
          <p:nvPr>
            <p:ph type="body" sz="quarter" idx="14"/>
          </p:nvPr>
        </p:nvSpPr>
        <p:spPr/>
        <p:txBody>
          <a:bodyPr/>
          <a:lstStyle/>
          <a:p>
            <a:r>
              <a:rPr lang="en-US" dirty="0" err="1" smtClean="0"/>
              <a:t>Aanpassing</a:t>
            </a:r>
            <a:r>
              <a:rPr lang="en-US" dirty="0" smtClean="0"/>
              <a:t> </a:t>
            </a:r>
            <a:r>
              <a:rPr lang="en-US" dirty="0" err="1" smtClean="0"/>
              <a:t>invaarkapitalen</a:t>
            </a:r>
            <a:r>
              <a:rPr lang="en-US" dirty="0" smtClean="0"/>
              <a:t> ten </a:t>
            </a:r>
            <a:r>
              <a:rPr lang="en-US" dirty="0" err="1" smtClean="0"/>
              <a:t>opzichte</a:t>
            </a:r>
            <a:r>
              <a:rPr lang="en-US" dirty="0" smtClean="0"/>
              <a:t> van </a:t>
            </a:r>
            <a:r>
              <a:rPr lang="en-US" dirty="0" err="1" smtClean="0"/>
              <a:t>standaardmethode</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357426085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501832" y="1256636"/>
            <a:ext cx="11337241" cy="4796367"/>
          </a:xfrm>
        </p:spPr>
        <p:txBody>
          <a:bodyPr/>
          <a:lstStyle/>
          <a:p>
            <a:pPr marL="342900" indent="-342900">
              <a:buFontTx/>
              <a:buChar char="-"/>
            </a:pPr>
            <a:r>
              <a:rPr lang="en-US" dirty="0" smtClean="0"/>
              <a:t>Hen Veerman 		– partner Triple A – Risk Finance</a:t>
            </a:r>
          </a:p>
          <a:p>
            <a:pPr marL="342900" indent="-342900">
              <a:buFontTx/>
              <a:buChar char="-"/>
            </a:pPr>
            <a:r>
              <a:rPr lang="en-US" dirty="0" smtClean="0"/>
              <a:t>Jack Tol 			– senior principal Triple A – Risk Finance</a:t>
            </a:r>
          </a:p>
          <a:p>
            <a:pPr marL="342900" indent="-342900">
              <a:buFontTx/>
              <a:buChar char="-"/>
            </a:pPr>
            <a:r>
              <a:rPr lang="en-US" dirty="0" smtClean="0"/>
              <a:t>Jos Gielink 			– </a:t>
            </a:r>
            <a:r>
              <a:rPr lang="en-US" dirty="0" err="1" smtClean="0"/>
              <a:t>pensioenjurist</a:t>
            </a:r>
            <a:r>
              <a:rPr lang="en-US" dirty="0" smtClean="0"/>
              <a:t> Gielink </a:t>
            </a:r>
            <a:r>
              <a:rPr lang="en-US" dirty="0" err="1" smtClean="0"/>
              <a:t>Pensioenrecht</a:t>
            </a:r>
            <a:endParaRPr lang="en-US" dirty="0" smtClean="0"/>
          </a:p>
          <a:p>
            <a:pPr marL="342900" indent="-342900">
              <a:buFontTx/>
              <a:buChar char="-"/>
            </a:pPr>
            <a:r>
              <a:rPr lang="en-US" dirty="0" smtClean="0"/>
              <a:t>Gerard Pereboom 	</a:t>
            </a:r>
            <a:r>
              <a:rPr lang="en-US" dirty="0"/>
              <a:t>	– </a:t>
            </a:r>
            <a:r>
              <a:rPr lang="en-US" dirty="0" smtClean="0"/>
              <a:t>business developer </a:t>
            </a:r>
            <a:r>
              <a:rPr lang="en-US" dirty="0" err="1" smtClean="0"/>
              <a:t>Lifetri</a:t>
            </a:r>
            <a:endParaRPr lang="en-US" dirty="0"/>
          </a:p>
          <a:p>
            <a:pPr marL="342900" indent="-342900">
              <a:buFontTx/>
              <a:buChar char="-"/>
            </a:pPr>
            <a:r>
              <a:rPr lang="en-US" dirty="0" smtClean="0"/>
              <a:t>Sven Treu		</a:t>
            </a:r>
            <a:r>
              <a:rPr lang="en-US" dirty="0"/>
              <a:t>	– </a:t>
            </a:r>
            <a:r>
              <a:rPr lang="en-US" dirty="0" smtClean="0"/>
              <a:t>head of risk management solutions Allianz Global Investors / </a:t>
            </a:r>
            <a:r>
              <a:rPr lang="en-US" dirty="0" err="1" smtClean="0"/>
              <a:t>risklab</a:t>
            </a:r>
            <a:endParaRPr lang="en-US" dirty="0"/>
          </a:p>
        </p:txBody>
      </p:sp>
      <p:sp>
        <p:nvSpPr>
          <p:cNvPr id="3" name="Tijdelijke aanduiding voor voettekst 2"/>
          <p:cNvSpPr>
            <a:spLocks noGrp="1"/>
          </p:cNvSpPr>
          <p:nvPr>
            <p:ph type="ftr" sz="quarter" idx="11"/>
          </p:nvPr>
        </p:nvSpPr>
        <p:spPr/>
        <p:txBody>
          <a:bodyPr/>
          <a:lstStyle/>
          <a:p>
            <a:r>
              <a:rPr lang="nl-NL" dirty="0" smtClean="0"/>
              <a:t>Webinar Wet Toekomst Pensioenen</a:t>
            </a:r>
            <a:endParaRPr lang="nl-NL" dirty="0"/>
          </a:p>
        </p:txBody>
      </p:sp>
      <p:sp>
        <p:nvSpPr>
          <p:cNvPr id="4" name="Tijdelijke aanduiding voor dianummer 3"/>
          <p:cNvSpPr>
            <a:spLocks noGrp="1"/>
          </p:cNvSpPr>
          <p:nvPr>
            <p:ph type="sldNum" sz="quarter" idx="12"/>
          </p:nvPr>
        </p:nvSpPr>
        <p:spPr/>
        <p:txBody>
          <a:bodyPr/>
          <a:lstStyle/>
          <a:p>
            <a:fld id="{FFDD6BF4-F398-43E8-ACFA-0A2EC6044D72}" type="slidenum">
              <a:rPr lang="nl-NL" smtClean="0"/>
              <a:t>2</a:t>
            </a:fld>
            <a:endParaRPr lang="nl-NL" dirty="0"/>
          </a:p>
        </p:txBody>
      </p:sp>
      <p:sp>
        <p:nvSpPr>
          <p:cNvPr id="5" name="Titel 4"/>
          <p:cNvSpPr>
            <a:spLocks noGrp="1"/>
          </p:cNvSpPr>
          <p:nvPr>
            <p:ph type="title"/>
          </p:nvPr>
        </p:nvSpPr>
        <p:spPr/>
        <p:txBody>
          <a:bodyPr/>
          <a:lstStyle/>
          <a:p>
            <a:r>
              <a:rPr lang="en-US" dirty="0" err="1" smtClean="0"/>
              <a:t>Introductie</a:t>
            </a:r>
            <a:r>
              <a:rPr lang="en-US" dirty="0" smtClean="0"/>
              <a:t> </a:t>
            </a:r>
            <a:r>
              <a:rPr lang="en-US" dirty="0" err="1" smtClean="0"/>
              <a:t>sprekers</a:t>
            </a:r>
            <a:endParaRPr lang="nl-NL" dirty="0"/>
          </a:p>
        </p:txBody>
      </p:sp>
      <p:sp>
        <p:nvSpPr>
          <p:cNvPr id="6" name="Tijdelijke aanduiding voor tekst 5"/>
          <p:cNvSpPr>
            <a:spLocks noGrp="1"/>
          </p:cNvSpPr>
          <p:nvPr>
            <p:ph type="body" sz="quarter" idx="16"/>
          </p:nvPr>
        </p:nvSpPr>
        <p:spPr/>
        <p:txBody>
          <a:bodyPr/>
          <a:lstStyle/>
          <a:p>
            <a:endParaRPr lang="nl-NL" dirty="0"/>
          </a:p>
        </p:txBody>
      </p:sp>
      <p:sp>
        <p:nvSpPr>
          <p:cNvPr id="7" name="Tijdelijke aanduiding voor inhoud 1"/>
          <p:cNvSpPr txBox="1">
            <a:spLocks/>
          </p:cNvSpPr>
          <p:nvPr/>
        </p:nvSpPr>
        <p:spPr>
          <a:xfrm>
            <a:off x="4894497" y="303665"/>
            <a:ext cx="4832096" cy="4796367"/>
          </a:xfrm>
          <a:prstGeom prst="rect">
            <a:avLst/>
          </a:prstGeom>
        </p:spPr>
        <p:txBody>
          <a:bodyPr vert="horz" lIns="0" tIns="0" rIns="0" bIns="0" rtlCol="0">
            <a:noAutofit/>
          </a:bodyPr>
          <a:lstStyle>
            <a:lvl1pPr marL="355591" indent="-355591" algn="l" defTabSz="914377" rtl="0" eaLnBrk="1" latinLnBrk="0" hangingPunct="1">
              <a:lnSpc>
                <a:spcPct val="110000"/>
              </a:lnSpc>
              <a:spcBef>
                <a:spcPts val="0"/>
              </a:spcBef>
              <a:spcAft>
                <a:spcPts val="800"/>
              </a:spcAft>
              <a:buClr>
                <a:schemeClr val="accent3"/>
              </a:buClr>
              <a:buFont typeface="+mj-lt"/>
              <a:buAutoNum type="arabicPeriod"/>
              <a:defRPr sz="1867" kern="1200">
                <a:solidFill>
                  <a:schemeClr val="accent1"/>
                </a:solidFill>
                <a:latin typeface="+mn-lt"/>
                <a:ea typeface="+mn-ea"/>
                <a:cs typeface="+mn-cs"/>
              </a:defRPr>
            </a:lvl1pPr>
            <a:lvl2pPr marL="599002"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833946"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1077357"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310185"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a:lstStyle>
          <a:p>
            <a:pPr>
              <a:buFont typeface="+mj-lt"/>
              <a:buAutoNum type="arabicPeriod" startAt="5"/>
            </a:pPr>
            <a:endParaRPr lang="nl-NL" dirty="0" smtClean="0"/>
          </a:p>
          <a:p>
            <a:pPr>
              <a:buAutoNum type="arabicPeriod" startAt="5"/>
            </a:pPr>
            <a:endParaRPr lang="nl-NL" dirty="0"/>
          </a:p>
        </p:txBody>
      </p:sp>
      <p:sp>
        <p:nvSpPr>
          <p:cNvPr id="9" name="Tijdelijke aanduiding voor inhoud 1"/>
          <p:cNvSpPr txBox="1">
            <a:spLocks/>
          </p:cNvSpPr>
          <p:nvPr/>
        </p:nvSpPr>
        <p:spPr>
          <a:xfrm>
            <a:off x="5127626" y="1374776"/>
            <a:ext cx="4832096" cy="4796367"/>
          </a:xfrm>
          <a:prstGeom prst="rect">
            <a:avLst/>
          </a:prstGeom>
        </p:spPr>
        <p:txBody>
          <a:bodyPr vert="horz" lIns="0" tIns="0" rIns="0" bIns="0" rtlCol="0">
            <a:noAutofit/>
          </a:bodyPr>
          <a:lstStyle>
            <a:lvl1pPr marL="355591" indent="-355591" algn="l" defTabSz="914377" rtl="0" eaLnBrk="1" latinLnBrk="0" hangingPunct="1">
              <a:lnSpc>
                <a:spcPct val="110000"/>
              </a:lnSpc>
              <a:spcBef>
                <a:spcPts val="0"/>
              </a:spcBef>
              <a:spcAft>
                <a:spcPts val="800"/>
              </a:spcAft>
              <a:buClr>
                <a:schemeClr val="accent3"/>
              </a:buClr>
              <a:buFont typeface="+mj-lt"/>
              <a:buAutoNum type="arabicPeriod"/>
              <a:defRPr sz="1867" kern="1200">
                <a:solidFill>
                  <a:schemeClr val="accent1"/>
                </a:solidFill>
                <a:latin typeface="+mn-lt"/>
                <a:ea typeface="+mn-ea"/>
                <a:cs typeface="+mn-cs"/>
              </a:defRPr>
            </a:lvl1pPr>
            <a:lvl2pPr marL="599002"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833946"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1077357"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310185"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a:lstStyle>
          <a:p>
            <a:pPr>
              <a:buAutoNum type="arabicPeriod" startAt="6"/>
            </a:pPr>
            <a:endParaRPr lang="nl-NL" dirty="0" smtClean="0"/>
          </a:p>
          <a:p>
            <a:pPr>
              <a:buAutoNum type="arabicPeriod" startAt="6"/>
            </a:pPr>
            <a:endParaRPr lang="nl-NL" dirty="0"/>
          </a:p>
        </p:txBody>
      </p:sp>
      <p:pic>
        <p:nvPicPr>
          <p:cNvPr id="1026" name="Picture 2" descr="Even voorstellen... - Toponderzoek"/>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213934" y="3393751"/>
            <a:ext cx="3562350" cy="2085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9276769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0</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nl-NL" dirty="0" smtClean="0"/>
          </a:p>
          <a:p>
            <a:endParaRPr lang="en-US" dirty="0" smtClean="0"/>
          </a:p>
        </p:txBody>
      </p:sp>
      <p:sp>
        <p:nvSpPr>
          <p:cNvPr id="5" name="Titel 4"/>
          <p:cNvSpPr>
            <a:spLocks noGrp="1"/>
          </p:cNvSpPr>
          <p:nvPr>
            <p:ph type="title"/>
          </p:nvPr>
        </p:nvSpPr>
        <p:spPr/>
        <p:txBody>
          <a:bodyPr/>
          <a:lstStyle/>
          <a:p>
            <a:r>
              <a:rPr lang="en-US" dirty="0" err="1" smtClean="0"/>
              <a:t>Voorbeeld</a:t>
            </a:r>
            <a:r>
              <a:rPr lang="en-US" dirty="0" smtClean="0"/>
              <a:t> 1</a:t>
            </a:r>
            <a:endParaRPr lang="nl-NL" dirty="0"/>
          </a:p>
        </p:txBody>
      </p:sp>
      <p:sp>
        <p:nvSpPr>
          <p:cNvPr id="6" name="Tijdelijke aanduiding voor tekst 5"/>
          <p:cNvSpPr>
            <a:spLocks noGrp="1"/>
          </p:cNvSpPr>
          <p:nvPr>
            <p:ph type="body" sz="quarter" idx="14"/>
          </p:nvPr>
        </p:nvSpPr>
        <p:spPr/>
        <p:txBody>
          <a:bodyPr/>
          <a:lstStyle/>
          <a:p>
            <a:r>
              <a:rPr lang="en-US" dirty="0" err="1"/>
              <a:t>Aanpassing</a:t>
            </a:r>
            <a:r>
              <a:rPr lang="en-US" dirty="0"/>
              <a:t> </a:t>
            </a:r>
            <a:r>
              <a:rPr lang="en-US" dirty="0" err="1"/>
              <a:t>invaarkapitalen</a:t>
            </a:r>
            <a:r>
              <a:rPr lang="en-US" dirty="0"/>
              <a:t> ten </a:t>
            </a:r>
            <a:r>
              <a:rPr lang="en-US" dirty="0" err="1"/>
              <a:t>opzichte</a:t>
            </a:r>
            <a:r>
              <a:rPr lang="en-US" dirty="0"/>
              <a:t> van </a:t>
            </a:r>
            <a:r>
              <a:rPr lang="en-US" dirty="0" err="1"/>
              <a:t>standaardmethode</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10" name="Tijdelijke aanduiding voor inhoud 9"/>
          <p:cNvPicPr>
            <a:picLocks noGrp="1" noChangeAspect="1"/>
          </p:cNvPicPr>
          <p:nvPr>
            <p:ph sz="half" idx="1"/>
          </p:nvPr>
        </p:nvPicPr>
        <p:blipFill>
          <a:blip r:embed="rId2"/>
          <a:stretch>
            <a:fillRect/>
          </a:stretch>
        </p:blipFill>
        <p:spPr>
          <a:xfrm>
            <a:off x="503238" y="1995411"/>
            <a:ext cx="5543550" cy="3535515"/>
          </a:xfrm>
          <a:prstGeom prst="rect">
            <a:avLst/>
          </a:prstGeom>
        </p:spPr>
      </p:pic>
      <p:pic>
        <p:nvPicPr>
          <p:cNvPr id="12" name="Afbeelding 11"/>
          <p:cNvPicPr>
            <a:picLocks noChangeAspect="1"/>
          </p:cNvPicPr>
          <p:nvPr/>
        </p:nvPicPr>
        <p:blipFill>
          <a:blip r:embed="rId3"/>
          <a:stretch>
            <a:fillRect/>
          </a:stretch>
        </p:blipFill>
        <p:spPr>
          <a:xfrm>
            <a:off x="6094941" y="1995726"/>
            <a:ext cx="5539813" cy="3535200"/>
          </a:xfrm>
          <a:prstGeom prst="rect">
            <a:avLst/>
          </a:prstGeom>
        </p:spPr>
      </p:pic>
    </p:spTree>
    <p:extLst>
      <p:ext uri="{BB962C8B-B14F-4D97-AF65-F5344CB8AC3E}">
        <p14:creationId xmlns:p14="http://schemas.microsoft.com/office/powerpoint/2010/main" val="411261866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1</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tel 4"/>
          <p:cNvSpPr>
            <a:spLocks noGrp="1"/>
          </p:cNvSpPr>
          <p:nvPr>
            <p:ph type="title"/>
          </p:nvPr>
        </p:nvSpPr>
        <p:spPr/>
        <p:txBody>
          <a:bodyPr/>
          <a:lstStyle/>
          <a:p>
            <a:r>
              <a:rPr lang="en-US" dirty="0" err="1" smtClean="0"/>
              <a:t>Voorbeeld</a:t>
            </a:r>
            <a:r>
              <a:rPr lang="en-US" dirty="0" smtClean="0"/>
              <a:t> 1</a:t>
            </a:r>
            <a:endParaRPr lang="nl-NL" dirty="0"/>
          </a:p>
        </p:txBody>
      </p:sp>
      <p:sp>
        <p:nvSpPr>
          <p:cNvPr id="6" name="Tijdelijke aanduiding voor tekst 5"/>
          <p:cNvSpPr>
            <a:spLocks noGrp="1"/>
          </p:cNvSpPr>
          <p:nvPr>
            <p:ph type="body" sz="quarter" idx="14"/>
          </p:nvPr>
        </p:nvSpPr>
        <p:spPr/>
        <p:txBody>
          <a:bodyPr/>
          <a:lstStyle/>
          <a:p>
            <a:r>
              <a:rPr lang="en-US" dirty="0" err="1"/>
              <a:t>Aanpassing</a:t>
            </a:r>
            <a:r>
              <a:rPr lang="en-US" dirty="0"/>
              <a:t> </a:t>
            </a:r>
            <a:r>
              <a:rPr lang="en-US" dirty="0" err="1"/>
              <a:t>invaarkapitalen</a:t>
            </a:r>
            <a:r>
              <a:rPr lang="en-US" dirty="0"/>
              <a:t> ten </a:t>
            </a:r>
            <a:r>
              <a:rPr lang="en-US" dirty="0" err="1"/>
              <a:t>opzichte</a:t>
            </a:r>
            <a:r>
              <a:rPr lang="en-US" dirty="0"/>
              <a:t> van </a:t>
            </a:r>
            <a:r>
              <a:rPr lang="en-US" dirty="0" err="1"/>
              <a:t>standaardmethode</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pic>
        <p:nvPicPr>
          <p:cNvPr id="4" name="Tijdelijke aanduiding voor inhoud 3"/>
          <p:cNvPicPr>
            <a:picLocks noGrp="1" noChangeAspect="1"/>
          </p:cNvPicPr>
          <p:nvPr>
            <p:ph sz="half" idx="1"/>
          </p:nvPr>
        </p:nvPicPr>
        <p:blipFill>
          <a:blip r:embed="rId2"/>
          <a:stretch>
            <a:fillRect/>
          </a:stretch>
        </p:blipFill>
        <p:spPr>
          <a:xfrm>
            <a:off x="503238" y="1995411"/>
            <a:ext cx="5543550" cy="3535515"/>
          </a:xfrm>
          <a:prstGeom prst="rect">
            <a:avLst/>
          </a:prstGeom>
        </p:spPr>
      </p:pic>
      <p:pic>
        <p:nvPicPr>
          <p:cNvPr id="12" name="Tijdelijke aanduiding voor inhoud 11"/>
          <p:cNvPicPr>
            <a:picLocks noGrp="1" noChangeAspect="1"/>
          </p:cNvPicPr>
          <p:nvPr>
            <p:ph sz="half" idx="13"/>
          </p:nvPr>
        </p:nvPicPr>
        <p:blipFill>
          <a:blip r:embed="rId3"/>
          <a:stretch>
            <a:fillRect/>
          </a:stretch>
        </p:blipFill>
        <p:spPr>
          <a:xfrm>
            <a:off x="6142038" y="1994377"/>
            <a:ext cx="5543550" cy="3537584"/>
          </a:xfrm>
          <a:prstGeom prst="rect">
            <a:avLst/>
          </a:prstGeom>
        </p:spPr>
      </p:pic>
    </p:spTree>
    <p:extLst>
      <p:ext uri="{BB962C8B-B14F-4D97-AF65-F5344CB8AC3E}">
        <p14:creationId xmlns:p14="http://schemas.microsoft.com/office/powerpoint/2010/main" val="182057902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ijdelijke aanduiding voor inhoud 10"/>
          <p:cNvGraphicFramePr>
            <a:graphicFrameLocks noGrp="1"/>
          </p:cNvGraphicFramePr>
          <p:nvPr>
            <p:ph sz="half" idx="1"/>
            <p:extLst/>
          </p:nvPr>
        </p:nvGraphicFramePr>
        <p:xfrm>
          <a:off x="503238" y="1365250"/>
          <a:ext cx="4295185" cy="4452620"/>
        </p:xfrm>
        <a:graphic>
          <a:graphicData uri="http://schemas.openxmlformats.org/drawingml/2006/table">
            <a:tbl>
              <a:tblPr firstRow="1" bandRow="1">
                <a:tableStyleId>{5C22544A-7EE6-4342-B048-85BDC9FD1C3A}</a:tableStyleId>
              </a:tblPr>
              <a:tblGrid>
                <a:gridCol w="1385888">
                  <a:extLst>
                    <a:ext uri="{9D8B030D-6E8A-4147-A177-3AD203B41FA5}">
                      <a16:colId xmlns:a16="http://schemas.microsoft.com/office/drawing/2014/main" val="3627253220"/>
                    </a:ext>
                  </a:extLst>
                </a:gridCol>
                <a:gridCol w="1385888">
                  <a:extLst>
                    <a:ext uri="{9D8B030D-6E8A-4147-A177-3AD203B41FA5}">
                      <a16:colId xmlns:a16="http://schemas.microsoft.com/office/drawing/2014/main" val="2886782512"/>
                    </a:ext>
                  </a:extLst>
                </a:gridCol>
                <a:gridCol w="1523409">
                  <a:extLst>
                    <a:ext uri="{9D8B030D-6E8A-4147-A177-3AD203B41FA5}">
                      <a16:colId xmlns:a16="http://schemas.microsoft.com/office/drawing/2014/main" val="192731082"/>
                    </a:ext>
                  </a:extLst>
                </a:gridCol>
              </a:tblGrid>
              <a:tr h="370840">
                <a:tc>
                  <a:txBody>
                    <a:bodyPr/>
                    <a:lstStyle/>
                    <a:p>
                      <a:pPr algn="ctr" fontAlgn="b"/>
                      <a:r>
                        <a:rPr lang="nl-NL" sz="1200" b="1" i="0" u="none" strike="noStrike" dirty="0">
                          <a:solidFill>
                            <a:schemeClr val="bg1"/>
                          </a:solidFill>
                          <a:effectLst/>
                          <a:latin typeface="+mn-lt"/>
                        </a:rPr>
                        <a:t>Jaar</a:t>
                      </a:r>
                    </a:p>
                  </a:txBody>
                  <a:tcPr marL="7620" marR="7620" marT="7620" marB="0" anchor="ctr"/>
                </a:tc>
                <a:tc>
                  <a:txBody>
                    <a:bodyPr/>
                    <a:lstStyle/>
                    <a:p>
                      <a:pPr algn="ctr" fontAlgn="b"/>
                      <a:r>
                        <a:rPr lang="nl-NL" sz="1200" b="1" i="0" u="none" strike="noStrike" dirty="0">
                          <a:solidFill>
                            <a:schemeClr val="bg1"/>
                          </a:solidFill>
                          <a:effectLst/>
                          <a:latin typeface="+mn-lt"/>
                        </a:rPr>
                        <a:t>Premie WG-deel (</a:t>
                      </a:r>
                      <a:r>
                        <a:rPr lang="nl-NL" sz="1200" b="1" i="0" u="none" strike="noStrike" dirty="0" err="1">
                          <a:solidFill>
                            <a:schemeClr val="bg1"/>
                          </a:solidFill>
                          <a:effectLst/>
                          <a:latin typeface="+mn-lt"/>
                        </a:rPr>
                        <a:t>excl</a:t>
                      </a:r>
                      <a:r>
                        <a:rPr lang="nl-NL" sz="1200" b="1" i="0" u="none" strike="noStrike" dirty="0">
                          <a:solidFill>
                            <a:schemeClr val="bg1"/>
                          </a:solidFill>
                          <a:effectLst/>
                          <a:latin typeface="+mn-lt"/>
                        </a:rPr>
                        <a:t> compensatie)</a:t>
                      </a:r>
                    </a:p>
                  </a:txBody>
                  <a:tcPr marL="7620" marR="7620" marT="7620" marB="0" anchor="ctr"/>
                </a:tc>
                <a:tc>
                  <a:txBody>
                    <a:bodyPr/>
                    <a:lstStyle/>
                    <a:p>
                      <a:pPr algn="ctr" fontAlgn="b"/>
                      <a:r>
                        <a:rPr lang="nl-NL" sz="1200" b="1" i="0" u="none" strike="noStrike" dirty="0">
                          <a:solidFill>
                            <a:schemeClr val="bg1"/>
                          </a:solidFill>
                          <a:effectLst/>
                          <a:latin typeface="+mn-lt"/>
                        </a:rPr>
                        <a:t>Compensatiepremie</a:t>
                      </a:r>
                    </a:p>
                  </a:txBody>
                  <a:tcPr marL="7620" marR="7620" marT="7620" marB="0" anchor="ctr"/>
                </a:tc>
                <a:extLst>
                  <a:ext uri="{0D108BD9-81ED-4DB2-BD59-A6C34878D82A}">
                    <a16:rowId xmlns:a16="http://schemas.microsoft.com/office/drawing/2014/main" val="823222983"/>
                  </a:ext>
                </a:extLst>
              </a:tr>
              <a:tr h="370840">
                <a:tc>
                  <a:txBody>
                    <a:bodyPr/>
                    <a:lstStyle/>
                    <a:p>
                      <a:pPr algn="ctr" fontAlgn="b"/>
                      <a:r>
                        <a:rPr lang="nl-NL" sz="1200" b="0" i="0" u="none" strike="noStrike" dirty="0">
                          <a:solidFill>
                            <a:srgbClr val="000000"/>
                          </a:solidFill>
                          <a:effectLst/>
                          <a:latin typeface="+mn-lt"/>
                        </a:rPr>
                        <a:t>1</a:t>
                      </a:r>
                    </a:p>
                  </a:txBody>
                  <a:tcPr marL="7620" marR="7620" marT="7620" marB="0" anchor="ctr"/>
                </a:tc>
                <a:tc>
                  <a:txBody>
                    <a:bodyPr/>
                    <a:lstStyle/>
                    <a:p>
                      <a:pPr algn="ctr" fontAlgn="b"/>
                      <a:r>
                        <a:rPr lang="nl-NL" sz="1200" b="0" i="0" u="none" strike="noStrike" dirty="0">
                          <a:solidFill>
                            <a:srgbClr val="000000"/>
                          </a:solidFill>
                          <a:effectLst/>
                          <a:latin typeface="+mn-lt"/>
                        </a:rPr>
                        <a:t>5,0%</a:t>
                      </a:r>
                    </a:p>
                  </a:txBody>
                  <a:tcPr marL="7620" marR="7620" marT="7620" marB="0" anchor="ctr"/>
                </a:tc>
                <a:tc>
                  <a:txBody>
                    <a:bodyPr/>
                    <a:lstStyle/>
                    <a:p>
                      <a:pPr algn="ctr" fontAlgn="b"/>
                      <a:r>
                        <a:rPr lang="nl-NL" sz="1200" b="0" i="0" u="none" strike="noStrike">
                          <a:solidFill>
                            <a:srgbClr val="000000"/>
                          </a:solidFill>
                          <a:effectLst/>
                          <a:latin typeface="+mn-lt"/>
                        </a:rPr>
                        <a:t>15,0%</a:t>
                      </a:r>
                    </a:p>
                  </a:txBody>
                  <a:tcPr marL="7620" marR="7620" marT="7620" marB="0" anchor="ctr"/>
                </a:tc>
                <a:extLst>
                  <a:ext uri="{0D108BD9-81ED-4DB2-BD59-A6C34878D82A}">
                    <a16:rowId xmlns:a16="http://schemas.microsoft.com/office/drawing/2014/main" val="46750225"/>
                  </a:ext>
                </a:extLst>
              </a:tr>
              <a:tr h="370840">
                <a:tc>
                  <a:txBody>
                    <a:bodyPr/>
                    <a:lstStyle/>
                    <a:p>
                      <a:pPr algn="ctr" fontAlgn="b"/>
                      <a:r>
                        <a:rPr lang="nl-NL" sz="1200" b="0" i="0" u="none" strike="noStrike" dirty="0">
                          <a:solidFill>
                            <a:srgbClr val="000000"/>
                          </a:solidFill>
                          <a:effectLst/>
                          <a:latin typeface="+mn-lt"/>
                        </a:rPr>
                        <a:t>2</a:t>
                      </a:r>
                    </a:p>
                  </a:txBody>
                  <a:tcPr marL="7620" marR="7620" marT="7620" marB="0" anchor="ctr"/>
                </a:tc>
                <a:tc>
                  <a:txBody>
                    <a:bodyPr/>
                    <a:lstStyle/>
                    <a:p>
                      <a:pPr algn="ctr" fontAlgn="b"/>
                      <a:r>
                        <a:rPr lang="nl-NL" sz="1200" b="0" i="0" u="none" strike="noStrike" dirty="0">
                          <a:solidFill>
                            <a:srgbClr val="000000"/>
                          </a:solidFill>
                          <a:effectLst/>
                          <a:latin typeface="+mn-lt"/>
                        </a:rPr>
                        <a:t>6,5%</a:t>
                      </a:r>
                    </a:p>
                  </a:txBody>
                  <a:tcPr marL="7620" marR="7620" marT="7620" marB="0" anchor="ctr"/>
                </a:tc>
                <a:tc>
                  <a:txBody>
                    <a:bodyPr/>
                    <a:lstStyle/>
                    <a:p>
                      <a:pPr algn="ctr" fontAlgn="b"/>
                      <a:r>
                        <a:rPr lang="nl-NL" sz="1200" b="0" i="0" u="none" strike="noStrike">
                          <a:solidFill>
                            <a:srgbClr val="000000"/>
                          </a:solidFill>
                          <a:effectLst/>
                          <a:latin typeface="+mn-lt"/>
                        </a:rPr>
                        <a:t>13,5%</a:t>
                      </a:r>
                    </a:p>
                  </a:txBody>
                  <a:tcPr marL="7620" marR="7620" marT="7620" marB="0" anchor="ctr"/>
                </a:tc>
                <a:extLst>
                  <a:ext uri="{0D108BD9-81ED-4DB2-BD59-A6C34878D82A}">
                    <a16:rowId xmlns:a16="http://schemas.microsoft.com/office/drawing/2014/main" val="630121284"/>
                  </a:ext>
                </a:extLst>
              </a:tr>
              <a:tr h="370840">
                <a:tc>
                  <a:txBody>
                    <a:bodyPr/>
                    <a:lstStyle/>
                    <a:p>
                      <a:pPr algn="ctr" fontAlgn="b"/>
                      <a:r>
                        <a:rPr lang="nl-NL" sz="1200" b="0" i="0" u="none" strike="noStrike" dirty="0">
                          <a:solidFill>
                            <a:srgbClr val="000000"/>
                          </a:solidFill>
                          <a:effectLst/>
                          <a:latin typeface="+mn-lt"/>
                        </a:rPr>
                        <a:t>3</a:t>
                      </a:r>
                    </a:p>
                  </a:txBody>
                  <a:tcPr marL="7620" marR="7620" marT="7620" marB="0" anchor="ctr"/>
                </a:tc>
                <a:tc>
                  <a:txBody>
                    <a:bodyPr/>
                    <a:lstStyle/>
                    <a:p>
                      <a:pPr algn="ctr" fontAlgn="b"/>
                      <a:r>
                        <a:rPr lang="nl-NL" sz="1200" b="0" i="0" u="none" strike="noStrike" dirty="0">
                          <a:solidFill>
                            <a:srgbClr val="000000"/>
                          </a:solidFill>
                          <a:effectLst/>
                          <a:latin typeface="+mn-lt"/>
                        </a:rPr>
                        <a:t>8,0%</a:t>
                      </a:r>
                    </a:p>
                  </a:txBody>
                  <a:tcPr marL="7620" marR="7620" marT="7620" marB="0" anchor="ctr"/>
                </a:tc>
                <a:tc>
                  <a:txBody>
                    <a:bodyPr/>
                    <a:lstStyle/>
                    <a:p>
                      <a:pPr algn="ctr" fontAlgn="b"/>
                      <a:r>
                        <a:rPr lang="nl-NL" sz="1200" b="0" i="0" u="none" strike="noStrike">
                          <a:solidFill>
                            <a:srgbClr val="000000"/>
                          </a:solidFill>
                          <a:effectLst/>
                          <a:latin typeface="+mn-lt"/>
                        </a:rPr>
                        <a:t>12,0%</a:t>
                      </a:r>
                    </a:p>
                  </a:txBody>
                  <a:tcPr marL="7620" marR="7620" marT="7620" marB="0" anchor="ctr"/>
                </a:tc>
                <a:extLst>
                  <a:ext uri="{0D108BD9-81ED-4DB2-BD59-A6C34878D82A}">
                    <a16:rowId xmlns:a16="http://schemas.microsoft.com/office/drawing/2014/main" val="1388823538"/>
                  </a:ext>
                </a:extLst>
              </a:tr>
              <a:tr h="370840">
                <a:tc>
                  <a:txBody>
                    <a:bodyPr/>
                    <a:lstStyle/>
                    <a:p>
                      <a:pPr algn="ctr" fontAlgn="b"/>
                      <a:r>
                        <a:rPr lang="nl-NL" sz="1200" b="0" i="0" u="none" strike="noStrike" dirty="0">
                          <a:solidFill>
                            <a:srgbClr val="000000"/>
                          </a:solidFill>
                          <a:effectLst/>
                          <a:latin typeface="+mn-lt"/>
                        </a:rPr>
                        <a:t>4</a:t>
                      </a:r>
                    </a:p>
                  </a:txBody>
                  <a:tcPr marL="7620" marR="7620" marT="7620" marB="0" anchor="ctr"/>
                </a:tc>
                <a:tc>
                  <a:txBody>
                    <a:bodyPr/>
                    <a:lstStyle/>
                    <a:p>
                      <a:pPr algn="ctr" fontAlgn="b"/>
                      <a:r>
                        <a:rPr lang="nl-NL" sz="1200" b="0" i="0" u="none" strike="noStrike" dirty="0">
                          <a:solidFill>
                            <a:srgbClr val="000000"/>
                          </a:solidFill>
                          <a:effectLst/>
                          <a:latin typeface="+mn-lt"/>
                        </a:rPr>
                        <a:t>9,5%</a:t>
                      </a:r>
                    </a:p>
                  </a:txBody>
                  <a:tcPr marL="7620" marR="7620" marT="7620" marB="0" anchor="ctr"/>
                </a:tc>
                <a:tc>
                  <a:txBody>
                    <a:bodyPr/>
                    <a:lstStyle/>
                    <a:p>
                      <a:pPr algn="ctr" fontAlgn="b"/>
                      <a:r>
                        <a:rPr lang="nl-NL" sz="1200" b="0" i="0" u="none" strike="noStrike">
                          <a:solidFill>
                            <a:srgbClr val="000000"/>
                          </a:solidFill>
                          <a:effectLst/>
                          <a:latin typeface="+mn-lt"/>
                        </a:rPr>
                        <a:t>10,5%</a:t>
                      </a:r>
                    </a:p>
                  </a:txBody>
                  <a:tcPr marL="7620" marR="7620" marT="7620" marB="0" anchor="ctr"/>
                </a:tc>
                <a:extLst>
                  <a:ext uri="{0D108BD9-81ED-4DB2-BD59-A6C34878D82A}">
                    <a16:rowId xmlns:a16="http://schemas.microsoft.com/office/drawing/2014/main" val="1787915123"/>
                  </a:ext>
                </a:extLst>
              </a:tr>
              <a:tr h="370840">
                <a:tc>
                  <a:txBody>
                    <a:bodyPr/>
                    <a:lstStyle/>
                    <a:p>
                      <a:pPr algn="ctr" fontAlgn="b"/>
                      <a:r>
                        <a:rPr lang="nl-NL" sz="1200" b="0" i="0" u="none" strike="noStrike" dirty="0">
                          <a:solidFill>
                            <a:srgbClr val="000000"/>
                          </a:solidFill>
                          <a:effectLst/>
                          <a:latin typeface="+mn-lt"/>
                        </a:rPr>
                        <a:t>5</a:t>
                      </a:r>
                    </a:p>
                  </a:txBody>
                  <a:tcPr marL="7620" marR="7620" marT="7620" marB="0" anchor="ctr"/>
                </a:tc>
                <a:tc>
                  <a:txBody>
                    <a:bodyPr/>
                    <a:lstStyle/>
                    <a:p>
                      <a:pPr algn="ctr" fontAlgn="b"/>
                      <a:r>
                        <a:rPr lang="nl-NL" sz="1200" b="0" i="0" u="none" strike="noStrike" dirty="0">
                          <a:solidFill>
                            <a:srgbClr val="000000"/>
                          </a:solidFill>
                          <a:effectLst/>
                          <a:latin typeface="+mn-lt"/>
                        </a:rPr>
                        <a:t>11,0%</a:t>
                      </a:r>
                    </a:p>
                  </a:txBody>
                  <a:tcPr marL="7620" marR="7620" marT="7620" marB="0" anchor="ctr"/>
                </a:tc>
                <a:tc>
                  <a:txBody>
                    <a:bodyPr/>
                    <a:lstStyle/>
                    <a:p>
                      <a:pPr algn="ctr" fontAlgn="b"/>
                      <a:r>
                        <a:rPr lang="nl-NL" sz="1200" b="0" i="0" u="none" strike="noStrike" dirty="0">
                          <a:solidFill>
                            <a:srgbClr val="000000"/>
                          </a:solidFill>
                          <a:effectLst/>
                          <a:latin typeface="+mn-lt"/>
                        </a:rPr>
                        <a:t>9,0%</a:t>
                      </a:r>
                    </a:p>
                  </a:txBody>
                  <a:tcPr marL="7620" marR="7620" marT="7620" marB="0" anchor="ctr"/>
                </a:tc>
                <a:extLst>
                  <a:ext uri="{0D108BD9-81ED-4DB2-BD59-A6C34878D82A}">
                    <a16:rowId xmlns:a16="http://schemas.microsoft.com/office/drawing/2014/main" val="2845946078"/>
                  </a:ext>
                </a:extLst>
              </a:tr>
              <a:tr h="370840">
                <a:tc>
                  <a:txBody>
                    <a:bodyPr/>
                    <a:lstStyle/>
                    <a:p>
                      <a:pPr algn="ctr" fontAlgn="b"/>
                      <a:r>
                        <a:rPr lang="nl-NL" sz="1200" b="0" i="0" u="none" strike="noStrike">
                          <a:solidFill>
                            <a:srgbClr val="000000"/>
                          </a:solidFill>
                          <a:effectLst/>
                          <a:latin typeface="+mn-lt"/>
                        </a:rPr>
                        <a:t>6</a:t>
                      </a:r>
                    </a:p>
                  </a:txBody>
                  <a:tcPr marL="7620" marR="7620" marT="7620" marB="0" anchor="ctr"/>
                </a:tc>
                <a:tc>
                  <a:txBody>
                    <a:bodyPr/>
                    <a:lstStyle/>
                    <a:p>
                      <a:pPr algn="ctr" fontAlgn="b"/>
                      <a:r>
                        <a:rPr lang="nl-NL" sz="1200" b="0" i="0" u="none" strike="noStrike" dirty="0">
                          <a:solidFill>
                            <a:srgbClr val="000000"/>
                          </a:solidFill>
                          <a:effectLst/>
                          <a:latin typeface="+mn-lt"/>
                        </a:rPr>
                        <a:t>12,5%</a:t>
                      </a:r>
                    </a:p>
                  </a:txBody>
                  <a:tcPr marL="7620" marR="7620" marT="7620" marB="0" anchor="ctr"/>
                </a:tc>
                <a:tc>
                  <a:txBody>
                    <a:bodyPr/>
                    <a:lstStyle/>
                    <a:p>
                      <a:pPr algn="ctr" fontAlgn="b"/>
                      <a:r>
                        <a:rPr lang="nl-NL" sz="1200" b="0" i="0" u="none" strike="noStrike" dirty="0">
                          <a:solidFill>
                            <a:srgbClr val="000000"/>
                          </a:solidFill>
                          <a:effectLst/>
                          <a:latin typeface="+mn-lt"/>
                        </a:rPr>
                        <a:t>7,5%</a:t>
                      </a:r>
                    </a:p>
                  </a:txBody>
                  <a:tcPr marL="7620" marR="7620" marT="7620" marB="0" anchor="ctr"/>
                </a:tc>
                <a:extLst>
                  <a:ext uri="{0D108BD9-81ED-4DB2-BD59-A6C34878D82A}">
                    <a16:rowId xmlns:a16="http://schemas.microsoft.com/office/drawing/2014/main" val="1087425910"/>
                  </a:ext>
                </a:extLst>
              </a:tr>
              <a:tr h="370840">
                <a:tc>
                  <a:txBody>
                    <a:bodyPr/>
                    <a:lstStyle/>
                    <a:p>
                      <a:pPr algn="ctr" fontAlgn="b"/>
                      <a:r>
                        <a:rPr lang="nl-NL" sz="1200" b="0" i="0" u="none" strike="noStrike">
                          <a:solidFill>
                            <a:srgbClr val="000000"/>
                          </a:solidFill>
                          <a:effectLst/>
                          <a:latin typeface="+mn-lt"/>
                        </a:rPr>
                        <a:t>7</a:t>
                      </a:r>
                    </a:p>
                  </a:txBody>
                  <a:tcPr marL="7620" marR="7620" marT="7620" marB="0" anchor="ctr"/>
                </a:tc>
                <a:tc>
                  <a:txBody>
                    <a:bodyPr/>
                    <a:lstStyle/>
                    <a:p>
                      <a:pPr algn="ctr" fontAlgn="b"/>
                      <a:r>
                        <a:rPr lang="nl-NL" sz="1200" b="0" i="0" u="none" strike="noStrike">
                          <a:solidFill>
                            <a:srgbClr val="000000"/>
                          </a:solidFill>
                          <a:effectLst/>
                          <a:latin typeface="+mn-lt"/>
                        </a:rPr>
                        <a:t>14,0%</a:t>
                      </a:r>
                    </a:p>
                  </a:txBody>
                  <a:tcPr marL="7620" marR="7620" marT="7620" marB="0" anchor="ctr"/>
                </a:tc>
                <a:tc>
                  <a:txBody>
                    <a:bodyPr/>
                    <a:lstStyle/>
                    <a:p>
                      <a:pPr algn="ctr" fontAlgn="b"/>
                      <a:r>
                        <a:rPr lang="nl-NL" sz="1200" b="0" i="0" u="none" strike="noStrike" dirty="0">
                          <a:solidFill>
                            <a:srgbClr val="000000"/>
                          </a:solidFill>
                          <a:effectLst/>
                          <a:latin typeface="+mn-lt"/>
                        </a:rPr>
                        <a:t>6,0%</a:t>
                      </a:r>
                    </a:p>
                  </a:txBody>
                  <a:tcPr marL="7620" marR="7620" marT="7620" marB="0" anchor="ctr"/>
                </a:tc>
                <a:extLst>
                  <a:ext uri="{0D108BD9-81ED-4DB2-BD59-A6C34878D82A}">
                    <a16:rowId xmlns:a16="http://schemas.microsoft.com/office/drawing/2014/main" val="1444314256"/>
                  </a:ext>
                </a:extLst>
              </a:tr>
              <a:tr h="370840">
                <a:tc>
                  <a:txBody>
                    <a:bodyPr/>
                    <a:lstStyle/>
                    <a:p>
                      <a:pPr algn="ctr" fontAlgn="b"/>
                      <a:r>
                        <a:rPr lang="nl-NL" sz="1200" b="0" i="0" u="none" strike="noStrike">
                          <a:solidFill>
                            <a:srgbClr val="000000"/>
                          </a:solidFill>
                          <a:effectLst/>
                          <a:latin typeface="+mn-lt"/>
                        </a:rPr>
                        <a:t>8</a:t>
                      </a:r>
                    </a:p>
                  </a:txBody>
                  <a:tcPr marL="7620" marR="7620" marT="7620" marB="0" anchor="ctr"/>
                </a:tc>
                <a:tc>
                  <a:txBody>
                    <a:bodyPr/>
                    <a:lstStyle/>
                    <a:p>
                      <a:pPr algn="ctr" fontAlgn="b"/>
                      <a:r>
                        <a:rPr lang="nl-NL" sz="1200" b="0" i="0" u="none" strike="noStrike">
                          <a:solidFill>
                            <a:srgbClr val="000000"/>
                          </a:solidFill>
                          <a:effectLst/>
                          <a:latin typeface="+mn-lt"/>
                        </a:rPr>
                        <a:t>15,5%</a:t>
                      </a:r>
                    </a:p>
                  </a:txBody>
                  <a:tcPr marL="7620" marR="7620" marT="7620" marB="0" anchor="ctr"/>
                </a:tc>
                <a:tc>
                  <a:txBody>
                    <a:bodyPr/>
                    <a:lstStyle/>
                    <a:p>
                      <a:pPr algn="ctr" fontAlgn="b"/>
                      <a:r>
                        <a:rPr lang="nl-NL" sz="1200" b="0" i="0" u="none" strike="noStrike" dirty="0">
                          <a:solidFill>
                            <a:srgbClr val="000000"/>
                          </a:solidFill>
                          <a:effectLst/>
                          <a:latin typeface="+mn-lt"/>
                        </a:rPr>
                        <a:t>4,5%</a:t>
                      </a:r>
                    </a:p>
                  </a:txBody>
                  <a:tcPr marL="7620" marR="7620" marT="7620" marB="0" anchor="ctr"/>
                </a:tc>
                <a:extLst>
                  <a:ext uri="{0D108BD9-81ED-4DB2-BD59-A6C34878D82A}">
                    <a16:rowId xmlns:a16="http://schemas.microsoft.com/office/drawing/2014/main" val="2239600267"/>
                  </a:ext>
                </a:extLst>
              </a:tr>
              <a:tr h="370840">
                <a:tc>
                  <a:txBody>
                    <a:bodyPr/>
                    <a:lstStyle/>
                    <a:p>
                      <a:pPr algn="ctr" fontAlgn="b"/>
                      <a:r>
                        <a:rPr lang="nl-NL" sz="1200" b="0" i="0" u="none" strike="noStrike" dirty="0">
                          <a:solidFill>
                            <a:srgbClr val="000000"/>
                          </a:solidFill>
                          <a:effectLst/>
                          <a:latin typeface="+mn-lt"/>
                        </a:rPr>
                        <a:t>9</a:t>
                      </a:r>
                    </a:p>
                  </a:txBody>
                  <a:tcPr marL="7620" marR="7620" marT="7620" marB="0" anchor="ctr"/>
                </a:tc>
                <a:tc>
                  <a:txBody>
                    <a:bodyPr/>
                    <a:lstStyle/>
                    <a:p>
                      <a:pPr algn="ctr" fontAlgn="b"/>
                      <a:r>
                        <a:rPr lang="nl-NL" sz="1200" b="0" i="0" u="none" strike="noStrike">
                          <a:solidFill>
                            <a:srgbClr val="000000"/>
                          </a:solidFill>
                          <a:effectLst/>
                          <a:latin typeface="+mn-lt"/>
                        </a:rPr>
                        <a:t>17,0%</a:t>
                      </a:r>
                    </a:p>
                  </a:txBody>
                  <a:tcPr marL="7620" marR="7620" marT="7620" marB="0" anchor="ctr"/>
                </a:tc>
                <a:tc>
                  <a:txBody>
                    <a:bodyPr/>
                    <a:lstStyle/>
                    <a:p>
                      <a:pPr algn="ctr" fontAlgn="b"/>
                      <a:r>
                        <a:rPr lang="nl-NL" sz="1200" b="0" i="0" u="none" strike="noStrike" dirty="0">
                          <a:solidFill>
                            <a:srgbClr val="000000"/>
                          </a:solidFill>
                          <a:effectLst/>
                          <a:latin typeface="+mn-lt"/>
                        </a:rPr>
                        <a:t>3,0%</a:t>
                      </a:r>
                    </a:p>
                  </a:txBody>
                  <a:tcPr marL="7620" marR="7620" marT="7620" marB="0" anchor="ctr"/>
                </a:tc>
                <a:extLst>
                  <a:ext uri="{0D108BD9-81ED-4DB2-BD59-A6C34878D82A}">
                    <a16:rowId xmlns:a16="http://schemas.microsoft.com/office/drawing/2014/main" val="3087811118"/>
                  </a:ext>
                </a:extLst>
              </a:tr>
              <a:tr h="370840">
                <a:tc>
                  <a:txBody>
                    <a:bodyPr/>
                    <a:lstStyle/>
                    <a:p>
                      <a:pPr algn="ctr" fontAlgn="b"/>
                      <a:r>
                        <a:rPr lang="nl-NL" sz="1200" b="0" i="0" u="none" strike="noStrike" dirty="0">
                          <a:solidFill>
                            <a:srgbClr val="000000"/>
                          </a:solidFill>
                          <a:effectLst/>
                          <a:latin typeface="+mn-lt"/>
                        </a:rPr>
                        <a:t>10</a:t>
                      </a:r>
                    </a:p>
                  </a:txBody>
                  <a:tcPr marL="7620" marR="7620" marT="7620" marB="0" anchor="ctr"/>
                </a:tc>
                <a:tc>
                  <a:txBody>
                    <a:bodyPr/>
                    <a:lstStyle/>
                    <a:p>
                      <a:pPr algn="ctr" fontAlgn="b"/>
                      <a:r>
                        <a:rPr lang="nl-NL" sz="1200" b="0" i="0" u="none" strike="noStrike">
                          <a:solidFill>
                            <a:srgbClr val="000000"/>
                          </a:solidFill>
                          <a:effectLst/>
                          <a:latin typeface="+mn-lt"/>
                        </a:rPr>
                        <a:t>18,5%</a:t>
                      </a:r>
                    </a:p>
                  </a:txBody>
                  <a:tcPr marL="7620" marR="7620" marT="7620" marB="0" anchor="ctr"/>
                </a:tc>
                <a:tc>
                  <a:txBody>
                    <a:bodyPr/>
                    <a:lstStyle/>
                    <a:p>
                      <a:pPr algn="ctr" fontAlgn="b"/>
                      <a:r>
                        <a:rPr lang="nl-NL" sz="1200" b="0" i="0" u="none" strike="noStrike" dirty="0">
                          <a:solidFill>
                            <a:srgbClr val="000000"/>
                          </a:solidFill>
                          <a:effectLst/>
                          <a:latin typeface="+mn-lt"/>
                        </a:rPr>
                        <a:t>1,5%</a:t>
                      </a:r>
                    </a:p>
                  </a:txBody>
                  <a:tcPr marL="7620" marR="7620" marT="7620" marB="0" anchor="ctr"/>
                </a:tc>
                <a:extLst>
                  <a:ext uri="{0D108BD9-81ED-4DB2-BD59-A6C34878D82A}">
                    <a16:rowId xmlns:a16="http://schemas.microsoft.com/office/drawing/2014/main" val="3878585349"/>
                  </a:ext>
                </a:extLst>
              </a:tr>
              <a:tr h="370840">
                <a:tc>
                  <a:txBody>
                    <a:bodyPr/>
                    <a:lstStyle/>
                    <a:p>
                      <a:pPr algn="ctr" fontAlgn="b"/>
                      <a:r>
                        <a:rPr lang="nl-NL" sz="1200" b="0" i="0" u="none" strike="noStrike" dirty="0" smtClean="0">
                          <a:solidFill>
                            <a:srgbClr val="000000"/>
                          </a:solidFill>
                          <a:effectLst/>
                          <a:latin typeface="+mn-lt"/>
                        </a:rPr>
                        <a:t>&gt;10</a:t>
                      </a:r>
                      <a:endParaRPr lang="nl-NL" sz="1200" b="0" i="0" u="none" strike="noStrike" dirty="0">
                        <a:solidFill>
                          <a:srgbClr val="000000"/>
                        </a:solidFill>
                        <a:effectLst/>
                        <a:latin typeface="+mn-lt"/>
                      </a:endParaRPr>
                    </a:p>
                  </a:txBody>
                  <a:tcPr marL="7620" marR="7620" marT="7620" marB="0" anchor="ctr"/>
                </a:tc>
                <a:tc>
                  <a:txBody>
                    <a:bodyPr/>
                    <a:lstStyle/>
                    <a:p>
                      <a:pPr algn="ctr" fontAlgn="b"/>
                      <a:r>
                        <a:rPr lang="nl-NL" sz="1200" b="0" i="0" u="none" strike="noStrike">
                          <a:solidFill>
                            <a:srgbClr val="000000"/>
                          </a:solidFill>
                          <a:effectLst/>
                          <a:latin typeface="+mn-lt"/>
                        </a:rPr>
                        <a:t>20,0%</a:t>
                      </a:r>
                    </a:p>
                  </a:txBody>
                  <a:tcPr marL="7620" marR="7620" marT="7620" marB="0" anchor="ctr"/>
                </a:tc>
                <a:tc>
                  <a:txBody>
                    <a:bodyPr/>
                    <a:lstStyle/>
                    <a:p>
                      <a:pPr algn="ctr" fontAlgn="b"/>
                      <a:r>
                        <a:rPr lang="nl-NL" sz="1200" b="0" i="0" u="none" strike="noStrike" dirty="0">
                          <a:solidFill>
                            <a:srgbClr val="000000"/>
                          </a:solidFill>
                          <a:effectLst/>
                          <a:latin typeface="+mn-lt"/>
                        </a:rPr>
                        <a:t>0,0%</a:t>
                      </a:r>
                    </a:p>
                  </a:txBody>
                  <a:tcPr marL="7620" marR="7620" marT="7620" marB="0" anchor="ctr"/>
                </a:tc>
                <a:extLst>
                  <a:ext uri="{0D108BD9-81ED-4DB2-BD59-A6C34878D82A}">
                    <a16:rowId xmlns:a16="http://schemas.microsoft.com/office/drawing/2014/main" val="2322670393"/>
                  </a:ext>
                </a:extLst>
              </a:tr>
            </a:tbl>
          </a:graphicData>
        </a:graphic>
      </p:graphicFrame>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2</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r>
              <a:rPr lang="en-US" dirty="0" err="1" smtClean="0"/>
              <a:t>Aanpassing</a:t>
            </a:r>
            <a:r>
              <a:rPr lang="en-US" dirty="0" smtClean="0"/>
              <a:t> </a:t>
            </a:r>
            <a:r>
              <a:rPr lang="en-US" dirty="0" err="1" smtClean="0"/>
              <a:t>premiebeleid</a:t>
            </a:r>
            <a:endParaRPr lang="en-US" dirty="0" smtClean="0"/>
          </a:p>
          <a:p>
            <a:pPr lvl="1"/>
            <a:r>
              <a:rPr lang="en-US" dirty="0" smtClean="0"/>
              <a:t>De </a:t>
            </a:r>
            <a:r>
              <a:rPr lang="en-US" dirty="0" err="1" smtClean="0"/>
              <a:t>totale</a:t>
            </a:r>
            <a:r>
              <a:rPr lang="en-US" dirty="0" smtClean="0"/>
              <a:t> </a:t>
            </a:r>
            <a:r>
              <a:rPr lang="en-US" dirty="0" err="1" smtClean="0"/>
              <a:t>premie</a:t>
            </a:r>
            <a:r>
              <a:rPr lang="en-US" dirty="0" smtClean="0"/>
              <a:t> </a:t>
            </a:r>
            <a:r>
              <a:rPr lang="en-US" dirty="0" err="1" smtClean="0"/>
              <a:t>wordt</a:t>
            </a:r>
            <a:r>
              <a:rPr lang="en-US" dirty="0" smtClean="0"/>
              <a:t> </a:t>
            </a:r>
            <a:r>
              <a:rPr lang="en-US" dirty="0" err="1" smtClean="0"/>
              <a:t>gesplitst</a:t>
            </a:r>
            <a:r>
              <a:rPr lang="en-US" dirty="0" smtClean="0"/>
              <a:t> in uniform </a:t>
            </a:r>
            <a:r>
              <a:rPr lang="en-US" dirty="0" err="1" smtClean="0"/>
              <a:t>deel</a:t>
            </a:r>
            <a:r>
              <a:rPr lang="en-US" dirty="0" smtClean="0"/>
              <a:t> </a:t>
            </a:r>
            <a:r>
              <a:rPr lang="en-US" dirty="0" err="1" smtClean="0"/>
              <a:t>en</a:t>
            </a:r>
            <a:r>
              <a:rPr lang="en-US" dirty="0" smtClean="0"/>
              <a:t> </a:t>
            </a:r>
            <a:r>
              <a:rPr lang="en-US" dirty="0" err="1" smtClean="0"/>
              <a:t>variabel</a:t>
            </a:r>
            <a:r>
              <a:rPr lang="en-US" dirty="0" smtClean="0"/>
              <a:t> </a:t>
            </a:r>
            <a:r>
              <a:rPr lang="en-US" dirty="0" err="1" smtClean="0"/>
              <a:t>deel</a:t>
            </a:r>
            <a:r>
              <a:rPr lang="en-US" dirty="0" smtClean="0"/>
              <a:t> (</a:t>
            </a:r>
            <a:r>
              <a:rPr lang="en-US" dirty="0" err="1" smtClean="0"/>
              <a:t>compensatiepremie</a:t>
            </a:r>
            <a:r>
              <a:rPr lang="en-US" dirty="0" smtClean="0"/>
              <a:t>).</a:t>
            </a:r>
          </a:p>
          <a:p>
            <a:pPr lvl="1"/>
            <a:r>
              <a:rPr lang="en-US" dirty="0" smtClean="0"/>
              <a:t>Het </a:t>
            </a:r>
            <a:r>
              <a:rPr lang="en-US" dirty="0" err="1" smtClean="0"/>
              <a:t>uniforme</a:t>
            </a:r>
            <a:r>
              <a:rPr lang="en-US" dirty="0" smtClean="0"/>
              <a:t> </a:t>
            </a:r>
            <a:r>
              <a:rPr lang="en-US" dirty="0" err="1" smtClean="0"/>
              <a:t>deel</a:t>
            </a:r>
            <a:r>
              <a:rPr lang="en-US" dirty="0" smtClean="0"/>
              <a:t> </a:t>
            </a:r>
            <a:r>
              <a:rPr lang="en-US" dirty="0" err="1" smtClean="0"/>
              <a:t>stijgt</a:t>
            </a:r>
            <a:r>
              <a:rPr lang="en-US" dirty="0" smtClean="0"/>
              <a:t> </a:t>
            </a:r>
            <a:r>
              <a:rPr lang="en-US" dirty="0" err="1" smtClean="0"/>
              <a:t>lineair</a:t>
            </a:r>
            <a:r>
              <a:rPr lang="en-US" dirty="0" smtClean="0"/>
              <a:t> tot het </a:t>
            </a:r>
            <a:r>
              <a:rPr lang="en-US" dirty="0" err="1" smtClean="0"/>
              <a:t>beoogde</a:t>
            </a:r>
            <a:r>
              <a:rPr lang="en-US" dirty="0" smtClean="0"/>
              <a:t> </a:t>
            </a:r>
            <a:r>
              <a:rPr lang="en-US" dirty="0" err="1" smtClean="0"/>
              <a:t>niveau</a:t>
            </a:r>
            <a:r>
              <a:rPr lang="en-US" dirty="0" smtClean="0"/>
              <a:t> van 20%PG.</a:t>
            </a:r>
          </a:p>
          <a:p>
            <a:pPr lvl="1"/>
            <a:r>
              <a:rPr lang="en-US" dirty="0" smtClean="0"/>
              <a:t>De </a:t>
            </a:r>
            <a:r>
              <a:rPr lang="en-US" dirty="0" err="1" smtClean="0"/>
              <a:t>compensatiepremie</a:t>
            </a:r>
            <a:r>
              <a:rPr lang="en-US" dirty="0" smtClean="0"/>
              <a:t> is steeds het </a:t>
            </a:r>
            <a:r>
              <a:rPr lang="en-US" dirty="0" err="1" smtClean="0"/>
              <a:t>verschil</a:t>
            </a:r>
            <a:r>
              <a:rPr lang="en-US" dirty="0" smtClean="0"/>
              <a:t> </a:t>
            </a:r>
            <a:r>
              <a:rPr lang="en-US" dirty="0" err="1" smtClean="0"/>
              <a:t>tussen</a:t>
            </a:r>
            <a:r>
              <a:rPr lang="en-US" dirty="0" smtClean="0"/>
              <a:t> de 20%PG </a:t>
            </a:r>
            <a:r>
              <a:rPr lang="en-US" dirty="0" err="1" smtClean="0"/>
              <a:t>en</a:t>
            </a:r>
            <a:r>
              <a:rPr lang="en-US" dirty="0" smtClean="0"/>
              <a:t> </a:t>
            </a:r>
            <a:r>
              <a:rPr lang="en-US" dirty="0" err="1" smtClean="0"/>
              <a:t>oplopende</a:t>
            </a:r>
            <a:r>
              <a:rPr lang="en-US" dirty="0" smtClean="0"/>
              <a:t> </a:t>
            </a:r>
            <a:r>
              <a:rPr lang="en-US" dirty="0" err="1" smtClean="0"/>
              <a:t>uniforme</a:t>
            </a:r>
            <a:r>
              <a:rPr lang="en-US" dirty="0" smtClean="0"/>
              <a:t> </a:t>
            </a:r>
            <a:r>
              <a:rPr lang="en-US" dirty="0" err="1" smtClean="0"/>
              <a:t>deel</a:t>
            </a:r>
            <a:r>
              <a:rPr lang="en-US" dirty="0" smtClean="0"/>
              <a:t> van de </a:t>
            </a:r>
            <a:r>
              <a:rPr lang="en-US" dirty="0" err="1" smtClean="0"/>
              <a:t>premie</a:t>
            </a:r>
            <a:r>
              <a:rPr lang="en-US" dirty="0" smtClean="0"/>
              <a:t>.</a:t>
            </a:r>
          </a:p>
          <a:p>
            <a:pPr lvl="1"/>
            <a:r>
              <a:rPr lang="en-US" dirty="0" smtClean="0"/>
              <a:t>De </a:t>
            </a:r>
            <a:r>
              <a:rPr lang="en-US" dirty="0" err="1" smtClean="0"/>
              <a:t>compensatiepremie</a:t>
            </a:r>
            <a:r>
              <a:rPr lang="en-US" dirty="0" smtClean="0"/>
              <a:t> </a:t>
            </a:r>
            <a:r>
              <a:rPr lang="en-US" dirty="0" err="1" smtClean="0"/>
              <a:t>wordt</a:t>
            </a:r>
            <a:r>
              <a:rPr lang="en-US" dirty="0" smtClean="0"/>
              <a:t> </a:t>
            </a:r>
            <a:r>
              <a:rPr lang="en-US" dirty="0" err="1" smtClean="0"/>
              <a:t>leeftijdsafhankelijk</a:t>
            </a:r>
            <a:r>
              <a:rPr lang="en-US" dirty="0" smtClean="0"/>
              <a:t> </a:t>
            </a:r>
            <a:r>
              <a:rPr lang="en-US" dirty="0" err="1" smtClean="0"/>
              <a:t>toegekend</a:t>
            </a:r>
            <a:r>
              <a:rPr lang="en-US" dirty="0" smtClean="0"/>
              <a:t> </a:t>
            </a:r>
            <a:r>
              <a:rPr lang="en-US" dirty="0" err="1" smtClean="0"/>
              <a:t>aan</a:t>
            </a:r>
            <a:r>
              <a:rPr lang="en-US" dirty="0" smtClean="0"/>
              <a:t> de </a:t>
            </a:r>
            <a:r>
              <a:rPr lang="en-US" dirty="0" err="1" smtClean="0"/>
              <a:t>actieve</a:t>
            </a:r>
            <a:r>
              <a:rPr lang="en-US" dirty="0" smtClean="0"/>
              <a:t> </a:t>
            </a:r>
            <a:r>
              <a:rPr lang="en-US" dirty="0" err="1" smtClean="0"/>
              <a:t>deelnemers</a:t>
            </a:r>
            <a:r>
              <a:rPr lang="en-US" dirty="0" smtClean="0"/>
              <a:t>.</a:t>
            </a:r>
            <a:endParaRPr lang="nl-NL" dirty="0"/>
          </a:p>
        </p:txBody>
      </p:sp>
      <p:sp>
        <p:nvSpPr>
          <p:cNvPr id="5" name="Titel 4"/>
          <p:cNvSpPr>
            <a:spLocks noGrp="1"/>
          </p:cNvSpPr>
          <p:nvPr>
            <p:ph type="title"/>
          </p:nvPr>
        </p:nvSpPr>
        <p:spPr/>
        <p:txBody>
          <a:bodyPr/>
          <a:lstStyle/>
          <a:p>
            <a:r>
              <a:rPr lang="en-US" dirty="0" err="1" smtClean="0"/>
              <a:t>Voorbeeld</a:t>
            </a:r>
            <a:r>
              <a:rPr lang="en-US" dirty="0" smtClean="0"/>
              <a:t> 2</a:t>
            </a:r>
            <a:endParaRPr lang="nl-NL" dirty="0"/>
          </a:p>
        </p:txBody>
      </p:sp>
      <p:sp>
        <p:nvSpPr>
          <p:cNvPr id="6" name="Tijdelijke aanduiding voor tekst 5"/>
          <p:cNvSpPr>
            <a:spLocks noGrp="1"/>
          </p:cNvSpPr>
          <p:nvPr>
            <p:ph type="body" sz="quarter" idx="14"/>
          </p:nvPr>
        </p:nvSpPr>
        <p:spPr/>
        <p:txBody>
          <a:bodyPr/>
          <a:lstStyle/>
          <a:p>
            <a:r>
              <a:rPr lang="en-US" dirty="0" err="1" smtClean="0"/>
              <a:t>Compensatie</a:t>
            </a:r>
            <a:r>
              <a:rPr lang="en-US" dirty="0" smtClean="0"/>
              <a:t> door </a:t>
            </a:r>
            <a:r>
              <a:rPr lang="en-US" dirty="0" err="1" smtClean="0"/>
              <a:t>aanpassing</a:t>
            </a:r>
            <a:r>
              <a:rPr lang="en-US" dirty="0" smtClean="0"/>
              <a:t> </a:t>
            </a:r>
            <a:r>
              <a:rPr lang="en-US" dirty="0" err="1" smtClean="0"/>
              <a:t>premiebeleid</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236314222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inhoud 8"/>
          <p:cNvPicPr>
            <a:picLocks noGrp="1" noChangeAspect="1"/>
          </p:cNvPicPr>
          <p:nvPr>
            <p:ph sz="half" idx="1"/>
          </p:nvPr>
        </p:nvPicPr>
        <p:blipFill>
          <a:blip r:embed="rId2"/>
          <a:stretch>
            <a:fillRect/>
          </a:stretch>
        </p:blipFill>
        <p:spPr>
          <a:xfrm>
            <a:off x="503238" y="1997234"/>
            <a:ext cx="5543550" cy="3531870"/>
          </a:xfrm>
          <a:prstGeom prst="rect">
            <a:avLst/>
          </a:prstGeom>
        </p:spPr>
      </p:pic>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3</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en-US" dirty="0"/>
          </a:p>
          <a:p>
            <a:r>
              <a:rPr lang="en-US" dirty="0" err="1" smtClean="0"/>
              <a:t>Doelstelling</a:t>
            </a:r>
            <a:r>
              <a:rPr lang="en-US" dirty="0" smtClean="0"/>
              <a:t> van </a:t>
            </a:r>
            <a:r>
              <a:rPr lang="en-US" dirty="0" err="1" smtClean="0"/>
              <a:t>aanpassing</a:t>
            </a:r>
            <a:r>
              <a:rPr lang="en-US" dirty="0" smtClean="0"/>
              <a:t> </a:t>
            </a:r>
            <a:r>
              <a:rPr lang="en-US" dirty="0" err="1" smtClean="0"/>
              <a:t>premiebeleid</a:t>
            </a:r>
            <a:r>
              <a:rPr lang="en-US" dirty="0" smtClean="0"/>
              <a:t> is om delta </a:t>
            </a:r>
            <a:r>
              <a:rPr lang="en-US" dirty="0" err="1" smtClean="0"/>
              <a:t>netto</a:t>
            </a:r>
            <a:r>
              <a:rPr lang="en-US" dirty="0" smtClean="0"/>
              <a:t> </a:t>
            </a:r>
            <a:r>
              <a:rPr lang="en-US" dirty="0" err="1" smtClean="0"/>
              <a:t>profijt</a:t>
            </a:r>
            <a:r>
              <a:rPr lang="en-US" dirty="0" smtClean="0"/>
              <a:t> van </a:t>
            </a:r>
            <a:r>
              <a:rPr lang="en-US" dirty="0" err="1" smtClean="0"/>
              <a:t>actieve</a:t>
            </a:r>
            <a:r>
              <a:rPr lang="en-US" dirty="0" smtClean="0"/>
              <a:t> </a:t>
            </a:r>
            <a:r>
              <a:rPr lang="en-US" dirty="0" err="1" smtClean="0"/>
              <a:t>deelnemers</a:t>
            </a:r>
            <a:r>
              <a:rPr lang="en-US" dirty="0" smtClean="0"/>
              <a:t> `</a:t>
            </a:r>
            <a:r>
              <a:rPr lang="en-US" dirty="0" err="1" smtClean="0"/>
              <a:t>horizontaal</a:t>
            </a:r>
            <a:r>
              <a:rPr lang="en-US" dirty="0" smtClean="0"/>
              <a:t>` </a:t>
            </a:r>
            <a:r>
              <a:rPr lang="en-US" dirty="0" err="1" smtClean="0"/>
              <a:t>te</a:t>
            </a:r>
            <a:r>
              <a:rPr lang="en-US" dirty="0" smtClean="0"/>
              <a:t> </a:t>
            </a:r>
            <a:r>
              <a:rPr lang="en-US" dirty="0" err="1" smtClean="0"/>
              <a:t>krijgen</a:t>
            </a:r>
            <a:r>
              <a:rPr lang="en-US" dirty="0" smtClean="0"/>
              <a:t>.</a:t>
            </a:r>
          </a:p>
          <a:p>
            <a:r>
              <a:rPr lang="en-US" dirty="0" smtClean="0"/>
              <a:t>In het </a:t>
            </a:r>
            <a:r>
              <a:rPr lang="en-US" dirty="0" err="1" smtClean="0"/>
              <a:t>huidige</a:t>
            </a:r>
            <a:r>
              <a:rPr lang="en-US" dirty="0" smtClean="0"/>
              <a:t> </a:t>
            </a:r>
            <a:r>
              <a:rPr lang="en-US" dirty="0" err="1" smtClean="0"/>
              <a:t>voorbeeld</a:t>
            </a:r>
            <a:r>
              <a:rPr lang="en-US" dirty="0" smtClean="0"/>
              <a:t> </a:t>
            </a:r>
            <a:r>
              <a:rPr lang="en-US" dirty="0" err="1" smtClean="0"/>
              <a:t>wordt</a:t>
            </a:r>
            <a:r>
              <a:rPr lang="en-US" dirty="0" smtClean="0"/>
              <a:t> </a:t>
            </a:r>
            <a:r>
              <a:rPr lang="en-US" dirty="0" err="1" smtClean="0"/>
              <a:t>deze</a:t>
            </a:r>
            <a:r>
              <a:rPr lang="en-US" dirty="0" smtClean="0"/>
              <a:t> </a:t>
            </a:r>
            <a:r>
              <a:rPr lang="en-US" dirty="0" err="1" smtClean="0"/>
              <a:t>doelstelling</a:t>
            </a:r>
            <a:r>
              <a:rPr lang="en-US" dirty="0" smtClean="0"/>
              <a:t> </a:t>
            </a:r>
            <a:r>
              <a:rPr lang="en-US" dirty="0" err="1" smtClean="0"/>
              <a:t>beperkt</a:t>
            </a:r>
            <a:r>
              <a:rPr lang="en-US" dirty="0" smtClean="0"/>
              <a:t> </a:t>
            </a:r>
            <a:r>
              <a:rPr lang="en-US" dirty="0" err="1" smtClean="0"/>
              <a:t>gehaald</a:t>
            </a:r>
            <a:r>
              <a:rPr lang="en-US" dirty="0" smtClean="0"/>
              <a:t>.</a:t>
            </a:r>
          </a:p>
          <a:p>
            <a:r>
              <a:rPr lang="en-US" dirty="0" err="1" smtClean="0"/>
              <a:t>Effectiviteit</a:t>
            </a:r>
            <a:r>
              <a:rPr lang="en-US" dirty="0" smtClean="0"/>
              <a:t> is </a:t>
            </a:r>
            <a:r>
              <a:rPr lang="en-US" dirty="0" err="1" smtClean="0"/>
              <a:t>afhankelijk</a:t>
            </a:r>
            <a:r>
              <a:rPr lang="en-US" dirty="0" smtClean="0"/>
              <a:t> van </a:t>
            </a:r>
            <a:r>
              <a:rPr lang="en-US" dirty="0" err="1" smtClean="0"/>
              <a:t>bestandssamenstelling</a:t>
            </a:r>
            <a:r>
              <a:rPr lang="en-US" dirty="0" smtClean="0"/>
              <a:t>.</a:t>
            </a:r>
          </a:p>
          <a:p>
            <a:r>
              <a:rPr lang="en-US" dirty="0" err="1" smtClean="0"/>
              <a:t>Vraag</a:t>
            </a:r>
            <a:r>
              <a:rPr lang="en-US" dirty="0" smtClean="0"/>
              <a:t>: is </a:t>
            </a:r>
            <a:r>
              <a:rPr lang="en-US" dirty="0" err="1" smtClean="0"/>
              <a:t>dit</a:t>
            </a:r>
            <a:r>
              <a:rPr lang="en-US" dirty="0" smtClean="0"/>
              <a:t> </a:t>
            </a:r>
            <a:r>
              <a:rPr lang="en-US" dirty="0" err="1" smtClean="0"/>
              <a:t>toegestaan</a:t>
            </a:r>
            <a:r>
              <a:rPr lang="en-US" dirty="0" smtClean="0"/>
              <a:t>?</a:t>
            </a:r>
          </a:p>
        </p:txBody>
      </p:sp>
      <p:sp>
        <p:nvSpPr>
          <p:cNvPr id="5" name="Titel 4"/>
          <p:cNvSpPr>
            <a:spLocks noGrp="1"/>
          </p:cNvSpPr>
          <p:nvPr>
            <p:ph type="title"/>
          </p:nvPr>
        </p:nvSpPr>
        <p:spPr/>
        <p:txBody>
          <a:bodyPr/>
          <a:lstStyle/>
          <a:p>
            <a:r>
              <a:rPr lang="en-US" dirty="0" err="1" smtClean="0"/>
              <a:t>Voorbeeld</a:t>
            </a:r>
            <a:r>
              <a:rPr lang="en-US" dirty="0" smtClean="0"/>
              <a:t> 2</a:t>
            </a:r>
            <a:endParaRPr lang="nl-NL" dirty="0"/>
          </a:p>
        </p:txBody>
      </p:sp>
      <p:sp>
        <p:nvSpPr>
          <p:cNvPr id="6" name="Tijdelijke aanduiding voor tekst 5"/>
          <p:cNvSpPr>
            <a:spLocks noGrp="1"/>
          </p:cNvSpPr>
          <p:nvPr>
            <p:ph type="body" sz="quarter" idx="14"/>
          </p:nvPr>
        </p:nvSpPr>
        <p:spPr/>
        <p:txBody>
          <a:bodyPr/>
          <a:lstStyle/>
          <a:p>
            <a:r>
              <a:rPr lang="en-US" dirty="0" err="1" smtClean="0"/>
              <a:t>Compensatie</a:t>
            </a:r>
            <a:r>
              <a:rPr lang="en-US" dirty="0" smtClean="0"/>
              <a:t> door </a:t>
            </a:r>
            <a:r>
              <a:rPr lang="en-US" dirty="0" err="1" smtClean="0"/>
              <a:t>aanpassing</a:t>
            </a:r>
            <a:r>
              <a:rPr lang="en-US" dirty="0" smtClean="0"/>
              <a:t> </a:t>
            </a:r>
            <a:r>
              <a:rPr lang="en-US" dirty="0" err="1" smtClean="0"/>
              <a:t>premiebeleid</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347030449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Tijdelijke aanduiding voor inhoud 8"/>
          <p:cNvPicPr>
            <a:picLocks noGrp="1" noChangeAspect="1"/>
          </p:cNvPicPr>
          <p:nvPr>
            <p:ph sz="half" idx="1"/>
          </p:nvPr>
        </p:nvPicPr>
        <p:blipFill>
          <a:blip r:embed="rId2"/>
          <a:stretch>
            <a:fillRect/>
          </a:stretch>
        </p:blipFill>
        <p:spPr>
          <a:xfrm>
            <a:off x="503238" y="1997234"/>
            <a:ext cx="5543550" cy="3531870"/>
          </a:xfrm>
          <a:prstGeom prst="rect">
            <a:avLst/>
          </a:prstGeom>
        </p:spPr>
      </p:pic>
      <p:sp>
        <p:nvSpPr>
          <p:cNvPr id="3" name="Tijdelijke aanduiding voor dianummer 2"/>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24</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4" name="Tijdelijke aanduiding voor inhoud 3"/>
          <p:cNvSpPr>
            <a:spLocks noGrp="1"/>
          </p:cNvSpPr>
          <p:nvPr>
            <p:ph sz="half" idx="13"/>
          </p:nvPr>
        </p:nvSpPr>
        <p:spPr/>
        <p:txBody>
          <a:bodyPr/>
          <a:lstStyle/>
          <a:p>
            <a:endParaRPr lang="en-US" dirty="0" smtClean="0"/>
          </a:p>
          <a:p>
            <a:endParaRPr lang="en-US" dirty="0"/>
          </a:p>
          <a:p>
            <a:r>
              <a:rPr lang="en-US" dirty="0" err="1" smtClean="0"/>
              <a:t>Voor</a:t>
            </a:r>
            <a:r>
              <a:rPr lang="en-US" dirty="0" smtClean="0"/>
              <a:t> de </a:t>
            </a:r>
            <a:r>
              <a:rPr lang="en-US" dirty="0" err="1" smtClean="0"/>
              <a:t>volledigheid</a:t>
            </a:r>
            <a:r>
              <a:rPr lang="en-US" dirty="0" smtClean="0"/>
              <a:t> de </a:t>
            </a:r>
            <a:r>
              <a:rPr lang="en-US" dirty="0" err="1" smtClean="0"/>
              <a:t>vergelijking</a:t>
            </a:r>
            <a:r>
              <a:rPr lang="en-US" dirty="0" smtClean="0"/>
              <a:t> in delta </a:t>
            </a:r>
            <a:r>
              <a:rPr lang="en-US" dirty="0" err="1" smtClean="0"/>
              <a:t>netto</a:t>
            </a:r>
            <a:r>
              <a:rPr lang="en-US" dirty="0" smtClean="0"/>
              <a:t> </a:t>
            </a:r>
            <a:r>
              <a:rPr lang="en-US" dirty="0" err="1" smtClean="0"/>
              <a:t>profijt</a:t>
            </a:r>
            <a:r>
              <a:rPr lang="en-US" dirty="0" smtClean="0"/>
              <a:t> SPR v</a:t>
            </a:r>
            <a:r>
              <a:rPr lang="nl-NL" dirty="0" smtClean="0"/>
              <a:t>óór en na aanpassing premiebeleid.</a:t>
            </a:r>
          </a:p>
          <a:p>
            <a:r>
              <a:rPr lang="nl-NL" dirty="0" smtClean="0"/>
              <a:t>In de grafiek SPR na aanpassing premiebeleid versus FTK zijn de effecten minder goed zichtbaar. </a:t>
            </a:r>
          </a:p>
          <a:p>
            <a:r>
              <a:rPr lang="nl-NL" dirty="0"/>
              <a:t>L</a:t>
            </a:r>
            <a:r>
              <a:rPr lang="nl-NL" dirty="0" smtClean="0"/>
              <a:t>et op: deze grafiek is gebaseerd op een andere grondslag dan de vorige grafiek, dus de delta netto profijten kunnen niet bij elkaar opgeteld worden.</a:t>
            </a:r>
            <a:endParaRPr lang="nl-NL" dirty="0"/>
          </a:p>
        </p:txBody>
      </p:sp>
      <p:sp>
        <p:nvSpPr>
          <p:cNvPr id="5" name="Titel 4"/>
          <p:cNvSpPr>
            <a:spLocks noGrp="1"/>
          </p:cNvSpPr>
          <p:nvPr>
            <p:ph type="title"/>
          </p:nvPr>
        </p:nvSpPr>
        <p:spPr/>
        <p:txBody>
          <a:bodyPr/>
          <a:lstStyle/>
          <a:p>
            <a:r>
              <a:rPr lang="en-US" dirty="0" err="1" smtClean="0"/>
              <a:t>Voorbeeld</a:t>
            </a:r>
            <a:r>
              <a:rPr lang="en-US" dirty="0" smtClean="0"/>
              <a:t> 2</a:t>
            </a:r>
            <a:endParaRPr lang="nl-NL" dirty="0"/>
          </a:p>
        </p:txBody>
      </p:sp>
      <p:sp>
        <p:nvSpPr>
          <p:cNvPr id="6" name="Tijdelijke aanduiding voor tekst 5"/>
          <p:cNvSpPr>
            <a:spLocks noGrp="1"/>
          </p:cNvSpPr>
          <p:nvPr>
            <p:ph type="body" sz="quarter" idx="14"/>
          </p:nvPr>
        </p:nvSpPr>
        <p:spPr/>
        <p:txBody>
          <a:bodyPr/>
          <a:lstStyle/>
          <a:p>
            <a:r>
              <a:rPr lang="en-US" dirty="0" err="1" smtClean="0"/>
              <a:t>Aanpassing</a:t>
            </a:r>
            <a:r>
              <a:rPr lang="en-US" dirty="0" smtClean="0"/>
              <a:t> </a:t>
            </a:r>
            <a:r>
              <a:rPr lang="en-US" dirty="0" err="1" smtClean="0"/>
              <a:t>premiebeleid</a:t>
            </a:r>
            <a:endParaRPr lang="nl-NL" dirty="0"/>
          </a:p>
        </p:txBody>
      </p:sp>
      <p:sp>
        <p:nvSpPr>
          <p:cNvPr id="7" name="Tijdelijke aanduiding voor tekst 6"/>
          <p:cNvSpPr>
            <a:spLocks noGrp="1"/>
          </p:cNvSpPr>
          <p:nvPr>
            <p:ph type="body" sz="quarter" idx="16"/>
          </p:nvPr>
        </p:nvSpPr>
        <p:spPr/>
        <p:txBody>
          <a:bodyPr/>
          <a:lstStyle/>
          <a:p>
            <a:endParaRPr lang="nl-NL"/>
          </a:p>
        </p:txBody>
      </p:sp>
      <p:sp>
        <p:nvSpPr>
          <p:cNvPr id="8" name="Tijdelijke aanduiding voor voettekst 7"/>
          <p:cNvSpPr>
            <a:spLocks noGrp="1"/>
          </p:cNvSpPr>
          <p:nvPr>
            <p:ph type="ftr" sz="quarter" idx="17"/>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Tree>
    <p:extLst>
      <p:ext uri="{BB962C8B-B14F-4D97-AF65-F5344CB8AC3E}">
        <p14:creationId xmlns:p14="http://schemas.microsoft.com/office/powerpoint/2010/main" val="2700301603"/>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Invaren </a:t>
            </a:r>
          </a:p>
        </p:txBody>
      </p:sp>
      <p:sp>
        <p:nvSpPr>
          <p:cNvPr id="2" name="Tijdelijke aanduiding voor inhoud 1"/>
          <p:cNvSpPr>
            <a:spLocks noGrp="1"/>
          </p:cNvSpPr>
          <p:nvPr>
            <p:ph idx="1"/>
          </p:nvPr>
        </p:nvSpPr>
        <p:spPr>
          <a:xfrm>
            <a:off x="2423592" y="2060848"/>
            <a:ext cx="8141528" cy="4248472"/>
          </a:xfrm>
        </p:spPr>
        <p:txBody>
          <a:bodyPr>
            <a:normAutofit/>
          </a:bodyPr>
          <a:lstStyle/>
          <a:p>
            <a:pPr indent="-180000">
              <a:buFont typeface="Wingdings" panose="05000000000000000000" pitchFamily="2" charset="2"/>
              <a:buChar char="§"/>
            </a:pPr>
            <a:r>
              <a:rPr lang="nl-NL" sz="1800" dirty="0"/>
              <a:t> Invaren is interne CWO pensioenfondsen met afwijkende voorwaarden t.o.v. </a:t>
            </a:r>
            <a:br>
              <a:rPr lang="nl-NL" sz="1800" dirty="0"/>
            </a:br>
            <a:r>
              <a:rPr lang="nl-NL" sz="1800" dirty="0"/>
              <a:t>   reguliere CWO: bestaande opbouw uitkeringsovereenkomst geconverteerd naar </a:t>
            </a:r>
            <a:br>
              <a:rPr lang="nl-NL" sz="1800" dirty="0"/>
            </a:br>
            <a:r>
              <a:rPr lang="nl-NL" sz="1800" dirty="0"/>
              <a:t>   gekozen contract</a:t>
            </a:r>
          </a:p>
          <a:p>
            <a:pPr indent="-180000">
              <a:buFont typeface="Wingdings" panose="05000000000000000000" pitchFamily="2" charset="2"/>
              <a:buChar char="§"/>
            </a:pPr>
            <a:r>
              <a:rPr lang="nl-NL" sz="1800" dirty="0"/>
              <a:t> Gesloten fondsen: </a:t>
            </a:r>
          </a:p>
          <a:p>
            <a:pPr lvl="1">
              <a:buFont typeface="Courier New" panose="02070309020205020404" pitchFamily="49" charset="0"/>
              <a:buChar char="o"/>
            </a:pPr>
            <a:r>
              <a:rPr lang="nl-NL" dirty="0"/>
              <a:t>Sociale partners bepalen dat nieuw contract ook geldt voor gesloten regeling</a:t>
            </a:r>
          </a:p>
          <a:p>
            <a:pPr lvl="1">
              <a:buFont typeface="Courier New" panose="02070309020205020404" pitchFamily="49" charset="0"/>
              <a:buChar char="o"/>
            </a:pPr>
            <a:r>
              <a:rPr lang="nl-NL" dirty="0"/>
              <a:t>Art. 84 PW: zelfstandige bevoegdheid liquidatie</a:t>
            </a:r>
          </a:p>
          <a:p>
            <a:pPr indent="-180000">
              <a:buFont typeface="Wingdings" panose="05000000000000000000" pitchFamily="2" charset="2"/>
              <a:buChar char="§"/>
            </a:pPr>
            <a:r>
              <a:rPr lang="nl-NL" sz="1800" dirty="0"/>
              <a:t> Sociale partners zijn verplicht alle alternatieven te onderzoeken: </a:t>
            </a:r>
            <a:br>
              <a:rPr lang="nl-NL" sz="1800" dirty="0"/>
            </a:br>
            <a:r>
              <a:rPr lang="nl-NL" sz="1800" dirty="0"/>
              <a:t>   default invaren (“tenzij onevenredig ongunstig voor pensioendeelnemers”)</a:t>
            </a:r>
            <a:br>
              <a:rPr lang="nl-NL" sz="1800" dirty="0"/>
            </a:br>
            <a:r>
              <a:rPr lang="nl-NL" sz="1800" dirty="0"/>
              <a:t>   te beperkend</a:t>
            </a:r>
          </a:p>
          <a:p>
            <a:pPr indent="-180000">
              <a:buFont typeface="Wingdings" panose="05000000000000000000" pitchFamily="2" charset="2"/>
              <a:buChar char="§"/>
            </a:pPr>
            <a:r>
              <a:rPr lang="nl-NL" sz="1800" dirty="0"/>
              <a:t> Voor OPF verdient reguliere CWO (83 PW) de voorkeur boven invaren</a:t>
            </a: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25</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1932643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Compensatie (1)</a:t>
            </a:r>
          </a:p>
        </p:txBody>
      </p:sp>
      <p:sp>
        <p:nvSpPr>
          <p:cNvPr id="2" name="Tijdelijke aanduiding voor inhoud 1"/>
          <p:cNvSpPr>
            <a:spLocks noGrp="1"/>
          </p:cNvSpPr>
          <p:nvPr>
            <p:ph idx="1"/>
          </p:nvPr>
        </p:nvSpPr>
        <p:spPr>
          <a:xfrm>
            <a:off x="2423592" y="2060848"/>
            <a:ext cx="8141528" cy="4248472"/>
          </a:xfrm>
        </p:spPr>
        <p:txBody>
          <a:bodyPr>
            <a:normAutofit fontScale="92500" lnSpcReduction="10000"/>
          </a:bodyPr>
          <a:lstStyle/>
          <a:p>
            <a:pPr marL="0" indent="0">
              <a:buNone/>
            </a:pPr>
            <a:r>
              <a:rPr lang="nl-NL" sz="1900" dirty="0"/>
              <a:t>Evenwichtige overgang bij invaren:</a:t>
            </a:r>
          </a:p>
          <a:p>
            <a:pPr>
              <a:buFont typeface="Wingdings" panose="05000000000000000000" pitchFamily="2" charset="2"/>
              <a:buChar char="§"/>
            </a:pPr>
            <a:r>
              <a:rPr lang="nl-NL" sz="1900" dirty="0"/>
              <a:t>  Adequate en kostenneutrale compensatie</a:t>
            </a:r>
          </a:p>
          <a:p>
            <a:pPr>
              <a:buFont typeface="Wingdings" panose="05000000000000000000" pitchFamily="2" charset="2"/>
              <a:buChar char="§"/>
            </a:pPr>
            <a:r>
              <a:rPr lang="nl-NL" sz="1900" dirty="0"/>
              <a:t>  Vereist maatwerk op niveau pensioenregeling of van de pensioenuitvoerder</a:t>
            </a:r>
          </a:p>
          <a:p>
            <a:pPr>
              <a:buFont typeface="Wingdings" panose="05000000000000000000" pitchFamily="2" charset="2"/>
              <a:buChar char="§"/>
            </a:pPr>
            <a:r>
              <a:rPr lang="nl-NL" sz="1900" dirty="0"/>
              <a:t>  Per sector of onderneming te bezien. Waar nodig aanvullende afspraken</a:t>
            </a:r>
          </a:p>
          <a:p>
            <a:pPr>
              <a:buFont typeface="Wingdings" panose="05000000000000000000" pitchFamily="2" charset="2"/>
              <a:buChar char="§"/>
            </a:pPr>
            <a:r>
              <a:rPr lang="nl-NL" sz="1900" dirty="0"/>
              <a:t>  Op regelingsniveau effecten transitie voor verschillende leeftijdsgroepen </a:t>
            </a:r>
            <a:br>
              <a:rPr lang="nl-NL" sz="1900" dirty="0"/>
            </a:br>
            <a:r>
              <a:rPr lang="nl-NL" sz="1900" dirty="0"/>
              <a:t>  in kaart brengen</a:t>
            </a:r>
          </a:p>
          <a:p>
            <a:pPr>
              <a:buFont typeface="Wingdings" panose="05000000000000000000" pitchFamily="2" charset="2"/>
              <a:buChar char="§"/>
            </a:pPr>
            <a:r>
              <a:rPr lang="nl-NL" sz="1900" dirty="0"/>
              <a:t>  In welke mate bronnen zijn ingezet voor de compensatie van de </a:t>
            </a:r>
            <a:br>
              <a:rPr lang="nl-NL" sz="1900" dirty="0"/>
            </a:br>
            <a:r>
              <a:rPr lang="nl-NL" sz="1900" dirty="0"/>
              <a:t>  leeftijdsgroepen</a:t>
            </a:r>
          </a:p>
          <a:p>
            <a:pPr>
              <a:buFont typeface="Wingdings" panose="05000000000000000000" pitchFamily="2" charset="2"/>
              <a:buChar char="§"/>
            </a:pPr>
            <a:r>
              <a:rPr lang="nl-NL" sz="1900" dirty="0"/>
              <a:t>  Deel vermogen kan bij invaren worden ingezet voor compensatie (depot)</a:t>
            </a:r>
            <a:br>
              <a:rPr lang="nl-NL" sz="1900" dirty="0"/>
            </a:br>
            <a:r>
              <a:rPr lang="nl-NL" sz="1900" dirty="0"/>
              <a:t>  (art. 150n (3) PW)</a:t>
            </a:r>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26</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303864714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Compensatie (2)</a:t>
            </a:r>
          </a:p>
        </p:txBody>
      </p:sp>
      <p:sp>
        <p:nvSpPr>
          <p:cNvPr id="2" name="Tijdelijke aanduiding voor inhoud 1"/>
          <p:cNvSpPr>
            <a:spLocks noGrp="1"/>
          </p:cNvSpPr>
          <p:nvPr>
            <p:ph idx="1"/>
          </p:nvPr>
        </p:nvSpPr>
        <p:spPr>
          <a:xfrm>
            <a:off x="2423592" y="2060848"/>
            <a:ext cx="8141528" cy="4248472"/>
          </a:xfrm>
        </p:spPr>
        <p:txBody>
          <a:bodyPr>
            <a:normAutofit/>
          </a:bodyPr>
          <a:lstStyle/>
          <a:p>
            <a:pPr indent="-180000">
              <a:lnSpc>
                <a:spcPct val="100000"/>
              </a:lnSpc>
              <a:buFont typeface="Wingdings" panose="05000000000000000000" pitchFamily="2" charset="2"/>
              <a:buChar char="§"/>
            </a:pPr>
            <a:r>
              <a:rPr lang="nl-NL" sz="1900" dirty="0"/>
              <a:t>Compensatie:</a:t>
            </a:r>
          </a:p>
          <a:p>
            <a:pPr marL="489798" lvl="1" indent="-285750">
              <a:lnSpc>
                <a:spcPct val="100000"/>
              </a:lnSpc>
              <a:buFont typeface="Courier New" panose="02070309020205020404" pitchFamily="49" charset="0"/>
              <a:buChar char="o"/>
            </a:pPr>
            <a:r>
              <a:rPr lang="nl-NL" sz="1900" dirty="0"/>
              <a:t>In pensioen: toedeling extra pensioenvermogen, bijv. door aanwending</a:t>
            </a:r>
            <a:br>
              <a:rPr lang="nl-NL" sz="1900" dirty="0"/>
            </a:br>
            <a:r>
              <a:rPr lang="nl-NL" sz="1900" dirty="0"/>
              <a:t>(compensatie)depot, verdeelregels moeten direct worden vastgelegd</a:t>
            </a:r>
            <a:br>
              <a:rPr lang="nl-NL" sz="1900" dirty="0"/>
            </a:br>
            <a:r>
              <a:rPr lang="nl-NL" sz="1900" dirty="0"/>
              <a:t>(art. 150n (3)(c) PW), (tijdelijk) hogere pensioenpremie</a:t>
            </a:r>
          </a:p>
          <a:p>
            <a:pPr marL="489798" lvl="1" indent="-285750">
              <a:lnSpc>
                <a:spcPct val="100000"/>
              </a:lnSpc>
              <a:buFont typeface="Courier New" panose="02070309020205020404" pitchFamily="49" charset="0"/>
              <a:buChar char="o"/>
            </a:pPr>
            <a:r>
              <a:rPr lang="nl-NL" sz="1900" dirty="0"/>
              <a:t>Buiten pensioen</a:t>
            </a:r>
            <a:br>
              <a:rPr lang="nl-NL" sz="1900" dirty="0"/>
            </a:br>
            <a:endParaRPr lang="nl-NL" sz="1900" dirty="0"/>
          </a:p>
          <a:p>
            <a:pPr marL="254340" indent="-180000">
              <a:lnSpc>
                <a:spcPct val="100000"/>
              </a:lnSpc>
              <a:buFont typeface="Wingdings" panose="05000000000000000000" pitchFamily="2" charset="2"/>
              <a:buChar char="§"/>
            </a:pPr>
            <a:r>
              <a:rPr lang="nl-NL" sz="1900" dirty="0"/>
              <a:t> Regels arbeidsrecht kunnen tot gevolg hebben dat compensatie hoger is </a:t>
            </a:r>
            <a:br>
              <a:rPr lang="nl-NL" sz="1900" dirty="0"/>
            </a:br>
            <a:r>
              <a:rPr lang="nl-NL" sz="1900" dirty="0"/>
              <a:t> dan de fiscale en/of PW-eisen bij compensatie in pensioen toelaten: </a:t>
            </a:r>
            <a:br>
              <a:rPr lang="nl-NL" sz="1900" dirty="0"/>
            </a:br>
            <a:r>
              <a:rPr lang="nl-NL" sz="1900" dirty="0"/>
              <a:t> ook bij invaren is compensatie binnen en buiten pensioen toegestaan</a:t>
            </a:r>
          </a:p>
          <a:p>
            <a:pPr marL="74340" indent="0">
              <a:buNone/>
            </a:pPr>
            <a:r>
              <a:rPr lang="nl-NL" sz="1900" dirty="0"/>
              <a:t>    </a:t>
            </a: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27</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117809167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Compensatie (3)</a:t>
            </a:r>
          </a:p>
        </p:txBody>
      </p:sp>
      <p:sp>
        <p:nvSpPr>
          <p:cNvPr id="2" name="Tijdelijke aanduiding voor inhoud 1"/>
          <p:cNvSpPr>
            <a:spLocks noGrp="1"/>
          </p:cNvSpPr>
          <p:nvPr>
            <p:ph idx="1"/>
          </p:nvPr>
        </p:nvSpPr>
        <p:spPr>
          <a:xfrm>
            <a:off x="2423592" y="1844824"/>
            <a:ext cx="8141528" cy="4398938"/>
          </a:xfrm>
        </p:spPr>
        <p:txBody>
          <a:bodyPr>
            <a:noAutofit/>
          </a:bodyPr>
          <a:lstStyle/>
          <a:p>
            <a:pPr indent="-180000">
              <a:buFont typeface="Wingdings" panose="05000000000000000000" pitchFamily="2" charset="2"/>
              <a:buChar char="§"/>
            </a:pPr>
            <a:r>
              <a:rPr lang="nl-NL" sz="1800" dirty="0"/>
              <a:t> Compensatie:</a:t>
            </a:r>
          </a:p>
          <a:p>
            <a:pPr marL="489798" lvl="1" indent="-285750">
              <a:buFont typeface="Courier New" panose="02070309020205020404" pitchFamily="49" charset="0"/>
              <a:buChar char="o"/>
            </a:pPr>
            <a:r>
              <a:rPr lang="nl-NL" dirty="0" smtClean="0"/>
              <a:t>Overgangsrecht progressieve premie</a:t>
            </a:r>
          </a:p>
          <a:p>
            <a:pPr marL="489798" lvl="1" indent="-285750">
              <a:buFont typeface="Courier New" panose="02070309020205020404" pitchFamily="49" charset="0"/>
              <a:buChar char="o"/>
            </a:pPr>
            <a:r>
              <a:rPr lang="nl-NL" dirty="0" smtClean="0"/>
              <a:t>Niet-invaren: indexatie koopsommen en bijstortingsverplichtingen voor </a:t>
            </a:r>
            <a:br>
              <a:rPr lang="nl-NL" dirty="0" smtClean="0"/>
            </a:br>
            <a:r>
              <a:rPr lang="nl-NL" dirty="0" smtClean="0"/>
              <a:t>pre-WTP opbouw blijven aftrekbaar</a:t>
            </a:r>
          </a:p>
          <a:p>
            <a:pPr marL="489798" lvl="1" indent="-285750">
              <a:buFont typeface="Courier New" panose="02070309020205020404" pitchFamily="49" charset="0"/>
              <a:buChar char="o"/>
            </a:pPr>
            <a:r>
              <a:rPr lang="nl-NL" dirty="0"/>
              <a:t>V</a:t>
            </a:r>
            <a:r>
              <a:rPr lang="nl-NL" dirty="0" smtClean="0"/>
              <a:t>erhoogd fiscaal maximum (33% tot 2037)</a:t>
            </a:r>
          </a:p>
          <a:p>
            <a:pPr marL="489798" lvl="1" indent="-285750">
              <a:buFont typeface="Courier New" panose="02070309020205020404" pitchFamily="49" charset="0"/>
              <a:buChar char="o"/>
            </a:pPr>
            <a:r>
              <a:rPr lang="nl-NL" dirty="0" smtClean="0"/>
              <a:t>Compensatieregels toekennen extra pensioenaanspraken bij invaren </a:t>
            </a:r>
          </a:p>
          <a:p>
            <a:pPr marL="204048" lvl="1" indent="0">
              <a:buNone/>
            </a:pPr>
            <a:r>
              <a:rPr lang="nl-NL" dirty="0"/>
              <a:t> </a:t>
            </a:r>
            <a:r>
              <a:rPr lang="nl-NL" dirty="0" smtClean="0"/>
              <a:t>     pensioenfondsen (art. 150f (nieuw) PW) </a:t>
            </a:r>
          </a:p>
          <a:p>
            <a:pPr indent="-180000">
              <a:buFont typeface="Wingdings" panose="05000000000000000000" pitchFamily="2" charset="2"/>
              <a:buChar char="§"/>
            </a:pPr>
            <a:r>
              <a:rPr lang="nl-NL" sz="1800" dirty="0"/>
              <a:t> Compensatievoorwaarden 150f PW:</a:t>
            </a:r>
          </a:p>
          <a:p>
            <a:pPr marL="489798" lvl="1" indent="-285750">
              <a:buFont typeface="Courier New" panose="02070309020205020404" pitchFamily="49" charset="0"/>
              <a:buChar char="o"/>
            </a:pPr>
            <a:r>
              <a:rPr lang="nl-NL" dirty="0" smtClean="0"/>
              <a:t>Tijdsevenredig</a:t>
            </a:r>
          </a:p>
          <a:p>
            <a:pPr marL="489798" lvl="1" indent="-285750">
              <a:buFont typeface="Courier New" panose="02070309020205020404" pitchFamily="49" charset="0"/>
              <a:buChar char="o"/>
            </a:pPr>
            <a:r>
              <a:rPr lang="nl-NL" dirty="0" smtClean="0"/>
              <a:t>Vanaf transitiedatum tot uiterlijk 31 december 2036</a:t>
            </a:r>
          </a:p>
          <a:p>
            <a:pPr marL="489798" lvl="1" indent="-285750">
              <a:buFont typeface="Courier New" panose="02070309020205020404" pitchFamily="49" charset="0"/>
              <a:buChar char="o"/>
            </a:pPr>
            <a:r>
              <a:rPr lang="nl-NL" dirty="0" smtClean="0"/>
              <a:t>Bij gespreid toekennen: werknemer krijgt gespreid over tijd een deel van  </a:t>
            </a:r>
            <a:br>
              <a:rPr lang="nl-NL" dirty="0" smtClean="0"/>
            </a:br>
            <a:r>
              <a:rPr lang="nl-NL" dirty="0" smtClean="0"/>
              <a:t>de compensatie toegevoegd aan de opgebouwde pensioenaanspraken</a:t>
            </a:r>
          </a:p>
          <a:p>
            <a:pPr marL="204048" lvl="1" indent="0">
              <a:buNone/>
            </a:pPr>
            <a:r>
              <a:rPr lang="nl-NL" sz="1600" dirty="0"/>
              <a:t>	</a:t>
            </a:r>
          </a:p>
          <a:p>
            <a:pPr marL="204048" lvl="1" indent="0">
              <a:buNone/>
            </a:pPr>
            <a:r>
              <a:rPr lang="nl-NL" sz="1600" dirty="0"/>
              <a:t>	</a:t>
            </a:r>
          </a:p>
          <a:p>
            <a:pPr marL="489798" lvl="1" indent="-285750">
              <a:buFont typeface="Courier New" panose="02070309020205020404" pitchFamily="49" charset="0"/>
              <a:buChar char="o"/>
            </a:pPr>
            <a:endParaRPr lang="nl-NL" sz="1600" dirty="0"/>
          </a:p>
          <a:p>
            <a:pPr marL="0" indent="0">
              <a:buNone/>
            </a:pPr>
            <a:r>
              <a:rPr lang="nl-NL" sz="1600" dirty="0"/>
              <a:t/>
            </a:r>
            <a:br>
              <a:rPr lang="nl-NL" sz="1600" dirty="0"/>
            </a:br>
            <a:r>
              <a:rPr lang="nl-NL" sz="1600" dirty="0"/>
              <a:t> </a:t>
            </a:r>
            <a:br>
              <a:rPr lang="nl-NL" sz="1600" dirty="0"/>
            </a:br>
            <a:r>
              <a:rPr lang="nl-NL" sz="1600" dirty="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28</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94380038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Compensatie (4)</a:t>
            </a:r>
          </a:p>
        </p:txBody>
      </p:sp>
      <p:sp>
        <p:nvSpPr>
          <p:cNvPr id="2" name="Tijdelijke aanduiding voor inhoud 1"/>
          <p:cNvSpPr>
            <a:spLocks noGrp="1"/>
          </p:cNvSpPr>
          <p:nvPr>
            <p:ph idx="1"/>
          </p:nvPr>
        </p:nvSpPr>
        <p:spPr>
          <a:xfrm>
            <a:off x="2423592" y="1844824"/>
            <a:ext cx="8141528" cy="4398938"/>
          </a:xfrm>
        </p:spPr>
        <p:txBody>
          <a:bodyPr>
            <a:noAutofit/>
          </a:bodyPr>
          <a:lstStyle/>
          <a:p>
            <a:pPr indent="-180000">
              <a:lnSpc>
                <a:spcPct val="100000"/>
              </a:lnSpc>
              <a:buFont typeface="Wingdings" panose="05000000000000000000" pitchFamily="2" charset="2"/>
              <a:buChar char="§"/>
            </a:pPr>
            <a:r>
              <a:rPr lang="nl-NL" sz="1800" dirty="0"/>
              <a:t> Artikel 150f PW niet van toepassing voor </a:t>
            </a:r>
            <a:r>
              <a:rPr lang="nl-NL" sz="1800" dirty="0" err="1"/>
              <a:t>OPF’en</a:t>
            </a:r>
            <a:r>
              <a:rPr lang="nl-NL" sz="1800" dirty="0"/>
              <a:t> (o.a. kostenneutraliteit,</a:t>
            </a:r>
            <a:br>
              <a:rPr lang="nl-NL" sz="1800" dirty="0"/>
            </a:br>
            <a:r>
              <a:rPr lang="nl-NL" sz="1800" dirty="0"/>
              <a:t>   verhuisregel, niet op individueel deelnemersniveau): wetsvoorstel 30.03.2022 -</a:t>
            </a:r>
            <a:br>
              <a:rPr lang="nl-NL" sz="1800" dirty="0"/>
            </a:br>
            <a:r>
              <a:rPr lang="nl-NL" sz="1800" dirty="0"/>
              <a:t>   ziet alleen op doorsneesystematiek</a:t>
            </a:r>
          </a:p>
          <a:p>
            <a:pPr indent="-180000">
              <a:lnSpc>
                <a:spcPct val="100000"/>
              </a:lnSpc>
              <a:buFont typeface="Wingdings" panose="05000000000000000000" pitchFamily="2" charset="2"/>
              <a:buChar char="§"/>
            </a:pPr>
            <a:r>
              <a:rPr lang="nl-NL" sz="1800" dirty="0"/>
              <a:t> OPF: gewone regels arbeidsrecht, voor compensatie in pensioen alleen fiscale</a:t>
            </a:r>
            <a:br>
              <a:rPr lang="nl-NL" sz="1800" dirty="0"/>
            </a:br>
            <a:r>
              <a:rPr lang="nl-NL" sz="1800" dirty="0"/>
              <a:t>   maxima relevant, d.w.z. toetsing maximum op bestandsniveau, niet op </a:t>
            </a:r>
            <a:br>
              <a:rPr lang="nl-NL" sz="1800" dirty="0"/>
            </a:br>
            <a:r>
              <a:rPr lang="nl-NL" sz="1800" dirty="0"/>
              <a:t>   deelnemersniveau</a:t>
            </a:r>
          </a:p>
          <a:p>
            <a:pPr indent="-180000">
              <a:lnSpc>
                <a:spcPct val="100000"/>
              </a:lnSpc>
              <a:buFont typeface="Wingdings" panose="05000000000000000000" pitchFamily="2" charset="2"/>
              <a:buChar char="§"/>
            </a:pPr>
            <a:r>
              <a:rPr lang="nl-NL" sz="1800" dirty="0"/>
              <a:t> OPF: vooralsnog lijkt er onvoldoende rechtvaardiging om werknemers die er op </a:t>
            </a:r>
            <a:br>
              <a:rPr lang="nl-NL" sz="1800" dirty="0"/>
            </a:br>
            <a:r>
              <a:rPr lang="nl-NL" sz="1800" dirty="0"/>
              <a:t>   achteruit gaan volgens netto profijtberekening, te corrigeren in het vermogen.</a:t>
            </a:r>
            <a:br>
              <a:rPr lang="nl-NL" sz="1800" dirty="0"/>
            </a:br>
            <a:r>
              <a:rPr lang="nl-NL" sz="1800" dirty="0"/>
              <a:t>   Dit zou alleen te baseren zijn op eis van kostenneutraliteit, die hier niet lijkt te</a:t>
            </a:r>
            <a:br>
              <a:rPr lang="nl-NL" sz="1800" dirty="0"/>
            </a:br>
            <a:r>
              <a:rPr lang="nl-NL" sz="1800" dirty="0"/>
              <a:t>   gelden  </a:t>
            </a:r>
          </a:p>
          <a:p>
            <a:pPr marL="204048" lvl="1" indent="0">
              <a:buNone/>
            </a:pPr>
            <a:r>
              <a:rPr lang="nl-NL" sz="1600" dirty="0"/>
              <a:t>	</a:t>
            </a:r>
          </a:p>
          <a:p>
            <a:pPr marL="204048" lvl="1" indent="0">
              <a:buNone/>
            </a:pPr>
            <a:r>
              <a:rPr lang="nl-NL" sz="1600" dirty="0"/>
              <a:t>	</a:t>
            </a:r>
          </a:p>
          <a:p>
            <a:pPr marL="489798" lvl="1" indent="-285750">
              <a:buFont typeface="Courier New" panose="02070309020205020404" pitchFamily="49" charset="0"/>
              <a:buChar char="o"/>
            </a:pPr>
            <a:endParaRPr lang="nl-NL" sz="1600" dirty="0"/>
          </a:p>
          <a:p>
            <a:pPr marL="0" indent="0">
              <a:buNone/>
            </a:pPr>
            <a:r>
              <a:rPr lang="nl-NL" sz="1600" dirty="0"/>
              <a:t/>
            </a:r>
            <a:br>
              <a:rPr lang="nl-NL" sz="1600" dirty="0"/>
            </a:br>
            <a:r>
              <a:rPr lang="nl-NL" sz="1600" dirty="0"/>
              <a:t> </a:t>
            </a:r>
            <a:br>
              <a:rPr lang="nl-NL" sz="1600" dirty="0"/>
            </a:br>
            <a:r>
              <a:rPr lang="nl-NL" sz="1600" dirty="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29</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26712200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501834" y="1256636"/>
            <a:ext cx="4832096" cy="4796367"/>
          </a:xfrm>
        </p:spPr>
        <p:txBody>
          <a:bodyPr/>
          <a:lstStyle/>
          <a:p>
            <a:r>
              <a:rPr lang="en-US" dirty="0" err="1" smtClean="0"/>
              <a:t>Inleiding</a:t>
            </a:r>
            <a:endParaRPr lang="en-US" dirty="0" smtClean="0"/>
          </a:p>
          <a:p>
            <a:r>
              <a:rPr lang="en-US" dirty="0" err="1" smtClean="0"/>
              <a:t>Transitie</a:t>
            </a:r>
            <a:r>
              <a:rPr lang="en-US" dirty="0" smtClean="0"/>
              <a:t> </a:t>
            </a:r>
            <a:r>
              <a:rPr lang="en-US" dirty="0" err="1" smtClean="0"/>
              <a:t>en</a:t>
            </a:r>
            <a:r>
              <a:rPr lang="en-US" dirty="0" smtClean="0"/>
              <a:t> </a:t>
            </a:r>
            <a:r>
              <a:rPr lang="en-US" dirty="0" err="1" smtClean="0"/>
              <a:t>aandachtspunten</a:t>
            </a:r>
            <a:endParaRPr lang="en-US" dirty="0" smtClean="0"/>
          </a:p>
          <a:p>
            <a:r>
              <a:rPr lang="en-US" dirty="0" err="1" smtClean="0"/>
              <a:t>Beleidsopties</a:t>
            </a:r>
            <a:r>
              <a:rPr lang="en-US" dirty="0" smtClean="0"/>
              <a:t> </a:t>
            </a:r>
            <a:r>
              <a:rPr lang="en-US" dirty="0" err="1" smtClean="0"/>
              <a:t>en</a:t>
            </a:r>
            <a:r>
              <a:rPr lang="en-US" dirty="0" smtClean="0"/>
              <a:t> </a:t>
            </a:r>
            <a:r>
              <a:rPr lang="en-US" dirty="0" err="1" smtClean="0"/>
              <a:t>overwegingen</a:t>
            </a:r>
            <a:endParaRPr lang="en-US" dirty="0" smtClean="0"/>
          </a:p>
          <a:p>
            <a:r>
              <a:rPr lang="en-US" dirty="0" err="1" smtClean="0"/>
              <a:t>Zekerstellen</a:t>
            </a:r>
            <a:r>
              <a:rPr lang="en-US" dirty="0" smtClean="0"/>
              <a:t> van </a:t>
            </a:r>
            <a:r>
              <a:rPr lang="en-US" dirty="0" err="1" smtClean="0"/>
              <a:t>pensioen</a:t>
            </a:r>
            <a:endParaRPr lang="en-US" dirty="0" smtClean="0"/>
          </a:p>
          <a:p>
            <a:r>
              <a:rPr lang="en-US" dirty="0" err="1" smtClean="0"/>
              <a:t>Bescherming</a:t>
            </a:r>
            <a:r>
              <a:rPr lang="en-US" dirty="0" smtClean="0"/>
              <a:t> van (</a:t>
            </a:r>
            <a:r>
              <a:rPr lang="en-US" dirty="0" err="1" smtClean="0"/>
              <a:t>richt</a:t>
            </a:r>
            <a:r>
              <a:rPr lang="en-US" dirty="0" smtClean="0"/>
              <a:t>)</a:t>
            </a:r>
            <a:r>
              <a:rPr lang="en-US" dirty="0" err="1" smtClean="0"/>
              <a:t>dekkingsgraad</a:t>
            </a:r>
            <a:endParaRPr lang="nl-NL" dirty="0" smtClean="0"/>
          </a:p>
          <a:p>
            <a:endParaRPr lang="nl-NL" dirty="0"/>
          </a:p>
        </p:txBody>
      </p:sp>
      <p:sp>
        <p:nvSpPr>
          <p:cNvPr id="3" name="Tijdelijke aanduiding voor voettekst 2"/>
          <p:cNvSpPr>
            <a:spLocks noGrp="1"/>
          </p:cNvSpPr>
          <p:nvPr>
            <p:ph type="ftr" sz="quarter" idx="11"/>
          </p:nvPr>
        </p:nvSpPr>
        <p:spPr/>
        <p:txBody>
          <a:bodyPr/>
          <a:lstStyle/>
          <a:p>
            <a:r>
              <a:rPr lang="nl-NL" dirty="0" smtClean="0"/>
              <a:t>Webinar Wet Toekomst Pensioenen</a:t>
            </a:r>
            <a:endParaRPr lang="nl-NL" dirty="0"/>
          </a:p>
        </p:txBody>
      </p:sp>
      <p:sp>
        <p:nvSpPr>
          <p:cNvPr id="4" name="Tijdelijke aanduiding voor dianummer 3"/>
          <p:cNvSpPr>
            <a:spLocks noGrp="1"/>
          </p:cNvSpPr>
          <p:nvPr>
            <p:ph type="sldNum" sz="quarter" idx="12"/>
          </p:nvPr>
        </p:nvSpPr>
        <p:spPr/>
        <p:txBody>
          <a:bodyPr/>
          <a:lstStyle/>
          <a:p>
            <a:fld id="{FFDD6BF4-F398-43E8-ACFA-0A2EC6044D72}" type="slidenum">
              <a:rPr lang="nl-NL" smtClean="0"/>
              <a:t>3</a:t>
            </a:fld>
            <a:endParaRPr lang="nl-NL" dirty="0"/>
          </a:p>
        </p:txBody>
      </p:sp>
      <p:sp>
        <p:nvSpPr>
          <p:cNvPr id="5" name="Titel 4"/>
          <p:cNvSpPr>
            <a:spLocks noGrp="1"/>
          </p:cNvSpPr>
          <p:nvPr>
            <p:ph type="title"/>
          </p:nvPr>
        </p:nvSpPr>
        <p:spPr/>
        <p:txBody>
          <a:bodyPr/>
          <a:lstStyle/>
          <a:p>
            <a:r>
              <a:rPr lang="nl-NL" dirty="0" smtClean="0"/>
              <a:t>Agenda</a:t>
            </a:r>
            <a:endParaRPr lang="nl-NL" dirty="0"/>
          </a:p>
        </p:txBody>
      </p:sp>
      <p:sp>
        <p:nvSpPr>
          <p:cNvPr id="6" name="Tijdelijke aanduiding voor tekst 5"/>
          <p:cNvSpPr>
            <a:spLocks noGrp="1"/>
          </p:cNvSpPr>
          <p:nvPr>
            <p:ph type="body" sz="quarter" idx="16"/>
          </p:nvPr>
        </p:nvSpPr>
        <p:spPr/>
        <p:txBody>
          <a:bodyPr/>
          <a:lstStyle/>
          <a:p>
            <a:endParaRPr lang="nl-NL" dirty="0"/>
          </a:p>
        </p:txBody>
      </p:sp>
      <p:sp>
        <p:nvSpPr>
          <p:cNvPr id="7" name="Tijdelijke aanduiding voor inhoud 1"/>
          <p:cNvSpPr txBox="1">
            <a:spLocks/>
          </p:cNvSpPr>
          <p:nvPr/>
        </p:nvSpPr>
        <p:spPr>
          <a:xfrm>
            <a:off x="4894497" y="303665"/>
            <a:ext cx="4832096" cy="4796367"/>
          </a:xfrm>
          <a:prstGeom prst="rect">
            <a:avLst/>
          </a:prstGeom>
        </p:spPr>
        <p:txBody>
          <a:bodyPr vert="horz" lIns="0" tIns="0" rIns="0" bIns="0" rtlCol="0">
            <a:noAutofit/>
          </a:bodyPr>
          <a:lstStyle>
            <a:lvl1pPr marL="355591" indent="-355591" algn="l" defTabSz="914377" rtl="0" eaLnBrk="1" latinLnBrk="0" hangingPunct="1">
              <a:lnSpc>
                <a:spcPct val="110000"/>
              </a:lnSpc>
              <a:spcBef>
                <a:spcPts val="0"/>
              </a:spcBef>
              <a:spcAft>
                <a:spcPts val="800"/>
              </a:spcAft>
              <a:buClr>
                <a:schemeClr val="accent3"/>
              </a:buClr>
              <a:buFont typeface="+mj-lt"/>
              <a:buAutoNum type="arabicPeriod"/>
              <a:defRPr sz="1867" kern="1200">
                <a:solidFill>
                  <a:schemeClr val="accent1"/>
                </a:solidFill>
                <a:latin typeface="+mn-lt"/>
                <a:ea typeface="+mn-ea"/>
                <a:cs typeface="+mn-cs"/>
              </a:defRPr>
            </a:lvl1pPr>
            <a:lvl2pPr marL="599002"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833946"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1077357"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310185"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a:lstStyle>
          <a:p>
            <a:pPr>
              <a:buFont typeface="+mj-lt"/>
              <a:buAutoNum type="arabicPeriod" startAt="5"/>
            </a:pPr>
            <a:endParaRPr lang="nl-NL" dirty="0" smtClean="0"/>
          </a:p>
          <a:p>
            <a:pPr>
              <a:buAutoNum type="arabicPeriod" startAt="5"/>
            </a:pPr>
            <a:endParaRPr lang="nl-NL" dirty="0"/>
          </a:p>
        </p:txBody>
      </p:sp>
      <p:pic>
        <p:nvPicPr>
          <p:cNvPr id="8" name="Picture 2" descr="banner-agenda | Veilig Thuis Rotterdam Rijnmond"/>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76395" y="4745238"/>
            <a:ext cx="3744623" cy="1316916"/>
          </a:xfrm>
          <a:prstGeom prst="rect">
            <a:avLst/>
          </a:prstGeom>
          <a:noFill/>
          <a:extLst>
            <a:ext uri="{909E8E84-426E-40DD-AFC4-6F175D3DCCD1}">
              <a14:hiddenFill xmlns:a14="http://schemas.microsoft.com/office/drawing/2010/main">
                <a:solidFill>
                  <a:srgbClr val="FFFFFF"/>
                </a:solidFill>
              </a14:hiddenFill>
            </a:ext>
          </a:extLst>
        </p:spPr>
      </p:pic>
      <p:sp>
        <p:nvSpPr>
          <p:cNvPr id="9" name="Tijdelijke aanduiding voor inhoud 1"/>
          <p:cNvSpPr txBox="1">
            <a:spLocks/>
          </p:cNvSpPr>
          <p:nvPr/>
        </p:nvSpPr>
        <p:spPr>
          <a:xfrm>
            <a:off x="5127626" y="1374776"/>
            <a:ext cx="4832096" cy="4796367"/>
          </a:xfrm>
          <a:prstGeom prst="rect">
            <a:avLst/>
          </a:prstGeom>
        </p:spPr>
        <p:txBody>
          <a:bodyPr vert="horz" lIns="0" tIns="0" rIns="0" bIns="0" rtlCol="0">
            <a:noAutofit/>
          </a:bodyPr>
          <a:lstStyle>
            <a:lvl1pPr marL="355591" indent="-355591" algn="l" defTabSz="914377" rtl="0" eaLnBrk="1" latinLnBrk="0" hangingPunct="1">
              <a:lnSpc>
                <a:spcPct val="110000"/>
              </a:lnSpc>
              <a:spcBef>
                <a:spcPts val="0"/>
              </a:spcBef>
              <a:spcAft>
                <a:spcPts val="800"/>
              </a:spcAft>
              <a:buClr>
                <a:schemeClr val="accent3"/>
              </a:buClr>
              <a:buFont typeface="+mj-lt"/>
              <a:buAutoNum type="arabicPeriod"/>
              <a:defRPr sz="1867" kern="1200">
                <a:solidFill>
                  <a:schemeClr val="accent1"/>
                </a:solidFill>
                <a:latin typeface="+mn-lt"/>
                <a:ea typeface="+mn-ea"/>
                <a:cs typeface="+mn-cs"/>
              </a:defRPr>
            </a:lvl1pPr>
            <a:lvl2pPr marL="599002"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2pPr>
            <a:lvl3pPr marL="833946" indent="-234945"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3pPr>
            <a:lvl4pPr marL="1077357" indent="-243411"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4pPr>
            <a:lvl5pPr marL="1310185" indent="-232828" algn="l" defTabSz="914377" rtl="0" eaLnBrk="1" latinLnBrk="0" hangingPunct="1">
              <a:lnSpc>
                <a:spcPct val="110000"/>
              </a:lnSpc>
              <a:spcBef>
                <a:spcPts val="0"/>
              </a:spcBef>
              <a:spcAft>
                <a:spcPts val="800"/>
              </a:spcAft>
              <a:buClr>
                <a:schemeClr val="accent3"/>
              </a:buClr>
              <a:buFont typeface="Ubuntu Light" panose="020B0304030602030204" pitchFamily="34" charset="0"/>
              <a:buChar char="•"/>
              <a:defRPr sz="1867" kern="1200">
                <a:solidFill>
                  <a:schemeClr val="accent1"/>
                </a:solidFill>
                <a:latin typeface="+mn-lt"/>
                <a:ea typeface="+mn-ea"/>
                <a:cs typeface="+mn-cs"/>
              </a:defRPr>
            </a:lvl5pPr>
            <a:lvl6pPr marL="2514537"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Ubuntu Light" panose="020B0304030602030204" pitchFamily="34" charset="0"/>
              <a:buChar char="•"/>
              <a:defRPr sz="1800" kern="1200">
                <a:solidFill>
                  <a:schemeClr val="tx1"/>
                </a:solidFill>
                <a:latin typeface="+mn-lt"/>
                <a:ea typeface="+mn-ea"/>
                <a:cs typeface="+mn-cs"/>
              </a:defRPr>
            </a:lvl9pPr>
          </a:lstStyle>
          <a:p>
            <a:pPr>
              <a:buAutoNum type="arabicPeriod" startAt="6"/>
            </a:pPr>
            <a:endParaRPr lang="nl-NL" dirty="0" smtClean="0"/>
          </a:p>
          <a:p>
            <a:pPr>
              <a:buAutoNum type="arabicPeriod" startAt="6"/>
            </a:pPr>
            <a:endParaRPr lang="nl-NL" dirty="0"/>
          </a:p>
        </p:txBody>
      </p:sp>
    </p:spTree>
    <p:extLst>
      <p:ext uri="{BB962C8B-B14F-4D97-AF65-F5344CB8AC3E}">
        <p14:creationId xmlns:p14="http://schemas.microsoft.com/office/powerpoint/2010/main" val="299012954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B29D81-824D-4180-ADD7-3A1932B37DE5}"/>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3DB5CD4A-C15F-49D5-8EDA-2339ABBB057D}"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0</a:t>
            </a:fld>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9" name="Titel 8">
            <a:extLst>
              <a:ext uri="{FF2B5EF4-FFF2-40B4-BE49-F238E27FC236}">
                <a16:creationId xmlns:a16="http://schemas.microsoft.com/office/drawing/2014/main" id="{EDE5623E-DE20-439B-810E-B9553C4C119E}"/>
              </a:ext>
            </a:extLst>
          </p:cNvPr>
          <p:cNvSpPr>
            <a:spLocks noGrp="1"/>
          </p:cNvSpPr>
          <p:nvPr>
            <p:ph type="ctrTitle"/>
          </p:nvPr>
        </p:nvSpPr>
        <p:spPr>
          <a:xfrm>
            <a:off x="700892" y="5363069"/>
            <a:ext cx="11043776" cy="453522"/>
          </a:xfrm>
        </p:spPr>
        <p:txBody>
          <a:bodyPr/>
          <a:lstStyle/>
          <a:p>
            <a:r>
              <a:rPr lang="en-US" dirty="0" smtClean="0"/>
              <a:t>BELEIDSOPTIES EN OVERWEGINGEN</a:t>
            </a:r>
            <a:endParaRPr lang="nl-NL" dirty="0"/>
          </a:p>
        </p:txBody>
      </p:sp>
      <p:pic>
        <p:nvPicPr>
          <p:cNvPr id="4" name="Tijdelijke aanduiding voor afbeelding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352" b="25352"/>
          <a:stretch>
            <a:fillRect/>
          </a:stretch>
        </p:blipFill>
        <p:spPr/>
      </p:pic>
    </p:spTree>
    <p:extLst>
      <p:ext uri="{BB962C8B-B14F-4D97-AF65-F5344CB8AC3E}">
        <p14:creationId xmlns:p14="http://schemas.microsoft.com/office/powerpoint/2010/main" val="285734400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en-US" dirty="0" err="1" smtClean="0"/>
              <a:t>Invaren</a:t>
            </a:r>
            <a:r>
              <a:rPr lang="en-US" dirty="0" smtClean="0"/>
              <a:t> </a:t>
            </a:r>
            <a:r>
              <a:rPr lang="en-US" dirty="0" err="1" smtClean="0"/>
              <a:t>helpt</a:t>
            </a:r>
            <a:r>
              <a:rPr lang="en-US" dirty="0" smtClean="0"/>
              <a:t> om de </a:t>
            </a:r>
            <a:r>
              <a:rPr lang="en-US" dirty="0" err="1" smtClean="0"/>
              <a:t>transitie</a:t>
            </a:r>
            <a:r>
              <a:rPr lang="en-US" dirty="0"/>
              <a:t> </a:t>
            </a:r>
            <a:r>
              <a:rPr lang="en-US" dirty="0" err="1" smtClean="0"/>
              <a:t>betaalbaar</a:t>
            </a:r>
            <a:r>
              <a:rPr lang="en-US" dirty="0" smtClean="0"/>
              <a:t> </a:t>
            </a:r>
            <a:r>
              <a:rPr lang="en-US" dirty="0" err="1" smtClean="0"/>
              <a:t>te</a:t>
            </a:r>
            <a:r>
              <a:rPr lang="en-US" dirty="0" smtClean="0"/>
              <a:t> </a:t>
            </a:r>
            <a:r>
              <a:rPr lang="en-US" dirty="0" err="1" smtClean="0"/>
              <a:t>houden</a:t>
            </a:r>
            <a:r>
              <a:rPr lang="en-US" dirty="0" smtClean="0"/>
              <a:t>, maar </a:t>
            </a:r>
            <a:r>
              <a:rPr lang="en-US" dirty="0" err="1" smtClean="0"/>
              <a:t>introduceert</a:t>
            </a:r>
            <a:r>
              <a:rPr lang="en-US" dirty="0" smtClean="0"/>
              <a:t> </a:t>
            </a:r>
            <a:r>
              <a:rPr lang="en-US" dirty="0" err="1" smtClean="0"/>
              <a:t>ook</a:t>
            </a:r>
            <a:r>
              <a:rPr lang="en-US" dirty="0" smtClean="0"/>
              <a:t> </a:t>
            </a:r>
            <a:r>
              <a:rPr lang="en-US" dirty="0" err="1" smtClean="0"/>
              <a:t>uitdagingen</a:t>
            </a:r>
            <a:endParaRPr lang="en-US" dirty="0" smtClean="0"/>
          </a:p>
          <a:p>
            <a:r>
              <a:rPr lang="en-US" dirty="0" smtClean="0"/>
              <a:t>De </a:t>
            </a:r>
            <a:r>
              <a:rPr lang="en-US" dirty="0" err="1" smtClean="0"/>
              <a:t>opgebouwde</a:t>
            </a:r>
            <a:r>
              <a:rPr lang="en-US" dirty="0" smtClean="0"/>
              <a:t> </a:t>
            </a:r>
            <a:r>
              <a:rPr lang="en-US" dirty="0" err="1" smtClean="0"/>
              <a:t>aanspraken</a:t>
            </a:r>
            <a:r>
              <a:rPr lang="en-US" dirty="0" smtClean="0"/>
              <a:t> </a:t>
            </a:r>
            <a:r>
              <a:rPr lang="en-US" dirty="0" err="1" smtClean="0"/>
              <a:t>en</a:t>
            </a:r>
            <a:r>
              <a:rPr lang="en-US" dirty="0" smtClean="0"/>
              <a:t> </a:t>
            </a:r>
            <a:r>
              <a:rPr lang="en-US" dirty="0" err="1" smtClean="0"/>
              <a:t>rechten</a:t>
            </a:r>
            <a:r>
              <a:rPr lang="en-US" dirty="0" smtClean="0"/>
              <a:t> </a:t>
            </a:r>
            <a:r>
              <a:rPr lang="en-US" dirty="0" err="1" smtClean="0"/>
              <a:t>gaan</a:t>
            </a:r>
            <a:r>
              <a:rPr lang="en-US" dirty="0" smtClean="0"/>
              <a:t> van </a:t>
            </a:r>
            <a:r>
              <a:rPr lang="en-US" dirty="0" err="1" smtClean="0"/>
              <a:t>een</a:t>
            </a:r>
            <a:r>
              <a:rPr lang="en-US" dirty="0" smtClean="0"/>
              <a:t> vast/</a:t>
            </a:r>
            <a:r>
              <a:rPr lang="en-US" dirty="0" err="1" smtClean="0"/>
              <a:t>stabiel</a:t>
            </a:r>
            <a:r>
              <a:rPr lang="en-US" dirty="0" smtClean="0"/>
              <a:t> </a:t>
            </a:r>
            <a:r>
              <a:rPr lang="en-US" dirty="0" err="1" smtClean="0"/>
              <a:t>kader</a:t>
            </a:r>
            <a:r>
              <a:rPr lang="en-US" dirty="0" smtClean="0"/>
              <a:t> </a:t>
            </a:r>
            <a:r>
              <a:rPr lang="en-US" dirty="0" err="1" smtClean="0"/>
              <a:t>naar</a:t>
            </a:r>
            <a:r>
              <a:rPr lang="en-US" dirty="0" smtClean="0"/>
              <a:t> </a:t>
            </a:r>
            <a:r>
              <a:rPr lang="en-US" dirty="0" err="1" smtClean="0"/>
              <a:t>een</a:t>
            </a:r>
            <a:r>
              <a:rPr lang="en-US" dirty="0" smtClean="0"/>
              <a:t> </a:t>
            </a:r>
            <a:r>
              <a:rPr lang="en-US" dirty="0" err="1" smtClean="0"/>
              <a:t>meer</a:t>
            </a:r>
            <a:r>
              <a:rPr lang="en-US" dirty="0" smtClean="0"/>
              <a:t> </a:t>
            </a:r>
            <a:r>
              <a:rPr lang="en-US" dirty="0" err="1" smtClean="0"/>
              <a:t>variabel</a:t>
            </a:r>
            <a:r>
              <a:rPr lang="en-US" dirty="0" smtClean="0"/>
              <a:t> </a:t>
            </a:r>
            <a:r>
              <a:rPr lang="en-US" dirty="0" err="1" smtClean="0"/>
              <a:t>kader</a:t>
            </a:r>
            <a:endParaRPr lang="en-US" dirty="0" smtClean="0"/>
          </a:p>
          <a:p>
            <a:r>
              <a:rPr lang="en-US" dirty="0" smtClean="0"/>
              <a:t>Recent </a:t>
            </a:r>
            <a:r>
              <a:rPr lang="en-US" dirty="0" err="1" smtClean="0"/>
              <a:t>onderzoek</a:t>
            </a:r>
            <a:r>
              <a:rPr lang="en-US" dirty="0" smtClean="0"/>
              <a:t> </a:t>
            </a:r>
            <a:r>
              <a:rPr lang="en-US" dirty="0" err="1" smtClean="0"/>
              <a:t>Netspar</a:t>
            </a:r>
            <a:endParaRPr lang="en-US" dirty="0" smtClean="0"/>
          </a:p>
          <a:p>
            <a:pPr lvl="1"/>
            <a:r>
              <a:rPr lang="en-US" dirty="0" err="1" smtClean="0"/>
              <a:t>Vanuit</a:t>
            </a:r>
            <a:r>
              <a:rPr lang="en-US" dirty="0" smtClean="0"/>
              <a:t> </a:t>
            </a:r>
            <a:r>
              <a:rPr lang="en-US" dirty="0" err="1" smtClean="0"/>
              <a:t>rationeel</a:t>
            </a:r>
            <a:r>
              <a:rPr lang="en-US" dirty="0" smtClean="0"/>
              <a:t> </a:t>
            </a:r>
            <a:r>
              <a:rPr lang="en-US" dirty="0" err="1" smtClean="0"/>
              <a:t>perspectief</a:t>
            </a:r>
            <a:r>
              <a:rPr lang="en-US" dirty="0" smtClean="0"/>
              <a:t> is </a:t>
            </a:r>
            <a:r>
              <a:rPr lang="en-US" dirty="0" err="1" smtClean="0"/>
              <a:t>een</a:t>
            </a:r>
            <a:r>
              <a:rPr lang="en-US" dirty="0" smtClean="0"/>
              <a:t> </a:t>
            </a:r>
            <a:r>
              <a:rPr lang="en-US" dirty="0" err="1" smtClean="0"/>
              <a:t>variabel</a:t>
            </a:r>
            <a:r>
              <a:rPr lang="en-US" dirty="0" smtClean="0"/>
              <a:t> </a:t>
            </a:r>
            <a:r>
              <a:rPr lang="en-US" dirty="0" err="1" smtClean="0"/>
              <a:t>pensioen</a:t>
            </a:r>
            <a:r>
              <a:rPr lang="en-US" dirty="0" smtClean="0"/>
              <a:t> in het </a:t>
            </a:r>
            <a:r>
              <a:rPr lang="en-US" dirty="0" err="1" smtClean="0"/>
              <a:t>algemeen</a:t>
            </a:r>
            <a:r>
              <a:rPr lang="en-US" dirty="0" smtClean="0"/>
              <a:t> </a:t>
            </a:r>
            <a:r>
              <a:rPr lang="en-US" dirty="0" err="1" smtClean="0"/>
              <a:t>een</a:t>
            </a:r>
            <a:r>
              <a:rPr lang="en-US" dirty="0" smtClean="0"/>
              <a:t> </a:t>
            </a:r>
            <a:r>
              <a:rPr lang="en-US" dirty="0" err="1" smtClean="0"/>
              <a:t>betere</a:t>
            </a:r>
            <a:r>
              <a:rPr lang="en-US" dirty="0" smtClean="0"/>
              <a:t> match </a:t>
            </a:r>
            <a:r>
              <a:rPr lang="en-US" dirty="0" err="1" smtClean="0"/>
              <a:t>dan</a:t>
            </a:r>
            <a:r>
              <a:rPr lang="en-US" dirty="0" smtClean="0"/>
              <a:t> vast </a:t>
            </a:r>
            <a:r>
              <a:rPr lang="en-US" dirty="0" err="1" smtClean="0"/>
              <a:t>pensioen</a:t>
            </a:r>
            <a:endParaRPr lang="en-US" dirty="0" smtClean="0"/>
          </a:p>
          <a:p>
            <a:pPr lvl="1"/>
            <a:r>
              <a:rPr lang="en-US" dirty="0" err="1" smtClean="0"/>
              <a:t>Vanuit</a:t>
            </a:r>
            <a:r>
              <a:rPr lang="en-US" dirty="0" smtClean="0"/>
              <a:t> </a:t>
            </a:r>
            <a:r>
              <a:rPr lang="en-US" dirty="0" err="1" smtClean="0"/>
              <a:t>emotioneel</a:t>
            </a:r>
            <a:r>
              <a:rPr lang="en-US" dirty="0" smtClean="0"/>
              <a:t> </a:t>
            </a:r>
            <a:r>
              <a:rPr lang="en-US" dirty="0" err="1" smtClean="0"/>
              <a:t>perspectief</a:t>
            </a:r>
            <a:r>
              <a:rPr lang="en-US" dirty="0" smtClean="0"/>
              <a:t> is vast </a:t>
            </a:r>
            <a:r>
              <a:rPr lang="en-US" dirty="0" err="1" smtClean="0"/>
              <a:t>pensioen</a:t>
            </a:r>
            <a:r>
              <a:rPr lang="en-US" dirty="0" smtClean="0"/>
              <a:t> </a:t>
            </a:r>
            <a:r>
              <a:rPr lang="en-US" dirty="0" err="1" smtClean="0"/>
              <a:t>voor</a:t>
            </a:r>
            <a:r>
              <a:rPr lang="en-US" dirty="0" smtClean="0"/>
              <a:t> 90% van de </a:t>
            </a:r>
            <a:r>
              <a:rPr lang="en-US" dirty="0" err="1" smtClean="0"/>
              <a:t>deelnemers</a:t>
            </a:r>
            <a:r>
              <a:rPr lang="en-US" dirty="0" smtClean="0"/>
              <a:t> </a:t>
            </a:r>
            <a:r>
              <a:rPr lang="en-US" dirty="0" err="1" smtClean="0"/>
              <a:t>een</a:t>
            </a:r>
            <a:r>
              <a:rPr lang="en-US" dirty="0" smtClean="0"/>
              <a:t> </a:t>
            </a:r>
            <a:r>
              <a:rPr lang="en-US" dirty="0" err="1" smtClean="0"/>
              <a:t>betere</a:t>
            </a:r>
            <a:r>
              <a:rPr lang="en-US" dirty="0" smtClean="0"/>
              <a:t> match </a:t>
            </a:r>
            <a:r>
              <a:rPr lang="en-US" dirty="0" err="1" smtClean="0"/>
              <a:t>en</a:t>
            </a:r>
            <a:r>
              <a:rPr lang="en-US" dirty="0" smtClean="0"/>
              <a:t> </a:t>
            </a:r>
            <a:r>
              <a:rPr lang="en-US" dirty="0" err="1" smtClean="0"/>
              <a:t>dit</a:t>
            </a:r>
            <a:r>
              <a:rPr lang="en-US" dirty="0" smtClean="0"/>
              <a:t> </a:t>
            </a:r>
            <a:r>
              <a:rPr lang="en-US" dirty="0" err="1" smtClean="0"/>
              <a:t>komt</a:t>
            </a:r>
            <a:r>
              <a:rPr lang="en-US" dirty="0" smtClean="0"/>
              <a:t> </a:t>
            </a:r>
            <a:r>
              <a:rPr lang="en-US" dirty="0" err="1" smtClean="0"/>
              <a:t>voornamelijk</a:t>
            </a:r>
            <a:r>
              <a:rPr lang="en-US" dirty="0" smtClean="0"/>
              <a:t> door </a:t>
            </a:r>
            <a:r>
              <a:rPr lang="en-US" dirty="0" err="1" smtClean="0"/>
              <a:t>verliesaversie</a:t>
            </a:r>
            <a:endParaRPr lang="en-US" dirty="0" smtClean="0"/>
          </a:p>
          <a:p>
            <a:pPr lvl="1"/>
            <a:r>
              <a:rPr lang="en-US" dirty="0" err="1" smtClean="0"/>
              <a:t>Spreiding</a:t>
            </a:r>
            <a:r>
              <a:rPr lang="en-US" dirty="0" smtClean="0"/>
              <a:t> van </a:t>
            </a:r>
            <a:r>
              <a:rPr lang="en-US" dirty="0" err="1" smtClean="0"/>
              <a:t>beleggingsresultaten</a:t>
            </a:r>
            <a:r>
              <a:rPr lang="en-US" dirty="0" smtClean="0"/>
              <a:t> </a:t>
            </a:r>
            <a:r>
              <a:rPr lang="en-US" dirty="0" err="1" smtClean="0"/>
              <a:t>verbetert</a:t>
            </a:r>
            <a:r>
              <a:rPr lang="en-US" dirty="0" smtClean="0"/>
              <a:t> de </a:t>
            </a:r>
            <a:r>
              <a:rPr lang="en-US" dirty="0" err="1" smtClean="0"/>
              <a:t>emotionele</a:t>
            </a:r>
            <a:r>
              <a:rPr lang="en-US" dirty="0" smtClean="0"/>
              <a:t> </a:t>
            </a:r>
            <a:r>
              <a:rPr lang="en-US" dirty="0" err="1" smtClean="0"/>
              <a:t>acceptatie</a:t>
            </a:r>
            <a:r>
              <a:rPr lang="en-US" dirty="0" smtClean="0"/>
              <a:t>, </a:t>
            </a:r>
            <a:r>
              <a:rPr lang="en-US" dirty="0" err="1" smtClean="0"/>
              <a:t>terwijl</a:t>
            </a:r>
            <a:r>
              <a:rPr lang="en-US" dirty="0" smtClean="0"/>
              <a:t> de </a:t>
            </a:r>
            <a:r>
              <a:rPr lang="en-US" dirty="0" err="1" smtClean="0"/>
              <a:t>rationele</a:t>
            </a:r>
            <a:r>
              <a:rPr lang="en-US" dirty="0" smtClean="0"/>
              <a:t> </a:t>
            </a:r>
            <a:r>
              <a:rPr lang="en-US" dirty="0" err="1" smtClean="0"/>
              <a:t>acceptatie</a:t>
            </a:r>
            <a:r>
              <a:rPr lang="en-US" dirty="0" smtClean="0"/>
              <a:t> </a:t>
            </a:r>
            <a:r>
              <a:rPr lang="en-US" dirty="0" err="1" smtClean="0"/>
              <a:t>nauwelijks</a:t>
            </a:r>
            <a:r>
              <a:rPr lang="en-US" dirty="0" smtClean="0"/>
              <a:t> </a:t>
            </a:r>
            <a:r>
              <a:rPr lang="en-US" dirty="0" err="1" smtClean="0"/>
              <a:t>wijzigt</a:t>
            </a:r>
            <a:endParaRPr lang="en-US" dirty="0" smtClean="0"/>
          </a:p>
          <a:p>
            <a:pPr lvl="1"/>
            <a:r>
              <a:rPr lang="en-US" dirty="0" err="1" smtClean="0"/>
              <a:t>Kernboodschap</a:t>
            </a:r>
            <a:r>
              <a:rPr lang="en-US" dirty="0" smtClean="0"/>
              <a:t>: </a:t>
            </a:r>
          </a:p>
          <a:p>
            <a:pPr lvl="2"/>
            <a:r>
              <a:rPr lang="en-US" dirty="0" err="1" smtClean="0"/>
              <a:t>Communiceer</a:t>
            </a:r>
            <a:r>
              <a:rPr lang="en-US" dirty="0" smtClean="0"/>
              <a:t> </a:t>
            </a:r>
            <a:r>
              <a:rPr lang="en-US" dirty="0" err="1" smtClean="0"/>
              <a:t>zorgvuldig</a:t>
            </a:r>
            <a:r>
              <a:rPr lang="en-US" dirty="0" smtClean="0"/>
              <a:t> over </a:t>
            </a:r>
            <a:r>
              <a:rPr lang="en-US" dirty="0" err="1" smtClean="0"/>
              <a:t>risico</a:t>
            </a:r>
            <a:r>
              <a:rPr lang="en-US" dirty="0" smtClean="0"/>
              <a:t> </a:t>
            </a:r>
            <a:r>
              <a:rPr lang="en-US" dirty="0" err="1" smtClean="0"/>
              <a:t>zodat</a:t>
            </a:r>
            <a:r>
              <a:rPr lang="en-US" dirty="0" smtClean="0"/>
              <a:t> </a:t>
            </a:r>
            <a:r>
              <a:rPr lang="en-US" dirty="0" err="1" smtClean="0"/>
              <a:t>deelnemer</a:t>
            </a:r>
            <a:r>
              <a:rPr lang="en-US" dirty="0" smtClean="0"/>
              <a:t> </a:t>
            </a:r>
            <a:r>
              <a:rPr lang="en-US" dirty="0" err="1" smtClean="0"/>
              <a:t>zich</a:t>
            </a:r>
            <a:r>
              <a:rPr lang="en-US" dirty="0" smtClean="0"/>
              <a:t> over </a:t>
            </a:r>
            <a:r>
              <a:rPr lang="en-US" dirty="0" err="1" smtClean="0"/>
              <a:t>verliesaversie</a:t>
            </a:r>
            <a:r>
              <a:rPr lang="en-US" dirty="0" smtClean="0"/>
              <a:t> </a:t>
            </a:r>
            <a:r>
              <a:rPr lang="en-US" dirty="0" err="1" smtClean="0"/>
              <a:t>kan</a:t>
            </a:r>
            <a:r>
              <a:rPr lang="en-US" dirty="0" smtClean="0"/>
              <a:t> </a:t>
            </a:r>
            <a:r>
              <a:rPr lang="en-US" dirty="0" err="1" smtClean="0"/>
              <a:t>heenzetten</a:t>
            </a:r>
            <a:endParaRPr lang="en-US" dirty="0"/>
          </a:p>
          <a:p>
            <a:pPr lvl="2"/>
            <a:r>
              <a:rPr lang="en-US" dirty="0"/>
              <a:t>N</a:t>
            </a:r>
            <a:r>
              <a:rPr lang="en-US" dirty="0" smtClean="0"/>
              <a:t>eem </a:t>
            </a:r>
            <a:r>
              <a:rPr lang="en-US" dirty="0" err="1" smtClean="0"/>
              <a:t>weloverwogen</a:t>
            </a:r>
            <a:r>
              <a:rPr lang="en-US" dirty="0" smtClean="0"/>
              <a:t> </a:t>
            </a:r>
            <a:r>
              <a:rPr lang="en-US" dirty="0" err="1" smtClean="0"/>
              <a:t>beslissing</a:t>
            </a:r>
            <a:r>
              <a:rPr lang="en-US" dirty="0" smtClean="0"/>
              <a:t> </a:t>
            </a:r>
            <a:r>
              <a:rPr lang="en-US" dirty="0" err="1" smtClean="0"/>
              <a:t>gegeven</a:t>
            </a:r>
            <a:r>
              <a:rPr lang="en-US" dirty="0" smtClean="0"/>
              <a:t> de </a:t>
            </a:r>
            <a:r>
              <a:rPr lang="en-US" dirty="0" err="1" smtClean="0"/>
              <a:t>discrepantie</a:t>
            </a:r>
            <a:r>
              <a:rPr lang="en-US" dirty="0" smtClean="0"/>
              <a:t> </a:t>
            </a:r>
            <a:r>
              <a:rPr lang="en-US" dirty="0" err="1" smtClean="0"/>
              <a:t>tussen</a:t>
            </a:r>
            <a:r>
              <a:rPr lang="en-US" dirty="0" smtClean="0"/>
              <a:t> </a:t>
            </a:r>
            <a:r>
              <a:rPr lang="en-US" dirty="0" err="1" smtClean="0"/>
              <a:t>emotie</a:t>
            </a:r>
            <a:r>
              <a:rPr lang="en-US" dirty="0" smtClean="0"/>
              <a:t> </a:t>
            </a:r>
            <a:r>
              <a:rPr lang="en-US" dirty="0" err="1" smtClean="0"/>
              <a:t>en</a:t>
            </a:r>
            <a:r>
              <a:rPr lang="en-US" dirty="0" smtClean="0"/>
              <a:t> ratio</a:t>
            </a:r>
          </a:p>
          <a:p>
            <a:endParaRPr lang="en-US" dirty="0"/>
          </a:p>
          <a:p>
            <a:pPr lvl="1"/>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dirty="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1</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en-US" dirty="0" err="1" smtClean="0"/>
              <a:t>Invaren</a:t>
            </a:r>
            <a:r>
              <a:rPr lang="en-US" dirty="0" smtClean="0"/>
              <a:t> </a:t>
            </a:r>
            <a:r>
              <a:rPr lang="en-US" dirty="0" err="1" smtClean="0"/>
              <a:t>maakt</a:t>
            </a:r>
            <a:r>
              <a:rPr lang="en-US" dirty="0" smtClean="0"/>
              <a:t> de </a:t>
            </a:r>
            <a:r>
              <a:rPr lang="en-US" dirty="0" err="1" smtClean="0"/>
              <a:t>transitie</a:t>
            </a:r>
            <a:r>
              <a:rPr lang="en-US" dirty="0" smtClean="0"/>
              <a:t> ‘</a:t>
            </a:r>
            <a:r>
              <a:rPr lang="en-US" dirty="0" err="1" smtClean="0"/>
              <a:t>betaalbaar</a:t>
            </a:r>
            <a:r>
              <a:rPr lang="en-US" dirty="0" smtClean="0"/>
              <a:t>’</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364780399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en-US" dirty="0" err="1" smtClean="0"/>
              <a:t>Mogelijkheden</a:t>
            </a:r>
            <a:r>
              <a:rPr lang="en-US" dirty="0" smtClean="0"/>
              <a:t> om </a:t>
            </a:r>
            <a:r>
              <a:rPr lang="en-US" dirty="0" err="1" smtClean="0"/>
              <a:t>vooruitlopend</a:t>
            </a:r>
            <a:r>
              <a:rPr lang="en-US" dirty="0" smtClean="0"/>
              <a:t> of </a:t>
            </a:r>
            <a:r>
              <a:rPr lang="en-US" dirty="0" err="1" smtClean="0"/>
              <a:t>na</a:t>
            </a:r>
            <a:r>
              <a:rPr lang="en-US" dirty="0" smtClean="0"/>
              <a:t> de </a:t>
            </a:r>
            <a:r>
              <a:rPr lang="en-US" dirty="0" err="1" smtClean="0"/>
              <a:t>transitie</a:t>
            </a:r>
            <a:r>
              <a:rPr lang="en-US" dirty="0" smtClean="0"/>
              <a:t> in </a:t>
            </a:r>
            <a:r>
              <a:rPr lang="en-US" dirty="0" err="1" smtClean="0"/>
              <a:t>te</a:t>
            </a:r>
            <a:r>
              <a:rPr lang="en-US" dirty="0" smtClean="0"/>
              <a:t> </a:t>
            </a:r>
            <a:r>
              <a:rPr lang="en-US" dirty="0" err="1" smtClean="0"/>
              <a:t>spelen</a:t>
            </a:r>
            <a:r>
              <a:rPr lang="en-US" dirty="0" smtClean="0"/>
              <a:t> op </a:t>
            </a:r>
            <a:r>
              <a:rPr lang="en-US" dirty="0" err="1" smtClean="0"/>
              <a:t>verliesaversie</a:t>
            </a:r>
            <a:r>
              <a:rPr lang="en-US" dirty="0" smtClean="0"/>
              <a:t> van (</a:t>
            </a:r>
            <a:r>
              <a:rPr lang="en-US" dirty="0" err="1" smtClean="0"/>
              <a:t>gewezen</a:t>
            </a:r>
            <a:r>
              <a:rPr lang="en-US" dirty="0" smtClean="0"/>
              <a:t>) </a:t>
            </a:r>
            <a:r>
              <a:rPr lang="en-US" dirty="0" err="1" smtClean="0"/>
              <a:t>deelnemers</a:t>
            </a:r>
            <a:endParaRPr lang="en-US" dirty="0" smtClean="0"/>
          </a:p>
          <a:p>
            <a:r>
              <a:rPr lang="en-US" dirty="0" err="1" smtClean="0"/>
              <a:t>Specifieke</a:t>
            </a:r>
            <a:r>
              <a:rPr lang="en-US" dirty="0" smtClean="0"/>
              <a:t> </a:t>
            </a:r>
            <a:r>
              <a:rPr lang="en-US" dirty="0" err="1" smtClean="0"/>
              <a:t>inrichting</a:t>
            </a:r>
            <a:r>
              <a:rPr lang="en-US" dirty="0" smtClean="0"/>
              <a:t>/</a:t>
            </a:r>
            <a:r>
              <a:rPr lang="en-US" dirty="0" err="1" smtClean="0"/>
              <a:t>uitdeelregels</a:t>
            </a:r>
            <a:r>
              <a:rPr lang="en-US" dirty="0" smtClean="0"/>
              <a:t> van de </a:t>
            </a:r>
            <a:r>
              <a:rPr lang="en-US" dirty="0" err="1" smtClean="0"/>
              <a:t>solidariteitsreserve</a:t>
            </a:r>
            <a:r>
              <a:rPr lang="en-US" dirty="0" smtClean="0"/>
              <a:t> ter </a:t>
            </a:r>
            <a:r>
              <a:rPr lang="en-US" dirty="0" err="1" smtClean="0"/>
              <a:t>voorkoming</a:t>
            </a:r>
            <a:r>
              <a:rPr lang="en-US" dirty="0" smtClean="0"/>
              <a:t> van </a:t>
            </a:r>
            <a:r>
              <a:rPr lang="en-US" dirty="0" err="1" smtClean="0"/>
              <a:t>kortingen</a:t>
            </a:r>
            <a:r>
              <a:rPr lang="en-US" dirty="0" smtClean="0"/>
              <a:t> </a:t>
            </a:r>
            <a:r>
              <a:rPr lang="en-US" dirty="0" err="1" smtClean="0"/>
              <a:t>voor</a:t>
            </a:r>
            <a:r>
              <a:rPr lang="en-US" dirty="0" smtClean="0"/>
              <a:t> </a:t>
            </a:r>
            <a:r>
              <a:rPr lang="en-US" dirty="0" err="1" smtClean="0"/>
              <a:t>pensioentrekkenden</a:t>
            </a:r>
            <a:r>
              <a:rPr lang="en-US" dirty="0" smtClean="0"/>
              <a:t> </a:t>
            </a:r>
            <a:r>
              <a:rPr lang="en-US" dirty="0" err="1" smtClean="0"/>
              <a:t>en</a:t>
            </a:r>
            <a:r>
              <a:rPr lang="en-US" dirty="0" smtClean="0"/>
              <a:t>/of ter </a:t>
            </a:r>
            <a:r>
              <a:rPr lang="en-US" dirty="0" err="1" smtClean="0"/>
              <a:t>compensatie</a:t>
            </a:r>
            <a:r>
              <a:rPr lang="en-US" dirty="0" smtClean="0"/>
              <a:t> van </a:t>
            </a:r>
            <a:r>
              <a:rPr lang="en-US" dirty="0" err="1" smtClean="0"/>
              <a:t>specifieke</a:t>
            </a:r>
            <a:r>
              <a:rPr lang="en-US" dirty="0" smtClean="0"/>
              <a:t> </a:t>
            </a:r>
            <a:r>
              <a:rPr lang="en-US" dirty="0" err="1" smtClean="0"/>
              <a:t>groepen</a:t>
            </a:r>
            <a:r>
              <a:rPr lang="en-US" dirty="0" smtClean="0"/>
              <a:t> </a:t>
            </a:r>
            <a:r>
              <a:rPr lang="en-US" dirty="0" err="1" smtClean="0"/>
              <a:t>deelnemers</a:t>
            </a:r>
            <a:endParaRPr lang="en-US" dirty="0" smtClean="0"/>
          </a:p>
          <a:p>
            <a:r>
              <a:rPr lang="en-US" dirty="0" err="1" smtClean="0"/>
              <a:t>Overdragen</a:t>
            </a:r>
            <a:r>
              <a:rPr lang="en-US" dirty="0" smtClean="0"/>
              <a:t> van </a:t>
            </a:r>
            <a:r>
              <a:rPr lang="en-US" dirty="0" err="1" smtClean="0"/>
              <a:t>aanspraken</a:t>
            </a:r>
            <a:r>
              <a:rPr lang="en-US" dirty="0" smtClean="0"/>
              <a:t>/</a:t>
            </a:r>
            <a:r>
              <a:rPr lang="en-US" dirty="0" err="1" smtClean="0"/>
              <a:t>rechten</a:t>
            </a:r>
            <a:r>
              <a:rPr lang="en-US" dirty="0" smtClean="0"/>
              <a:t> </a:t>
            </a:r>
            <a:r>
              <a:rPr lang="en-US" dirty="0" err="1" smtClean="0"/>
              <a:t>aan</a:t>
            </a:r>
            <a:r>
              <a:rPr lang="en-US" dirty="0" smtClean="0"/>
              <a:t> </a:t>
            </a:r>
            <a:r>
              <a:rPr lang="en-US" dirty="0" err="1" smtClean="0"/>
              <a:t>een</a:t>
            </a:r>
            <a:r>
              <a:rPr lang="en-US" dirty="0" smtClean="0"/>
              <a:t> </a:t>
            </a:r>
            <a:r>
              <a:rPr lang="en-US" dirty="0" err="1" smtClean="0"/>
              <a:t>andere</a:t>
            </a:r>
            <a:r>
              <a:rPr lang="en-US" dirty="0" smtClean="0"/>
              <a:t> </a:t>
            </a:r>
            <a:r>
              <a:rPr lang="en-US" dirty="0" err="1" smtClean="0"/>
              <a:t>pensioenuitvoerder</a:t>
            </a:r>
            <a:r>
              <a:rPr lang="en-US" dirty="0" smtClean="0"/>
              <a:t> </a:t>
            </a:r>
            <a:r>
              <a:rPr lang="en-US" dirty="0" err="1" smtClean="0"/>
              <a:t>voor</a:t>
            </a:r>
            <a:r>
              <a:rPr lang="en-US" dirty="0" smtClean="0"/>
              <a:t> </a:t>
            </a:r>
            <a:r>
              <a:rPr lang="en-US" dirty="0" err="1" smtClean="0"/>
              <a:t>deelnemers</a:t>
            </a:r>
            <a:r>
              <a:rPr lang="en-US" dirty="0" smtClean="0"/>
              <a:t> of </a:t>
            </a:r>
            <a:r>
              <a:rPr lang="en-US" dirty="0" err="1" smtClean="0"/>
              <a:t>een</a:t>
            </a:r>
            <a:r>
              <a:rPr lang="en-US" dirty="0" smtClean="0"/>
              <a:t> </a:t>
            </a:r>
            <a:r>
              <a:rPr lang="en-US" dirty="0" err="1" smtClean="0"/>
              <a:t>deelverzameling</a:t>
            </a:r>
            <a:r>
              <a:rPr lang="en-US" dirty="0" smtClean="0"/>
              <a:t> (opting out)</a:t>
            </a:r>
          </a:p>
          <a:p>
            <a:r>
              <a:rPr lang="en-US" dirty="0" smtClean="0"/>
              <a:t>Extern </a:t>
            </a:r>
            <a:r>
              <a:rPr lang="en-US" dirty="0" err="1"/>
              <a:t>h</a:t>
            </a:r>
            <a:r>
              <a:rPr lang="en-US" dirty="0" err="1" smtClean="0"/>
              <a:t>erverzekeren</a:t>
            </a:r>
            <a:r>
              <a:rPr lang="en-US" dirty="0" smtClean="0"/>
              <a:t> van </a:t>
            </a:r>
            <a:r>
              <a:rPr lang="en-US" dirty="0" err="1" smtClean="0"/>
              <a:t>beschermingsrendement</a:t>
            </a:r>
            <a:r>
              <a:rPr lang="en-US" dirty="0" smtClean="0"/>
              <a:t> (</a:t>
            </a:r>
            <a:r>
              <a:rPr lang="en-US" dirty="0" err="1" smtClean="0"/>
              <a:t>kopen</a:t>
            </a:r>
            <a:r>
              <a:rPr lang="en-US" dirty="0" smtClean="0"/>
              <a:t> van </a:t>
            </a:r>
            <a:r>
              <a:rPr lang="en-US" dirty="0" err="1" smtClean="0"/>
              <a:t>garanties</a:t>
            </a:r>
            <a:r>
              <a:rPr lang="en-US" dirty="0" smtClean="0"/>
              <a:t>)</a:t>
            </a:r>
          </a:p>
          <a:p>
            <a:endParaRPr lang="en-US" dirty="0" smtClean="0"/>
          </a:p>
          <a:p>
            <a:endParaRPr lang="en-US" dirty="0"/>
          </a:p>
          <a:p>
            <a:endParaRPr lang="en-US" dirty="0" smtClean="0"/>
          </a:p>
          <a:p>
            <a:endParaRPr lang="en-US" dirty="0"/>
          </a:p>
          <a:p>
            <a:endParaRPr lang="en-US" dirty="0" smtClean="0"/>
          </a:p>
          <a:p>
            <a:r>
              <a:rPr lang="en-US" dirty="0" err="1" smtClean="0"/>
              <a:t>Vraag</a:t>
            </a:r>
            <a:r>
              <a:rPr lang="en-US" dirty="0" smtClean="0"/>
              <a:t>: </a:t>
            </a:r>
            <a:r>
              <a:rPr lang="en-US" dirty="0" err="1" smtClean="0"/>
              <a:t>welke</a:t>
            </a:r>
            <a:r>
              <a:rPr lang="en-US" dirty="0" smtClean="0"/>
              <a:t> </a:t>
            </a:r>
            <a:r>
              <a:rPr lang="en-US" dirty="0" err="1" smtClean="0"/>
              <a:t>ruimte</a:t>
            </a:r>
            <a:r>
              <a:rPr lang="en-US" dirty="0" smtClean="0"/>
              <a:t> </a:t>
            </a:r>
            <a:r>
              <a:rPr lang="en-US" dirty="0" err="1" smtClean="0"/>
              <a:t>en</a:t>
            </a:r>
            <a:r>
              <a:rPr lang="en-US" dirty="0" smtClean="0"/>
              <a:t> </a:t>
            </a:r>
            <a:r>
              <a:rPr lang="en-US" dirty="0" err="1" smtClean="0"/>
              <a:t>beperkingen</a:t>
            </a:r>
            <a:r>
              <a:rPr lang="en-US" dirty="0" smtClean="0"/>
              <a:t> </a:t>
            </a:r>
            <a:r>
              <a:rPr lang="en-US" dirty="0" err="1" smtClean="0"/>
              <a:t>kennen</a:t>
            </a:r>
            <a:r>
              <a:rPr lang="en-US" dirty="0" smtClean="0"/>
              <a:t> </a:t>
            </a:r>
            <a:r>
              <a:rPr lang="en-US" dirty="0" err="1" smtClean="0"/>
              <a:t>deze</a:t>
            </a:r>
            <a:r>
              <a:rPr lang="en-US" dirty="0" smtClean="0"/>
              <a:t> </a:t>
            </a:r>
            <a:r>
              <a:rPr lang="en-US" dirty="0" err="1" smtClean="0"/>
              <a:t>beleidsopties</a:t>
            </a:r>
            <a:r>
              <a:rPr lang="en-US" dirty="0" smtClean="0"/>
              <a:t>?</a:t>
            </a:r>
          </a:p>
          <a:p>
            <a:pPr marL="0" indent="0">
              <a:buNone/>
            </a:pPr>
            <a:endParaRPr lang="en-US" dirty="0"/>
          </a:p>
          <a:p>
            <a:pPr lvl="1"/>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dirty="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2</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en-US" dirty="0" err="1" smtClean="0"/>
              <a:t>Beleidsopties</a:t>
            </a:r>
            <a:r>
              <a:rPr lang="en-US" dirty="0" smtClean="0"/>
              <a:t> </a:t>
            </a:r>
            <a:r>
              <a:rPr lang="en-US" dirty="0" err="1" smtClean="0"/>
              <a:t>tegen</a:t>
            </a:r>
            <a:r>
              <a:rPr lang="en-US" dirty="0" smtClean="0"/>
              <a:t> om in </a:t>
            </a:r>
            <a:r>
              <a:rPr lang="en-US" dirty="0" err="1" smtClean="0"/>
              <a:t>te</a:t>
            </a:r>
            <a:r>
              <a:rPr lang="en-US" dirty="0" smtClean="0"/>
              <a:t> </a:t>
            </a:r>
            <a:r>
              <a:rPr lang="en-US" dirty="0" err="1" smtClean="0"/>
              <a:t>spelen</a:t>
            </a:r>
            <a:r>
              <a:rPr lang="en-US" dirty="0" smtClean="0"/>
              <a:t> op </a:t>
            </a:r>
            <a:r>
              <a:rPr lang="en-US" dirty="0" err="1" smtClean="0"/>
              <a:t>verliesaversie</a:t>
            </a:r>
            <a:endParaRPr lang="nl-NL" dirty="0"/>
          </a:p>
        </p:txBody>
      </p:sp>
      <p:sp>
        <p:nvSpPr>
          <p:cNvPr id="7" name="Tijdelijke aanduiding voor tekst 6"/>
          <p:cNvSpPr>
            <a:spLocks noGrp="1"/>
          </p:cNvSpPr>
          <p:nvPr>
            <p:ph type="body" sz="quarter" idx="16"/>
          </p:nvPr>
        </p:nvSpPr>
        <p:spPr/>
        <p:txBody>
          <a:bodyPr/>
          <a:lstStyle/>
          <a:p>
            <a:endParaRPr lang="nl-NL"/>
          </a:p>
        </p:txBody>
      </p:sp>
      <p:pic>
        <p:nvPicPr>
          <p:cNvPr id="8" name="Afbeelding 7"/>
          <p:cNvPicPr>
            <a:picLocks noChangeAspect="1"/>
          </p:cNvPicPr>
          <p:nvPr/>
        </p:nvPicPr>
        <p:blipFill>
          <a:blip r:embed="rId2"/>
          <a:stretch>
            <a:fillRect/>
          </a:stretch>
        </p:blipFill>
        <p:spPr>
          <a:xfrm>
            <a:off x="694267" y="3937824"/>
            <a:ext cx="3430284" cy="1989734"/>
          </a:xfrm>
          <a:prstGeom prst="rect">
            <a:avLst/>
          </a:prstGeom>
        </p:spPr>
      </p:pic>
      <p:sp>
        <p:nvSpPr>
          <p:cNvPr id="9" name="Linkeraccolade 8"/>
          <p:cNvSpPr/>
          <p:nvPr/>
        </p:nvSpPr>
        <p:spPr>
          <a:xfrm>
            <a:off x="2711116" y="4796589"/>
            <a:ext cx="232610" cy="753979"/>
          </a:xfrm>
          <a:prstGeom prst="lef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0" name="Rechteraccolade 9"/>
          <p:cNvSpPr/>
          <p:nvPr/>
        </p:nvSpPr>
        <p:spPr>
          <a:xfrm>
            <a:off x="3709993" y="4784557"/>
            <a:ext cx="208547" cy="778042"/>
          </a:xfrm>
          <a:prstGeom prst="rightBrace">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1" name="Pijl-rechts 10"/>
          <p:cNvSpPr/>
          <p:nvPr/>
        </p:nvSpPr>
        <p:spPr>
          <a:xfrm>
            <a:off x="3514950" y="5009815"/>
            <a:ext cx="1008923" cy="327526"/>
          </a:xfrm>
          <a:prstGeom prst="rightArrow">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14000"/>
              </a:lnSpc>
            </a:pPr>
            <a:endParaRPr lang="nl-NL" sz="1200" dirty="0" err="1" smtClean="0"/>
          </a:p>
        </p:txBody>
      </p:sp>
      <p:sp>
        <p:nvSpPr>
          <p:cNvPr id="12" name="Tekstvak 11"/>
          <p:cNvSpPr txBox="1"/>
          <p:nvPr/>
        </p:nvSpPr>
        <p:spPr>
          <a:xfrm>
            <a:off x="4588042" y="5009815"/>
            <a:ext cx="2967031" cy="327526"/>
          </a:xfrm>
          <a:prstGeom prst="rect">
            <a:avLst/>
          </a:prstGeom>
          <a:noFill/>
        </p:spPr>
        <p:txBody>
          <a:bodyPr wrap="none" lIns="0" tIns="0" rIns="0" bIns="0" rtlCol="0">
            <a:spAutoFit/>
          </a:bodyPr>
          <a:lstStyle/>
          <a:p>
            <a:pPr algn="l">
              <a:lnSpc>
                <a:spcPct val="114000"/>
              </a:lnSpc>
            </a:pPr>
            <a:r>
              <a:rPr lang="en-US" sz="1867" dirty="0" smtClean="0">
                <a:solidFill>
                  <a:schemeClr val="accent1"/>
                </a:solidFill>
              </a:rPr>
              <a:t>‘</a:t>
            </a:r>
            <a:r>
              <a:rPr lang="en-US" sz="1867" dirty="0" err="1">
                <a:solidFill>
                  <a:schemeClr val="accent1"/>
                </a:solidFill>
              </a:rPr>
              <a:t>Partiële</a:t>
            </a:r>
            <a:r>
              <a:rPr lang="en-US" sz="1867" dirty="0">
                <a:solidFill>
                  <a:schemeClr val="accent1"/>
                </a:solidFill>
              </a:rPr>
              <a:t> </a:t>
            </a:r>
            <a:r>
              <a:rPr lang="en-US" sz="1867" dirty="0" err="1" smtClean="0">
                <a:solidFill>
                  <a:schemeClr val="accent1"/>
                </a:solidFill>
              </a:rPr>
              <a:t>herverzekering</a:t>
            </a:r>
            <a:r>
              <a:rPr lang="en-US" sz="1867" dirty="0" smtClean="0">
                <a:solidFill>
                  <a:schemeClr val="accent1"/>
                </a:solidFill>
              </a:rPr>
              <a:t>’</a:t>
            </a:r>
            <a:endParaRPr lang="nl-NL" sz="1867" dirty="0" err="1">
              <a:solidFill>
                <a:schemeClr val="accent1"/>
              </a:solidFill>
            </a:endParaRPr>
          </a:p>
        </p:txBody>
      </p:sp>
    </p:spTree>
    <p:extLst>
      <p:ext uri="{BB962C8B-B14F-4D97-AF65-F5344CB8AC3E}">
        <p14:creationId xmlns:p14="http://schemas.microsoft.com/office/powerpoint/2010/main" val="79013163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503768" y="1365251"/>
            <a:ext cx="11431558" cy="4796367"/>
          </a:xfrm>
        </p:spPr>
        <p:txBody>
          <a:bodyPr/>
          <a:lstStyle/>
          <a:p>
            <a:r>
              <a:rPr lang="en-US" dirty="0" smtClean="0"/>
              <a:t>De </a:t>
            </a:r>
            <a:r>
              <a:rPr lang="en-US" dirty="0" err="1" smtClean="0"/>
              <a:t>generieke</a:t>
            </a:r>
            <a:r>
              <a:rPr lang="en-US" dirty="0" smtClean="0"/>
              <a:t> </a:t>
            </a:r>
            <a:r>
              <a:rPr lang="en-US" dirty="0" err="1" smtClean="0"/>
              <a:t>richtdekkingsgraad</a:t>
            </a:r>
            <a:r>
              <a:rPr lang="en-US" dirty="0" smtClean="0"/>
              <a:t> is </a:t>
            </a:r>
            <a:r>
              <a:rPr lang="en-US" dirty="0" err="1" smtClean="0"/>
              <a:t>minimaal</a:t>
            </a:r>
            <a:r>
              <a:rPr lang="en-US" dirty="0" smtClean="0"/>
              <a:t> 95% </a:t>
            </a:r>
            <a:r>
              <a:rPr lang="en-US" dirty="0" err="1" smtClean="0"/>
              <a:t>voor</a:t>
            </a:r>
            <a:r>
              <a:rPr lang="en-US" dirty="0" smtClean="0"/>
              <a:t> het SPR contract </a:t>
            </a:r>
            <a:r>
              <a:rPr lang="en-US" dirty="0" err="1" smtClean="0"/>
              <a:t>en</a:t>
            </a:r>
            <a:r>
              <a:rPr lang="en-US" dirty="0" smtClean="0"/>
              <a:t> 105% </a:t>
            </a:r>
            <a:r>
              <a:rPr lang="en-US" dirty="0" err="1" smtClean="0"/>
              <a:t>voor</a:t>
            </a:r>
            <a:r>
              <a:rPr lang="en-US" dirty="0" smtClean="0"/>
              <a:t> het FPR contract</a:t>
            </a:r>
          </a:p>
          <a:p>
            <a:r>
              <a:rPr lang="en-US" dirty="0" err="1" smtClean="0"/>
              <a:t>Fondsspecifieke</a:t>
            </a:r>
            <a:r>
              <a:rPr lang="en-US" dirty="0" smtClean="0"/>
              <a:t> </a:t>
            </a:r>
            <a:r>
              <a:rPr lang="en-US" dirty="0" err="1" smtClean="0"/>
              <a:t>richtdekkingsgraad</a:t>
            </a:r>
            <a:r>
              <a:rPr lang="en-US" dirty="0" smtClean="0"/>
              <a:t> is</a:t>
            </a:r>
            <a:r>
              <a:rPr lang="nl-NL" sz="2000" dirty="0" smtClean="0"/>
              <a:t> de benodigde </a:t>
            </a:r>
            <a:r>
              <a:rPr lang="nl-NL" sz="2000" dirty="0"/>
              <a:t>dekkingsgraad om de (verwachte) uitkeringen vóór en na transitie gelijk te houden. Voor </a:t>
            </a:r>
            <a:r>
              <a:rPr lang="nl-NL" sz="2000" dirty="0" err="1" smtClean="0"/>
              <a:t>pensioentrekkenden</a:t>
            </a:r>
            <a:r>
              <a:rPr lang="nl-NL" sz="2000" dirty="0" smtClean="0"/>
              <a:t> </a:t>
            </a:r>
            <a:r>
              <a:rPr lang="nl-NL" sz="2000" dirty="0"/>
              <a:t>geldt dat de hoogte van de lopende uitkering vóór en na transitie ten minste gelijk blijft. Voor alle leeftijdsgroepen geldt dat de verwachte en het met prijsinflatie gecorrigeerde pensioen ten opzichte van het huidig </a:t>
            </a:r>
            <a:r>
              <a:rPr lang="nl-NL" sz="2000" dirty="0" err="1"/>
              <a:t>ftk</a:t>
            </a:r>
            <a:r>
              <a:rPr lang="nl-NL" sz="2000" dirty="0"/>
              <a:t>-niveau ten minste op peil blijft. </a:t>
            </a:r>
            <a:endParaRPr lang="nl-NL" sz="2000" dirty="0" smtClean="0"/>
          </a:p>
          <a:p>
            <a:r>
              <a:rPr lang="en-US" sz="2000" dirty="0" smtClean="0"/>
              <a:t>De </a:t>
            </a:r>
            <a:r>
              <a:rPr lang="en-US" sz="2000" dirty="0" err="1" smtClean="0"/>
              <a:t>richtdekkingsgraad</a:t>
            </a:r>
            <a:r>
              <a:rPr lang="en-US" sz="2000" dirty="0" smtClean="0"/>
              <a:t> is </a:t>
            </a:r>
            <a:r>
              <a:rPr lang="en-US" sz="2000" dirty="0" err="1" smtClean="0"/>
              <a:t>afhankelijk</a:t>
            </a:r>
            <a:r>
              <a:rPr lang="en-US" sz="2000" dirty="0" smtClean="0"/>
              <a:t> van:</a:t>
            </a:r>
          </a:p>
          <a:p>
            <a:pPr lvl="1"/>
            <a:r>
              <a:rPr lang="en-US" sz="2000" dirty="0" err="1" smtClean="0"/>
              <a:t>Beleggingsmix</a:t>
            </a:r>
            <a:r>
              <a:rPr lang="en-US" sz="2000" dirty="0" smtClean="0"/>
              <a:t> (</a:t>
            </a:r>
            <a:r>
              <a:rPr lang="en-US" sz="2000" dirty="0" err="1" smtClean="0"/>
              <a:t>hoger</a:t>
            </a:r>
            <a:r>
              <a:rPr lang="en-US" sz="2000" dirty="0" smtClean="0"/>
              <a:t> </a:t>
            </a:r>
            <a:r>
              <a:rPr lang="en-US" sz="2000" dirty="0" err="1" smtClean="0"/>
              <a:t>meer</a:t>
            </a:r>
            <a:r>
              <a:rPr lang="en-US" sz="2000" dirty="0" smtClean="0"/>
              <a:t> </a:t>
            </a:r>
            <a:r>
              <a:rPr lang="en-US" sz="2000" dirty="0" err="1" smtClean="0"/>
              <a:t>risico</a:t>
            </a:r>
            <a:r>
              <a:rPr lang="en-US" sz="2000" dirty="0" smtClean="0"/>
              <a:t>, hoe lager </a:t>
            </a:r>
            <a:br>
              <a:rPr lang="en-US" sz="2000" dirty="0" smtClean="0"/>
            </a:br>
            <a:r>
              <a:rPr lang="en-US" sz="2000" dirty="0" smtClean="0"/>
              <a:t>de </a:t>
            </a:r>
            <a:r>
              <a:rPr lang="en-US" sz="2000" dirty="0" err="1" smtClean="0"/>
              <a:t>richtdekkingsgraad</a:t>
            </a:r>
            <a:r>
              <a:rPr lang="en-US" sz="2000" dirty="0" smtClean="0"/>
              <a:t>)</a:t>
            </a:r>
          </a:p>
          <a:p>
            <a:pPr lvl="1"/>
            <a:r>
              <a:rPr lang="en-US" sz="2000" dirty="0" err="1" smtClean="0"/>
              <a:t>Fondssamenstelling</a:t>
            </a:r>
            <a:r>
              <a:rPr lang="en-US" sz="2000" dirty="0" smtClean="0"/>
              <a:t> (hoe </a:t>
            </a:r>
            <a:r>
              <a:rPr lang="en-US" sz="2000" dirty="0" err="1" smtClean="0"/>
              <a:t>ouder</a:t>
            </a:r>
            <a:r>
              <a:rPr lang="en-US" sz="2000" dirty="0" smtClean="0"/>
              <a:t> de </a:t>
            </a:r>
            <a:r>
              <a:rPr lang="en-US" sz="2000" dirty="0" err="1" smtClean="0"/>
              <a:t>populatie</a:t>
            </a:r>
            <a:r>
              <a:rPr lang="en-US" sz="2000" dirty="0" smtClean="0"/>
              <a:t> hoe </a:t>
            </a:r>
            <a:br>
              <a:rPr lang="en-US" sz="2000" dirty="0" smtClean="0"/>
            </a:br>
            <a:r>
              <a:rPr lang="en-US" sz="2000" dirty="0" smtClean="0"/>
              <a:t>lager de </a:t>
            </a:r>
            <a:r>
              <a:rPr lang="en-US" sz="2000" dirty="0" err="1" smtClean="0"/>
              <a:t>richtdekkingsgraad</a:t>
            </a:r>
            <a:r>
              <a:rPr lang="en-US" sz="2000" dirty="0" smtClean="0"/>
              <a:t>)</a:t>
            </a:r>
          </a:p>
          <a:p>
            <a:pPr lvl="1"/>
            <a:r>
              <a:rPr lang="en-US" sz="2000" dirty="0" err="1" smtClean="0"/>
              <a:t>Rentestand</a:t>
            </a:r>
            <a:r>
              <a:rPr lang="en-US" sz="2000" dirty="0" smtClean="0"/>
              <a:t> </a:t>
            </a:r>
            <a:r>
              <a:rPr lang="en-US" sz="2000" dirty="0" err="1" smtClean="0"/>
              <a:t>en</a:t>
            </a:r>
            <a:r>
              <a:rPr lang="en-US" sz="2000" dirty="0" smtClean="0"/>
              <a:t> </a:t>
            </a:r>
            <a:r>
              <a:rPr lang="en-US" sz="2000" dirty="0" err="1" smtClean="0"/>
              <a:t>aandelenrendement</a:t>
            </a:r>
            <a:r>
              <a:rPr lang="en-US" sz="2000" dirty="0" smtClean="0"/>
              <a:t> (hoe lager </a:t>
            </a:r>
            <a:br>
              <a:rPr lang="en-US" sz="2000" dirty="0" smtClean="0"/>
            </a:br>
            <a:r>
              <a:rPr lang="en-US" sz="2000" dirty="0" smtClean="0"/>
              <a:t>de </a:t>
            </a:r>
            <a:r>
              <a:rPr lang="en-US" sz="2000" dirty="0" err="1" smtClean="0"/>
              <a:t>rente</a:t>
            </a:r>
            <a:r>
              <a:rPr lang="en-US" sz="2000" dirty="0" smtClean="0"/>
              <a:t> lager de </a:t>
            </a:r>
            <a:r>
              <a:rPr lang="en-US" sz="2000" dirty="0" err="1" smtClean="0"/>
              <a:t>richtdekkingsgraad</a:t>
            </a:r>
            <a:r>
              <a:rPr lang="en-US" sz="2000" dirty="0" smtClean="0"/>
              <a:t>)</a:t>
            </a:r>
            <a:endParaRPr lang="nl-NL" sz="2000" dirty="0" smtClean="0"/>
          </a:p>
          <a:p>
            <a:endParaRPr lang="nl-NL" sz="2000" dirty="0" smtClean="0"/>
          </a:p>
          <a:p>
            <a:endParaRPr lang="en-US" dirty="0" smtClean="0"/>
          </a:p>
          <a:p>
            <a:endParaRPr lang="en-US" dirty="0"/>
          </a:p>
          <a:p>
            <a:pPr lvl="1"/>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dirty="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3</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en-US" dirty="0" err="1" smtClean="0"/>
              <a:t>Invaren</a:t>
            </a:r>
            <a:r>
              <a:rPr lang="en-US" dirty="0" smtClean="0"/>
              <a:t> </a:t>
            </a:r>
            <a:r>
              <a:rPr lang="en-US" dirty="0" err="1" smtClean="0"/>
              <a:t>en</a:t>
            </a:r>
            <a:r>
              <a:rPr lang="en-US" dirty="0" smtClean="0"/>
              <a:t> </a:t>
            </a:r>
            <a:r>
              <a:rPr lang="en-US" dirty="0" err="1"/>
              <a:t>r</a:t>
            </a:r>
            <a:r>
              <a:rPr lang="en-US" dirty="0" err="1" smtClean="0"/>
              <a:t>ichtdekkingsgraad</a:t>
            </a:r>
            <a:endParaRPr lang="nl-NL" dirty="0"/>
          </a:p>
        </p:txBody>
      </p:sp>
      <p:sp>
        <p:nvSpPr>
          <p:cNvPr id="7" name="Tijdelijke aanduiding voor tekst 6"/>
          <p:cNvSpPr>
            <a:spLocks noGrp="1"/>
          </p:cNvSpPr>
          <p:nvPr>
            <p:ph type="body" sz="quarter" idx="16"/>
          </p:nvPr>
        </p:nvSpPr>
        <p:spPr/>
        <p:txBody>
          <a:bodyPr/>
          <a:lstStyle/>
          <a:p>
            <a:endParaRPr lang="nl-NL"/>
          </a:p>
        </p:txBody>
      </p:sp>
      <p:pic>
        <p:nvPicPr>
          <p:cNvPr id="9" name="Afbeelding 8"/>
          <p:cNvPicPr>
            <a:picLocks noChangeAspect="1"/>
          </p:cNvPicPr>
          <p:nvPr/>
        </p:nvPicPr>
        <p:blipFill>
          <a:blip r:embed="rId2"/>
          <a:stretch>
            <a:fillRect/>
          </a:stretch>
        </p:blipFill>
        <p:spPr>
          <a:xfrm>
            <a:off x="7395811" y="4004065"/>
            <a:ext cx="4034189" cy="1489804"/>
          </a:xfrm>
          <a:prstGeom prst="rect">
            <a:avLst/>
          </a:prstGeom>
        </p:spPr>
      </p:pic>
    </p:spTree>
    <p:extLst>
      <p:ext uri="{BB962C8B-B14F-4D97-AF65-F5344CB8AC3E}">
        <p14:creationId xmlns:p14="http://schemas.microsoft.com/office/powerpoint/2010/main" val="93933508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a:xfrm>
            <a:off x="503768" y="1365252"/>
            <a:ext cx="11182349" cy="3431338"/>
          </a:xfrm>
        </p:spPr>
        <p:txBody>
          <a:bodyPr/>
          <a:lstStyle/>
          <a:p>
            <a:r>
              <a:rPr lang="en-US" dirty="0" err="1" smtClean="0"/>
              <a:t>Introductie</a:t>
            </a:r>
            <a:r>
              <a:rPr lang="en-US" dirty="0" smtClean="0"/>
              <a:t> </a:t>
            </a:r>
            <a:r>
              <a:rPr lang="en-US" dirty="0" err="1" smtClean="0"/>
              <a:t>transitie-ftk</a:t>
            </a:r>
            <a:r>
              <a:rPr lang="en-US" dirty="0" smtClean="0"/>
              <a:t> (</a:t>
            </a:r>
            <a:r>
              <a:rPr lang="en-US" dirty="0" err="1" smtClean="0"/>
              <a:t>voorkomen</a:t>
            </a:r>
            <a:r>
              <a:rPr lang="en-US" dirty="0" smtClean="0"/>
              <a:t> van </a:t>
            </a:r>
            <a:r>
              <a:rPr lang="en-US" dirty="0" err="1" smtClean="0"/>
              <a:t>maatregelen</a:t>
            </a:r>
            <a:r>
              <a:rPr lang="en-US" dirty="0" smtClean="0"/>
              <a:t> die </a:t>
            </a:r>
            <a:r>
              <a:rPr lang="en-US" dirty="0" err="1" smtClean="0"/>
              <a:t>achteraf</a:t>
            </a:r>
            <a:r>
              <a:rPr lang="en-US" dirty="0" smtClean="0"/>
              <a:t> </a:t>
            </a:r>
            <a:r>
              <a:rPr lang="en-US" dirty="0" err="1" smtClean="0"/>
              <a:t>bezien</a:t>
            </a:r>
            <a:r>
              <a:rPr lang="en-US" dirty="0" smtClean="0"/>
              <a:t> </a:t>
            </a:r>
            <a:r>
              <a:rPr lang="en-US" dirty="0" err="1" smtClean="0"/>
              <a:t>onnodig</a:t>
            </a:r>
            <a:r>
              <a:rPr lang="en-US" dirty="0" smtClean="0"/>
              <a:t> </a:t>
            </a:r>
            <a:r>
              <a:rPr lang="en-US" dirty="0" err="1" smtClean="0"/>
              <a:t>zijn</a:t>
            </a:r>
            <a:r>
              <a:rPr lang="en-US" dirty="0" smtClean="0"/>
              <a:t>)</a:t>
            </a:r>
          </a:p>
          <a:p>
            <a:r>
              <a:rPr lang="en-US" dirty="0" err="1" smtClean="0"/>
              <a:t>Voorwaarden</a:t>
            </a:r>
            <a:r>
              <a:rPr lang="en-US" dirty="0" smtClean="0"/>
              <a:t> </a:t>
            </a:r>
            <a:r>
              <a:rPr lang="en-US" dirty="0" err="1" smtClean="0"/>
              <a:t>transitie-ftk</a:t>
            </a:r>
            <a:endParaRPr lang="en-US" dirty="0" smtClean="0"/>
          </a:p>
          <a:p>
            <a:pPr lvl="1"/>
            <a:r>
              <a:rPr lang="en-US" dirty="0" err="1" smtClean="0"/>
              <a:t>Intentie</a:t>
            </a:r>
            <a:r>
              <a:rPr lang="en-US" dirty="0" smtClean="0"/>
              <a:t> om in </a:t>
            </a:r>
            <a:r>
              <a:rPr lang="en-US" dirty="0" err="1" smtClean="0"/>
              <a:t>te</a:t>
            </a:r>
            <a:r>
              <a:rPr lang="en-US" dirty="0" smtClean="0"/>
              <a:t> </a:t>
            </a:r>
            <a:r>
              <a:rPr lang="en-US" dirty="0" err="1" smtClean="0"/>
              <a:t>varen</a:t>
            </a:r>
            <a:endParaRPr lang="en-US" dirty="0" smtClean="0"/>
          </a:p>
          <a:p>
            <a:pPr lvl="1"/>
            <a:r>
              <a:rPr lang="en-US" dirty="0" smtClean="0"/>
              <a:t>Direct </a:t>
            </a:r>
            <a:r>
              <a:rPr lang="en-US" dirty="0" err="1" smtClean="0"/>
              <a:t>korten</a:t>
            </a:r>
            <a:r>
              <a:rPr lang="en-US" dirty="0" smtClean="0"/>
              <a:t> </a:t>
            </a:r>
            <a:r>
              <a:rPr lang="en-US" dirty="0" err="1" smtClean="0"/>
              <a:t>als</a:t>
            </a:r>
            <a:r>
              <a:rPr lang="en-US" dirty="0" smtClean="0"/>
              <a:t> </a:t>
            </a:r>
            <a:r>
              <a:rPr lang="en-US" dirty="0" err="1" smtClean="0"/>
              <a:t>dekkingsgraad</a:t>
            </a:r>
            <a:r>
              <a:rPr lang="en-US" dirty="0" smtClean="0"/>
              <a:t> lager is </a:t>
            </a:r>
            <a:r>
              <a:rPr lang="en-US" dirty="0" err="1" smtClean="0"/>
              <a:t>dan</a:t>
            </a:r>
            <a:r>
              <a:rPr lang="en-US" dirty="0" smtClean="0"/>
              <a:t> 90%</a:t>
            </a:r>
          </a:p>
          <a:p>
            <a:pPr lvl="1"/>
            <a:r>
              <a:rPr lang="en-US" dirty="0" err="1" smtClean="0"/>
              <a:t>Opstellen</a:t>
            </a:r>
            <a:r>
              <a:rPr lang="en-US" dirty="0" smtClean="0"/>
              <a:t> </a:t>
            </a:r>
            <a:r>
              <a:rPr lang="en-US" dirty="0" err="1" smtClean="0"/>
              <a:t>jaarlijks</a:t>
            </a:r>
            <a:r>
              <a:rPr lang="en-US" dirty="0" smtClean="0"/>
              <a:t> </a:t>
            </a:r>
            <a:r>
              <a:rPr lang="en-US" dirty="0" err="1" smtClean="0"/>
              <a:t>overbruggingsplan</a:t>
            </a:r>
            <a:r>
              <a:rPr lang="en-US" dirty="0" smtClean="0"/>
              <a:t> (met </a:t>
            </a:r>
            <a:r>
              <a:rPr lang="en-US" dirty="0" err="1" smtClean="0"/>
              <a:t>herstelplan</a:t>
            </a:r>
            <a:r>
              <a:rPr lang="en-US" dirty="0" smtClean="0"/>
              <a:t> </a:t>
            </a:r>
            <a:r>
              <a:rPr lang="en-US" dirty="0" err="1" smtClean="0"/>
              <a:t>naar</a:t>
            </a:r>
            <a:r>
              <a:rPr lang="en-US" dirty="0" smtClean="0"/>
              <a:t> </a:t>
            </a:r>
            <a:r>
              <a:rPr lang="en-US" dirty="0" err="1" smtClean="0"/>
              <a:t>richtdekkingsgraad</a:t>
            </a:r>
            <a:r>
              <a:rPr lang="en-US" dirty="0" smtClean="0"/>
              <a:t>)</a:t>
            </a:r>
          </a:p>
          <a:p>
            <a:pPr lvl="1"/>
            <a:r>
              <a:rPr lang="en-US" dirty="0" err="1" smtClean="0"/>
              <a:t>Onderbouwing</a:t>
            </a:r>
            <a:r>
              <a:rPr lang="en-US" dirty="0" smtClean="0"/>
              <a:t> </a:t>
            </a:r>
            <a:r>
              <a:rPr lang="en-US" dirty="0" err="1" smtClean="0"/>
              <a:t>evenwichtigheid</a:t>
            </a:r>
            <a:endParaRPr lang="en-US" dirty="0" smtClean="0"/>
          </a:p>
          <a:p>
            <a:r>
              <a:rPr lang="en-US" dirty="0" err="1" smtClean="0"/>
              <a:t>Voorkomen</a:t>
            </a:r>
            <a:r>
              <a:rPr lang="en-US" dirty="0" smtClean="0"/>
              <a:t> van scenario </a:t>
            </a:r>
            <a:r>
              <a:rPr lang="en-US" dirty="0" err="1" smtClean="0"/>
              <a:t>waarbij</a:t>
            </a:r>
            <a:r>
              <a:rPr lang="en-US" dirty="0" smtClean="0"/>
              <a:t> </a:t>
            </a:r>
            <a:r>
              <a:rPr lang="en-US" dirty="0" err="1" smtClean="0"/>
              <a:t>richtdekkingsgraad</a:t>
            </a:r>
            <a:r>
              <a:rPr lang="en-US" dirty="0" smtClean="0"/>
              <a:t> </a:t>
            </a:r>
            <a:r>
              <a:rPr lang="en-US" dirty="0" err="1" smtClean="0"/>
              <a:t>niet</a:t>
            </a:r>
            <a:r>
              <a:rPr lang="en-US" dirty="0" smtClean="0"/>
              <a:t> </a:t>
            </a:r>
            <a:r>
              <a:rPr lang="en-US" dirty="0" err="1" smtClean="0"/>
              <a:t>gehaald</a:t>
            </a:r>
            <a:r>
              <a:rPr lang="en-US" dirty="0" smtClean="0"/>
              <a:t> </a:t>
            </a:r>
            <a:r>
              <a:rPr lang="en-US" dirty="0" err="1" smtClean="0"/>
              <a:t>wordt</a:t>
            </a:r>
            <a:r>
              <a:rPr lang="en-US" dirty="0" smtClean="0"/>
              <a:t>, </a:t>
            </a:r>
            <a:r>
              <a:rPr lang="en-US" dirty="0" err="1" smtClean="0"/>
              <a:t>eventueel</a:t>
            </a:r>
            <a:r>
              <a:rPr lang="en-US" dirty="0" smtClean="0"/>
              <a:t> </a:t>
            </a:r>
            <a:r>
              <a:rPr lang="en-US" dirty="0" err="1" smtClean="0"/>
              <a:t>tijdelijk</a:t>
            </a:r>
            <a:r>
              <a:rPr lang="en-US" dirty="0" smtClean="0"/>
              <a:t> </a:t>
            </a:r>
            <a:r>
              <a:rPr lang="en-US" dirty="0" err="1" smtClean="0"/>
              <a:t>aanpassen</a:t>
            </a:r>
            <a:r>
              <a:rPr lang="en-US" dirty="0" smtClean="0"/>
              <a:t> van </a:t>
            </a:r>
            <a:r>
              <a:rPr lang="en-US" dirty="0" err="1" smtClean="0"/>
              <a:t>beleidskader</a:t>
            </a:r>
            <a:r>
              <a:rPr lang="en-US" dirty="0" smtClean="0"/>
              <a:t>?</a:t>
            </a:r>
          </a:p>
          <a:p>
            <a:r>
              <a:rPr lang="en-US" dirty="0" err="1"/>
              <a:t>Vraag</a:t>
            </a:r>
            <a:r>
              <a:rPr lang="en-US" dirty="0"/>
              <a:t>: </a:t>
            </a:r>
            <a:r>
              <a:rPr lang="en-US" dirty="0" err="1"/>
              <a:t>welke</a:t>
            </a:r>
            <a:r>
              <a:rPr lang="en-US" dirty="0"/>
              <a:t> </a:t>
            </a:r>
            <a:r>
              <a:rPr lang="en-US" dirty="0" err="1"/>
              <a:t>ruimte</a:t>
            </a:r>
            <a:r>
              <a:rPr lang="en-US" dirty="0"/>
              <a:t> </a:t>
            </a:r>
            <a:r>
              <a:rPr lang="en-US" dirty="0" err="1"/>
              <a:t>en</a:t>
            </a:r>
            <a:r>
              <a:rPr lang="en-US" dirty="0"/>
              <a:t> </a:t>
            </a:r>
            <a:r>
              <a:rPr lang="en-US" dirty="0" err="1"/>
              <a:t>beperkingen</a:t>
            </a:r>
            <a:r>
              <a:rPr lang="en-US" dirty="0"/>
              <a:t> </a:t>
            </a:r>
            <a:r>
              <a:rPr lang="en-US" dirty="0" err="1"/>
              <a:t>kennen</a:t>
            </a:r>
            <a:r>
              <a:rPr lang="en-US" dirty="0"/>
              <a:t> </a:t>
            </a:r>
            <a:r>
              <a:rPr lang="en-US" dirty="0" err="1"/>
              <a:t>deze</a:t>
            </a:r>
            <a:r>
              <a:rPr lang="en-US" dirty="0"/>
              <a:t> </a:t>
            </a:r>
            <a:r>
              <a:rPr lang="en-US" dirty="0" err="1"/>
              <a:t>beleidsopties</a:t>
            </a:r>
            <a:r>
              <a:rPr lang="en-US" dirty="0"/>
              <a:t>?</a:t>
            </a:r>
          </a:p>
          <a:p>
            <a:endParaRPr lang="en-US" dirty="0"/>
          </a:p>
          <a:p>
            <a:pPr lvl="1"/>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dirty="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4" name="Tijdelijke aanduiding voor dianummer 3"/>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34</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en-US" dirty="0" err="1" smtClean="0"/>
              <a:t>Beleidsopties</a:t>
            </a:r>
            <a:r>
              <a:rPr lang="en-US" dirty="0" smtClean="0"/>
              <a:t> die </a:t>
            </a:r>
            <a:r>
              <a:rPr lang="en-US" dirty="0" err="1" smtClean="0"/>
              <a:t>voorsorteren</a:t>
            </a:r>
            <a:r>
              <a:rPr lang="en-US" dirty="0" smtClean="0"/>
              <a:t> op </a:t>
            </a:r>
            <a:r>
              <a:rPr lang="en-US" dirty="0" err="1" smtClean="0"/>
              <a:t>invaren</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40867179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Solidariteitsreserve (1)</a:t>
            </a:r>
          </a:p>
        </p:txBody>
      </p:sp>
      <p:sp>
        <p:nvSpPr>
          <p:cNvPr id="2" name="Tijdelijke aanduiding voor inhoud 1"/>
          <p:cNvSpPr>
            <a:spLocks noGrp="1"/>
          </p:cNvSpPr>
          <p:nvPr>
            <p:ph idx="1"/>
          </p:nvPr>
        </p:nvSpPr>
        <p:spPr>
          <a:xfrm>
            <a:off x="2423592" y="2060848"/>
            <a:ext cx="8141528" cy="4248472"/>
          </a:xfrm>
        </p:spPr>
        <p:txBody>
          <a:bodyPr>
            <a:normAutofit/>
          </a:bodyPr>
          <a:lstStyle/>
          <a:p>
            <a:pPr indent="-180000">
              <a:buFont typeface="Wingdings" panose="05000000000000000000" pitchFamily="2" charset="2"/>
              <a:buChar char="§"/>
            </a:pPr>
            <a:r>
              <a:rPr lang="nl-NL" sz="1800" dirty="0"/>
              <a:t> Verplicht in solidair contract </a:t>
            </a:r>
          </a:p>
          <a:p>
            <a:pPr indent="-180000">
              <a:buFont typeface="Wingdings" panose="05000000000000000000" pitchFamily="2" charset="2"/>
              <a:buChar char="§"/>
            </a:pPr>
            <a:r>
              <a:rPr lang="nl-NL" sz="1800" dirty="0"/>
              <a:t> Flexibel contract: optionele risicodelingsreserve voor alle pensioenuitvoerders</a:t>
            </a:r>
          </a:p>
          <a:p>
            <a:pPr indent="-180000">
              <a:buFont typeface="Wingdings" panose="05000000000000000000" pitchFamily="2" charset="2"/>
              <a:buChar char="§"/>
            </a:pPr>
            <a:r>
              <a:rPr lang="nl-NL" sz="1800" dirty="0"/>
              <a:t> Onderdeel van het vermogen:</a:t>
            </a:r>
          </a:p>
          <a:p>
            <a:pPr marL="489798" lvl="1" indent="-285750">
              <a:buFont typeface="Courier New" panose="02070309020205020404" pitchFamily="49" charset="0"/>
              <a:buChar char="o"/>
            </a:pPr>
            <a:r>
              <a:rPr lang="nl-NL" dirty="0" smtClean="0"/>
              <a:t>Vul- en uitdelingsregels</a:t>
            </a:r>
          </a:p>
          <a:p>
            <a:pPr marL="489798" lvl="1" indent="-285750">
              <a:buFont typeface="Courier New" panose="02070309020205020404" pitchFamily="49" charset="0"/>
              <a:buChar char="o"/>
            </a:pPr>
            <a:r>
              <a:rPr lang="nl-NL" dirty="0" smtClean="0"/>
              <a:t>Toedelingsregels rendement ook van toepassing</a:t>
            </a:r>
          </a:p>
          <a:p>
            <a:pPr indent="-180000">
              <a:buFont typeface="Wingdings" panose="05000000000000000000" pitchFamily="2" charset="2"/>
              <a:buChar char="§"/>
            </a:pPr>
            <a:r>
              <a:rPr lang="nl-NL" sz="1800" dirty="0"/>
              <a:t> Definitie solidariteitsreserve: collectieve vermogensreserve waarmee financiële </a:t>
            </a:r>
            <a:br>
              <a:rPr lang="nl-NL" sz="1800" dirty="0"/>
            </a:br>
            <a:r>
              <a:rPr lang="nl-NL" sz="1800" dirty="0"/>
              <a:t>   mee- en tegenvallers met toekomstige opbouw kunnen worden gedeeld</a:t>
            </a:r>
          </a:p>
          <a:p>
            <a:pPr indent="-180000">
              <a:buFont typeface="Wingdings" panose="05000000000000000000" pitchFamily="2" charset="2"/>
              <a:buChar char="§"/>
            </a:pPr>
            <a:r>
              <a:rPr lang="nl-NL" sz="1800" dirty="0"/>
              <a:t> Vulling uit premie en/of overrendement en aanwending vermogen </a:t>
            </a:r>
            <a:br>
              <a:rPr lang="nl-NL" sz="1800" dirty="0"/>
            </a:br>
            <a:r>
              <a:rPr lang="nl-NL" sz="1800" dirty="0"/>
              <a:t>   pensioenfonds bij invaren</a:t>
            </a:r>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35</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195718869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Solidariteitsreserve (2)</a:t>
            </a:r>
          </a:p>
        </p:txBody>
      </p:sp>
      <p:sp>
        <p:nvSpPr>
          <p:cNvPr id="2" name="Tijdelijke aanduiding voor inhoud 1"/>
          <p:cNvSpPr>
            <a:spLocks noGrp="1"/>
          </p:cNvSpPr>
          <p:nvPr>
            <p:ph idx="1"/>
          </p:nvPr>
        </p:nvSpPr>
        <p:spPr>
          <a:xfrm>
            <a:off x="2423592" y="2060848"/>
            <a:ext cx="8141528" cy="4248472"/>
          </a:xfrm>
        </p:spPr>
        <p:txBody>
          <a:bodyPr>
            <a:normAutofit/>
          </a:bodyPr>
          <a:lstStyle/>
          <a:p>
            <a:pPr indent="-180000">
              <a:buFont typeface="Wingdings" panose="05000000000000000000" pitchFamily="2" charset="2"/>
              <a:buChar char="§"/>
            </a:pPr>
            <a:r>
              <a:rPr lang="nl-NL" sz="1800" dirty="0"/>
              <a:t> Uitdeelregels: </a:t>
            </a:r>
          </a:p>
          <a:p>
            <a:pPr marL="489798" lvl="1" indent="-285750">
              <a:buFont typeface="Courier New" panose="02070309020205020404" pitchFamily="49" charset="0"/>
              <a:buChar char="o"/>
            </a:pPr>
            <a:r>
              <a:rPr lang="nl-NL" dirty="0" smtClean="0"/>
              <a:t>Vooraf vastgesteld door uitvoerder</a:t>
            </a:r>
          </a:p>
          <a:p>
            <a:pPr marL="489798" lvl="1" indent="-285750">
              <a:buFont typeface="Courier New" panose="02070309020205020404" pitchFamily="49" charset="0"/>
              <a:buChar char="o"/>
            </a:pPr>
            <a:r>
              <a:rPr lang="nl-NL" dirty="0" smtClean="0"/>
              <a:t>Regels evenwichtig, transparant, onderling consistent, voor langere tijd</a:t>
            </a:r>
          </a:p>
          <a:p>
            <a:pPr marL="489798" lvl="1" indent="-285750">
              <a:buFont typeface="Courier New" panose="02070309020205020404" pitchFamily="49" charset="0"/>
              <a:buChar char="o"/>
            </a:pPr>
            <a:r>
              <a:rPr lang="nl-NL" dirty="0" smtClean="0"/>
              <a:t>Nadere regels volgen in </a:t>
            </a:r>
            <a:r>
              <a:rPr lang="nl-NL" dirty="0" err="1" smtClean="0"/>
              <a:t>AmvB</a:t>
            </a:r>
            <a:endParaRPr lang="nl-NL" dirty="0" smtClean="0"/>
          </a:p>
          <a:p>
            <a:pPr indent="-180000">
              <a:buFont typeface="Wingdings" panose="05000000000000000000" pitchFamily="2" charset="2"/>
              <a:buChar char="§"/>
            </a:pPr>
            <a:r>
              <a:rPr lang="nl-NL" sz="1800" dirty="0"/>
              <a:t> Risico’s:</a:t>
            </a:r>
          </a:p>
          <a:p>
            <a:pPr marL="489798" lvl="1" indent="-285750">
              <a:buFont typeface="Courier New" panose="02070309020205020404" pitchFamily="49" charset="0"/>
              <a:buChar char="o"/>
            </a:pPr>
            <a:r>
              <a:rPr lang="nl-NL" dirty="0" smtClean="0"/>
              <a:t>Beleggingsresultaat (demping)</a:t>
            </a:r>
          </a:p>
          <a:p>
            <a:pPr marL="489798" lvl="1" indent="-285750">
              <a:buFont typeface="Courier New" panose="02070309020205020404" pitchFamily="49" charset="0"/>
              <a:buChar char="o"/>
            </a:pPr>
            <a:r>
              <a:rPr lang="nl-NL" dirty="0" smtClean="0"/>
              <a:t>Micro en macro </a:t>
            </a:r>
            <a:r>
              <a:rPr lang="nl-NL" dirty="0" err="1" smtClean="0"/>
              <a:t>langlevenrisico</a:t>
            </a:r>
            <a:r>
              <a:rPr lang="nl-NL" dirty="0" smtClean="0"/>
              <a:t> delen met actieven</a:t>
            </a:r>
          </a:p>
          <a:p>
            <a:pPr marL="489798" lvl="1" indent="-285750">
              <a:buFont typeface="Courier New" panose="02070309020205020404" pitchFamily="49" charset="0"/>
              <a:buChar char="o"/>
            </a:pPr>
            <a:r>
              <a:rPr lang="nl-NL" dirty="0" smtClean="0"/>
              <a:t>Intergenerationele risicodeling</a:t>
            </a:r>
          </a:p>
          <a:p>
            <a:pPr marL="489798" lvl="1" indent="-285750">
              <a:buFont typeface="Courier New" panose="02070309020205020404" pitchFamily="49" charset="0"/>
              <a:buChar char="o"/>
            </a:pPr>
            <a:r>
              <a:rPr lang="nl-NL" dirty="0" smtClean="0"/>
              <a:t>Inflatierisico</a:t>
            </a:r>
          </a:p>
          <a:p>
            <a:pPr marL="489798" lvl="1" indent="-285750">
              <a:buFont typeface="Courier New" panose="02070309020205020404" pitchFamily="49" charset="0"/>
              <a:buChar char="o"/>
            </a:pPr>
            <a:r>
              <a:rPr lang="nl-NL" dirty="0" smtClean="0"/>
              <a:t>Niet voor: deling operationele kosten</a:t>
            </a:r>
          </a:p>
          <a:p>
            <a:pPr marL="201168" lvl="1"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36</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233888895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Solidariteitsreserve (3)</a:t>
            </a:r>
          </a:p>
        </p:txBody>
      </p:sp>
      <p:sp>
        <p:nvSpPr>
          <p:cNvPr id="2" name="Tijdelijke aanduiding voor inhoud 1"/>
          <p:cNvSpPr>
            <a:spLocks noGrp="1"/>
          </p:cNvSpPr>
          <p:nvPr>
            <p:ph idx="1"/>
          </p:nvPr>
        </p:nvSpPr>
        <p:spPr>
          <a:xfrm>
            <a:off x="2423592" y="2060848"/>
            <a:ext cx="8141528" cy="4248472"/>
          </a:xfrm>
        </p:spPr>
        <p:txBody>
          <a:bodyPr>
            <a:normAutofit/>
          </a:bodyPr>
          <a:lstStyle/>
          <a:p>
            <a:pPr indent="-180000">
              <a:buFont typeface="Wingdings" panose="05000000000000000000" pitchFamily="2" charset="2"/>
              <a:buChar char="§"/>
            </a:pPr>
            <a:r>
              <a:rPr lang="nl-NL" sz="1800" dirty="0"/>
              <a:t> </a:t>
            </a:r>
            <a:r>
              <a:rPr lang="nl-NL" dirty="0" smtClean="0"/>
              <a:t>De reserve kan worden ingezet voor het aanvullen van een tegenvallend </a:t>
            </a:r>
            <a:br>
              <a:rPr lang="nl-NL" dirty="0" smtClean="0"/>
            </a:br>
            <a:r>
              <a:rPr lang="nl-NL" dirty="0" smtClean="0"/>
              <a:t>   pensioen op pensioendatum, dus ook om korting te voorkomen </a:t>
            </a:r>
          </a:p>
          <a:p>
            <a:pPr indent="-180000">
              <a:buFont typeface="Wingdings" panose="05000000000000000000" pitchFamily="2" charset="2"/>
              <a:buChar char="§"/>
            </a:pPr>
            <a:r>
              <a:rPr lang="nl-NL" sz="1800" dirty="0"/>
              <a:t> </a:t>
            </a:r>
            <a:r>
              <a:rPr lang="nl-NL" dirty="0" smtClean="0"/>
              <a:t>Conclusie: ruime aanwendingsmogelijkheden, </a:t>
            </a:r>
            <a:br>
              <a:rPr lang="nl-NL" dirty="0" smtClean="0"/>
            </a:br>
            <a:r>
              <a:rPr lang="nl-NL" dirty="0" smtClean="0"/>
              <a:t>   maar wel evenwichtigheidstoets. </a:t>
            </a:r>
            <a:br>
              <a:rPr lang="nl-NL" dirty="0" smtClean="0"/>
            </a:br>
            <a:r>
              <a:rPr lang="nl-NL" dirty="0" smtClean="0"/>
              <a:t>   Herverdeling toegestaan (aanwending specifieke groepen), </a:t>
            </a:r>
            <a:br>
              <a:rPr lang="nl-NL" dirty="0" smtClean="0"/>
            </a:br>
            <a:r>
              <a:rPr lang="nl-NL" dirty="0" smtClean="0"/>
              <a:t>   mits evenwichtig en expliciet gemotiveerd </a:t>
            </a:r>
          </a:p>
          <a:p>
            <a:pPr indent="-180000">
              <a:buFont typeface="Wingdings" panose="05000000000000000000" pitchFamily="2" charset="2"/>
              <a:buChar char="§"/>
            </a:pPr>
            <a:r>
              <a:rPr lang="nl-NL" dirty="0" smtClean="0"/>
              <a:t> Solidair, maar toch evenwichtig: kan dat?</a:t>
            </a:r>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37</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18352458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Transitie en beleid (1)</a:t>
            </a:r>
          </a:p>
        </p:txBody>
      </p:sp>
      <p:sp>
        <p:nvSpPr>
          <p:cNvPr id="2" name="Tijdelijke aanduiding voor inhoud 1"/>
          <p:cNvSpPr>
            <a:spLocks noGrp="1"/>
          </p:cNvSpPr>
          <p:nvPr>
            <p:ph idx="1"/>
          </p:nvPr>
        </p:nvSpPr>
        <p:spPr>
          <a:xfrm>
            <a:off x="2423592" y="2060848"/>
            <a:ext cx="8141528" cy="4464496"/>
          </a:xfrm>
        </p:spPr>
        <p:txBody>
          <a:bodyPr>
            <a:normAutofit fontScale="92500" lnSpcReduction="10000"/>
          </a:bodyPr>
          <a:lstStyle/>
          <a:p>
            <a:pPr indent="-180000">
              <a:buFont typeface="Wingdings" panose="05000000000000000000" pitchFamily="2" charset="2"/>
              <a:buChar char="§"/>
            </a:pPr>
            <a:r>
              <a:rPr lang="nl-NL" sz="2600" dirty="0"/>
              <a:t> </a:t>
            </a:r>
            <a:r>
              <a:rPr lang="nl-NL" sz="1900" dirty="0"/>
              <a:t>Beleidskaders pensioenfonds in transitie naar nieuw contract:</a:t>
            </a:r>
          </a:p>
          <a:p>
            <a:pPr marL="489798" lvl="1" indent="-285750">
              <a:buFont typeface="Courier New" panose="02070309020205020404" pitchFamily="49" charset="0"/>
              <a:buChar char="o"/>
            </a:pPr>
            <a:r>
              <a:rPr lang="nl-NL" sz="1900" dirty="0"/>
              <a:t>Hoofdregel: huidige beleidskaders blijven van toepassing tot transitie</a:t>
            </a:r>
          </a:p>
          <a:p>
            <a:pPr marL="204048" lvl="1" indent="0">
              <a:buNone/>
            </a:pPr>
            <a:r>
              <a:rPr lang="nl-NL" sz="1900" dirty="0"/>
              <a:t>     (art. 220i PW), incl. risicomanagement (art. 33 en 143 PW)</a:t>
            </a:r>
          </a:p>
          <a:p>
            <a:pPr marL="489798" lvl="1" indent="-285750">
              <a:buFont typeface="Courier New" panose="02070309020205020404" pitchFamily="49" charset="0"/>
              <a:buChar char="o"/>
            </a:pPr>
            <a:r>
              <a:rPr lang="nl-NL" sz="1900" dirty="0"/>
              <a:t>Specifieke regels transitiekader  </a:t>
            </a:r>
          </a:p>
          <a:p>
            <a:pPr indent="-180000">
              <a:buFont typeface="Wingdings" panose="05000000000000000000" pitchFamily="2" charset="2"/>
              <a:buChar char="§"/>
            </a:pPr>
            <a:r>
              <a:rPr lang="nl-NL" sz="1900" dirty="0"/>
              <a:t> Transitieplan: effecten van wijziging pensioenovereenkomst </a:t>
            </a:r>
            <a:br>
              <a:rPr lang="nl-NL" sz="1900" dirty="0"/>
            </a:br>
            <a:r>
              <a:rPr lang="nl-NL" sz="1900" dirty="0"/>
              <a:t>   (150d (2)(c) PW)</a:t>
            </a:r>
          </a:p>
          <a:p>
            <a:pPr indent="-180000">
              <a:lnSpc>
                <a:spcPct val="120000"/>
              </a:lnSpc>
              <a:buFont typeface="Wingdings" panose="05000000000000000000" pitchFamily="2" charset="2"/>
              <a:buChar char="§"/>
            </a:pPr>
            <a:r>
              <a:rPr lang="nl-NL" sz="1900" dirty="0"/>
              <a:t> Implementatieplan: welke voorbereidingen worden getroffen voor de </a:t>
            </a:r>
            <a:br>
              <a:rPr lang="nl-NL" sz="1900" dirty="0"/>
            </a:br>
            <a:r>
              <a:rPr lang="nl-NL" sz="1900" dirty="0"/>
              <a:t>   uitvoering van de gewijzigde pensioenovereenkomst, risico’s en </a:t>
            </a:r>
            <a:br>
              <a:rPr lang="nl-NL" sz="1900" dirty="0"/>
            </a:br>
            <a:r>
              <a:rPr lang="nl-NL" sz="1900" dirty="0"/>
              <a:t>   risicobeheersmaatregelen (150i (2) PW)</a:t>
            </a:r>
          </a:p>
          <a:p>
            <a:pPr indent="-180000">
              <a:lnSpc>
                <a:spcPct val="120000"/>
              </a:lnSpc>
              <a:buFont typeface="Wingdings" panose="05000000000000000000" pitchFamily="2" charset="2"/>
              <a:buChar char="§"/>
            </a:pPr>
            <a:endParaRPr lang="nl-NL" dirty="0" smtClean="0"/>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38</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22025190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Transitie en beleid (2) </a:t>
            </a:r>
          </a:p>
        </p:txBody>
      </p:sp>
      <p:sp>
        <p:nvSpPr>
          <p:cNvPr id="2" name="Tijdelijke aanduiding voor inhoud 1"/>
          <p:cNvSpPr>
            <a:spLocks noGrp="1"/>
          </p:cNvSpPr>
          <p:nvPr>
            <p:ph idx="1"/>
          </p:nvPr>
        </p:nvSpPr>
        <p:spPr>
          <a:xfrm>
            <a:off x="2423592" y="2060848"/>
            <a:ext cx="8141528" cy="4464496"/>
          </a:xfrm>
        </p:spPr>
        <p:txBody>
          <a:bodyPr>
            <a:normAutofit/>
          </a:bodyPr>
          <a:lstStyle/>
          <a:p>
            <a:pPr indent="-180000">
              <a:lnSpc>
                <a:spcPct val="100000"/>
              </a:lnSpc>
              <a:buFont typeface="Wingdings" panose="05000000000000000000" pitchFamily="2" charset="2"/>
              <a:buChar char="§"/>
            </a:pPr>
            <a:r>
              <a:rPr lang="nl-NL" sz="1800" dirty="0"/>
              <a:t> Art. 150i (2)(h): de effecten van het toepassen van het FTK tijdens de transitie</a:t>
            </a:r>
            <a:br>
              <a:rPr lang="nl-NL" sz="1800" dirty="0"/>
            </a:br>
            <a:r>
              <a:rPr lang="nl-NL" sz="1800" dirty="0"/>
              <a:t>   (o.a. in verband met wijziging risicoprofiel – persconferentie 30.03.2022)</a:t>
            </a:r>
          </a:p>
          <a:p>
            <a:pPr>
              <a:lnSpc>
                <a:spcPct val="100000"/>
              </a:lnSpc>
              <a:buFont typeface="Wingdings" panose="05000000000000000000" pitchFamily="2" charset="2"/>
              <a:buChar char="§"/>
            </a:pPr>
            <a:r>
              <a:rPr lang="nl-NL" sz="1800" dirty="0"/>
              <a:t>  Voor zover de procedureregels van transitiekader beperkend zouden blijken, is </a:t>
            </a:r>
            <a:br>
              <a:rPr lang="nl-NL" sz="1800" dirty="0"/>
            </a:br>
            <a:r>
              <a:rPr lang="nl-NL" sz="1800" dirty="0"/>
              <a:t>   een evt. beleidswijziging (wijziging beleggingsbeleid, protectie dekkingsgraad) </a:t>
            </a:r>
            <a:br>
              <a:rPr lang="nl-NL" sz="1800" dirty="0"/>
            </a:br>
            <a:r>
              <a:rPr lang="nl-NL" sz="1800" dirty="0"/>
              <a:t>   in de transitiefase te baseren op de algemene beleidskaders PW, die ook blijven</a:t>
            </a:r>
            <a:br>
              <a:rPr lang="nl-NL" sz="1800" dirty="0"/>
            </a:br>
            <a:r>
              <a:rPr lang="nl-NL" sz="1800" dirty="0"/>
              <a:t>   gelden</a:t>
            </a:r>
          </a:p>
          <a:p>
            <a:pPr marL="204048" lvl="1" indent="0">
              <a:buNone/>
            </a:pPr>
            <a:endParaRPr lang="nl-NL" dirty="0" smtClean="0"/>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39</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421882938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B29D81-824D-4180-ADD7-3A1932B37DE5}"/>
              </a:ext>
            </a:extLst>
          </p:cNvPr>
          <p:cNvSpPr>
            <a:spLocks noGrp="1"/>
          </p:cNvSpPr>
          <p:nvPr>
            <p:ph type="sldNum" sz="quarter" idx="12"/>
          </p:nvPr>
        </p:nvSpPr>
        <p:spPr/>
        <p:txBody>
          <a:bodyPr/>
          <a:lstStyle/>
          <a:p>
            <a:fld id="{3DB5CD4A-C15F-49D5-8EDA-2339ABBB057D}" type="slidenum">
              <a:rPr lang="nl-NL" smtClean="0"/>
              <a:pPr/>
              <a:t>4</a:t>
            </a:fld>
            <a:endParaRPr lang="nl-NL" dirty="0"/>
          </a:p>
        </p:txBody>
      </p:sp>
      <p:sp>
        <p:nvSpPr>
          <p:cNvPr id="9" name="Titel 8">
            <a:extLst>
              <a:ext uri="{FF2B5EF4-FFF2-40B4-BE49-F238E27FC236}">
                <a16:creationId xmlns:a16="http://schemas.microsoft.com/office/drawing/2014/main" id="{EDE5623E-DE20-439B-810E-B9553C4C119E}"/>
              </a:ext>
            </a:extLst>
          </p:cNvPr>
          <p:cNvSpPr>
            <a:spLocks noGrp="1"/>
          </p:cNvSpPr>
          <p:nvPr>
            <p:ph type="ctrTitle"/>
          </p:nvPr>
        </p:nvSpPr>
        <p:spPr>
          <a:xfrm>
            <a:off x="700892" y="4909548"/>
            <a:ext cx="11043776" cy="907043"/>
          </a:xfrm>
        </p:spPr>
        <p:txBody>
          <a:bodyPr/>
          <a:lstStyle/>
          <a:p>
            <a:r>
              <a:rPr lang="nl-NL" dirty="0" smtClean="0"/>
              <a:t>INLEIDING</a:t>
            </a:r>
            <a:br>
              <a:rPr lang="nl-NL" dirty="0" smtClean="0"/>
            </a:br>
            <a:endParaRPr lang="nl-NL" dirty="0"/>
          </a:p>
        </p:txBody>
      </p:sp>
      <p:pic>
        <p:nvPicPr>
          <p:cNvPr id="4" name="Tijdelijke aanduiding voor afbeelding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352" b="25352"/>
          <a:stretch>
            <a:fillRect/>
          </a:stretch>
        </p:blipFill>
        <p:spPr/>
      </p:pic>
    </p:spTree>
    <p:extLst>
      <p:ext uri="{BB962C8B-B14F-4D97-AF65-F5344CB8AC3E}">
        <p14:creationId xmlns:p14="http://schemas.microsoft.com/office/powerpoint/2010/main" val="128625276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Beschermingsrendement: delen of verzekeren? (1)</a:t>
            </a:r>
          </a:p>
        </p:txBody>
      </p:sp>
      <p:sp>
        <p:nvSpPr>
          <p:cNvPr id="2" name="Tijdelijke aanduiding voor inhoud 1"/>
          <p:cNvSpPr>
            <a:spLocks noGrp="1"/>
          </p:cNvSpPr>
          <p:nvPr>
            <p:ph idx="1"/>
          </p:nvPr>
        </p:nvSpPr>
        <p:spPr>
          <a:xfrm>
            <a:off x="2423592" y="2060848"/>
            <a:ext cx="8141528" cy="4464496"/>
          </a:xfrm>
        </p:spPr>
        <p:txBody>
          <a:bodyPr>
            <a:normAutofit fontScale="92500" lnSpcReduction="20000"/>
          </a:bodyPr>
          <a:lstStyle/>
          <a:p>
            <a:pPr indent="-180000">
              <a:buFont typeface="Wingdings" panose="05000000000000000000" pitchFamily="2" charset="2"/>
              <a:buChar char="§"/>
            </a:pPr>
            <a:r>
              <a:rPr lang="nl-NL" sz="1800" dirty="0"/>
              <a:t> </a:t>
            </a:r>
            <a:r>
              <a:rPr lang="nl-NL" sz="1900" dirty="0"/>
              <a:t>Toedelingsregels resultaten collectieve beleggingsbeleid (10a (4)(5)(7) PW)</a:t>
            </a:r>
          </a:p>
          <a:p>
            <a:pPr indent="-180000">
              <a:buFont typeface="Wingdings" panose="05000000000000000000" pitchFamily="2" charset="2"/>
              <a:buChar char="§"/>
            </a:pPr>
            <a:r>
              <a:rPr lang="nl-NL" sz="1900" dirty="0"/>
              <a:t> Toedeling per leeftijdscohort: op basis van risicohouding cohort bepalen in </a:t>
            </a:r>
            <a:br>
              <a:rPr lang="nl-NL" sz="1900" dirty="0"/>
            </a:br>
            <a:r>
              <a:rPr lang="nl-NL" sz="1900" dirty="0"/>
              <a:t>   hoeverre bescherming tegen renterisico nodig is</a:t>
            </a:r>
          </a:p>
          <a:p>
            <a:pPr indent="-180000">
              <a:buFont typeface="Wingdings" panose="05000000000000000000" pitchFamily="2" charset="2"/>
              <a:buChar char="§"/>
            </a:pPr>
            <a:r>
              <a:rPr lang="nl-NL" sz="1900" dirty="0"/>
              <a:t> Beschermingsrendement voor renterisico (financiële resultaat)</a:t>
            </a:r>
          </a:p>
          <a:p>
            <a:pPr marL="489798" lvl="1" indent="-285750">
              <a:buFont typeface="Courier New" panose="02070309020205020404" pitchFamily="49" charset="0"/>
              <a:buChar char="o"/>
            </a:pPr>
            <a:r>
              <a:rPr lang="nl-NL" sz="1900" dirty="0"/>
              <a:t>Op basis van wijziging RTS; of</a:t>
            </a:r>
          </a:p>
          <a:p>
            <a:pPr marL="489798" lvl="1" indent="-285750">
              <a:buFont typeface="Courier New" panose="02070309020205020404" pitchFamily="49" charset="0"/>
              <a:buChar char="o"/>
            </a:pPr>
            <a:r>
              <a:rPr lang="nl-NL" sz="1900" dirty="0"/>
              <a:t>Op basis van rendement op daartoe bestemde beleggingen </a:t>
            </a:r>
          </a:p>
          <a:p>
            <a:pPr marL="204048" lvl="1" indent="0">
              <a:buNone/>
            </a:pPr>
            <a:r>
              <a:rPr lang="nl-NL" sz="1900" dirty="0"/>
              <a:t>     (beschermingsportefeuille)</a:t>
            </a:r>
          </a:p>
          <a:p>
            <a:pPr>
              <a:buFont typeface="Wingdings" panose="05000000000000000000" pitchFamily="2" charset="2"/>
              <a:buChar char="§"/>
            </a:pPr>
            <a:r>
              <a:rPr lang="nl-NL" sz="1900" dirty="0"/>
              <a:t>  Financiële mee- of tegenvallers micro- en macro levensverwachting </a:t>
            </a:r>
          </a:p>
          <a:p>
            <a:pPr marL="201168" lvl="1" indent="0">
              <a:buNone/>
            </a:pPr>
            <a:r>
              <a:rPr lang="nl-NL" sz="1900" dirty="0"/>
              <a:t>(biometrische resultaten)</a:t>
            </a:r>
          </a:p>
          <a:p>
            <a:pPr lvl="1">
              <a:buFont typeface="Courier New" panose="02070309020205020404" pitchFamily="49" charset="0"/>
              <a:buChar char="o"/>
            </a:pPr>
            <a:r>
              <a:rPr lang="nl-NL" sz="1900" dirty="0"/>
              <a:t>  Via beschermingsrendement, of</a:t>
            </a:r>
          </a:p>
          <a:p>
            <a:pPr lvl="1">
              <a:buFont typeface="Courier New" panose="02070309020205020404" pitchFamily="49" charset="0"/>
              <a:buChar char="o"/>
            </a:pPr>
            <a:r>
              <a:rPr lang="nl-NL" sz="1900" dirty="0"/>
              <a:t>  Via solidariteitsreserve </a:t>
            </a:r>
          </a:p>
          <a:p>
            <a:pPr marL="204048" lvl="1" indent="0">
              <a:buNone/>
            </a:pPr>
            <a:endParaRPr lang="nl-NL" dirty="0" smtClean="0"/>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40</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160231524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normAutofit/>
          </a:bodyPr>
          <a:lstStyle/>
          <a:p>
            <a:r>
              <a:rPr lang="nl-NL" sz="2800" dirty="0"/>
              <a:t>Beschermingsrendement: delen of verzekeren? (2)</a:t>
            </a:r>
          </a:p>
        </p:txBody>
      </p:sp>
      <p:sp>
        <p:nvSpPr>
          <p:cNvPr id="2" name="Tijdelijke aanduiding voor inhoud 1"/>
          <p:cNvSpPr>
            <a:spLocks noGrp="1"/>
          </p:cNvSpPr>
          <p:nvPr>
            <p:ph idx="1"/>
          </p:nvPr>
        </p:nvSpPr>
        <p:spPr>
          <a:xfrm>
            <a:off x="2423592" y="2060848"/>
            <a:ext cx="8141528" cy="4464496"/>
          </a:xfrm>
        </p:spPr>
        <p:txBody>
          <a:bodyPr>
            <a:normAutofit/>
          </a:bodyPr>
          <a:lstStyle/>
          <a:p>
            <a:pPr indent="-180000">
              <a:buFont typeface="Wingdings" panose="05000000000000000000" pitchFamily="2" charset="2"/>
              <a:buChar char="§"/>
            </a:pPr>
            <a:r>
              <a:rPr lang="nl-NL" sz="1800" dirty="0"/>
              <a:t> </a:t>
            </a:r>
            <a:r>
              <a:rPr lang="nl-NL" sz="1900" dirty="0"/>
              <a:t>Ex-ante herverdelingseffecten beleggingsrisico’s (financiële resultaat) </a:t>
            </a:r>
            <a:br>
              <a:rPr lang="nl-NL" sz="1900" dirty="0"/>
            </a:br>
            <a:r>
              <a:rPr lang="nl-NL" sz="1900" dirty="0"/>
              <a:t>   niet toegestaan</a:t>
            </a:r>
          </a:p>
          <a:p>
            <a:pPr indent="-180000">
              <a:buFont typeface="Wingdings" panose="05000000000000000000" pitchFamily="2" charset="2"/>
              <a:buChar char="§"/>
            </a:pPr>
            <a:r>
              <a:rPr lang="nl-NL" sz="1900" dirty="0"/>
              <a:t> Bij </a:t>
            </a:r>
            <a:r>
              <a:rPr lang="nl-NL" sz="1900" dirty="0" err="1"/>
              <a:t>AmvB</a:t>
            </a:r>
            <a:r>
              <a:rPr lang="nl-NL" sz="1900" dirty="0"/>
              <a:t> nadere regels</a:t>
            </a:r>
          </a:p>
          <a:p>
            <a:pPr indent="-180000">
              <a:buFont typeface="Wingdings" panose="05000000000000000000" pitchFamily="2" charset="2"/>
              <a:buChar char="§"/>
            </a:pPr>
            <a:r>
              <a:rPr lang="nl-NL" sz="1900" dirty="0"/>
              <a:t> Huidig regime: collectief delen van financiële e/o biometrische risico’s </a:t>
            </a:r>
            <a:br>
              <a:rPr lang="nl-NL" sz="1900" dirty="0"/>
            </a:br>
            <a:r>
              <a:rPr lang="nl-NL" sz="1900" dirty="0"/>
              <a:t>   variabele uitkeringen kan collectief gedeeld of verzekerd worden </a:t>
            </a:r>
          </a:p>
          <a:p>
            <a:pPr>
              <a:buFont typeface="Wingdings" panose="05000000000000000000" pitchFamily="2" charset="2"/>
              <a:buChar char="§"/>
            </a:pPr>
            <a:r>
              <a:rPr lang="nl-NL" sz="1900" dirty="0"/>
              <a:t>  Concept-</a:t>
            </a:r>
            <a:r>
              <a:rPr lang="nl-NL" sz="1900" dirty="0" err="1"/>
              <a:t>MvT</a:t>
            </a:r>
            <a:r>
              <a:rPr lang="nl-NL" sz="1900" dirty="0"/>
              <a:t> lijkt uit te gaan van verplichte risicodeling binnen het fonds</a:t>
            </a:r>
          </a:p>
          <a:p>
            <a:pPr>
              <a:buFont typeface="Wingdings" panose="05000000000000000000" pitchFamily="2" charset="2"/>
              <a:buChar char="§"/>
            </a:pPr>
            <a:r>
              <a:rPr lang="nl-NL" sz="1900" dirty="0"/>
              <a:t>  Anderzijds: in wettekst c.q. </a:t>
            </a:r>
            <a:r>
              <a:rPr lang="nl-NL" sz="1900" dirty="0" err="1"/>
              <a:t>AmvB</a:t>
            </a:r>
            <a:r>
              <a:rPr lang="nl-NL" sz="1900" dirty="0"/>
              <a:t> vooralsnog geen (expliciet) </a:t>
            </a:r>
            <a:br>
              <a:rPr lang="nl-NL" sz="1900" dirty="0"/>
            </a:br>
            <a:r>
              <a:rPr lang="nl-NL" sz="1900" dirty="0"/>
              <a:t>  (her)verzekeringsverbod</a:t>
            </a:r>
          </a:p>
          <a:p>
            <a:pPr marL="204048" lvl="1" indent="0">
              <a:buNone/>
            </a:pPr>
            <a:endParaRPr lang="nl-NL" dirty="0" smtClean="0"/>
          </a:p>
          <a:p>
            <a:pPr marL="0" indent="0">
              <a:buNone/>
            </a:pPr>
            <a:r>
              <a:rPr lang="nl-NL" dirty="0" smtClean="0"/>
              <a:t/>
            </a:r>
            <a:br>
              <a:rPr lang="nl-NL" dirty="0" smtClean="0"/>
            </a:br>
            <a:r>
              <a:rPr lang="nl-NL" dirty="0" smtClean="0"/>
              <a:t> </a:t>
            </a:r>
            <a:br>
              <a:rPr lang="nl-NL" dirty="0" smtClean="0"/>
            </a:br>
            <a:r>
              <a:rPr lang="nl-NL" dirty="0" smtClean="0"/>
              <a:t>   </a:t>
            </a:r>
          </a:p>
        </p:txBody>
      </p:sp>
      <p:sp>
        <p:nvSpPr>
          <p:cNvPr id="5" name="Tijdelijke aanduiding voor voettekst 4"/>
          <p:cNvSpPr>
            <a:spLocks noGrp="1"/>
          </p:cNvSpPr>
          <p:nvPr>
            <p:ph type="ftr" sz="quarter" idx="11"/>
          </p:nvPr>
        </p:nvSpPr>
        <p:spPr/>
        <p:txBody>
          <a:bodyPr/>
          <a:lstStyle/>
          <a:p>
            <a:pPr defTabSz="457200"/>
            <a:r>
              <a:rPr lang="nl-NL" sz="1200" dirty="0">
                <a:latin typeface="Calibri" panose="020F0502020204030204"/>
              </a:rPr>
              <a:t>© Gielink Pensioenrecht BV | 31-3-2022</a:t>
            </a:r>
          </a:p>
        </p:txBody>
      </p:sp>
      <p:sp>
        <p:nvSpPr>
          <p:cNvPr id="6" name="Tijdelijke aanduiding voor dianummer 5"/>
          <p:cNvSpPr>
            <a:spLocks noGrp="1"/>
          </p:cNvSpPr>
          <p:nvPr>
            <p:ph type="sldNum" sz="quarter" idx="12"/>
          </p:nvPr>
        </p:nvSpPr>
        <p:spPr/>
        <p:txBody>
          <a:bodyPr/>
          <a:lstStyle/>
          <a:p>
            <a:pPr defTabSz="457200"/>
            <a:fld id="{1E554E7E-9F1A-4168-8251-F60FE9396E1C}" type="slidenum">
              <a:rPr lang="nl-NL" sz="1400">
                <a:latin typeface="Calibri" panose="020F0502020204030204"/>
              </a:rPr>
              <a:pPr defTabSz="457200"/>
              <a:t>41</a:t>
            </a:fld>
            <a:endParaRPr lang="nl-NL" sz="1400" dirty="0">
              <a:latin typeface="Calibri" panose="020F0502020204030204"/>
            </a:endParaRPr>
          </a:p>
        </p:txBody>
      </p:sp>
      <p:pic>
        <p:nvPicPr>
          <p:cNvPr id="8" name="Afbeelding 7" descr="Gielink-v1"/>
          <p:cNvPicPr/>
          <p:nvPr/>
        </p:nvPicPr>
        <p:blipFill>
          <a:blip r:embed="rId2">
            <a:extLst>
              <a:ext uri="{28A0092B-C50C-407E-A947-70E740481C1C}">
                <a14:useLocalDpi xmlns:a14="http://schemas.microsoft.com/office/drawing/2010/main" val="0"/>
              </a:ext>
            </a:extLst>
          </a:blip>
          <a:srcRect/>
          <a:stretch>
            <a:fillRect/>
          </a:stretch>
        </p:blipFill>
        <p:spPr bwMode="auto">
          <a:xfrm>
            <a:off x="8832304" y="204992"/>
            <a:ext cx="1669233" cy="775737"/>
          </a:xfrm>
          <a:prstGeom prst="rect">
            <a:avLst/>
          </a:prstGeom>
          <a:noFill/>
          <a:ln>
            <a:noFill/>
          </a:ln>
        </p:spPr>
      </p:pic>
    </p:spTree>
    <p:extLst>
      <p:ext uri="{BB962C8B-B14F-4D97-AF65-F5344CB8AC3E}">
        <p14:creationId xmlns:p14="http://schemas.microsoft.com/office/powerpoint/2010/main" val="328291210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B29D81-824D-4180-ADD7-3A1932B37DE5}"/>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3DB5CD4A-C15F-49D5-8EDA-2339ABBB057D}"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42</a:t>
            </a:fld>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9" name="Titel 8">
            <a:extLst>
              <a:ext uri="{FF2B5EF4-FFF2-40B4-BE49-F238E27FC236}">
                <a16:creationId xmlns:a16="http://schemas.microsoft.com/office/drawing/2014/main" id="{EDE5623E-DE20-439B-810E-B9553C4C119E}"/>
              </a:ext>
            </a:extLst>
          </p:cNvPr>
          <p:cNvSpPr>
            <a:spLocks noGrp="1"/>
          </p:cNvSpPr>
          <p:nvPr>
            <p:ph type="ctrTitle"/>
          </p:nvPr>
        </p:nvSpPr>
        <p:spPr>
          <a:xfrm>
            <a:off x="700892" y="5363069"/>
            <a:ext cx="11043776" cy="453522"/>
          </a:xfrm>
        </p:spPr>
        <p:txBody>
          <a:bodyPr/>
          <a:lstStyle/>
          <a:p>
            <a:r>
              <a:rPr lang="en-US" dirty="0" smtClean="0"/>
              <a:t>ZEKERSTELLEN VAN PENSIOEN</a:t>
            </a:r>
            <a:endParaRPr lang="nl-NL" dirty="0"/>
          </a:p>
        </p:txBody>
      </p:sp>
      <p:pic>
        <p:nvPicPr>
          <p:cNvPr id="4" name="Tijdelijke aanduiding voor afbeelding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352" b="25352"/>
          <a:stretch>
            <a:fillRect/>
          </a:stretch>
        </p:blipFill>
        <p:spPr/>
      </p:pic>
    </p:spTree>
    <p:extLst>
      <p:ext uri="{BB962C8B-B14F-4D97-AF65-F5344CB8AC3E}">
        <p14:creationId xmlns:p14="http://schemas.microsoft.com/office/powerpoint/2010/main" val="3060018392"/>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jdelijke aanduiding voor voettekst 13">
            <a:extLst>
              <a:ext uri="{FF2B5EF4-FFF2-40B4-BE49-F238E27FC236}">
                <a16:creationId xmlns:a16="http://schemas.microsoft.com/office/drawing/2014/main" id="{CCA893A4-C6D4-4780-9DF0-C767186FAA4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142959">
                    <a:tint val="75000"/>
                  </a:srgbClr>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142959">
                  <a:tint val="75000"/>
                </a:srgbClr>
              </a:solidFill>
              <a:effectLst/>
              <a:uLnTx/>
              <a:uFillTx/>
              <a:latin typeface="Open Sans" panose="020B0606030504020204" pitchFamily="34" charset="0"/>
            </a:endParaRPr>
          </a:p>
        </p:txBody>
      </p:sp>
      <p:sp>
        <p:nvSpPr>
          <p:cNvPr id="15" name="Tijdelijke aanduiding voor dianummer 14">
            <a:extLst>
              <a:ext uri="{FF2B5EF4-FFF2-40B4-BE49-F238E27FC236}">
                <a16:creationId xmlns:a16="http://schemas.microsoft.com/office/drawing/2014/main" id="{60AC2748-7B80-4A79-8C93-423422FAE360}"/>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142959">
                    <a:tint val="75000"/>
                  </a:srgbClr>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3</a:t>
            </a:fld>
            <a:endParaRPr kumimoji="0" lang="nl-NL" sz="1000" b="0" i="0" u="none" strike="noStrike" kern="1200" cap="none" spc="0" normalizeH="0" baseline="0" noProof="0">
              <a:ln>
                <a:noFill/>
              </a:ln>
              <a:solidFill>
                <a:srgbClr val="142959">
                  <a:tint val="75000"/>
                </a:srgbClr>
              </a:solidFill>
              <a:effectLst/>
              <a:uLnTx/>
              <a:uFillTx/>
              <a:latin typeface="Open Sans" panose="020B0606030504020204" pitchFamily="34" charset="0"/>
            </a:endParaRPr>
          </a:p>
        </p:txBody>
      </p:sp>
      <p:sp>
        <p:nvSpPr>
          <p:cNvPr id="3" name="Tijdelijke aanduiding voor tekst 2">
            <a:extLst>
              <a:ext uri="{FF2B5EF4-FFF2-40B4-BE49-F238E27FC236}">
                <a16:creationId xmlns:a16="http://schemas.microsoft.com/office/drawing/2014/main" id="{BF992454-4316-48A5-85FB-9FA7DCA315C7}"/>
              </a:ext>
            </a:extLst>
          </p:cNvPr>
          <p:cNvSpPr>
            <a:spLocks noGrp="1"/>
          </p:cNvSpPr>
          <p:nvPr>
            <p:ph type="subTitle" idx="1"/>
          </p:nvPr>
        </p:nvSpPr>
        <p:spPr/>
        <p:txBody>
          <a:bodyPr>
            <a:normAutofit fontScale="85000" lnSpcReduction="20000"/>
          </a:bodyPr>
          <a:lstStyle/>
          <a:p>
            <a:pPr algn="ctr"/>
            <a:r>
              <a:rPr lang="nl-NL" sz="5400" dirty="0">
                <a:latin typeface="Tenorite" panose="00000500000000000000" pitchFamily="2" charset="0"/>
                <a:cs typeface="Aharoni" panose="02010803020104030203" pitchFamily="2" charset="-79"/>
              </a:rPr>
              <a:t>Wie durft te verdwalen ontdekt nieuwe wegen</a:t>
            </a:r>
          </a:p>
          <a:p>
            <a:pPr algn="ctr"/>
            <a:r>
              <a:rPr lang="nl-NL" sz="4000" dirty="0">
                <a:effectLst/>
                <a:latin typeface="Tenorite" panose="00000500000000000000" pitchFamily="2" charset="0"/>
                <a:cs typeface="Aharoni" panose="02010803020104030203" pitchFamily="2" charset="-79"/>
              </a:rPr>
              <a:t/>
            </a:r>
            <a:br>
              <a:rPr lang="nl-NL" sz="4000" dirty="0">
                <a:effectLst/>
                <a:latin typeface="Tenorite" panose="00000500000000000000" pitchFamily="2" charset="0"/>
                <a:cs typeface="Aharoni" panose="02010803020104030203" pitchFamily="2" charset="-79"/>
              </a:rPr>
            </a:br>
            <a:r>
              <a:rPr lang="nl-NL" sz="2200" b="0" i="1" dirty="0">
                <a:effectLst/>
                <a:latin typeface="Tenorite" panose="00000500000000000000" pitchFamily="2" charset="0"/>
                <a:cs typeface="Aharoni" panose="02010803020104030203" pitchFamily="2" charset="-79"/>
              </a:rPr>
              <a:t>Kan pensioen geheel of gedeeltelijk worden zeker gesteld?</a:t>
            </a:r>
            <a:endParaRPr lang="nl-NL" sz="2000" dirty="0">
              <a:latin typeface="Tenorite" panose="00000500000000000000" pitchFamily="2" charset="0"/>
            </a:endParaRPr>
          </a:p>
        </p:txBody>
      </p:sp>
      <p:sp>
        <p:nvSpPr>
          <p:cNvPr id="2" name="Tekstvak 1">
            <a:extLst>
              <a:ext uri="{FF2B5EF4-FFF2-40B4-BE49-F238E27FC236}">
                <a16:creationId xmlns:a16="http://schemas.microsoft.com/office/drawing/2014/main" id="{A581181E-B03C-4888-9624-75DE2D6FB680}"/>
              </a:ext>
            </a:extLst>
          </p:cNvPr>
          <p:cNvSpPr txBox="1"/>
          <p:nvPr/>
        </p:nvSpPr>
        <p:spPr>
          <a:xfrm>
            <a:off x="956603" y="5050302"/>
            <a:ext cx="5139397"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400" b="1" i="0" u="none" strike="noStrike" kern="1200" cap="none" spc="0" normalizeH="0" baseline="0" noProof="0" dirty="0">
                <a:ln>
                  <a:noFill/>
                </a:ln>
                <a:solidFill>
                  <a:srgbClr val="142959"/>
                </a:solidFill>
                <a:effectLst/>
                <a:uLnTx/>
                <a:uFillTx/>
                <a:latin typeface="Tenorite" panose="00000500000000000000" pitchFamily="2" charset="0"/>
                <a:ea typeface="+mn-ea"/>
                <a:cs typeface="+mn-cs"/>
              </a:rPr>
              <a:t>Gerard Pereboom</a:t>
            </a:r>
            <a:endParaRPr kumimoji="0" lang="nl-NL" sz="2400" b="1" i="0" u="none" strike="noStrike" kern="1200" cap="none" spc="0" normalizeH="0" baseline="0" noProof="0" dirty="0">
              <a:ln>
                <a:noFill/>
              </a:ln>
              <a:solidFill>
                <a:srgbClr val="142959"/>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0012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jdelijke aanduiding voor voettekst 29">
            <a:extLst>
              <a:ext uri="{FF2B5EF4-FFF2-40B4-BE49-F238E27FC236}">
                <a16:creationId xmlns:a16="http://schemas.microsoft.com/office/drawing/2014/main" id="{5619A027-2A03-4A28-90F5-80B0A1C9219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25224E"/>
              </a:solidFill>
              <a:effectLst/>
              <a:uLnTx/>
              <a:uFillTx/>
              <a:latin typeface="Open Sans" panose="020B0606030504020204" pitchFamily="34" charset="0"/>
            </a:endParaRPr>
          </a:p>
        </p:txBody>
      </p:sp>
      <p:sp>
        <p:nvSpPr>
          <p:cNvPr id="31" name="Tijdelijke aanduiding voor dianummer 30">
            <a:extLst>
              <a:ext uri="{FF2B5EF4-FFF2-40B4-BE49-F238E27FC236}">
                <a16:creationId xmlns:a16="http://schemas.microsoft.com/office/drawing/2014/main" id="{95494D67-91A8-45AF-9779-6F58288FCA1E}"/>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4</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2" name="Titel 1">
            <a:extLst>
              <a:ext uri="{FF2B5EF4-FFF2-40B4-BE49-F238E27FC236}">
                <a16:creationId xmlns:a16="http://schemas.microsoft.com/office/drawing/2014/main" id="{5063111A-817E-47F0-8DEC-D74A7D77A6A4}"/>
              </a:ext>
            </a:extLst>
          </p:cNvPr>
          <p:cNvSpPr>
            <a:spLocks noGrp="1"/>
          </p:cNvSpPr>
          <p:nvPr>
            <p:ph type="title"/>
          </p:nvPr>
        </p:nvSpPr>
        <p:spPr/>
        <p:txBody>
          <a:bodyPr>
            <a:normAutofit/>
          </a:bodyPr>
          <a:lstStyle/>
          <a:p>
            <a:r>
              <a:rPr lang="da-DK" sz="2200" dirty="0">
                <a:solidFill>
                  <a:srgbClr val="180D55"/>
                </a:solidFill>
              </a:rPr>
              <a:t>Waar komen we vandaan?</a:t>
            </a:r>
            <a:endParaRPr lang="nl-NL" sz="2200" dirty="0"/>
          </a:p>
        </p:txBody>
      </p:sp>
      <p:sp>
        <p:nvSpPr>
          <p:cNvPr id="3" name="Tijdelijke aanduiding voor inhoud 2">
            <a:extLst>
              <a:ext uri="{FF2B5EF4-FFF2-40B4-BE49-F238E27FC236}">
                <a16:creationId xmlns:a16="http://schemas.microsoft.com/office/drawing/2014/main" id="{392D3DD1-714B-49C9-AD26-4ABF492814AC}"/>
              </a:ext>
            </a:extLst>
          </p:cNvPr>
          <p:cNvSpPr>
            <a:spLocks noGrp="1"/>
          </p:cNvSpPr>
          <p:nvPr>
            <p:ph idx="1"/>
          </p:nvPr>
        </p:nvSpPr>
        <p:spPr/>
        <p:txBody>
          <a:bodyPr>
            <a:normAutofit/>
          </a:bodyPr>
          <a:lstStyle/>
          <a:p>
            <a:r>
              <a:rPr lang="nl-NL" dirty="0"/>
              <a:t>Een robuust pensioensysteem met 3 pijlers</a:t>
            </a:r>
          </a:p>
          <a:p>
            <a:r>
              <a:rPr lang="nl-NL" dirty="0"/>
              <a:t>Verbetering van de rechtspositie van deelnemers</a:t>
            </a:r>
          </a:p>
          <a:p>
            <a:r>
              <a:rPr lang="nl-NL" dirty="0"/>
              <a:t>Verkleining van de verschillen tussen vrouwelijke en mannelijke deelnemers</a:t>
            </a:r>
          </a:p>
          <a:p>
            <a:r>
              <a:rPr lang="nl-NL" dirty="0"/>
              <a:t>Pensioenbreuk beperkende maatregelen</a:t>
            </a:r>
          </a:p>
        </p:txBody>
      </p:sp>
    </p:spTree>
    <p:extLst>
      <p:ext uri="{BB962C8B-B14F-4D97-AF65-F5344CB8AC3E}">
        <p14:creationId xmlns:p14="http://schemas.microsoft.com/office/powerpoint/2010/main" val="11400075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jdelijke aanduiding voor voettekst 21">
            <a:extLst>
              <a:ext uri="{FF2B5EF4-FFF2-40B4-BE49-F238E27FC236}">
                <a16:creationId xmlns:a16="http://schemas.microsoft.com/office/drawing/2014/main" id="{AF6F3F9B-6237-4574-83A9-7193F40FC8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25224E"/>
              </a:solidFill>
              <a:effectLst/>
              <a:uLnTx/>
              <a:uFillTx/>
              <a:latin typeface="Open Sans" panose="020B0606030504020204" pitchFamily="34" charset="0"/>
            </a:endParaRPr>
          </a:p>
        </p:txBody>
      </p:sp>
      <p:sp>
        <p:nvSpPr>
          <p:cNvPr id="23" name="Tijdelijke aanduiding voor dianummer 22">
            <a:extLst>
              <a:ext uri="{FF2B5EF4-FFF2-40B4-BE49-F238E27FC236}">
                <a16:creationId xmlns:a16="http://schemas.microsoft.com/office/drawing/2014/main" id="{775FA170-0C28-4CAD-B9FD-AE4EA079C3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5</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2" name="Titel 1">
            <a:extLst>
              <a:ext uri="{FF2B5EF4-FFF2-40B4-BE49-F238E27FC236}">
                <a16:creationId xmlns:a16="http://schemas.microsoft.com/office/drawing/2014/main" id="{E69AEEF0-53A5-41D9-8D22-20DDC694BE32}"/>
              </a:ext>
            </a:extLst>
          </p:cNvPr>
          <p:cNvSpPr>
            <a:spLocks noGrp="1"/>
          </p:cNvSpPr>
          <p:nvPr>
            <p:ph type="title"/>
          </p:nvPr>
        </p:nvSpPr>
        <p:spPr/>
        <p:txBody>
          <a:bodyPr>
            <a:normAutofit/>
          </a:bodyPr>
          <a:lstStyle/>
          <a:p>
            <a:r>
              <a:rPr lang="da-DK" sz="2200" dirty="0"/>
              <a:t>De verwarring neemt verder toe</a:t>
            </a:r>
            <a:endParaRPr lang="nl-NL" sz="2200" dirty="0"/>
          </a:p>
        </p:txBody>
      </p:sp>
      <p:sp>
        <p:nvSpPr>
          <p:cNvPr id="3" name="Tijdelijke aanduiding voor inhoud 2">
            <a:extLst>
              <a:ext uri="{FF2B5EF4-FFF2-40B4-BE49-F238E27FC236}">
                <a16:creationId xmlns:a16="http://schemas.microsoft.com/office/drawing/2014/main" id="{A98F56E6-F623-485A-8238-394277876CB2}"/>
              </a:ext>
            </a:extLst>
          </p:cNvPr>
          <p:cNvSpPr>
            <a:spLocks noGrp="1"/>
          </p:cNvSpPr>
          <p:nvPr>
            <p:ph idx="1"/>
          </p:nvPr>
        </p:nvSpPr>
        <p:spPr/>
        <p:txBody>
          <a:bodyPr>
            <a:normAutofit/>
          </a:bodyPr>
          <a:lstStyle/>
          <a:p>
            <a:r>
              <a:rPr lang="da-DK" dirty="0">
                <a:latin typeface="Open Sans" panose="020B0606030504020204" pitchFamily="34" charset="0"/>
                <a:ea typeface="Open Sans" panose="020B0606030504020204" pitchFamily="34" charset="0"/>
                <a:cs typeface="Open Sans" panose="020B0606030504020204" pitchFamily="34" charset="0"/>
              </a:rPr>
              <a:t>Financieel toetsingskader en dalende dekkingsgraden</a:t>
            </a:r>
            <a:endParaRPr lang="nl-NL" dirty="0">
              <a:latin typeface="Open Sans" panose="020B0606030504020204" pitchFamily="34" charset="0"/>
              <a:ea typeface="Open Sans" panose="020B0606030504020204" pitchFamily="34" charset="0"/>
              <a:cs typeface="Open Sans" panose="020B0606030504020204" pitchFamily="34" charset="0"/>
            </a:endParaRPr>
          </a:p>
          <a:p>
            <a:r>
              <a:rPr lang="da-DK" dirty="0">
                <a:latin typeface="Open Sans" panose="020B0606030504020204" pitchFamily="34" charset="0"/>
                <a:ea typeface="Open Sans" panose="020B0606030504020204" pitchFamily="34" charset="0"/>
                <a:cs typeface="Open Sans" panose="020B0606030504020204" pitchFamily="34" charset="0"/>
              </a:rPr>
              <a:t>Voorkomen van korting in plaats van indexeren</a:t>
            </a:r>
          </a:p>
          <a:p>
            <a:r>
              <a:rPr lang="da-DK" dirty="0">
                <a:latin typeface="Open Sans" panose="020B0606030504020204" pitchFamily="34" charset="0"/>
                <a:ea typeface="Open Sans" panose="020B0606030504020204" pitchFamily="34" charset="0"/>
                <a:cs typeface="Open Sans" panose="020B0606030504020204" pitchFamily="34" charset="0"/>
              </a:rPr>
              <a:t>Verhoging van de AOW-gerechtige leeftijd</a:t>
            </a:r>
          </a:p>
          <a:p>
            <a:r>
              <a:rPr lang="nl-NL" dirty="0">
                <a:latin typeface="Open Sans" panose="020B0606030504020204" pitchFamily="34" charset="0"/>
                <a:ea typeface="Open Sans" panose="020B0606030504020204" pitchFamily="34" charset="0"/>
                <a:cs typeface="Open Sans" panose="020B0606030504020204" pitchFamily="34" charset="0"/>
              </a:rPr>
              <a:t>AOW ontkoppeld - aanvullend pensioen onzeker</a:t>
            </a:r>
          </a:p>
        </p:txBody>
      </p:sp>
      <p:sp>
        <p:nvSpPr>
          <p:cNvPr id="14" name="Rechthoek: afgeronde diagonale hoeken 13">
            <a:extLst>
              <a:ext uri="{FF2B5EF4-FFF2-40B4-BE49-F238E27FC236}">
                <a16:creationId xmlns:a16="http://schemas.microsoft.com/office/drawing/2014/main" id="{01F170E8-0F9D-4B4F-B960-CBAF3A0A0F8B}"/>
              </a:ext>
            </a:extLst>
          </p:cNvPr>
          <p:cNvSpPr/>
          <p:nvPr/>
        </p:nvSpPr>
        <p:spPr>
          <a:xfrm>
            <a:off x="6562813" y="3965557"/>
            <a:ext cx="4337239" cy="2363783"/>
          </a:xfrm>
          <a:prstGeom prst="round2DiagRect">
            <a:avLst>
              <a:gd name="adj1" fmla="val 0"/>
              <a:gd name="adj2" fmla="val 17105"/>
            </a:avLst>
          </a:prstGeom>
          <a:blipFill dpi="0" rotWithShape="1">
            <a:blip r:embed="rId3">
              <a:extLst>
                <a:ext uri="{28A0092B-C50C-407E-A947-70E740481C1C}">
                  <a14:useLocalDpi xmlns:a14="http://schemas.microsoft.com/office/drawing/2010/main" val="0"/>
                </a:ext>
              </a:extLst>
            </a:blip>
            <a:srcRect/>
            <a:stretch>
              <a:fillRect/>
            </a:stretch>
          </a:blipFill>
          <a:ln>
            <a:solidFill>
              <a:srgbClr val="CEC4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206066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jdelijke aanduiding voor voettekst 7">
            <a:extLst>
              <a:ext uri="{FF2B5EF4-FFF2-40B4-BE49-F238E27FC236}">
                <a16:creationId xmlns:a16="http://schemas.microsoft.com/office/drawing/2014/main" id="{EEC88631-E979-4F60-B641-641B977C35B9}"/>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25224E"/>
              </a:solidFill>
              <a:effectLst/>
              <a:uLnTx/>
              <a:uFillTx/>
              <a:latin typeface="Open Sans" panose="020B0606030504020204" pitchFamily="34" charset="0"/>
            </a:endParaRPr>
          </a:p>
        </p:txBody>
      </p:sp>
      <p:sp>
        <p:nvSpPr>
          <p:cNvPr id="10" name="Tijdelijke aanduiding voor dianummer 9">
            <a:extLst>
              <a:ext uri="{FF2B5EF4-FFF2-40B4-BE49-F238E27FC236}">
                <a16:creationId xmlns:a16="http://schemas.microsoft.com/office/drawing/2014/main" id="{6651F25B-9028-45BB-A556-111F60905F0F}"/>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6</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2" name="Titel 1">
            <a:extLst>
              <a:ext uri="{FF2B5EF4-FFF2-40B4-BE49-F238E27FC236}">
                <a16:creationId xmlns:a16="http://schemas.microsoft.com/office/drawing/2014/main" id="{8488F153-5AFF-42E0-8BAB-6B7B4098AEAC}"/>
              </a:ext>
            </a:extLst>
          </p:cNvPr>
          <p:cNvSpPr>
            <a:spLocks noGrp="1"/>
          </p:cNvSpPr>
          <p:nvPr>
            <p:ph type="title"/>
          </p:nvPr>
        </p:nvSpPr>
        <p:spPr/>
        <p:txBody>
          <a:bodyPr>
            <a:noAutofit/>
          </a:bodyPr>
          <a:lstStyle/>
          <a:p>
            <a:pPr>
              <a:lnSpc>
                <a:spcPct val="120000"/>
              </a:lnSpc>
            </a:pPr>
            <a:r>
              <a:rPr lang="nl-NL" sz="2200" dirty="0"/>
              <a:t>Het Pensioen</a:t>
            </a:r>
            <a:br>
              <a:rPr lang="nl-NL" sz="2200" dirty="0"/>
            </a:br>
            <a:r>
              <a:rPr lang="nl-NL" sz="2200" dirty="0"/>
              <a:t>akkoord nadert haar </a:t>
            </a:r>
            <a:r>
              <a:rPr lang="nl-NL" sz="2200" i="0" dirty="0">
                <a:effectLst/>
              </a:rPr>
              <a:t>apotheose</a:t>
            </a:r>
            <a:r>
              <a:rPr lang="nl-NL" sz="2200" b="0" i="0" dirty="0">
                <a:solidFill>
                  <a:srgbClr val="444444"/>
                </a:solidFill>
                <a:effectLst/>
                <a:latin typeface="gentium_plusregular"/>
              </a:rPr>
              <a:t/>
            </a:r>
            <a:br>
              <a:rPr lang="nl-NL" sz="2200" b="0" i="0" dirty="0">
                <a:solidFill>
                  <a:srgbClr val="444444"/>
                </a:solidFill>
                <a:effectLst/>
                <a:latin typeface="gentium_plusregular"/>
              </a:rPr>
            </a:br>
            <a:endParaRPr lang="nl-NL" sz="2200" dirty="0"/>
          </a:p>
        </p:txBody>
      </p:sp>
      <p:sp>
        <p:nvSpPr>
          <p:cNvPr id="13" name="Rechthoek: afgeronde diagonale hoeken 12">
            <a:extLst>
              <a:ext uri="{FF2B5EF4-FFF2-40B4-BE49-F238E27FC236}">
                <a16:creationId xmlns:a16="http://schemas.microsoft.com/office/drawing/2014/main" id="{C2151F72-2178-497E-9E83-FAB1A78D7431}"/>
              </a:ext>
            </a:extLst>
          </p:cNvPr>
          <p:cNvSpPr/>
          <p:nvPr/>
        </p:nvSpPr>
        <p:spPr>
          <a:xfrm>
            <a:off x="3329759" y="1512052"/>
            <a:ext cx="7098046" cy="4309179"/>
          </a:xfrm>
          <a:prstGeom prst="round2DiagRect">
            <a:avLst>
              <a:gd name="adj1" fmla="val 0"/>
              <a:gd name="adj2" fmla="val 17105"/>
            </a:avLst>
          </a:prstGeom>
          <a:blipFill dpi="0" rotWithShape="1">
            <a:blip r:embed="rId3">
              <a:extLst>
                <a:ext uri="{28A0092B-C50C-407E-A947-70E740481C1C}">
                  <a14:useLocalDpi xmlns:a14="http://schemas.microsoft.com/office/drawing/2010/main" val="0"/>
                </a:ext>
              </a:extLst>
            </a:blip>
            <a:srcRect/>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290530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jdelijke aanduiding voor voettekst 21">
            <a:extLst>
              <a:ext uri="{FF2B5EF4-FFF2-40B4-BE49-F238E27FC236}">
                <a16:creationId xmlns:a16="http://schemas.microsoft.com/office/drawing/2014/main" id="{AF6F3F9B-6237-4574-83A9-7193F40FC8E6}"/>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25224E"/>
              </a:solidFill>
              <a:effectLst/>
              <a:uLnTx/>
              <a:uFillTx/>
              <a:latin typeface="Open Sans" panose="020B0606030504020204" pitchFamily="34" charset="0"/>
            </a:endParaRPr>
          </a:p>
        </p:txBody>
      </p:sp>
      <p:sp>
        <p:nvSpPr>
          <p:cNvPr id="23" name="Tijdelijke aanduiding voor dianummer 22">
            <a:extLst>
              <a:ext uri="{FF2B5EF4-FFF2-40B4-BE49-F238E27FC236}">
                <a16:creationId xmlns:a16="http://schemas.microsoft.com/office/drawing/2014/main" id="{775FA170-0C28-4CAD-B9FD-AE4EA079C3AD}"/>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7</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3" name="Titel 2">
            <a:extLst>
              <a:ext uri="{FF2B5EF4-FFF2-40B4-BE49-F238E27FC236}">
                <a16:creationId xmlns:a16="http://schemas.microsoft.com/office/drawing/2014/main" id="{EDD04E1D-8F1D-4181-8DE5-D509436C652D}"/>
              </a:ext>
            </a:extLst>
          </p:cNvPr>
          <p:cNvSpPr>
            <a:spLocks noGrp="1"/>
          </p:cNvSpPr>
          <p:nvPr>
            <p:ph type="title"/>
          </p:nvPr>
        </p:nvSpPr>
        <p:spPr/>
        <p:txBody>
          <a:bodyPr/>
          <a:lstStyle/>
          <a:p>
            <a:endParaRPr lang="nl-NL"/>
          </a:p>
        </p:txBody>
      </p:sp>
      <p:sp>
        <p:nvSpPr>
          <p:cNvPr id="14" name="Titel 1">
            <a:extLst>
              <a:ext uri="{FF2B5EF4-FFF2-40B4-BE49-F238E27FC236}">
                <a16:creationId xmlns:a16="http://schemas.microsoft.com/office/drawing/2014/main" id="{E4ADAD8B-43B1-4DCF-AB7E-36D02D7D67C6}"/>
              </a:ext>
            </a:extLst>
          </p:cNvPr>
          <p:cNvSpPr txBox="1">
            <a:spLocks/>
          </p:cNvSpPr>
          <p:nvPr/>
        </p:nvSpPr>
        <p:spPr>
          <a:xfrm>
            <a:off x="897035" y="2440849"/>
            <a:ext cx="10525048" cy="2565658"/>
          </a:xfrm>
          <a:prstGeom prst="rect">
            <a:avLst/>
          </a:prstGeom>
          <a:noFill/>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50000"/>
              </a:lnSpc>
              <a:spcBef>
                <a:spcPct val="0"/>
              </a:spcBef>
              <a:spcAft>
                <a:spcPts val="0"/>
              </a:spcAft>
              <a:buClrTx/>
              <a:buSzTx/>
              <a:buFontTx/>
              <a:buNone/>
              <a:tabLst/>
              <a:defRPr/>
            </a:pPr>
            <a:r>
              <a:rPr kumimoji="0" lang="nl-NL" sz="7200" b="1" i="0" u="none" strike="noStrike" kern="1200" cap="none" spc="0" normalizeH="0" baseline="0" noProof="0" dirty="0">
                <a:ln>
                  <a:noFill/>
                </a:ln>
                <a:solidFill>
                  <a:srgbClr val="7FCE6C"/>
                </a:solidFill>
                <a:effectLst/>
                <a:uLnTx/>
                <a:uFillTx/>
                <a:latin typeface="Open Sans" panose="020B0606030504020204" pitchFamily="34" charset="0"/>
                <a:ea typeface="Open Sans" panose="020B0606030504020204" pitchFamily="34" charset="0"/>
                <a:cs typeface="Open Sans" panose="020B0606030504020204" pitchFamily="34" charset="0"/>
              </a:rPr>
              <a:t>“</a:t>
            </a:r>
            <a:r>
              <a:rPr kumimoji="0" lang="nl-NL" sz="3600" b="1" i="0" u="none" strike="noStrike" kern="1200" cap="none" spc="0" normalizeH="0" baseline="0" noProof="0" dirty="0">
                <a:ln>
                  <a:noFill/>
                </a:ln>
                <a:solidFill>
                  <a:srgbClr val="7FCE6C"/>
                </a:solidFill>
                <a:effectLst/>
                <a:uLnTx/>
                <a:uFillTx/>
                <a:latin typeface="Open Sans" panose="020B0606030504020204" pitchFamily="34" charset="0"/>
                <a:ea typeface="Open Sans" panose="020B0606030504020204" pitchFamily="34" charset="0"/>
                <a:cs typeface="Open Sans" panose="020B0606030504020204" pitchFamily="34" charset="0"/>
              </a:rPr>
              <a:t>Welke opties krijgen uw deelnemers? </a:t>
            </a:r>
            <a:r>
              <a:rPr kumimoji="0" lang="nl-NL" sz="7200" b="1" i="0" u="none" strike="noStrike" kern="1200" cap="none" spc="0" normalizeH="0" baseline="0" noProof="0" dirty="0">
                <a:ln>
                  <a:noFill/>
                </a:ln>
                <a:solidFill>
                  <a:srgbClr val="7FCE6C"/>
                </a:solidFill>
                <a:effectLst/>
                <a:uLnTx/>
                <a:uFillTx/>
                <a:latin typeface="Open Sans" panose="020B0606030504020204" pitchFamily="34" charset="0"/>
                <a:ea typeface="Open Sans" panose="020B0606030504020204" pitchFamily="34" charset="0"/>
                <a:cs typeface="Open Sans" panose="020B0606030504020204" pitchFamily="34" charset="0"/>
              </a:rPr>
              <a:t>“</a:t>
            </a:r>
          </a:p>
        </p:txBody>
      </p:sp>
      <p:sp>
        <p:nvSpPr>
          <p:cNvPr id="17" name="Rechthoek: afgeronde diagonale hoeken 16">
            <a:extLst>
              <a:ext uri="{FF2B5EF4-FFF2-40B4-BE49-F238E27FC236}">
                <a16:creationId xmlns:a16="http://schemas.microsoft.com/office/drawing/2014/main" id="{8768C08C-E183-4123-A3E3-14E2CBA37C7A}"/>
              </a:ext>
            </a:extLst>
          </p:cNvPr>
          <p:cNvSpPr>
            <a:spLocks noChangeAspect="1"/>
          </p:cNvSpPr>
          <p:nvPr/>
        </p:nvSpPr>
        <p:spPr>
          <a:xfrm>
            <a:off x="195655" y="139409"/>
            <a:ext cx="3548915" cy="1934146"/>
          </a:xfrm>
          <a:prstGeom prst="round2DiagRect">
            <a:avLst>
              <a:gd name="adj1" fmla="val 0"/>
              <a:gd name="adj2" fmla="val 17105"/>
            </a:avLst>
          </a:prstGeom>
          <a:blipFill dpi="0" rotWithShape="1">
            <a:blip r:embed="rId3">
              <a:extLst>
                <a:ext uri="{28A0092B-C50C-407E-A947-70E740481C1C}">
                  <a14:useLocalDpi xmlns:a14="http://schemas.microsoft.com/office/drawing/2010/main" val="0"/>
                </a:ext>
              </a:extLst>
            </a:blip>
            <a:srcRect/>
            <a:stretch>
              <a:fillRect/>
            </a:stretch>
          </a:blipFill>
          <a:ln>
            <a:solidFill>
              <a:srgbClr val="DBD3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846250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jdelijke aanduiding voor voettekst 12">
            <a:extLst>
              <a:ext uri="{FF2B5EF4-FFF2-40B4-BE49-F238E27FC236}">
                <a16:creationId xmlns:a16="http://schemas.microsoft.com/office/drawing/2014/main" id="{54E4B6CE-E7AC-493B-927E-3774A671015E}"/>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endParaRPr kumimoji="0" lang="nl-NL" sz="800" b="0" i="0" u="none" strike="noStrike" kern="1200" cap="none" spc="0" normalizeH="0" baseline="0" noProof="0" dirty="0">
              <a:ln>
                <a:noFill/>
              </a:ln>
              <a:solidFill>
                <a:srgbClr val="25224E"/>
              </a:solidFill>
              <a:effectLst/>
              <a:uLnTx/>
              <a:uFillTx/>
              <a:latin typeface="Open Sans" panose="020B0606030504020204" pitchFamily="34" charset="0"/>
            </a:endParaRPr>
          </a:p>
        </p:txBody>
      </p:sp>
      <p:sp>
        <p:nvSpPr>
          <p:cNvPr id="17" name="Tijdelijke aanduiding voor dianummer 16">
            <a:extLst>
              <a:ext uri="{FF2B5EF4-FFF2-40B4-BE49-F238E27FC236}">
                <a16:creationId xmlns:a16="http://schemas.microsoft.com/office/drawing/2014/main" id="{BC7AC28B-2A25-4EE5-B7F9-BC17B8805521}"/>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8</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2" name="Titel 1">
            <a:extLst>
              <a:ext uri="{FF2B5EF4-FFF2-40B4-BE49-F238E27FC236}">
                <a16:creationId xmlns:a16="http://schemas.microsoft.com/office/drawing/2014/main" id="{7BC35C1D-F347-4272-90F8-C6D81C2C8954}"/>
              </a:ext>
            </a:extLst>
          </p:cNvPr>
          <p:cNvSpPr>
            <a:spLocks noGrp="1"/>
          </p:cNvSpPr>
          <p:nvPr>
            <p:ph type="title"/>
          </p:nvPr>
        </p:nvSpPr>
        <p:spPr/>
        <p:txBody>
          <a:bodyPr>
            <a:noAutofit/>
          </a:bodyPr>
          <a:lstStyle/>
          <a:p>
            <a:r>
              <a:rPr lang="da-DK" sz="2200" dirty="0"/>
              <a:t>Is mijn pensioen </a:t>
            </a:r>
            <a:br>
              <a:rPr lang="da-DK" sz="2200" dirty="0"/>
            </a:br>
            <a:r>
              <a:rPr lang="da-DK" sz="2200" dirty="0"/>
              <a:t>af te stemmen </a:t>
            </a:r>
            <a:br>
              <a:rPr lang="da-DK" sz="2200" dirty="0"/>
            </a:br>
            <a:r>
              <a:rPr lang="da-DK" sz="2200" dirty="0"/>
              <a:t>op mijn vitaliteit?</a:t>
            </a:r>
            <a:endParaRPr lang="nl-NL" sz="2200" dirty="0"/>
          </a:p>
        </p:txBody>
      </p:sp>
      <p:graphicFrame>
        <p:nvGraphicFramePr>
          <p:cNvPr id="14" name="Grafiek 13">
            <a:extLst>
              <a:ext uri="{FF2B5EF4-FFF2-40B4-BE49-F238E27FC236}">
                <a16:creationId xmlns:a16="http://schemas.microsoft.com/office/drawing/2014/main" id="{84F0DEF2-0968-4B2B-B207-0956A90EA6A1}"/>
              </a:ext>
            </a:extLst>
          </p:cNvPr>
          <p:cNvGraphicFramePr>
            <a:graphicFrameLocks noGrp="1"/>
          </p:cNvGraphicFramePr>
          <p:nvPr>
            <p:extLst/>
          </p:nvPr>
        </p:nvGraphicFramePr>
        <p:xfrm>
          <a:off x="2154709" y="1856935"/>
          <a:ext cx="8874361" cy="473402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30481981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graphicEl>
                                              <a:chart seriesIdx="0" categoryIdx="-4" bldStep="series"/>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graphicEl>
                                              <a:chart seriesIdx="1"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graphicEl>
                                              <a:chart seriesIdx="2" categoryIdx="-4" bldStep="series"/>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graphicEl>
                                              <a:chart seriesIdx="3" categoryIdx="-4" bldStep="series"/>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Chart bld="series"/>
        </p:bldSub>
      </p:bldGraphic>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7" name="Verbindingslijn: gebogen 46">
            <a:extLst>
              <a:ext uri="{FF2B5EF4-FFF2-40B4-BE49-F238E27FC236}">
                <a16:creationId xmlns:a16="http://schemas.microsoft.com/office/drawing/2014/main" id="{4778EA9F-AAF0-4501-867A-9D7C1120ABC0}"/>
              </a:ext>
            </a:extLst>
          </p:cNvPr>
          <p:cNvCxnSpPr>
            <a:cxnSpLocks/>
          </p:cNvCxnSpPr>
          <p:nvPr/>
        </p:nvCxnSpPr>
        <p:spPr>
          <a:xfrm flipV="1">
            <a:off x="5834466" y="3121472"/>
            <a:ext cx="915250" cy="884329"/>
          </a:xfrm>
          <a:prstGeom prst="bentConnector3">
            <a:avLst>
              <a:gd name="adj1" fmla="val 23709"/>
            </a:avLst>
          </a:prstGeom>
          <a:ln w="38100">
            <a:solidFill>
              <a:srgbClr val="4BA485"/>
            </a:solidFill>
          </a:ln>
        </p:spPr>
        <p:style>
          <a:lnRef idx="1">
            <a:schemeClr val="accent1"/>
          </a:lnRef>
          <a:fillRef idx="0">
            <a:schemeClr val="accent1"/>
          </a:fillRef>
          <a:effectRef idx="0">
            <a:schemeClr val="accent1"/>
          </a:effectRef>
          <a:fontRef idx="minor">
            <a:schemeClr val="tx1"/>
          </a:fontRef>
        </p:style>
      </p:cxnSp>
      <p:cxnSp>
        <p:nvCxnSpPr>
          <p:cNvPr id="28" name="Verbindingslijn: gebogen 27">
            <a:extLst>
              <a:ext uri="{FF2B5EF4-FFF2-40B4-BE49-F238E27FC236}">
                <a16:creationId xmlns:a16="http://schemas.microsoft.com/office/drawing/2014/main" id="{042098A3-9BDD-418A-A160-0490C20D3E89}"/>
              </a:ext>
            </a:extLst>
          </p:cNvPr>
          <p:cNvCxnSpPr>
            <a:cxnSpLocks/>
          </p:cNvCxnSpPr>
          <p:nvPr/>
        </p:nvCxnSpPr>
        <p:spPr>
          <a:xfrm flipV="1">
            <a:off x="5846498" y="3995455"/>
            <a:ext cx="1044316" cy="980256"/>
          </a:xfrm>
          <a:prstGeom prst="bentConnector3">
            <a:avLst>
              <a:gd name="adj1" fmla="val 18893"/>
            </a:avLst>
          </a:prstGeom>
          <a:ln w="38100">
            <a:solidFill>
              <a:srgbClr val="4BA485"/>
            </a:solidFill>
          </a:ln>
        </p:spPr>
        <p:style>
          <a:lnRef idx="1">
            <a:schemeClr val="accent1"/>
          </a:lnRef>
          <a:fillRef idx="0">
            <a:schemeClr val="accent1"/>
          </a:fillRef>
          <a:effectRef idx="0">
            <a:schemeClr val="accent1"/>
          </a:effectRef>
          <a:fontRef idx="minor">
            <a:schemeClr val="tx1"/>
          </a:fontRef>
        </p:style>
      </p:cxnSp>
      <p:sp>
        <p:nvSpPr>
          <p:cNvPr id="2" name="Tijdelijke aanduiding voor voettekst 1">
            <a:extLst>
              <a:ext uri="{FF2B5EF4-FFF2-40B4-BE49-F238E27FC236}">
                <a16:creationId xmlns:a16="http://schemas.microsoft.com/office/drawing/2014/main" id="{FEC79415-B5CA-4C1F-8996-E0D7B12B6CF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p>
        </p:txBody>
      </p:sp>
      <p:sp>
        <p:nvSpPr>
          <p:cNvPr id="3" name="Tijdelijke aanduiding voor dianummer 2">
            <a:extLst>
              <a:ext uri="{FF2B5EF4-FFF2-40B4-BE49-F238E27FC236}">
                <a16:creationId xmlns:a16="http://schemas.microsoft.com/office/drawing/2014/main" id="{8B65B386-23EE-4D04-9E25-1CBE2FEC873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49</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4" name="Titel 3">
            <a:extLst>
              <a:ext uri="{FF2B5EF4-FFF2-40B4-BE49-F238E27FC236}">
                <a16:creationId xmlns:a16="http://schemas.microsoft.com/office/drawing/2014/main" id="{42843457-2223-40AE-B651-ED8951C2530F}"/>
              </a:ext>
            </a:extLst>
          </p:cNvPr>
          <p:cNvSpPr>
            <a:spLocks noGrp="1"/>
          </p:cNvSpPr>
          <p:nvPr>
            <p:ph type="title"/>
          </p:nvPr>
        </p:nvSpPr>
        <p:spPr/>
        <p:txBody>
          <a:bodyPr>
            <a:normAutofit/>
          </a:bodyPr>
          <a:lstStyle/>
          <a:p>
            <a:r>
              <a:rPr lang="da-DK" sz="2200" dirty="0"/>
              <a:t>We brengen de opties in kaart, zien we niets over het hoofd?</a:t>
            </a:r>
            <a:endParaRPr lang="nl-NL" sz="2200" dirty="0"/>
          </a:p>
        </p:txBody>
      </p:sp>
      <p:graphicFrame>
        <p:nvGraphicFramePr>
          <p:cNvPr id="5" name="Diagram 4">
            <a:extLst>
              <a:ext uri="{FF2B5EF4-FFF2-40B4-BE49-F238E27FC236}">
                <a16:creationId xmlns:a16="http://schemas.microsoft.com/office/drawing/2014/main" id="{B80562D0-68FF-45E2-83F2-76A6679EE84E}"/>
              </a:ext>
            </a:extLst>
          </p:cNvPr>
          <p:cNvGraphicFramePr/>
          <p:nvPr>
            <p:extLst/>
          </p:nvPr>
        </p:nvGraphicFramePr>
        <p:xfrm>
          <a:off x="1035303" y="2080132"/>
          <a:ext cx="10225094" cy="41257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hthoek: afgeronde hoeken 11">
            <a:extLst>
              <a:ext uri="{FF2B5EF4-FFF2-40B4-BE49-F238E27FC236}">
                <a16:creationId xmlns:a16="http://schemas.microsoft.com/office/drawing/2014/main" id="{BBEB9BCE-7FA4-41A3-841E-A1F86C23BB32}"/>
              </a:ext>
            </a:extLst>
          </p:cNvPr>
          <p:cNvSpPr/>
          <p:nvPr/>
        </p:nvSpPr>
        <p:spPr>
          <a:xfrm>
            <a:off x="6147850" y="1592614"/>
            <a:ext cx="1356536" cy="339958"/>
          </a:xfrm>
          <a:prstGeom prst="roundRect">
            <a:avLst/>
          </a:prstGeom>
          <a:solidFill>
            <a:srgbClr val="937D6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euze bestuur</a:t>
            </a:r>
          </a:p>
        </p:txBody>
      </p:sp>
      <p:sp>
        <p:nvSpPr>
          <p:cNvPr id="13" name="Rechthoek: afgeronde hoeken 12">
            <a:extLst>
              <a:ext uri="{FF2B5EF4-FFF2-40B4-BE49-F238E27FC236}">
                <a16:creationId xmlns:a16="http://schemas.microsoft.com/office/drawing/2014/main" id="{58F7B150-4D68-4D79-9841-52E406B47A2E}"/>
              </a:ext>
            </a:extLst>
          </p:cNvPr>
          <p:cNvSpPr/>
          <p:nvPr/>
        </p:nvSpPr>
        <p:spPr>
          <a:xfrm>
            <a:off x="7750684" y="1592613"/>
            <a:ext cx="3111757" cy="339959"/>
          </a:xfrm>
          <a:prstGeom prst="roundRect">
            <a:avLst/>
          </a:prstGeom>
          <a:solidFill>
            <a:srgbClr val="937D6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lossingsrichting</a:t>
            </a:r>
          </a:p>
        </p:txBody>
      </p:sp>
      <p:sp>
        <p:nvSpPr>
          <p:cNvPr id="15" name="Rechthoek: afgeronde hoeken 14">
            <a:extLst>
              <a:ext uri="{FF2B5EF4-FFF2-40B4-BE49-F238E27FC236}">
                <a16:creationId xmlns:a16="http://schemas.microsoft.com/office/drawing/2014/main" id="{8C9B3FFD-0857-43C6-99F8-5CF444BBEF86}"/>
              </a:ext>
            </a:extLst>
          </p:cNvPr>
          <p:cNvSpPr/>
          <p:nvPr/>
        </p:nvSpPr>
        <p:spPr>
          <a:xfrm>
            <a:off x="2895600" y="2428108"/>
            <a:ext cx="1332223" cy="345387"/>
          </a:xfrm>
          <a:prstGeom prst="roundRect">
            <a:avLst/>
          </a:prstGeom>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euze bestuur</a:t>
            </a:r>
          </a:p>
        </p:txBody>
      </p:sp>
      <p:sp>
        <p:nvSpPr>
          <p:cNvPr id="16" name="Rechthoek: afgeronde hoeken 15">
            <a:extLst>
              <a:ext uri="{FF2B5EF4-FFF2-40B4-BE49-F238E27FC236}">
                <a16:creationId xmlns:a16="http://schemas.microsoft.com/office/drawing/2014/main" id="{8AA58F6F-9BC8-42B2-B3A1-E364C142ABCC}"/>
              </a:ext>
            </a:extLst>
          </p:cNvPr>
          <p:cNvSpPr/>
          <p:nvPr/>
        </p:nvSpPr>
        <p:spPr>
          <a:xfrm>
            <a:off x="4514274" y="2434511"/>
            <a:ext cx="1436360" cy="338069"/>
          </a:xfrm>
          <a:prstGeom prst="roundRect">
            <a:avLst/>
          </a:prstGeom>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lossingsrichting</a:t>
            </a:r>
          </a:p>
        </p:txBody>
      </p:sp>
    </p:spTree>
    <p:extLst>
      <p:ext uri="{BB962C8B-B14F-4D97-AF65-F5344CB8AC3E}">
        <p14:creationId xmlns:p14="http://schemas.microsoft.com/office/powerpoint/2010/main" val="290537005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en-US" dirty="0" err="1" smtClean="0"/>
              <a:t>Meest</a:t>
            </a:r>
            <a:r>
              <a:rPr lang="en-US" dirty="0" smtClean="0"/>
              <a:t> </a:t>
            </a:r>
            <a:r>
              <a:rPr lang="en-US" dirty="0" err="1" smtClean="0"/>
              <a:t>relevante</a:t>
            </a:r>
            <a:r>
              <a:rPr lang="en-US" dirty="0" smtClean="0"/>
              <a:t> </a:t>
            </a:r>
            <a:r>
              <a:rPr lang="en-US" dirty="0" err="1" smtClean="0"/>
              <a:t>elementen</a:t>
            </a:r>
            <a:endParaRPr lang="en-US" dirty="0" smtClean="0"/>
          </a:p>
          <a:p>
            <a:pPr lvl="1"/>
            <a:r>
              <a:rPr lang="en-US" dirty="0" err="1" smtClean="0"/>
              <a:t>Alle</a:t>
            </a:r>
            <a:r>
              <a:rPr lang="en-US" dirty="0" smtClean="0"/>
              <a:t> </a:t>
            </a:r>
            <a:r>
              <a:rPr lang="en-US" dirty="0" err="1"/>
              <a:t>n</a:t>
            </a:r>
            <a:r>
              <a:rPr lang="en-US" dirty="0" err="1" smtClean="0"/>
              <a:t>ieuwe</a:t>
            </a:r>
            <a:r>
              <a:rPr lang="en-US" dirty="0" smtClean="0"/>
              <a:t> </a:t>
            </a:r>
            <a:r>
              <a:rPr lang="en-US" dirty="0" err="1" smtClean="0"/>
              <a:t>opbouw</a:t>
            </a:r>
            <a:r>
              <a:rPr lang="en-US" dirty="0" smtClean="0"/>
              <a:t> op basis van ‘defined contribution’</a:t>
            </a:r>
          </a:p>
          <a:p>
            <a:pPr lvl="1"/>
            <a:r>
              <a:rPr lang="en-US" dirty="0" err="1" smtClean="0"/>
              <a:t>Afschaffing</a:t>
            </a:r>
            <a:r>
              <a:rPr lang="en-US" dirty="0" smtClean="0"/>
              <a:t> </a:t>
            </a:r>
            <a:r>
              <a:rPr lang="en-US" dirty="0" err="1" smtClean="0"/>
              <a:t>doorsneepremie</a:t>
            </a:r>
            <a:r>
              <a:rPr lang="en-US" dirty="0" smtClean="0"/>
              <a:t> (</a:t>
            </a:r>
            <a:r>
              <a:rPr lang="en-US" dirty="0" err="1" smtClean="0"/>
              <a:t>vaste</a:t>
            </a:r>
            <a:r>
              <a:rPr lang="en-US" dirty="0" smtClean="0"/>
              <a:t> </a:t>
            </a:r>
            <a:r>
              <a:rPr lang="en-US" dirty="0" err="1" smtClean="0"/>
              <a:t>premie</a:t>
            </a:r>
            <a:r>
              <a:rPr lang="en-US" dirty="0" smtClean="0"/>
              <a:t> </a:t>
            </a:r>
            <a:r>
              <a:rPr lang="en-US" dirty="0" err="1" smtClean="0"/>
              <a:t>voor</a:t>
            </a:r>
            <a:r>
              <a:rPr lang="en-US" dirty="0" smtClean="0"/>
              <a:t> </a:t>
            </a:r>
            <a:r>
              <a:rPr lang="en-US" dirty="0" err="1" smtClean="0"/>
              <a:t>iedereen</a:t>
            </a:r>
            <a:r>
              <a:rPr lang="en-US" dirty="0" smtClean="0"/>
              <a:t>)</a:t>
            </a:r>
          </a:p>
          <a:p>
            <a:pPr lvl="1"/>
            <a:r>
              <a:rPr lang="en-US" dirty="0" err="1" smtClean="0"/>
              <a:t>Individueel</a:t>
            </a:r>
            <a:r>
              <a:rPr lang="en-US" dirty="0" smtClean="0"/>
              <a:t> </a:t>
            </a:r>
            <a:r>
              <a:rPr lang="en-US" dirty="0" err="1" smtClean="0"/>
              <a:t>pensioenkapitaal</a:t>
            </a:r>
            <a:r>
              <a:rPr lang="en-US" dirty="0" smtClean="0"/>
              <a:t> </a:t>
            </a:r>
            <a:r>
              <a:rPr lang="en-US" dirty="0" err="1" smtClean="0"/>
              <a:t>voor</a:t>
            </a:r>
            <a:r>
              <a:rPr lang="en-US" dirty="0" smtClean="0"/>
              <a:t> </a:t>
            </a:r>
            <a:r>
              <a:rPr lang="en-US" dirty="0" err="1" smtClean="0"/>
              <a:t>iedereen</a:t>
            </a:r>
            <a:endParaRPr lang="en-US" dirty="0" smtClean="0"/>
          </a:p>
          <a:p>
            <a:pPr lvl="1"/>
            <a:r>
              <a:rPr lang="en-US" dirty="0" err="1" smtClean="0"/>
              <a:t>Invaren</a:t>
            </a:r>
            <a:r>
              <a:rPr lang="en-US" dirty="0" smtClean="0"/>
              <a:t> van </a:t>
            </a:r>
            <a:r>
              <a:rPr lang="en-US" dirty="0" err="1" smtClean="0"/>
              <a:t>opgebouwde</a:t>
            </a:r>
            <a:r>
              <a:rPr lang="en-US" dirty="0" smtClean="0"/>
              <a:t> </a:t>
            </a:r>
            <a:r>
              <a:rPr lang="en-US" dirty="0" err="1" smtClean="0"/>
              <a:t>aanspraken</a:t>
            </a:r>
            <a:r>
              <a:rPr lang="en-US" dirty="0" smtClean="0"/>
              <a:t> </a:t>
            </a:r>
            <a:r>
              <a:rPr lang="en-US" dirty="0" err="1" smtClean="0"/>
              <a:t>en</a:t>
            </a:r>
            <a:r>
              <a:rPr lang="en-US" dirty="0" smtClean="0"/>
              <a:t> </a:t>
            </a:r>
            <a:r>
              <a:rPr lang="en-US" dirty="0" err="1" smtClean="0"/>
              <a:t>rechten</a:t>
            </a:r>
            <a:r>
              <a:rPr lang="en-US" dirty="0" smtClean="0"/>
              <a:t> </a:t>
            </a:r>
            <a:r>
              <a:rPr lang="en-US" dirty="0" err="1" smtClean="0"/>
              <a:t>zonder</a:t>
            </a:r>
            <a:r>
              <a:rPr lang="en-US" dirty="0" smtClean="0"/>
              <a:t> </a:t>
            </a:r>
            <a:r>
              <a:rPr lang="en-US" dirty="0" err="1" smtClean="0"/>
              <a:t>individueel</a:t>
            </a:r>
            <a:r>
              <a:rPr lang="en-US" dirty="0" smtClean="0"/>
              <a:t> </a:t>
            </a:r>
            <a:r>
              <a:rPr lang="en-US" dirty="0" err="1" smtClean="0"/>
              <a:t>bezwaarrecht</a:t>
            </a:r>
            <a:endParaRPr lang="en-US" dirty="0" smtClean="0"/>
          </a:p>
          <a:p>
            <a:pPr lvl="1"/>
            <a:r>
              <a:rPr lang="en-US" dirty="0" err="1" smtClean="0"/>
              <a:t>Introductie</a:t>
            </a:r>
            <a:r>
              <a:rPr lang="en-US" dirty="0" smtClean="0"/>
              <a:t> </a:t>
            </a:r>
            <a:r>
              <a:rPr lang="en-US" dirty="0" err="1" smtClean="0"/>
              <a:t>nieuw</a:t>
            </a:r>
            <a:r>
              <a:rPr lang="en-US" dirty="0" smtClean="0"/>
              <a:t> </a:t>
            </a:r>
            <a:r>
              <a:rPr lang="en-US" dirty="0" err="1" smtClean="0"/>
              <a:t>solidair</a:t>
            </a:r>
            <a:r>
              <a:rPr lang="en-US" dirty="0" smtClean="0"/>
              <a:t> </a:t>
            </a:r>
            <a:r>
              <a:rPr lang="en-US" dirty="0" err="1" smtClean="0"/>
              <a:t>pensioencontract</a:t>
            </a:r>
            <a:r>
              <a:rPr lang="en-US" dirty="0" smtClean="0"/>
              <a:t> met </a:t>
            </a:r>
            <a:r>
              <a:rPr lang="en-US" dirty="0" err="1" smtClean="0"/>
              <a:t>specifieke</a:t>
            </a:r>
            <a:r>
              <a:rPr lang="en-US" dirty="0" smtClean="0"/>
              <a:t> </a:t>
            </a:r>
            <a:r>
              <a:rPr lang="en-US" dirty="0" err="1" smtClean="0"/>
              <a:t>elementen</a:t>
            </a:r>
            <a:endParaRPr lang="en-US" dirty="0" smtClean="0"/>
          </a:p>
          <a:p>
            <a:pPr lvl="1"/>
            <a:r>
              <a:rPr lang="en-US" dirty="0" err="1"/>
              <a:t>Leeftijdsafhankelijke</a:t>
            </a:r>
            <a:r>
              <a:rPr lang="en-US" dirty="0"/>
              <a:t> </a:t>
            </a:r>
            <a:r>
              <a:rPr lang="en-US" dirty="0" err="1" smtClean="0"/>
              <a:t>risicohouding</a:t>
            </a:r>
            <a:endParaRPr lang="en-US" dirty="0" smtClean="0"/>
          </a:p>
          <a:p>
            <a:pPr lvl="1"/>
            <a:r>
              <a:rPr lang="en-US" dirty="0" err="1" smtClean="0"/>
              <a:t>Variabel</a:t>
            </a:r>
            <a:r>
              <a:rPr lang="en-US" dirty="0" smtClean="0"/>
              <a:t> </a:t>
            </a:r>
            <a:r>
              <a:rPr lang="en-US" dirty="0" err="1" smtClean="0"/>
              <a:t>pensioen</a:t>
            </a:r>
            <a:r>
              <a:rPr lang="en-US" dirty="0" smtClean="0"/>
              <a:t> </a:t>
            </a:r>
            <a:r>
              <a:rPr lang="en-US" dirty="0" err="1" smtClean="0"/>
              <a:t>na</a:t>
            </a:r>
            <a:r>
              <a:rPr lang="en-US" dirty="0" smtClean="0"/>
              <a:t> </a:t>
            </a:r>
            <a:r>
              <a:rPr lang="en-US" dirty="0" err="1" smtClean="0"/>
              <a:t>pensioeningang</a:t>
            </a:r>
            <a:r>
              <a:rPr lang="en-US" dirty="0" smtClean="0"/>
              <a:t> </a:t>
            </a:r>
            <a:r>
              <a:rPr lang="en-US" dirty="0" err="1" smtClean="0"/>
              <a:t>als</a:t>
            </a:r>
            <a:r>
              <a:rPr lang="en-US" dirty="0" smtClean="0"/>
              <a:t> ‘default’ of ‘</a:t>
            </a:r>
            <a:r>
              <a:rPr lang="en-US" dirty="0" err="1" smtClean="0"/>
              <a:t>enige</a:t>
            </a:r>
            <a:r>
              <a:rPr lang="en-US" dirty="0" smtClean="0"/>
              <a:t>’ </a:t>
            </a:r>
            <a:r>
              <a:rPr lang="en-US" dirty="0" err="1" smtClean="0"/>
              <a:t>optie</a:t>
            </a:r>
            <a:endParaRPr lang="en-US" dirty="0" smtClean="0"/>
          </a:p>
          <a:p>
            <a:pPr lvl="1"/>
            <a:r>
              <a:rPr lang="en-US" dirty="0" err="1" smtClean="0"/>
              <a:t>Standaardisering</a:t>
            </a:r>
            <a:r>
              <a:rPr lang="en-US" dirty="0" smtClean="0"/>
              <a:t> </a:t>
            </a:r>
            <a:r>
              <a:rPr lang="en-US" dirty="0" err="1" smtClean="0"/>
              <a:t>nabestaandenpensioen</a:t>
            </a:r>
            <a:endParaRPr lang="en-US" dirty="0" smtClean="0"/>
          </a:p>
          <a:p>
            <a:pPr lvl="1"/>
            <a:r>
              <a:rPr lang="en-US" dirty="0" err="1" smtClean="0"/>
              <a:t>Experimenteerruimte</a:t>
            </a:r>
            <a:r>
              <a:rPr lang="en-US" dirty="0" smtClean="0"/>
              <a:t> </a:t>
            </a:r>
            <a:r>
              <a:rPr lang="en-US" dirty="0" err="1" smtClean="0"/>
              <a:t>pensioenopbouw</a:t>
            </a:r>
            <a:r>
              <a:rPr lang="en-US" dirty="0" smtClean="0"/>
              <a:t> </a:t>
            </a:r>
            <a:r>
              <a:rPr lang="en-US" dirty="0" err="1" smtClean="0"/>
              <a:t>zelfstandigen</a:t>
            </a:r>
            <a:endParaRPr lang="en-US" dirty="0" smtClean="0"/>
          </a:p>
          <a:p>
            <a:pPr lvl="1"/>
            <a:r>
              <a:rPr lang="en-US" dirty="0" err="1" smtClean="0"/>
              <a:t>Verkorten</a:t>
            </a:r>
            <a:r>
              <a:rPr lang="en-US" dirty="0" smtClean="0"/>
              <a:t> </a:t>
            </a:r>
            <a:r>
              <a:rPr lang="en-US" dirty="0" err="1" smtClean="0"/>
              <a:t>wachttijd</a:t>
            </a:r>
            <a:r>
              <a:rPr lang="en-US" dirty="0" smtClean="0"/>
              <a:t> </a:t>
            </a:r>
            <a:r>
              <a:rPr lang="en-US" dirty="0" err="1" smtClean="0"/>
              <a:t>uitzendkrachten</a:t>
            </a:r>
            <a:endParaRPr lang="en-US" dirty="0"/>
          </a:p>
          <a:p>
            <a:pPr lvl="1"/>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r>
              <a:rPr lang="nl-NL" dirty="0" smtClean="0"/>
              <a:t>Webinar Wet Toekomst Pensioenen</a:t>
            </a:r>
            <a:endParaRPr lang="nl-NL" dirty="0"/>
          </a:p>
        </p:txBody>
      </p:sp>
      <p:sp>
        <p:nvSpPr>
          <p:cNvPr id="4" name="Tijdelijke aanduiding voor dianummer 3"/>
          <p:cNvSpPr>
            <a:spLocks noGrp="1"/>
          </p:cNvSpPr>
          <p:nvPr>
            <p:ph type="sldNum" sz="quarter" idx="12"/>
          </p:nvPr>
        </p:nvSpPr>
        <p:spPr/>
        <p:txBody>
          <a:bodyPr/>
          <a:lstStyle/>
          <a:p>
            <a:fld id="{FFDD6BF4-F398-43E8-ACFA-0A2EC6044D72}" type="slidenum">
              <a:rPr lang="nl-NL" smtClean="0"/>
              <a:t>5</a:t>
            </a:fld>
            <a:endParaRPr lang="nl-NL"/>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nl-NL" dirty="0" smtClean="0"/>
              <a:t>Inleiding Wet Toekomst Pensioenen</a:t>
            </a:r>
            <a:endParaRPr lang="nl-NL" dirty="0"/>
          </a:p>
        </p:txBody>
      </p:sp>
      <p:sp>
        <p:nvSpPr>
          <p:cNvPr id="7" name="Tijdelijke aanduiding voor tekst 6"/>
          <p:cNvSpPr>
            <a:spLocks noGrp="1"/>
          </p:cNvSpPr>
          <p:nvPr>
            <p:ph type="body" sz="quarter" idx="16"/>
          </p:nvPr>
        </p:nvSpPr>
        <p:spPr/>
        <p:txBody>
          <a:bodyPr/>
          <a:lstStyle/>
          <a:p>
            <a:endParaRPr lang="nl-NL"/>
          </a:p>
        </p:txBody>
      </p:sp>
    </p:spTree>
    <p:extLst>
      <p:ext uri="{BB962C8B-B14F-4D97-AF65-F5344CB8AC3E}">
        <p14:creationId xmlns:p14="http://schemas.microsoft.com/office/powerpoint/2010/main" val="129443685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FEC79415-B5CA-4C1F-8996-E0D7B12B6CF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p>
        </p:txBody>
      </p:sp>
      <p:sp>
        <p:nvSpPr>
          <p:cNvPr id="3" name="Tijdelijke aanduiding voor dianummer 2">
            <a:extLst>
              <a:ext uri="{FF2B5EF4-FFF2-40B4-BE49-F238E27FC236}">
                <a16:creationId xmlns:a16="http://schemas.microsoft.com/office/drawing/2014/main" id="{8B65B386-23EE-4D04-9E25-1CBE2FEC873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0</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4" name="Titel 3">
            <a:extLst>
              <a:ext uri="{FF2B5EF4-FFF2-40B4-BE49-F238E27FC236}">
                <a16:creationId xmlns:a16="http://schemas.microsoft.com/office/drawing/2014/main" id="{42843457-2223-40AE-B651-ED8951C2530F}"/>
              </a:ext>
            </a:extLst>
          </p:cNvPr>
          <p:cNvSpPr>
            <a:spLocks noGrp="1"/>
          </p:cNvSpPr>
          <p:nvPr>
            <p:ph type="title"/>
          </p:nvPr>
        </p:nvSpPr>
        <p:spPr/>
        <p:txBody>
          <a:bodyPr>
            <a:normAutofit/>
          </a:bodyPr>
          <a:lstStyle/>
          <a:p>
            <a:r>
              <a:rPr lang="da-DK" sz="2200" dirty="0"/>
              <a:t>Wat is er zoal mogelijk</a:t>
            </a:r>
            <a:br>
              <a:rPr lang="da-DK" sz="2200" dirty="0"/>
            </a:br>
            <a:r>
              <a:rPr lang="da-DK" sz="2200" dirty="0"/>
              <a:t>voor invoering?</a:t>
            </a:r>
            <a:endParaRPr lang="nl-NL" sz="2200" dirty="0"/>
          </a:p>
        </p:txBody>
      </p:sp>
      <p:graphicFrame>
        <p:nvGraphicFramePr>
          <p:cNvPr id="5" name="Diagram 4">
            <a:extLst>
              <a:ext uri="{FF2B5EF4-FFF2-40B4-BE49-F238E27FC236}">
                <a16:creationId xmlns:a16="http://schemas.microsoft.com/office/drawing/2014/main" id="{B80562D0-68FF-45E2-83F2-76A6679EE84E}"/>
              </a:ext>
            </a:extLst>
          </p:cNvPr>
          <p:cNvGraphicFramePr/>
          <p:nvPr>
            <p:extLst/>
          </p:nvPr>
        </p:nvGraphicFramePr>
        <p:xfrm>
          <a:off x="1670137" y="2595219"/>
          <a:ext cx="6663343" cy="389008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hthoek: afgeronde hoeken 14">
            <a:extLst>
              <a:ext uri="{FF2B5EF4-FFF2-40B4-BE49-F238E27FC236}">
                <a16:creationId xmlns:a16="http://schemas.microsoft.com/office/drawing/2014/main" id="{8C9B3FFD-0857-43C6-99F8-5CF444BBEF86}"/>
              </a:ext>
            </a:extLst>
          </p:cNvPr>
          <p:cNvSpPr/>
          <p:nvPr/>
        </p:nvSpPr>
        <p:spPr>
          <a:xfrm>
            <a:off x="3159612" y="2098870"/>
            <a:ext cx="1532964" cy="496349"/>
          </a:xfrm>
          <a:prstGeom prst="roundRect">
            <a:avLst/>
          </a:prstGeom>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euze bestuur</a:t>
            </a:r>
          </a:p>
        </p:txBody>
      </p:sp>
      <p:sp>
        <p:nvSpPr>
          <p:cNvPr id="16" name="Rechthoek: afgeronde hoeken 15">
            <a:extLst>
              <a:ext uri="{FF2B5EF4-FFF2-40B4-BE49-F238E27FC236}">
                <a16:creationId xmlns:a16="http://schemas.microsoft.com/office/drawing/2014/main" id="{8AA58F6F-9BC8-42B2-B3A1-E364C142ABCC}"/>
              </a:ext>
            </a:extLst>
          </p:cNvPr>
          <p:cNvSpPr/>
          <p:nvPr/>
        </p:nvSpPr>
        <p:spPr>
          <a:xfrm>
            <a:off x="4971765" y="2098870"/>
            <a:ext cx="1627145" cy="496349"/>
          </a:xfrm>
          <a:prstGeom prst="roundRect">
            <a:avLst/>
          </a:prstGeom>
          <a:solidFill>
            <a:srgbClr val="306A55"/>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lossingsrich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99070801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FEC79415-B5CA-4C1F-8996-E0D7B12B6CF0}"/>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a:ln>
                  <a:noFill/>
                </a:ln>
                <a:solidFill>
                  <a:srgbClr val="25224E"/>
                </a:solidFill>
                <a:effectLst/>
                <a:uLnTx/>
                <a:uFillTx/>
                <a:latin typeface="Open Sans" panose="020B0606030504020204" pitchFamily="34" charset="0"/>
              </a:rPr>
              <a:t>Webinar Triple A 31 maart 2022</a:t>
            </a:r>
          </a:p>
        </p:txBody>
      </p:sp>
      <p:sp>
        <p:nvSpPr>
          <p:cNvPr id="3" name="Tijdelijke aanduiding voor dianummer 2">
            <a:extLst>
              <a:ext uri="{FF2B5EF4-FFF2-40B4-BE49-F238E27FC236}">
                <a16:creationId xmlns:a16="http://schemas.microsoft.com/office/drawing/2014/main" id="{8B65B386-23EE-4D04-9E25-1CBE2FEC8739}"/>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A069B346-58ED-458C-B9CF-4422065AE6FF}" type="slidenum">
              <a:rPr kumimoji="0" lang="nl-NL" sz="1000" b="0" i="0" u="none" strike="noStrike" kern="1200" cap="none" spc="0" normalizeH="0" baseline="0" noProof="0" smtClean="0">
                <a:ln>
                  <a:noFill/>
                </a:ln>
                <a:solidFill>
                  <a:srgbClr val="25224E"/>
                </a:solidFill>
                <a:effectLst/>
                <a:uLnTx/>
                <a:uFillTx/>
                <a:latin typeface="Open Sans" panose="020B0606030504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51</a:t>
            </a:fld>
            <a:endParaRPr kumimoji="0" lang="nl-NL" sz="1000" b="0" i="0" u="none" strike="noStrike" kern="1200" cap="none" spc="0" normalizeH="0" baseline="0" noProof="0">
              <a:ln>
                <a:noFill/>
              </a:ln>
              <a:solidFill>
                <a:srgbClr val="25224E"/>
              </a:solidFill>
              <a:effectLst/>
              <a:uLnTx/>
              <a:uFillTx/>
              <a:latin typeface="Open Sans" panose="020B0606030504020204" pitchFamily="34" charset="0"/>
            </a:endParaRPr>
          </a:p>
        </p:txBody>
      </p:sp>
      <p:sp>
        <p:nvSpPr>
          <p:cNvPr id="4" name="Titel 3">
            <a:extLst>
              <a:ext uri="{FF2B5EF4-FFF2-40B4-BE49-F238E27FC236}">
                <a16:creationId xmlns:a16="http://schemas.microsoft.com/office/drawing/2014/main" id="{42843457-2223-40AE-B651-ED8951C2530F}"/>
              </a:ext>
            </a:extLst>
          </p:cNvPr>
          <p:cNvSpPr>
            <a:spLocks noGrp="1"/>
          </p:cNvSpPr>
          <p:nvPr>
            <p:ph type="title"/>
          </p:nvPr>
        </p:nvSpPr>
        <p:spPr/>
        <p:txBody>
          <a:bodyPr vert="horz" lIns="91440" tIns="45720" rIns="91440" bIns="45720" rtlCol="0" anchor="ctr">
            <a:normAutofit/>
          </a:bodyPr>
          <a:lstStyle/>
          <a:p>
            <a:r>
              <a:rPr lang="da-DK" sz="2000" dirty="0"/>
              <a:t>En hoe zit dat na invoering?</a:t>
            </a:r>
            <a:endParaRPr lang="nl-NL" sz="2000" dirty="0"/>
          </a:p>
        </p:txBody>
      </p:sp>
      <p:graphicFrame>
        <p:nvGraphicFramePr>
          <p:cNvPr id="5" name="Diagram 4">
            <a:extLst>
              <a:ext uri="{FF2B5EF4-FFF2-40B4-BE49-F238E27FC236}">
                <a16:creationId xmlns:a16="http://schemas.microsoft.com/office/drawing/2014/main" id="{B80562D0-68FF-45E2-83F2-76A6679EE84E}"/>
              </a:ext>
            </a:extLst>
          </p:cNvPr>
          <p:cNvGraphicFramePr/>
          <p:nvPr>
            <p:extLst/>
          </p:nvPr>
        </p:nvGraphicFramePr>
        <p:xfrm>
          <a:off x="4020649" y="1273893"/>
          <a:ext cx="7103201" cy="408044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2" name="Rechthoek: afgeronde hoeken 11">
            <a:extLst>
              <a:ext uri="{FF2B5EF4-FFF2-40B4-BE49-F238E27FC236}">
                <a16:creationId xmlns:a16="http://schemas.microsoft.com/office/drawing/2014/main" id="{BBEB9BCE-7FA4-41A3-841E-A1F86C23BB32}"/>
              </a:ext>
            </a:extLst>
          </p:cNvPr>
          <p:cNvSpPr/>
          <p:nvPr/>
        </p:nvSpPr>
        <p:spPr>
          <a:xfrm>
            <a:off x="5610111" y="1129218"/>
            <a:ext cx="1565564" cy="524495"/>
          </a:xfrm>
          <a:prstGeom prst="roundRect">
            <a:avLst/>
          </a:prstGeom>
          <a:solidFill>
            <a:srgbClr val="937D6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Keuze bestuur</a:t>
            </a:r>
          </a:p>
        </p:txBody>
      </p:sp>
      <p:sp>
        <p:nvSpPr>
          <p:cNvPr id="13" name="Rechthoek: afgeronde hoeken 12">
            <a:extLst>
              <a:ext uri="{FF2B5EF4-FFF2-40B4-BE49-F238E27FC236}">
                <a16:creationId xmlns:a16="http://schemas.microsoft.com/office/drawing/2014/main" id="{58F7B150-4D68-4D79-9841-52E406B47A2E}"/>
              </a:ext>
            </a:extLst>
          </p:cNvPr>
          <p:cNvSpPr/>
          <p:nvPr/>
        </p:nvSpPr>
        <p:spPr>
          <a:xfrm>
            <a:off x="7572249" y="1087464"/>
            <a:ext cx="3645730" cy="566249"/>
          </a:xfrm>
          <a:prstGeom prst="roundRect">
            <a:avLst/>
          </a:prstGeom>
          <a:solidFill>
            <a:srgbClr val="937D68"/>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200" b="0" i="0" u="none" strike="noStrike" kern="1200" cap="none" spc="0" normalizeH="0" baseline="0" noProof="0" dirty="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Oplossingsrichting</a:t>
            </a:r>
          </a:p>
        </p:txBody>
      </p:sp>
    </p:spTree>
    <p:extLst>
      <p:ext uri="{BB962C8B-B14F-4D97-AF65-F5344CB8AC3E}">
        <p14:creationId xmlns:p14="http://schemas.microsoft.com/office/powerpoint/2010/main" val="210089313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dianummer 1">
            <a:extLst>
              <a:ext uri="{FF2B5EF4-FFF2-40B4-BE49-F238E27FC236}">
                <a16:creationId xmlns:a16="http://schemas.microsoft.com/office/drawing/2014/main" id="{6D8F8553-EA41-4196-9E3A-71BAF157B231}"/>
              </a:ext>
            </a:extLst>
          </p:cNvPr>
          <p:cNvSpPr>
            <a:spLocks noGrp="1"/>
          </p:cNvSpPr>
          <p:nvPr/>
        </p:nvSpPr>
        <p:spPr>
          <a:xfrm>
            <a:off x="4724400" y="6492875"/>
            <a:ext cx="2743200" cy="365125"/>
          </a:xfrm>
          <a:prstGeom prst="rect">
            <a:avLst/>
          </a:prstGeom>
        </p:spPr>
        <p:txBody>
          <a:bodyPr vert="horz" lIns="91440" tIns="45720" rIns="91440" bIns="45720" rtlCol="0" anchor="ctr"/>
          <a:lstStyle>
            <a:defPPr>
              <a:defRPr lang="nl-NL"/>
            </a:defPPr>
            <a:lvl1pPr marL="0" algn="ctr" defTabSz="914400" rtl="0" eaLnBrk="1" latinLnBrk="0" hangingPunct="1">
              <a:defRPr sz="900" b="1" kern="1200">
                <a:solidFill>
                  <a:srgbClr val="001E86"/>
                </a:solidFill>
                <a:latin typeface="Open Sans" panose="020B0606030504020204"/>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456DFD3C-87B4-B640-B854-CC6EE1C334CF}" type="slidenum">
              <a:rPr kumimoji="0" lang="nl-NL" sz="900" b="0" i="0" u="none" strike="noStrike" kern="1200" cap="none" spc="0" normalizeH="0" baseline="0" noProof="0" smtClean="0">
                <a:ln>
                  <a:noFill/>
                </a:ln>
                <a:solidFill>
                  <a:srgbClr val="001E86"/>
                </a:solidFill>
                <a:effectLst/>
                <a:uLnTx/>
                <a:uFillTx/>
                <a:latin typeface="Calibri Light" panose="020F0302020204030204"/>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2</a:t>
            </a:fld>
            <a:endParaRPr kumimoji="0" lang="nl-NL" sz="900" b="0" i="0" u="none" strike="noStrike" kern="1200" cap="none" spc="0" normalizeH="0" baseline="0" noProof="0">
              <a:ln>
                <a:noFill/>
              </a:ln>
              <a:solidFill>
                <a:srgbClr val="001E86"/>
              </a:solidFill>
              <a:effectLst/>
              <a:uLnTx/>
              <a:uFillTx/>
              <a:latin typeface="Calibri Light" panose="020F0302020204030204"/>
              <a:ea typeface="+mn-ea"/>
              <a:cs typeface="+mn-cs"/>
            </a:endParaRPr>
          </a:p>
        </p:txBody>
      </p:sp>
      <p:sp>
        <p:nvSpPr>
          <p:cNvPr id="24" name="Titel 23">
            <a:extLst>
              <a:ext uri="{FF2B5EF4-FFF2-40B4-BE49-F238E27FC236}">
                <a16:creationId xmlns:a16="http://schemas.microsoft.com/office/drawing/2014/main" id="{7EAA17CE-283B-45AB-89AB-4B90E2E9B44A}"/>
              </a:ext>
            </a:extLst>
          </p:cNvPr>
          <p:cNvSpPr>
            <a:spLocks noGrp="1"/>
          </p:cNvSpPr>
          <p:nvPr>
            <p:ph type="title"/>
          </p:nvPr>
        </p:nvSpPr>
        <p:spPr>
          <a:xfrm>
            <a:off x="211708" y="133918"/>
            <a:ext cx="2919927" cy="1844703"/>
          </a:xfrm>
        </p:spPr>
        <p:txBody>
          <a:bodyPr>
            <a:normAutofit/>
          </a:bodyPr>
          <a:lstStyle/>
          <a:p>
            <a:r>
              <a:rPr lang="nl-NL" sz="2000" dirty="0">
                <a:solidFill>
                  <a:srgbClr val="180D55"/>
                </a:solidFill>
                <a:latin typeface="Open Sans"/>
                <a:ea typeface="Open Sans"/>
                <a:cs typeface="Open Sans"/>
              </a:rPr>
              <a:t>Hoe krijgen wij het vertrouwen van onze deelnemers die dit in hun hoofd hebben?</a:t>
            </a:r>
            <a:endParaRPr lang="nl-NL" sz="2000" dirty="0"/>
          </a:p>
        </p:txBody>
      </p:sp>
      <p:sp>
        <p:nvSpPr>
          <p:cNvPr id="27" name="Rechthoek: afgeronde diagonale hoeken 26">
            <a:extLst>
              <a:ext uri="{FF2B5EF4-FFF2-40B4-BE49-F238E27FC236}">
                <a16:creationId xmlns:a16="http://schemas.microsoft.com/office/drawing/2014/main" id="{1FFD00B7-DB82-492E-9E46-7B93078A67F0}"/>
              </a:ext>
            </a:extLst>
          </p:cNvPr>
          <p:cNvSpPr/>
          <p:nvPr/>
        </p:nvSpPr>
        <p:spPr>
          <a:xfrm>
            <a:off x="7607687" y="1978621"/>
            <a:ext cx="2513466" cy="1711948"/>
          </a:xfrm>
          <a:prstGeom prst="round2DiagRect">
            <a:avLst>
              <a:gd name="adj1" fmla="val 0"/>
              <a:gd name="adj2" fmla="val 16827"/>
            </a:avLst>
          </a:prstGeom>
          <a:blipFill dpi="0" rotWithShape="1">
            <a:blip r:embed="rId3" cstate="print">
              <a:extLst>
                <a:ext uri="{28A0092B-C50C-407E-A947-70E740481C1C}">
                  <a14:useLocalDpi xmlns:a14="http://schemas.microsoft.com/office/drawing/2010/main" val="0"/>
                </a:ext>
              </a:extLst>
            </a:blip>
            <a:srcRect/>
            <a:stretch>
              <a:fillRect/>
            </a:stretch>
          </a:blipFill>
          <a:ln w="57150">
            <a:solidFill>
              <a:srgbClr val="E1D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Rechthoek: afgeronde diagonale hoeken 27">
            <a:extLst>
              <a:ext uri="{FF2B5EF4-FFF2-40B4-BE49-F238E27FC236}">
                <a16:creationId xmlns:a16="http://schemas.microsoft.com/office/drawing/2014/main" id="{DD552689-A62A-4028-9BBA-99BC1E31A112}"/>
              </a:ext>
            </a:extLst>
          </p:cNvPr>
          <p:cNvSpPr/>
          <p:nvPr/>
        </p:nvSpPr>
        <p:spPr>
          <a:xfrm>
            <a:off x="2850776" y="4087296"/>
            <a:ext cx="3024059" cy="2287000"/>
          </a:xfrm>
          <a:prstGeom prst="round2DiagRect">
            <a:avLst>
              <a:gd name="adj1" fmla="val 0"/>
              <a:gd name="adj2" fmla="val 16827"/>
            </a:avLst>
          </a:prstGeom>
          <a:blipFill dpi="0" rotWithShape="1">
            <a:blip r:embed="rId4" cstate="print">
              <a:extLst>
                <a:ext uri="{28A0092B-C50C-407E-A947-70E740481C1C}">
                  <a14:useLocalDpi xmlns:a14="http://schemas.microsoft.com/office/drawing/2010/main" val="0"/>
                </a:ext>
              </a:extLst>
            </a:blip>
            <a:srcRect/>
            <a:stretch>
              <a:fillRect/>
            </a:stretch>
          </a:blipFill>
          <a:ln w="57150">
            <a:solidFill>
              <a:srgbClr val="E1D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hthoek: afgeronde diagonale hoeken 28">
            <a:extLst>
              <a:ext uri="{FF2B5EF4-FFF2-40B4-BE49-F238E27FC236}">
                <a16:creationId xmlns:a16="http://schemas.microsoft.com/office/drawing/2014/main" id="{53789217-C9B3-4B7A-B037-826F98D31BC6}"/>
              </a:ext>
            </a:extLst>
          </p:cNvPr>
          <p:cNvSpPr/>
          <p:nvPr/>
        </p:nvSpPr>
        <p:spPr>
          <a:xfrm>
            <a:off x="6793861" y="4402390"/>
            <a:ext cx="2880226" cy="1971906"/>
          </a:xfrm>
          <a:prstGeom prst="round2DiagRect">
            <a:avLst>
              <a:gd name="adj1" fmla="val 0"/>
              <a:gd name="adj2" fmla="val 16827"/>
            </a:avLst>
          </a:prstGeom>
          <a:blipFill dpi="0" rotWithShape="1">
            <a:blip r:embed="rId5">
              <a:extLst>
                <a:ext uri="{28A0092B-C50C-407E-A947-70E740481C1C}">
                  <a14:useLocalDpi xmlns:a14="http://schemas.microsoft.com/office/drawing/2010/main" val="0"/>
                </a:ext>
              </a:extLst>
            </a:blip>
            <a:srcRect/>
            <a:stretch>
              <a:fillRect/>
            </a:stretch>
          </a:blipFill>
          <a:ln w="57150">
            <a:solidFill>
              <a:srgbClr val="E1D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0" name="Rechthoek: afgeronde diagonale hoeken 29">
            <a:extLst>
              <a:ext uri="{FF2B5EF4-FFF2-40B4-BE49-F238E27FC236}">
                <a16:creationId xmlns:a16="http://schemas.microsoft.com/office/drawing/2014/main" id="{523A2716-CA9A-4271-BCC2-0A5527F1E275}"/>
              </a:ext>
            </a:extLst>
          </p:cNvPr>
          <p:cNvSpPr/>
          <p:nvPr/>
        </p:nvSpPr>
        <p:spPr>
          <a:xfrm>
            <a:off x="4105813" y="1681718"/>
            <a:ext cx="2688048" cy="1857992"/>
          </a:xfrm>
          <a:prstGeom prst="round2DiagRect">
            <a:avLst>
              <a:gd name="adj1" fmla="val 0"/>
              <a:gd name="adj2" fmla="val 16827"/>
            </a:avLst>
          </a:prstGeom>
          <a:blipFill dpi="0" rotWithShape="1">
            <a:blip r:embed="rId6" cstate="print">
              <a:extLst>
                <a:ext uri="{28A0092B-C50C-407E-A947-70E740481C1C}">
                  <a14:useLocalDpi xmlns:a14="http://schemas.microsoft.com/office/drawing/2010/main" val="0"/>
                </a:ext>
              </a:extLst>
            </a:blip>
            <a:srcRect/>
            <a:stretch>
              <a:fillRect/>
            </a:stretch>
          </a:blipFill>
          <a:ln w="57150">
            <a:solidFill>
              <a:srgbClr val="E1DBD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1414668"/>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a:extLst>
              <a:ext uri="{FF2B5EF4-FFF2-40B4-BE49-F238E27FC236}">
                <a16:creationId xmlns:a16="http://schemas.microsoft.com/office/drawing/2014/main" id="{0A2A41F5-BE53-4B19-8719-7F1C835B978B}"/>
              </a:ext>
            </a:extLst>
          </p:cNvPr>
          <p:cNvSpPr txBox="1">
            <a:spLocks/>
          </p:cNvSpPr>
          <p:nvPr/>
        </p:nvSpPr>
        <p:spPr>
          <a:xfrm>
            <a:off x="1611489" y="5565521"/>
            <a:ext cx="7221640" cy="1134210"/>
          </a:xfrm>
          <a:prstGeom prst="rect">
            <a:avLst/>
          </a:prstGeom>
          <a:noFill/>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en-US" sz="1800" b="0" i="0" u="none" strike="noStrike" kern="1200" cap="none" spc="0" normalizeH="0" baseline="0" noProof="0" dirty="0">
              <a:ln>
                <a:noFill/>
              </a:ln>
              <a:solidFill>
                <a:srgbClr val="002060"/>
              </a:solidFill>
              <a:effectLst/>
              <a:uLnTx/>
              <a:uFillTx/>
              <a:latin typeface="Open Sans"/>
              <a:ea typeface="Open Sans"/>
              <a:cs typeface="Open Sans"/>
            </a:endParaRPr>
          </a:p>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02060"/>
                </a:solidFill>
                <a:effectLst/>
                <a:uLnTx/>
                <a:uFillTx/>
                <a:latin typeface="Open Sans"/>
                <a:ea typeface="Open Sans"/>
                <a:cs typeface="Open Sans"/>
                <a:hlinkClick r:id="rId3">
                  <a:extLst>
                    <a:ext uri="{A12FA001-AC4F-418D-AE19-62706E023703}">
                      <ahyp:hlinkClr xmlns="" xmlns:ahyp="http://schemas.microsoft.com/office/drawing/2018/hyperlinkcolor" val="tx"/>
                    </a:ext>
                  </a:extLst>
                </a:hlinkClick>
              </a:rPr>
              <a:t>Gerard.Pereboom@lifetri</a:t>
            </a:r>
            <a:r>
              <a:rPr kumimoji="0" lang="en-US" sz="1800" b="0" i="0" u="none" strike="noStrike" kern="1200" cap="none" spc="0" normalizeH="0" baseline="0" noProof="0" dirty="0">
                <a:ln>
                  <a:noFill/>
                </a:ln>
                <a:solidFill>
                  <a:srgbClr val="002060"/>
                </a:solidFill>
                <a:effectLst/>
                <a:uLnTx/>
                <a:uFillTx/>
                <a:latin typeface="Open Sans"/>
                <a:ea typeface="Open Sans"/>
                <a:cs typeface="Open Sans"/>
                <a:hlinkClick r:id="rId3">
                  <a:extLst>
                    <a:ext uri="{A12FA001-AC4F-418D-AE19-62706E023703}">
                      <ahyp:hlinkClr xmlns="" xmlns:ahyp="http://schemas.microsoft.com/office/drawing/2018/hyperlinkcolor" val="tx"/>
                    </a:ext>
                  </a:extLst>
                </a:hlinkClick>
              </a:rPr>
              <a:t>.nl</a:t>
            </a:r>
            <a:r>
              <a:rPr kumimoji="0" lang="en-US" sz="1800" b="0" i="0" u="none" strike="noStrike" kern="1200" cap="none" spc="0" normalizeH="0" baseline="0" noProof="0" dirty="0">
                <a:ln>
                  <a:noFill/>
                </a:ln>
                <a:solidFill>
                  <a:srgbClr val="002060"/>
                </a:solidFill>
                <a:effectLst/>
                <a:uLnTx/>
                <a:uFillTx/>
                <a:latin typeface="Open Sans"/>
                <a:ea typeface="Open Sans"/>
                <a:cs typeface="Open Sans"/>
              </a:rPr>
              <a:t>	(06) 53 33 34 55</a:t>
            </a:r>
          </a:p>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nl-NL" sz="1800" b="0" i="0" u="none" strike="noStrike" kern="1200" cap="none" spc="0" normalizeH="0" baseline="0" noProof="0" dirty="0">
              <a:ln>
                <a:noFill/>
              </a:ln>
              <a:solidFill>
                <a:srgbClr val="180D55"/>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9" name="Graphic 8" descr="Smartphone met effen opvulling">
            <a:extLst>
              <a:ext uri="{FF2B5EF4-FFF2-40B4-BE49-F238E27FC236}">
                <a16:creationId xmlns:a16="http://schemas.microsoft.com/office/drawing/2014/main" id="{4846328A-DADD-4BAB-8771-BE4E817807A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4970584" y="5813281"/>
            <a:ext cx="393192" cy="393192"/>
          </a:xfrm>
          <a:prstGeom prst="rect">
            <a:avLst/>
          </a:prstGeom>
        </p:spPr>
      </p:pic>
      <p:pic>
        <p:nvPicPr>
          <p:cNvPr id="12" name="Graphic 11" descr="E-mail silhouet">
            <a:extLst>
              <a:ext uri="{FF2B5EF4-FFF2-40B4-BE49-F238E27FC236}">
                <a16:creationId xmlns:a16="http://schemas.microsoft.com/office/drawing/2014/main" id="{F7317DD6-3839-46CD-B76F-CEC2F3DB3040}"/>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tretch>
            <a:fillRect/>
          </a:stretch>
        </p:blipFill>
        <p:spPr>
          <a:xfrm>
            <a:off x="1105268" y="5813281"/>
            <a:ext cx="393192" cy="393192"/>
          </a:xfrm>
          <a:prstGeom prst="rect">
            <a:avLst/>
          </a:prstGeom>
        </p:spPr>
      </p:pic>
      <p:sp>
        <p:nvSpPr>
          <p:cNvPr id="5" name="Titel 1">
            <a:extLst>
              <a:ext uri="{FF2B5EF4-FFF2-40B4-BE49-F238E27FC236}">
                <a16:creationId xmlns:a16="http://schemas.microsoft.com/office/drawing/2014/main" id="{E503A583-5619-4BD5-B05E-0D3AC7BF101D}"/>
              </a:ext>
            </a:extLst>
          </p:cNvPr>
          <p:cNvSpPr txBox="1">
            <a:spLocks/>
          </p:cNvSpPr>
          <p:nvPr/>
        </p:nvSpPr>
        <p:spPr>
          <a:xfrm>
            <a:off x="1711747" y="2508228"/>
            <a:ext cx="6596992" cy="1736593"/>
          </a:xfrm>
          <a:prstGeom prst="rect">
            <a:avLst/>
          </a:prstGeom>
          <a:noFill/>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7FCE6C"/>
                </a:solidFill>
                <a:effectLst/>
                <a:uLnTx/>
                <a:uFillTx/>
                <a:latin typeface="Open Sans"/>
                <a:ea typeface="Open Sans"/>
                <a:cs typeface="Open Sans"/>
              </a:rPr>
              <a:t>Welke vragen kunnen we samen beantwoorden?</a:t>
            </a:r>
            <a:endParaRPr kumimoji="0" lang="nl-NL" sz="3200" b="1" i="0" u="none" strike="noStrike" kern="1200" cap="none" spc="0" normalizeH="0" baseline="0" noProof="0" dirty="0">
              <a:ln>
                <a:noFill/>
              </a:ln>
              <a:solidFill>
                <a:srgbClr val="7FCE6C"/>
              </a:solidFill>
              <a:effectLst/>
              <a:uLnTx/>
              <a:uFillTx/>
              <a:latin typeface="Open Sans" panose="020B0606030504020204" pitchFamily="34" charset="0"/>
              <a:ea typeface="Open Sans" panose="020B0606030504020204" pitchFamily="34" charset="0"/>
              <a:cs typeface="Open Sans" panose="020B0606030504020204" pitchFamily="34" charset="0"/>
            </a:endParaRPr>
          </a:p>
        </p:txBody>
      </p:sp>
      <p:pic>
        <p:nvPicPr>
          <p:cNvPr id="10" name="Afbeelding 2" descr="Zakenman denkt">
            <a:extLst>
              <a:ext uri="{FF2B5EF4-FFF2-40B4-BE49-F238E27FC236}">
                <a16:creationId xmlns:a16="http://schemas.microsoft.com/office/drawing/2014/main" id="{DBFEC638-DFD0-4649-A8B3-7071A41EB840}"/>
              </a:ext>
            </a:extLst>
          </p:cNvPr>
          <p:cNvPicPr>
            <a:picLocks noChangeAspect="1"/>
          </p:cNvPicPr>
          <p:nvPr/>
        </p:nvPicPr>
        <p:blipFill rotWithShape="1">
          <a:blip r:embed="rId8"/>
          <a:srcRect b="33357"/>
          <a:stretch/>
        </p:blipFill>
        <p:spPr>
          <a:xfrm>
            <a:off x="8024927" y="1156749"/>
            <a:ext cx="2860335" cy="5705604"/>
          </a:xfrm>
          <a:prstGeom prst="rect">
            <a:avLst/>
          </a:prstGeom>
        </p:spPr>
      </p:pic>
    </p:spTree>
    <p:extLst>
      <p:ext uri="{BB962C8B-B14F-4D97-AF65-F5344CB8AC3E}">
        <p14:creationId xmlns:p14="http://schemas.microsoft.com/office/powerpoint/2010/main" val="2163793112"/>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B29D81-824D-4180-ADD7-3A1932B37DE5}"/>
              </a:ext>
            </a:extLst>
          </p:cNvPr>
          <p:cNvSpPr>
            <a:spLocks noGrp="1"/>
          </p:cNvSpPr>
          <p:nvPr>
            <p:ph type="sldNum" sz="quarter" idx="12"/>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3DB5CD4A-C15F-49D5-8EDA-2339ABBB057D}"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54</a:t>
            </a:fld>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9" name="Titel 8">
            <a:extLst>
              <a:ext uri="{FF2B5EF4-FFF2-40B4-BE49-F238E27FC236}">
                <a16:creationId xmlns:a16="http://schemas.microsoft.com/office/drawing/2014/main" id="{EDE5623E-DE20-439B-810E-B9553C4C119E}"/>
              </a:ext>
            </a:extLst>
          </p:cNvPr>
          <p:cNvSpPr>
            <a:spLocks noGrp="1"/>
          </p:cNvSpPr>
          <p:nvPr>
            <p:ph type="ctrTitle"/>
          </p:nvPr>
        </p:nvSpPr>
        <p:spPr>
          <a:xfrm>
            <a:off x="700892" y="5363069"/>
            <a:ext cx="11043776" cy="453522"/>
          </a:xfrm>
        </p:spPr>
        <p:txBody>
          <a:bodyPr/>
          <a:lstStyle/>
          <a:p>
            <a:r>
              <a:rPr lang="en-US" dirty="0" smtClean="0"/>
              <a:t>BESCHERMING VAN (RICHT)DEKKINGSGRAAD</a:t>
            </a:r>
            <a:endParaRPr lang="nl-NL" dirty="0"/>
          </a:p>
        </p:txBody>
      </p:sp>
      <p:pic>
        <p:nvPicPr>
          <p:cNvPr id="4" name="Tijdelijke aanduiding voor afbeelding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352" b="25352"/>
          <a:stretch>
            <a:fillRect/>
          </a:stretch>
        </p:blipFill>
        <p:spPr/>
      </p:pic>
    </p:spTree>
    <p:extLst>
      <p:ext uri="{BB962C8B-B14F-4D97-AF65-F5344CB8AC3E}">
        <p14:creationId xmlns:p14="http://schemas.microsoft.com/office/powerpoint/2010/main" val="1358565914"/>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3"/>
          </p:nvPr>
        </p:nvSpPr>
        <p:spPr>
          <a:xfrm>
            <a:off x="1471579" y="4321870"/>
            <a:ext cx="2858582" cy="215444"/>
          </a:xfrm>
        </p:spPr>
        <p:txBody>
          <a:bodyPr/>
          <a:lstStyle/>
          <a:p>
            <a:r>
              <a:rPr lang="en-GB" dirty="0"/>
              <a:t>March 31, 2022</a:t>
            </a:r>
          </a:p>
        </p:txBody>
      </p:sp>
      <p:sp>
        <p:nvSpPr>
          <p:cNvPr id="58" name="Textplatzhalter 57"/>
          <p:cNvSpPr>
            <a:spLocks noGrp="1"/>
          </p:cNvSpPr>
          <p:nvPr>
            <p:ph type="body" sz="quarter" idx="12"/>
          </p:nvPr>
        </p:nvSpPr>
        <p:spPr/>
        <p:txBody>
          <a:bodyPr/>
          <a:lstStyle/>
          <a:p>
            <a:r>
              <a:rPr lang="en-GB" dirty="0"/>
              <a:t>Active is:</a:t>
            </a:r>
          </a:p>
        </p:txBody>
      </p:sp>
      <p:sp>
        <p:nvSpPr>
          <p:cNvPr id="22" name="Textplatzhalter 21"/>
          <p:cNvSpPr>
            <a:spLocks noGrp="1"/>
          </p:cNvSpPr>
          <p:nvPr>
            <p:ph type="body" sz="quarter" idx="15"/>
          </p:nvPr>
        </p:nvSpPr>
        <p:spPr>
          <a:xfrm>
            <a:off x="1471580" y="1895732"/>
            <a:ext cx="4713261" cy="1292662"/>
          </a:xfrm>
        </p:spPr>
        <p:txBody>
          <a:bodyPr/>
          <a:lstStyle/>
          <a:p>
            <a:r>
              <a:rPr lang="en-US" sz="2800" dirty="0"/>
              <a:t>Protecting your pension fund’s coverage ratio for equity market shocks</a:t>
            </a:r>
            <a:endParaRPr lang="en-GB" sz="2800" dirty="0"/>
          </a:p>
        </p:txBody>
      </p:sp>
      <p:sp>
        <p:nvSpPr>
          <p:cNvPr id="7" name="Eckige Klammer links/rechts 37"/>
          <p:cNvSpPr/>
          <p:nvPr/>
        </p:nvSpPr>
        <p:spPr bwMode="gray">
          <a:xfrm rot="16200000">
            <a:off x="2577731" y="-885305"/>
            <a:ext cx="370540" cy="2592000"/>
          </a:xfrm>
          <a:prstGeom prst="bracketPair">
            <a:avLst>
              <a:gd name="adj" fmla="val 0"/>
            </a:avLst>
          </a:prstGeom>
          <a:noFill/>
          <a:ln w="28575" cap="flat" cmpd="sng" algn="ctr">
            <a:solidFill>
              <a:srgbClr val="DD0031"/>
            </a:solidFill>
            <a:prstDash val="solid"/>
            <a:round/>
            <a:headEnd type="none" w="med" len="med"/>
            <a:tailEnd type="none" w="med" len="med"/>
          </a:ln>
          <a:effectLst/>
        </p:spPr>
        <p:txBody>
          <a:bodyPr vert="vert" wrap="square" lIns="92038" tIns="0" rIns="92038" bIns="0" rtlCol="0" anchor="ctr">
            <a:spAutoFit/>
          </a:bodyPr>
          <a:lstStyle/>
          <a:p>
            <a:pPr algn="ctr" defTabSz="914400" fontAlgn="base">
              <a:spcBef>
                <a:spcPts val="360"/>
              </a:spcBef>
              <a:spcAft>
                <a:spcPts val="360"/>
              </a:spcAft>
              <a:buClr>
                <a:srgbClr val="003781"/>
              </a:buClr>
            </a:pPr>
            <a:r>
              <a:rPr lang="en-US" sz="1200" b="1" kern="0" dirty="0">
                <a:solidFill>
                  <a:srgbClr val="DD0031"/>
                </a:solidFill>
                <a:latin typeface="Arial" panose="020B0604020202020204" pitchFamily="34" charset="0"/>
              </a:rPr>
              <a:t>For professional investors only</a:t>
            </a:r>
          </a:p>
        </p:txBody>
      </p:sp>
      <p:grpSp>
        <p:nvGrpSpPr>
          <p:cNvPr id="8" name="Group 7">
            <a:extLst>
              <a:ext uri="{FF2B5EF4-FFF2-40B4-BE49-F238E27FC236}">
                <a16:creationId xmlns:a16="http://schemas.microsoft.com/office/drawing/2014/main" id="{E5D71E92-6672-433B-8C89-A2EB9C7DFD41}"/>
              </a:ext>
            </a:extLst>
          </p:cNvPr>
          <p:cNvGrpSpPr/>
          <p:nvPr/>
        </p:nvGrpSpPr>
        <p:grpSpPr>
          <a:xfrm>
            <a:off x="4643961" y="5882097"/>
            <a:ext cx="1736725" cy="731516"/>
            <a:chOff x="3500960" y="5930737"/>
            <a:chExt cx="1736725" cy="731516"/>
          </a:xfrm>
        </p:grpSpPr>
        <p:pic>
          <p:nvPicPr>
            <p:cNvPr id="9" name="Picture 10" descr="Y:\05a_Product Literature\risklab\zzz_Images &amp; Logos\risklab_logo_office.wmf">
              <a:extLst>
                <a:ext uri="{FF2B5EF4-FFF2-40B4-BE49-F238E27FC236}">
                  <a16:creationId xmlns:a16="http://schemas.microsoft.com/office/drawing/2014/main" id="{380A4548-F727-4707-9ECA-C77F14C94400}"/>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3580354" y="5930737"/>
              <a:ext cx="1147289" cy="31082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70">
              <a:extLst>
                <a:ext uri="{FF2B5EF4-FFF2-40B4-BE49-F238E27FC236}">
                  <a16:creationId xmlns:a16="http://schemas.microsoft.com/office/drawing/2014/main" id="{54E3CA8E-2F5F-47A8-A4B0-A7FDB7EF8CF6}"/>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500960" y="6241566"/>
              <a:ext cx="1736725" cy="4206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2" name="Text Placeholder 11">
            <a:extLst>
              <a:ext uri="{FF2B5EF4-FFF2-40B4-BE49-F238E27FC236}">
                <a16:creationId xmlns:a16="http://schemas.microsoft.com/office/drawing/2014/main" id="{4286BDF3-B2F7-4D3D-9E64-22D4EA2F9D9A}"/>
              </a:ext>
            </a:extLst>
          </p:cNvPr>
          <p:cNvSpPr>
            <a:spLocks noGrp="1"/>
          </p:cNvSpPr>
          <p:nvPr>
            <p:ph type="body" sz="quarter" idx="11"/>
          </p:nvPr>
        </p:nvSpPr>
        <p:spPr>
          <a:xfrm>
            <a:off x="1471579" y="5399087"/>
            <a:ext cx="2854004" cy="184666"/>
          </a:xfrm>
        </p:spPr>
        <p:txBody>
          <a:bodyPr/>
          <a:lstStyle/>
          <a:p>
            <a:r>
              <a:rPr lang="de-DE" dirty="0"/>
              <a:t>Sven Treu, AllianzGI / </a:t>
            </a:r>
            <a:r>
              <a:rPr lang="de-DE" dirty="0" err="1"/>
              <a:t>risklab</a:t>
            </a:r>
            <a:endParaRPr lang="de-DE" dirty="0"/>
          </a:p>
        </p:txBody>
      </p:sp>
      <p:sp>
        <p:nvSpPr>
          <p:cNvPr id="4" name="Text Placeholder 3">
            <a:extLst>
              <a:ext uri="{FF2B5EF4-FFF2-40B4-BE49-F238E27FC236}">
                <a16:creationId xmlns:a16="http://schemas.microsoft.com/office/drawing/2014/main" id="{9CA71234-E460-4C49-832F-7C50F3A78579}"/>
              </a:ext>
            </a:extLst>
          </p:cNvPr>
          <p:cNvSpPr>
            <a:spLocks noGrp="1"/>
          </p:cNvSpPr>
          <p:nvPr>
            <p:ph type="body" sz="quarter" idx="14"/>
          </p:nvPr>
        </p:nvSpPr>
        <p:spPr>
          <a:xfrm>
            <a:off x="398770" y="3310366"/>
            <a:ext cx="3518254" cy="215444"/>
          </a:xfrm>
        </p:spPr>
        <p:txBody>
          <a:bodyPr/>
          <a:lstStyle/>
          <a:p>
            <a:endParaRPr lang="en-US" dirty="0"/>
          </a:p>
        </p:txBody>
      </p:sp>
    </p:spTree>
    <p:extLst>
      <p:ext uri="{BB962C8B-B14F-4D97-AF65-F5344CB8AC3E}">
        <p14:creationId xmlns:p14="http://schemas.microsoft.com/office/powerpoint/2010/main" val="289798223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6EECFCD-D893-4524-8B1B-9BFE1AB436F8}"/>
              </a:ext>
            </a:extLst>
          </p:cNvPr>
          <p:cNvSpPr>
            <a:spLocks noGrp="1"/>
          </p:cNvSpPr>
          <p:nvPr>
            <p:ph type="body" sz="quarter" idx="22"/>
          </p:nvPr>
        </p:nvSpPr>
        <p:spPr/>
        <p:txBody>
          <a:bodyPr/>
          <a:lstStyle/>
          <a:p>
            <a:r>
              <a:rPr lang="en-US" dirty="0"/>
              <a:t>Source: Allianz Global Investors, Bloomberg, as at 30.09.2021. Past performance is not a reliable indicator of future results.</a:t>
            </a:r>
          </a:p>
        </p:txBody>
      </p:sp>
      <p:sp>
        <p:nvSpPr>
          <p:cNvPr id="5" name="Text Placeholder 4">
            <a:extLst>
              <a:ext uri="{FF2B5EF4-FFF2-40B4-BE49-F238E27FC236}">
                <a16:creationId xmlns:a16="http://schemas.microsoft.com/office/drawing/2014/main" id="{DFAA0E8E-B38D-465A-A6DC-B1E358DDC56D}"/>
              </a:ext>
            </a:extLst>
          </p:cNvPr>
          <p:cNvSpPr>
            <a:spLocks noGrp="1"/>
          </p:cNvSpPr>
          <p:nvPr>
            <p:ph type="body" sz="quarter" idx="24"/>
          </p:nvPr>
        </p:nvSpPr>
        <p:spPr/>
        <p:txBody>
          <a:bodyPr/>
          <a:lstStyle/>
          <a:p>
            <a:pPr algn="ctr"/>
            <a:r>
              <a:rPr lang="en-US" dirty="0"/>
              <a:t>Equity markets are at all-time highs</a:t>
            </a:r>
          </a:p>
        </p:txBody>
      </p:sp>
      <p:sp>
        <p:nvSpPr>
          <p:cNvPr id="8" name="Text Placeholder 7">
            <a:extLst>
              <a:ext uri="{FF2B5EF4-FFF2-40B4-BE49-F238E27FC236}">
                <a16:creationId xmlns:a16="http://schemas.microsoft.com/office/drawing/2014/main" id="{F54EA77A-13DB-4683-B525-790242B54806}"/>
              </a:ext>
            </a:extLst>
          </p:cNvPr>
          <p:cNvSpPr>
            <a:spLocks noGrp="1"/>
          </p:cNvSpPr>
          <p:nvPr>
            <p:ph type="body" sz="quarter" idx="27"/>
          </p:nvPr>
        </p:nvSpPr>
        <p:spPr>
          <a:xfrm>
            <a:off x="6178014" y="1591200"/>
            <a:ext cx="4530575" cy="153888"/>
          </a:xfrm>
        </p:spPr>
        <p:txBody>
          <a:bodyPr/>
          <a:lstStyle/>
          <a:p>
            <a:pPr algn="ctr"/>
            <a:r>
              <a:rPr lang="en-US" dirty="0"/>
              <a:t>Market corrections to become more frequent and severe</a:t>
            </a:r>
          </a:p>
        </p:txBody>
      </p:sp>
      <p:sp>
        <p:nvSpPr>
          <p:cNvPr id="10" name="Title 9">
            <a:extLst>
              <a:ext uri="{FF2B5EF4-FFF2-40B4-BE49-F238E27FC236}">
                <a16:creationId xmlns:a16="http://schemas.microsoft.com/office/drawing/2014/main" id="{097742F6-074A-4B74-A638-7BB8497019AA}"/>
              </a:ext>
            </a:extLst>
          </p:cNvPr>
          <p:cNvSpPr>
            <a:spLocks noGrp="1"/>
          </p:cNvSpPr>
          <p:nvPr>
            <p:ph type="title"/>
          </p:nvPr>
        </p:nvSpPr>
        <p:spPr>
          <a:xfrm>
            <a:off x="1467000" y="660014"/>
            <a:ext cx="6084000" cy="307777"/>
          </a:xfrm>
        </p:spPr>
        <p:txBody>
          <a:bodyPr/>
          <a:lstStyle/>
          <a:p>
            <a:r>
              <a:rPr lang="de-DE" dirty="0" err="1"/>
              <a:t>Increasing</a:t>
            </a:r>
            <a:r>
              <a:rPr lang="de-DE" dirty="0"/>
              <a:t> Risk in Equity </a:t>
            </a:r>
            <a:r>
              <a:rPr lang="de-DE" dirty="0" err="1"/>
              <a:t>Markets</a:t>
            </a:r>
            <a:endParaRPr lang="en-US" dirty="0"/>
          </a:p>
        </p:txBody>
      </p:sp>
      <p:graphicFrame>
        <p:nvGraphicFramePr>
          <p:cNvPr id="11" name="Chart 10">
            <a:extLst>
              <a:ext uri="{FF2B5EF4-FFF2-40B4-BE49-F238E27FC236}">
                <a16:creationId xmlns:a16="http://schemas.microsoft.com/office/drawing/2014/main" id="{0D115B4A-B424-4747-BADC-9E9563D27FB4}"/>
              </a:ext>
            </a:extLst>
          </p:cNvPr>
          <p:cNvGraphicFramePr/>
          <p:nvPr/>
        </p:nvGraphicFramePr>
        <p:xfrm>
          <a:off x="6178014" y="1988021"/>
          <a:ext cx="4530574" cy="2683567"/>
        </p:xfrm>
        <a:graphic>
          <a:graphicData uri="http://schemas.openxmlformats.org/drawingml/2006/chart">
            <c:chart xmlns:c="http://schemas.openxmlformats.org/drawingml/2006/chart" xmlns:r="http://schemas.openxmlformats.org/officeDocument/2006/relationships" r:id="rId2"/>
          </a:graphicData>
        </a:graphic>
      </p:graphicFrame>
      <p:grpSp>
        <p:nvGrpSpPr>
          <p:cNvPr id="13" name="Gruppieren 1">
            <a:extLst>
              <a:ext uri="{FF2B5EF4-FFF2-40B4-BE49-F238E27FC236}">
                <a16:creationId xmlns:a16="http://schemas.microsoft.com/office/drawing/2014/main" id="{7B5DB700-8DEC-4D7E-9682-36C2088920A4}"/>
              </a:ext>
            </a:extLst>
          </p:cNvPr>
          <p:cNvGrpSpPr/>
          <p:nvPr/>
        </p:nvGrpSpPr>
        <p:grpSpPr bwMode="gray">
          <a:xfrm>
            <a:off x="1402514" y="5645694"/>
            <a:ext cx="9322486" cy="530261"/>
            <a:chOff x="324000" y="5630892"/>
            <a:chExt cx="9252000" cy="532308"/>
          </a:xfrm>
          <a:solidFill>
            <a:srgbClr val="326295"/>
          </a:solidFill>
        </p:grpSpPr>
        <p:sp>
          <p:nvSpPr>
            <p:cNvPr id="14" name="Freeform 6">
              <a:extLst>
                <a:ext uri="{FF2B5EF4-FFF2-40B4-BE49-F238E27FC236}">
                  <a16:creationId xmlns:a16="http://schemas.microsoft.com/office/drawing/2014/main" id="{3116B528-A780-41E6-8F78-EE997137AB5B}"/>
                </a:ext>
              </a:extLst>
            </p:cNvPr>
            <p:cNvSpPr>
              <a:spLocks/>
            </p:cNvSpPr>
            <p:nvPr/>
          </p:nvSpPr>
          <p:spPr bwMode="gray">
            <a:xfrm>
              <a:off x="324000"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5" name="Freeform 7">
              <a:extLst>
                <a:ext uri="{FF2B5EF4-FFF2-40B4-BE49-F238E27FC236}">
                  <a16:creationId xmlns:a16="http://schemas.microsoft.com/office/drawing/2014/main" id="{F26CCEB9-FE01-4F74-8E74-D1082CBCE339}"/>
                </a:ext>
              </a:extLst>
            </p:cNvPr>
            <p:cNvSpPr>
              <a:spLocks/>
            </p:cNvSpPr>
            <p:nvPr/>
          </p:nvSpPr>
          <p:spPr bwMode="gray">
            <a:xfrm>
              <a:off x="558410" y="5639981"/>
              <a:ext cx="239193" cy="523219"/>
            </a:xfrm>
            <a:custGeom>
              <a:avLst/>
              <a:gdLst>
                <a:gd name="T0" fmla="*/ 0 w 138"/>
                <a:gd name="T1" fmla="*/ 0 h 286"/>
                <a:gd name="T2" fmla="*/ 68 w 138"/>
                <a:gd name="T3" fmla="*/ 144 h 286"/>
                <a:gd name="T4" fmla="*/ 0 w 138"/>
                <a:gd name="T5" fmla="*/ 286 h 286"/>
                <a:gd name="T6" fmla="*/ 70 w 138"/>
                <a:gd name="T7" fmla="*/ 286 h 286"/>
                <a:gd name="T8" fmla="*/ 138 w 138"/>
                <a:gd name="T9" fmla="*/ 144 h 286"/>
                <a:gd name="T10" fmla="*/ 70 w 138"/>
                <a:gd name="T11" fmla="*/ 0 h 286"/>
                <a:gd name="T12" fmla="*/ 0 w 138"/>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8" h="286">
                  <a:moveTo>
                    <a:pt x="0" y="0"/>
                  </a:moveTo>
                  <a:lnTo>
                    <a:pt x="68" y="144"/>
                  </a:lnTo>
                  <a:lnTo>
                    <a:pt x="0" y="286"/>
                  </a:lnTo>
                  <a:lnTo>
                    <a:pt x="70" y="286"/>
                  </a:lnTo>
                  <a:lnTo>
                    <a:pt x="138" y="144"/>
                  </a:lnTo>
                  <a:lnTo>
                    <a:pt x="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6" name="Freeform 8">
              <a:extLst>
                <a:ext uri="{FF2B5EF4-FFF2-40B4-BE49-F238E27FC236}">
                  <a16:creationId xmlns:a16="http://schemas.microsoft.com/office/drawing/2014/main" id="{5B12D27C-048A-4092-AB99-1542E220A748}"/>
                </a:ext>
              </a:extLst>
            </p:cNvPr>
            <p:cNvSpPr>
              <a:spLocks/>
            </p:cNvSpPr>
            <p:nvPr/>
          </p:nvSpPr>
          <p:spPr bwMode="gray">
            <a:xfrm>
              <a:off x="797603"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7" name="Freeform 9">
              <a:extLst>
                <a:ext uri="{FF2B5EF4-FFF2-40B4-BE49-F238E27FC236}">
                  <a16:creationId xmlns:a16="http://schemas.microsoft.com/office/drawing/2014/main" id="{51636D06-F99D-4E6E-B642-1EAE4FC803A1}"/>
                </a:ext>
              </a:extLst>
            </p:cNvPr>
            <p:cNvSpPr>
              <a:spLocks/>
            </p:cNvSpPr>
            <p:nvPr/>
          </p:nvSpPr>
          <p:spPr bwMode="gray">
            <a:xfrm>
              <a:off x="1035202" y="5630892"/>
              <a:ext cx="8540798" cy="523220"/>
            </a:xfrm>
            <a:custGeom>
              <a:avLst/>
              <a:gdLst>
                <a:gd name="T0" fmla="*/ 0 w 4942"/>
                <a:gd name="T1" fmla="*/ 0 h 286"/>
                <a:gd name="T2" fmla="*/ 69 w 4942"/>
                <a:gd name="T3" fmla="*/ 144 h 286"/>
                <a:gd name="T4" fmla="*/ 0 w 4942"/>
                <a:gd name="T5" fmla="*/ 286 h 286"/>
                <a:gd name="T6" fmla="*/ 4942 w 4942"/>
                <a:gd name="T7" fmla="*/ 286 h 286"/>
                <a:gd name="T8" fmla="*/ 4942 w 4942"/>
                <a:gd name="T9" fmla="*/ 0 h 286"/>
                <a:gd name="T10" fmla="*/ 0 w 4942"/>
                <a:gd name="T11" fmla="*/ 0 h 286"/>
              </a:gdLst>
              <a:ahLst/>
              <a:cxnLst>
                <a:cxn ang="0">
                  <a:pos x="T0" y="T1"/>
                </a:cxn>
                <a:cxn ang="0">
                  <a:pos x="T2" y="T3"/>
                </a:cxn>
                <a:cxn ang="0">
                  <a:pos x="T4" y="T5"/>
                </a:cxn>
                <a:cxn ang="0">
                  <a:pos x="T6" y="T7"/>
                </a:cxn>
                <a:cxn ang="0">
                  <a:pos x="T8" y="T9"/>
                </a:cxn>
                <a:cxn ang="0">
                  <a:pos x="T10" y="T11"/>
                </a:cxn>
              </a:cxnLst>
              <a:rect l="0" t="0" r="r" b="b"/>
              <a:pathLst>
                <a:path w="4942" h="286">
                  <a:moveTo>
                    <a:pt x="0" y="0"/>
                  </a:moveTo>
                  <a:lnTo>
                    <a:pt x="69" y="144"/>
                  </a:lnTo>
                  <a:lnTo>
                    <a:pt x="0" y="286"/>
                  </a:lnTo>
                  <a:lnTo>
                    <a:pt x="4942" y="286"/>
                  </a:lnTo>
                  <a:lnTo>
                    <a:pt x="494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16000" anchor="ctr" anchorCtr="0">
              <a:noAutofit/>
            </a:bodyPr>
            <a:lstStyle/>
            <a:p>
              <a:pPr marL="85725" defTabSz="914400" fontAlgn="base">
                <a:spcBef>
                  <a:spcPts val="200"/>
                </a:spcBef>
                <a:spcAft>
                  <a:spcPts val="300"/>
                </a:spcAft>
                <a:tabLst>
                  <a:tab pos="179388" algn="l"/>
                </a:tabLst>
              </a:pPr>
              <a:r>
                <a:rPr lang="en-US" sz="1400" kern="0" dirty="0">
                  <a:solidFill>
                    <a:srgbClr val="FFFFFF"/>
                  </a:solidFill>
                  <a:latin typeface="Arial" panose="020B0604020202020204" pitchFamily="34" charset="0"/>
                </a:rPr>
                <a:t>Without an adequate risk management strategy in place, the coverage ratios of Dutch pension funds can be meaningfully impacted.</a:t>
              </a:r>
            </a:p>
          </p:txBody>
        </p:sp>
      </p:grpSp>
      <p:sp>
        <p:nvSpPr>
          <p:cNvPr id="18" name="Content Placeholder 2">
            <a:extLst>
              <a:ext uri="{FF2B5EF4-FFF2-40B4-BE49-F238E27FC236}">
                <a16:creationId xmlns:a16="http://schemas.microsoft.com/office/drawing/2014/main" id="{42EB6DC9-DB62-45C7-A357-2FA6106BBE77}"/>
              </a:ext>
            </a:extLst>
          </p:cNvPr>
          <p:cNvSpPr>
            <a:spLocks noGrp="1"/>
          </p:cNvSpPr>
          <p:nvPr>
            <p:ph sz="quarter" idx="21"/>
          </p:nvPr>
        </p:nvSpPr>
        <p:spPr>
          <a:xfrm>
            <a:off x="1450590" y="4840351"/>
            <a:ext cx="9257998" cy="745502"/>
          </a:xfrm>
        </p:spPr>
        <p:txBody>
          <a:bodyPr/>
          <a:lstStyle/>
          <a:p>
            <a:r>
              <a:rPr lang="en-US" dirty="0"/>
              <a:t>Recent market events resulting from the COVID-19 pandemic have shown a critical need for a well-designed risk management framework across institutional portfolios</a:t>
            </a:r>
          </a:p>
          <a:p>
            <a:r>
              <a:rPr lang="en-US" dirty="0"/>
              <a:t>Dutch pension plans have a significant exposure to the equities</a:t>
            </a:r>
          </a:p>
        </p:txBody>
      </p:sp>
      <p:graphicFrame>
        <p:nvGraphicFramePr>
          <p:cNvPr id="19" name="Chart 18">
            <a:extLst>
              <a:ext uri="{FF2B5EF4-FFF2-40B4-BE49-F238E27FC236}">
                <a16:creationId xmlns:a16="http://schemas.microsoft.com/office/drawing/2014/main" id="{4DC52749-D7EA-4EAE-BDCF-939D22E5B077}"/>
              </a:ext>
            </a:extLst>
          </p:cNvPr>
          <p:cNvGraphicFramePr>
            <a:graphicFrameLocks/>
          </p:cNvGraphicFramePr>
          <p:nvPr/>
        </p:nvGraphicFramePr>
        <p:xfrm>
          <a:off x="1402514" y="1745089"/>
          <a:ext cx="4735514" cy="285548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4275538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6763281-F50D-4423-B6AE-77007B235078}"/>
              </a:ext>
            </a:extLst>
          </p:cNvPr>
          <p:cNvSpPr txBox="1"/>
          <p:nvPr/>
        </p:nvSpPr>
        <p:spPr>
          <a:xfrm>
            <a:off x="1467000" y="1262953"/>
            <a:ext cx="9258000" cy="5314275"/>
          </a:xfrm>
          <a:prstGeom prst="rect">
            <a:avLst/>
          </a:prstGeom>
          <a:noFill/>
        </p:spPr>
        <p:txBody>
          <a:bodyPr wrap="square" lIns="0" tIns="0" rIns="0" bIns="0" rtlCol="0">
            <a:spAutoFit/>
          </a:bodyPr>
          <a:lstStyle/>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err="1">
                <a:solidFill>
                  <a:srgbClr val="000000"/>
                </a:solidFill>
                <a:latin typeface="Arial" panose="020B0604020202020204" pitchFamily="34" charset="0"/>
              </a:rPr>
              <a:t>Historicall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und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bserv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rrections</a:t>
            </a:r>
            <a:r>
              <a:rPr lang="de-DE" sz="1200" kern="0" dirty="0">
                <a:solidFill>
                  <a:srgbClr val="000000"/>
                </a:solidFill>
                <a:latin typeface="Arial" panose="020B0604020202020204" pitchFamily="34" charset="0"/>
              </a:rPr>
              <a:t> in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aus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equit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arke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volatility</a:t>
            </a:r>
            <a:r>
              <a:rPr lang="de-DE" sz="1200" kern="0" dirty="0">
                <a:solidFill>
                  <a:srgbClr val="000000"/>
                </a:solidFill>
                <a:latin typeface="Arial" panose="020B0604020202020204" pitchFamily="34" charset="0"/>
              </a:rPr>
              <a:t> and </a:t>
            </a:r>
            <a:r>
              <a:rPr lang="de-DE" sz="1200" kern="0" dirty="0" err="1">
                <a:solidFill>
                  <a:srgbClr val="000000"/>
                </a:solidFill>
                <a:latin typeface="Arial" panose="020B0604020202020204" pitchFamily="34" charset="0"/>
              </a:rPr>
              <a:t>ha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rigge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ecovery</a:t>
            </a:r>
            <a:r>
              <a:rPr lang="de-DE" sz="1200" kern="0" dirty="0">
                <a:solidFill>
                  <a:srgbClr val="000000"/>
                </a:solidFill>
                <a:latin typeface="Arial" panose="020B0604020202020204" pitchFamily="34" charset="0"/>
              </a:rPr>
              <a:t> plan</a:t>
            </a: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err="1">
                <a:solidFill>
                  <a:srgbClr val="000000"/>
                </a:solidFill>
                <a:latin typeface="Arial" panose="020B0604020202020204" pitchFamily="34" charset="0"/>
              </a:rPr>
              <a:t>However</a:t>
            </a:r>
            <a:r>
              <a:rPr lang="de-DE" sz="1200" kern="0" dirty="0">
                <a:solidFill>
                  <a:srgbClr val="000000"/>
                </a:solidFill>
                <a:latin typeface="Arial" panose="020B0604020202020204" pitchFamily="34" charset="0"/>
              </a:rPr>
              <a:t>, due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elaxation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rom</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egulato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os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ime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lan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were</a:t>
            </a:r>
            <a:r>
              <a:rPr lang="de-DE" sz="1200" kern="0" dirty="0">
                <a:solidFill>
                  <a:srgbClr val="000000"/>
                </a:solidFill>
                <a:latin typeface="Arial" panose="020B0604020202020204" pitchFamily="34" charset="0"/>
              </a:rPr>
              <a:t> not </a:t>
            </a:r>
            <a:r>
              <a:rPr lang="de-DE" sz="1200" kern="0" dirty="0" err="1">
                <a:solidFill>
                  <a:srgbClr val="000000"/>
                </a:solidFill>
                <a:latin typeface="Arial" panose="020B0604020202020204" pitchFamily="34" charset="0"/>
              </a:rPr>
              <a:t>forc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educ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enefit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o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plan </a:t>
            </a:r>
            <a:r>
              <a:rPr lang="de-DE" sz="1200" kern="0" dirty="0" err="1">
                <a:solidFill>
                  <a:srgbClr val="000000"/>
                </a:solidFill>
                <a:latin typeface="Arial" panose="020B0604020202020204" pitchFamily="34" charset="0"/>
              </a:rPr>
              <a:t>participants</a:t>
            </a: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r>
              <a:rPr lang="de-DE" sz="1200" b="1" kern="0" dirty="0">
                <a:solidFill>
                  <a:srgbClr val="000000"/>
                </a:solidFill>
                <a:latin typeface="Arial" panose="020B0604020202020204" pitchFamily="34" charset="0"/>
              </a:rPr>
              <a:t>This time </a:t>
            </a:r>
            <a:r>
              <a:rPr lang="de-DE" sz="1200" b="1" kern="0" dirty="0" err="1">
                <a:solidFill>
                  <a:srgbClr val="000000"/>
                </a:solidFill>
                <a:latin typeface="Arial" panose="020B0604020202020204" pitchFamily="34" charset="0"/>
              </a:rPr>
              <a:t>the</a:t>
            </a:r>
            <a:r>
              <a:rPr lang="de-DE" sz="1200" b="1" kern="0" dirty="0">
                <a:solidFill>
                  <a:srgbClr val="000000"/>
                </a:solidFill>
                <a:latin typeface="Arial" panose="020B0604020202020204" pitchFamily="34" charset="0"/>
              </a:rPr>
              <a:t> </a:t>
            </a:r>
            <a:r>
              <a:rPr lang="de-DE" sz="1200" b="1" kern="0" dirty="0" err="1">
                <a:solidFill>
                  <a:srgbClr val="000000"/>
                </a:solidFill>
                <a:latin typeface="Arial" panose="020B0604020202020204" pitchFamily="34" charset="0"/>
              </a:rPr>
              <a:t>environment</a:t>
            </a:r>
            <a:r>
              <a:rPr lang="de-DE" sz="1200" b="1" kern="0" dirty="0">
                <a:solidFill>
                  <a:srgbClr val="000000"/>
                </a:solidFill>
                <a:latin typeface="Arial" panose="020B0604020202020204" pitchFamily="34" charset="0"/>
              </a:rPr>
              <a:t> </a:t>
            </a:r>
            <a:r>
              <a:rPr lang="de-DE" sz="1200" b="1" kern="0" dirty="0" err="1">
                <a:solidFill>
                  <a:srgbClr val="000000"/>
                </a:solidFill>
                <a:latin typeface="Arial" panose="020B0604020202020204" pitchFamily="34" charset="0"/>
              </a:rPr>
              <a:t>is</a:t>
            </a:r>
            <a:r>
              <a:rPr lang="de-DE" sz="1200" b="1" kern="0" dirty="0">
                <a:solidFill>
                  <a:srgbClr val="000000"/>
                </a:solidFill>
                <a:latin typeface="Arial" panose="020B0604020202020204" pitchFamily="34" charset="0"/>
              </a:rPr>
              <a:t> different:</a:t>
            </a:r>
          </a:p>
          <a:p>
            <a:pPr marL="527050" lvl="2" indent="-171450" defTabSz="914400" fontAlgn="base">
              <a:spcBef>
                <a:spcPts val="360"/>
              </a:spcBef>
              <a:spcAft>
                <a:spcPts val="360"/>
              </a:spcAft>
              <a:buClr>
                <a:srgbClr val="003781"/>
              </a:buClr>
              <a:buFont typeface="Arial" panose="020B0604020202020204" pitchFamily="34" charset="0"/>
              <a:buChar char="-"/>
            </a:pPr>
            <a:r>
              <a:rPr lang="de-DE" sz="1200" kern="0" dirty="0" err="1">
                <a:solidFill>
                  <a:srgbClr val="000000"/>
                </a:solidFill>
                <a:latin typeface="Arial" panose="020B0604020202020204" pitchFamily="34" charset="0"/>
              </a:rPr>
              <a:t>Unde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new</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law</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lan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a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wan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ov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new</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etup</a:t>
            </a:r>
            <a:r>
              <a:rPr lang="de-DE" sz="1200" kern="0" dirty="0">
                <a:solidFill>
                  <a:srgbClr val="000000"/>
                </a:solidFill>
                <a:latin typeface="Arial" panose="020B0604020202020204" pitchFamily="34" charset="0"/>
              </a:rPr>
              <a:t> will </a:t>
            </a:r>
            <a:r>
              <a:rPr lang="de-DE" sz="1200" kern="0" dirty="0" err="1">
                <a:solidFill>
                  <a:srgbClr val="000000"/>
                </a:solidFill>
                <a:latin typeface="Arial" panose="020B0604020202020204" pitchFamily="34" charset="0"/>
              </a:rPr>
              <a:t>ne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dopt</a:t>
            </a:r>
            <a:r>
              <a:rPr lang="de-DE" sz="1200" kern="0" dirty="0">
                <a:solidFill>
                  <a:srgbClr val="000000"/>
                </a:solidFill>
                <a:latin typeface="Arial" panose="020B0604020202020204" pitchFamily="34" charset="0"/>
              </a:rPr>
              <a:t> a so-</a:t>
            </a:r>
            <a:r>
              <a:rPr lang="de-DE" sz="1200" kern="0" dirty="0" err="1">
                <a:solidFill>
                  <a:srgbClr val="000000"/>
                </a:solidFill>
                <a:latin typeface="Arial" panose="020B0604020202020204" pitchFamily="34" charset="0"/>
              </a:rPr>
              <a:t>called</a:t>
            </a:r>
            <a:r>
              <a:rPr lang="de-DE" sz="1200" kern="0" dirty="0">
                <a:solidFill>
                  <a:srgbClr val="000000"/>
                </a:solidFill>
                <a:latin typeface="Arial" panose="020B0604020202020204" pitchFamily="34" charset="0"/>
              </a:rPr>
              <a:t> „Transition FTK“</a:t>
            </a:r>
          </a:p>
          <a:p>
            <a:pPr marL="527050" lvl="2" indent="-171450" defTabSz="914400" fontAlgn="base">
              <a:spcBef>
                <a:spcPts val="360"/>
              </a:spcBef>
              <a:spcAft>
                <a:spcPts val="360"/>
              </a:spcAft>
              <a:buClr>
                <a:srgbClr val="003781"/>
              </a:buClr>
              <a:buFont typeface="Arial" panose="020B0604020202020204" pitchFamily="34" charset="0"/>
              <a:buChar char="-"/>
            </a:pPr>
            <a:r>
              <a:rPr lang="en-US" sz="1200" kern="0" dirty="0">
                <a:solidFill>
                  <a:srgbClr val="000000"/>
                </a:solidFill>
                <a:latin typeface="Arial" panose="020B0604020202020204" pitchFamily="34" charset="0"/>
              </a:rPr>
              <a:t>In agreement with social partners they will have to set a target coverage ratio and transition date</a:t>
            </a:r>
            <a:endParaRPr lang="de-DE" sz="1200" kern="0" dirty="0">
              <a:solidFill>
                <a:srgbClr val="000000"/>
              </a:solidFill>
              <a:latin typeface="Arial" panose="020B0604020202020204" pitchFamily="34" charset="0"/>
            </a:endParaRPr>
          </a:p>
          <a:p>
            <a:pPr marL="703262" lvl="3" indent="-171450" defTabSz="914400" fontAlgn="base">
              <a:spcBef>
                <a:spcPts val="360"/>
              </a:spcBef>
              <a:spcAft>
                <a:spcPts val="360"/>
              </a:spcAft>
              <a:buClr>
                <a:srgbClr val="003781"/>
              </a:buClr>
              <a:buFont typeface="Arial" panose="020B0604020202020204" pitchFamily="34" charset="0"/>
              <a:buChar char="-"/>
            </a:pPr>
            <a:r>
              <a:rPr lang="en-US" sz="1200" kern="0" dirty="0">
                <a:solidFill>
                  <a:srgbClr val="000000"/>
                </a:solidFill>
                <a:latin typeface="Arial" panose="020B0604020202020204" pitchFamily="34" charset="0"/>
              </a:rPr>
              <a:t>The target coverage ratio needs to be set at 95% at minimum, but could also be set higher</a:t>
            </a:r>
          </a:p>
          <a:p>
            <a:pPr marL="703262" lvl="3" indent="-171450" defTabSz="914400" fontAlgn="base">
              <a:spcBef>
                <a:spcPts val="360"/>
              </a:spcBef>
              <a:spcAft>
                <a:spcPts val="360"/>
              </a:spcAft>
              <a:buClr>
                <a:srgbClr val="003781"/>
              </a:buClr>
              <a:buFont typeface="Arial" panose="020B0604020202020204" pitchFamily="34" charset="0"/>
              <a:buChar char="-"/>
            </a:pPr>
            <a:r>
              <a:rPr lang="en-US" sz="1200" kern="0" dirty="0">
                <a:solidFill>
                  <a:srgbClr val="000000"/>
                </a:solidFill>
                <a:latin typeface="Arial" panose="020B0604020202020204" pitchFamily="34" charset="0"/>
              </a:rPr>
              <a:t>The target coverage ratio needs to be higher than 90% at all times</a:t>
            </a:r>
          </a:p>
          <a:p>
            <a:pPr marL="703262" lvl="3" indent="-171450" defTabSz="914400" fontAlgn="base">
              <a:spcBef>
                <a:spcPts val="360"/>
              </a:spcBef>
              <a:spcAft>
                <a:spcPts val="360"/>
              </a:spcAft>
              <a:buClr>
                <a:srgbClr val="003781"/>
              </a:buClr>
              <a:buFont typeface="Arial" panose="020B0604020202020204" pitchFamily="34" charset="0"/>
              <a:buChar char="-"/>
            </a:pPr>
            <a:r>
              <a:rPr lang="en-US" sz="1200" kern="0" dirty="0">
                <a:solidFill>
                  <a:srgbClr val="000000"/>
                </a:solidFill>
                <a:latin typeface="Arial" panose="020B0604020202020204" pitchFamily="34" charset="0"/>
              </a:rPr>
              <a:t>The transition date has to be set between 1/1/2024 and 1/1/2027</a:t>
            </a:r>
          </a:p>
          <a:p>
            <a:pPr marL="527050" lvl="2" indent="-171450" defTabSz="914400" fontAlgn="base">
              <a:spcBef>
                <a:spcPts val="360"/>
              </a:spcBef>
              <a:spcAft>
                <a:spcPts val="360"/>
              </a:spcAft>
              <a:buClr>
                <a:srgbClr val="003781"/>
              </a:buClr>
              <a:buFont typeface="Arial" panose="020B0604020202020204" pitchFamily="34" charset="0"/>
              <a:buChar char="-"/>
            </a:pPr>
            <a:r>
              <a:rPr lang="de-DE" sz="1200" kern="0" dirty="0">
                <a:solidFill>
                  <a:srgbClr val="000000"/>
                </a:solidFill>
                <a:latin typeface="Arial" panose="020B0604020202020204" pitchFamily="34" charset="0"/>
              </a:rPr>
              <a:t>Thus, proper </a:t>
            </a:r>
            <a:r>
              <a:rPr lang="de-DE" sz="1200" kern="0" dirty="0" err="1">
                <a:solidFill>
                  <a:srgbClr val="000000"/>
                </a:solidFill>
                <a:latin typeface="Arial" panose="020B0604020202020204" pitchFamily="34" charset="0"/>
              </a:rPr>
              <a:t>risk</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anagemen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easure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houl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mplemented</a:t>
            </a:r>
            <a:r>
              <a:rPr lang="de-DE" sz="1200" kern="0" dirty="0">
                <a:solidFill>
                  <a:srgbClr val="000000"/>
                </a:solidFill>
                <a:latin typeface="Arial" panose="020B0604020202020204" pitchFamily="34" charset="0"/>
              </a:rPr>
              <a:t> in </a:t>
            </a:r>
            <a:r>
              <a:rPr lang="de-DE" sz="1200" kern="0" dirty="0" err="1">
                <a:solidFill>
                  <a:srgbClr val="000000"/>
                </a:solidFill>
                <a:latin typeface="Arial" panose="020B0604020202020204" pitchFamily="34" charset="0"/>
              </a:rPr>
              <a:t>orde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rotec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and </a:t>
            </a:r>
            <a:r>
              <a:rPr lang="de-DE" sz="1200" kern="0" dirty="0" err="1">
                <a:solidFill>
                  <a:srgbClr val="000000"/>
                </a:solidFill>
                <a:latin typeface="Arial" panose="020B0604020202020204" pitchFamily="34" charset="0"/>
              </a:rPr>
              <a:t>b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bl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uccessfull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mplet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ransition</a:t>
            </a: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r>
              <a:rPr lang="en-US" sz="1200" kern="0" dirty="0">
                <a:solidFill>
                  <a:srgbClr val="000000"/>
                </a:solidFill>
                <a:latin typeface="Arial" panose="020B0604020202020204" pitchFamily="34" charset="0"/>
              </a:rPr>
              <a:t>Also under the forthcoming new pension law, where pension funds have to determine participants’ risk attitude once every 5 years on the basis of KPIs, having risk management in place has significant advantages because the pension outcome in a worst-case scenario (5% percentile) will increase due to the hedge</a:t>
            </a: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defTabSz="914400" fontAlgn="base">
              <a:spcBef>
                <a:spcPts val="360"/>
              </a:spcBef>
              <a:spcAft>
                <a:spcPts val="360"/>
              </a:spcAft>
              <a:buClr>
                <a:srgbClr val="003781"/>
              </a:buClr>
            </a:pPr>
            <a:endParaRPr lang="en-US" sz="1200" kern="0" dirty="0" err="1">
              <a:solidFill>
                <a:srgbClr val="000000"/>
              </a:solidFill>
              <a:latin typeface="Arial" panose="020B0604020202020204" pitchFamily="34" charset="0"/>
            </a:endParaRPr>
          </a:p>
        </p:txBody>
      </p:sp>
      <p:sp>
        <p:nvSpPr>
          <p:cNvPr id="2" name="Title 1">
            <a:extLst>
              <a:ext uri="{FF2B5EF4-FFF2-40B4-BE49-F238E27FC236}">
                <a16:creationId xmlns:a16="http://schemas.microsoft.com/office/drawing/2014/main" id="{2930ED41-6DC5-43D9-9DF7-62088188A053}"/>
              </a:ext>
            </a:extLst>
          </p:cNvPr>
          <p:cNvSpPr>
            <a:spLocks noGrp="1"/>
          </p:cNvSpPr>
          <p:nvPr>
            <p:ph type="title"/>
          </p:nvPr>
        </p:nvSpPr>
        <p:spPr/>
        <p:txBody>
          <a:bodyPr/>
          <a:lstStyle/>
          <a:p>
            <a:r>
              <a:rPr lang="de-DE" dirty="0" err="1"/>
              <a:t>Why</a:t>
            </a:r>
            <a:r>
              <a:rPr lang="de-DE" dirty="0"/>
              <a:t> </a:t>
            </a:r>
            <a:r>
              <a:rPr lang="de-DE" dirty="0" err="1"/>
              <a:t>It</a:t>
            </a:r>
            <a:r>
              <a:rPr lang="de-DE" dirty="0"/>
              <a:t> </a:t>
            </a:r>
            <a:r>
              <a:rPr lang="de-DE" dirty="0" err="1"/>
              <a:t>Matters</a:t>
            </a:r>
            <a:r>
              <a:rPr lang="de-DE" dirty="0"/>
              <a:t> </a:t>
            </a:r>
            <a:r>
              <a:rPr lang="de-DE" dirty="0" err="1"/>
              <a:t>Now</a:t>
            </a:r>
            <a:r>
              <a:rPr lang="de-DE" dirty="0"/>
              <a:t> More </a:t>
            </a:r>
            <a:r>
              <a:rPr lang="de-DE" dirty="0" err="1"/>
              <a:t>Than</a:t>
            </a:r>
            <a:r>
              <a:rPr lang="de-DE" dirty="0"/>
              <a:t> </a:t>
            </a:r>
            <a:r>
              <a:rPr lang="de-DE" dirty="0" err="1"/>
              <a:t>Ever</a:t>
            </a:r>
            <a:r>
              <a:rPr lang="de-DE" dirty="0"/>
              <a:t>?</a:t>
            </a:r>
            <a:endParaRPr lang="en-US" dirty="0"/>
          </a:p>
        </p:txBody>
      </p:sp>
      <p:sp>
        <p:nvSpPr>
          <p:cNvPr id="3" name="Text Placeholder 2">
            <a:extLst>
              <a:ext uri="{FF2B5EF4-FFF2-40B4-BE49-F238E27FC236}">
                <a16:creationId xmlns:a16="http://schemas.microsoft.com/office/drawing/2014/main" id="{87F3D4DC-1EEA-43DC-B041-ECBE8DF88211}"/>
              </a:ext>
            </a:extLst>
          </p:cNvPr>
          <p:cNvSpPr>
            <a:spLocks noGrp="1"/>
          </p:cNvSpPr>
          <p:nvPr>
            <p:ph type="body" sz="quarter" idx="22"/>
          </p:nvPr>
        </p:nvSpPr>
        <p:spPr/>
        <p:txBody>
          <a:bodyPr/>
          <a:lstStyle/>
          <a:p>
            <a:endParaRPr lang="en-US" dirty="0"/>
          </a:p>
        </p:txBody>
      </p:sp>
      <p:grpSp>
        <p:nvGrpSpPr>
          <p:cNvPr id="41" name="Gruppieren 1">
            <a:extLst>
              <a:ext uri="{FF2B5EF4-FFF2-40B4-BE49-F238E27FC236}">
                <a16:creationId xmlns:a16="http://schemas.microsoft.com/office/drawing/2014/main" id="{9C55BDD1-F091-4FBB-B5F6-DD48A4DFAFAF}"/>
              </a:ext>
            </a:extLst>
          </p:cNvPr>
          <p:cNvGrpSpPr/>
          <p:nvPr/>
        </p:nvGrpSpPr>
        <p:grpSpPr bwMode="gray">
          <a:xfrm>
            <a:off x="1402513" y="5825548"/>
            <a:ext cx="9322486" cy="527601"/>
            <a:chOff x="324000" y="5639981"/>
            <a:chExt cx="9252000" cy="529638"/>
          </a:xfrm>
          <a:solidFill>
            <a:srgbClr val="326295"/>
          </a:solidFill>
        </p:grpSpPr>
        <p:sp>
          <p:nvSpPr>
            <p:cNvPr id="42" name="Freeform 6">
              <a:extLst>
                <a:ext uri="{FF2B5EF4-FFF2-40B4-BE49-F238E27FC236}">
                  <a16:creationId xmlns:a16="http://schemas.microsoft.com/office/drawing/2014/main" id="{1C3C1E23-EA7C-4579-BF9C-15EBD4807B9C}"/>
                </a:ext>
              </a:extLst>
            </p:cNvPr>
            <p:cNvSpPr>
              <a:spLocks/>
            </p:cNvSpPr>
            <p:nvPr/>
          </p:nvSpPr>
          <p:spPr bwMode="gray">
            <a:xfrm>
              <a:off x="324000"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43" name="Freeform 7">
              <a:extLst>
                <a:ext uri="{FF2B5EF4-FFF2-40B4-BE49-F238E27FC236}">
                  <a16:creationId xmlns:a16="http://schemas.microsoft.com/office/drawing/2014/main" id="{F636B2E4-E306-47B7-8F63-50FE33D60ACB}"/>
                </a:ext>
              </a:extLst>
            </p:cNvPr>
            <p:cNvSpPr>
              <a:spLocks/>
            </p:cNvSpPr>
            <p:nvPr/>
          </p:nvSpPr>
          <p:spPr bwMode="gray">
            <a:xfrm>
              <a:off x="558410" y="5639981"/>
              <a:ext cx="239193" cy="523219"/>
            </a:xfrm>
            <a:custGeom>
              <a:avLst/>
              <a:gdLst>
                <a:gd name="T0" fmla="*/ 0 w 138"/>
                <a:gd name="T1" fmla="*/ 0 h 286"/>
                <a:gd name="T2" fmla="*/ 68 w 138"/>
                <a:gd name="T3" fmla="*/ 144 h 286"/>
                <a:gd name="T4" fmla="*/ 0 w 138"/>
                <a:gd name="T5" fmla="*/ 286 h 286"/>
                <a:gd name="T6" fmla="*/ 70 w 138"/>
                <a:gd name="T7" fmla="*/ 286 h 286"/>
                <a:gd name="T8" fmla="*/ 138 w 138"/>
                <a:gd name="T9" fmla="*/ 144 h 286"/>
                <a:gd name="T10" fmla="*/ 70 w 138"/>
                <a:gd name="T11" fmla="*/ 0 h 286"/>
                <a:gd name="T12" fmla="*/ 0 w 138"/>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8" h="286">
                  <a:moveTo>
                    <a:pt x="0" y="0"/>
                  </a:moveTo>
                  <a:lnTo>
                    <a:pt x="68" y="144"/>
                  </a:lnTo>
                  <a:lnTo>
                    <a:pt x="0" y="286"/>
                  </a:lnTo>
                  <a:lnTo>
                    <a:pt x="70" y="286"/>
                  </a:lnTo>
                  <a:lnTo>
                    <a:pt x="138" y="144"/>
                  </a:lnTo>
                  <a:lnTo>
                    <a:pt x="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44" name="Freeform 8">
              <a:extLst>
                <a:ext uri="{FF2B5EF4-FFF2-40B4-BE49-F238E27FC236}">
                  <a16:creationId xmlns:a16="http://schemas.microsoft.com/office/drawing/2014/main" id="{9F7E7481-9322-4C12-8ADF-869D1F2FD66B}"/>
                </a:ext>
              </a:extLst>
            </p:cNvPr>
            <p:cNvSpPr>
              <a:spLocks/>
            </p:cNvSpPr>
            <p:nvPr/>
          </p:nvSpPr>
          <p:spPr bwMode="gray">
            <a:xfrm>
              <a:off x="797603"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45" name="Freeform 9">
              <a:extLst>
                <a:ext uri="{FF2B5EF4-FFF2-40B4-BE49-F238E27FC236}">
                  <a16:creationId xmlns:a16="http://schemas.microsoft.com/office/drawing/2014/main" id="{AEA56F05-511B-41CE-BC4C-A759765271D4}"/>
                </a:ext>
              </a:extLst>
            </p:cNvPr>
            <p:cNvSpPr>
              <a:spLocks/>
            </p:cNvSpPr>
            <p:nvPr/>
          </p:nvSpPr>
          <p:spPr bwMode="gray">
            <a:xfrm>
              <a:off x="1035202" y="5646399"/>
              <a:ext cx="8540798" cy="523220"/>
            </a:xfrm>
            <a:custGeom>
              <a:avLst/>
              <a:gdLst>
                <a:gd name="T0" fmla="*/ 0 w 4942"/>
                <a:gd name="T1" fmla="*/ 0 h 286"/>
                <a:gd name="T2" fmla="*/ 69 w 4942"/>
                <a:gd name="T3" fmla="*/ 144 h 286"/>
                <a:gd name="T4" fmla="*/ 0 w 4942"/>
                <a:gd name="T5" fmla="*/ 286 h 286"/>
                <a:gd name="T6" fmla="*/ 4942 w 4942"/>
                <a:gd name="T7" fmla="*/ 286 h 286"/>
                <a:gd name="T8" fmla="*/ 4942 w 4942"/>
                <a:gd name="T9" fmla="*/ 0 h 286"/>
                <a:gd name="T10" fmla="*/ 0 w 4942"/>
                <a:gd name="T11" fmla="*/ 0 h 286"/>
              </a:gdLst>
              <a:ahLst/>
              <a:cxnLst>
                <a:cxn ang="0">
                  <a:pos x="T0" y="T1"/>
                </a:cxn>
                <a:cxn ang="0">
                  <a:pos x="T2" y="T3"/>
                </a:cxn>
                <a:cxn ang="0">
                  <a:pos x="T4" y="T5"/>
                </a:cxn>
                <a:cxn ang="0">
                  <a:pos x="T6" y="T7"/>
                </a:cxn>
                <a:cxn ang="0">
                  <a:pos x="T8" y="T9"/>
                </a:cxn>
                <a:cxn ang="0">
                  <a:pos x="T10" y="T11"/>
                </a:cxn>
              </a:cxnLst>
              <a:rect l="0" t="0" r="r" b="b"/>
              <a:pathLst>
                <a:path w="4942" h="286">
                  <a:moveTo>
                    <a:pt x="0" y="0"/>
                  </a:moveTo>
                  <a:lnTo>
                    <a:pt x="69" y="144"/>
                  </a:lnTo>
                  <a:lnTo>
                    <a:pt x="0" y="286"/>
                  </a:lnTo>
                  <a:lnTo>
                    <a:pt x="4942" y="286"/>
                  </a:lnTo>
                  <a:lnTo>
                    <a:pt x="494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16000" anchor="ctr" anchorCtr="0">
              <a:noAutofit/>
            </a:bodyPr>
            <a:lstStyle/>
            <a:p>
              <a:pPr marL="85725" defTabSz="914400" fontAlgn="base">
                <a:spcBef>
                  <a:spcPts val="200"/>
                </a:spcBef>
                <a:spcAft>
                  <a:spcPts val="300"/>
                </a:spcAft>
                <a:tabLst>
                  <a:tab pos="179388" algn="l"/>
                </a:tabLst>
              </a:pPr>
              <a:r>
                <a:rPr lang="en-US" sz="1400" kern="0" dirty="0">
                  <a:solidFill>
                    <a:srgbClr val="FFFFFF"/>
                  </a:solidFill>
                  <a:latin typeface="Arial" panose="020B0604020202020204" pitchFamily="34" charset="0"/>
                </a:rPr>
                <a:t>Implementing a continuous and consistent risk management strategy now helps to manage the transition properly.</a:t>
              </a:r>
            </a:p>
          </p:txBody>
        </p:sp>
      </p:grpSp>
    </p:spTree>
    <p:extLst>
      <p:ext uri="{BB962C8B-B14F-4D97-AF65-F5344CB8AC3E}">
        <p14:creationId xmlns:p14="http://schemas.microsoft.com/office/powerpoint/2010/main" val="14127677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2"/>
          <p:cNvSpPr txBox="1">
            <a:spLocks/>
          </p:cNvSpPr>
          <p:nvPr/>
        </p:nvSpPr>
        <p:spPr>
          <a:xfrm>
            <a:off x="1467000" y="1662184"/>
            <a:ext cx="4187040" cy="1141594"/>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sz="1100" b="1" kern="0" dirty="0">
                <a:solidFill>
                  <a:srgbClr val="000000"/>
                </a:solidFill>
              </a:rPr>
              <a:t>Tail Risk</a:t>
            </a:r>
          </a:p>
          <a:p>
            <a:pPr marL="0" indent="0">
              <a:buClr>
                <a:srgbClr val="003781"/>
              </a:buClr>
              <a:buNone/>
            </a:pPr>
            <a:r>
              <a:rPr lang="en-US" sz="1100" kern="0" dirty="0">
                <a:solidFill>
                  <a:srgbClr val="000000"/>
                </a:solidFill>
              </a:rPr>
              <a:t>Tail risk describes an unexpected and small probability event with a significant impact on the financial markets creating a downward spiral of declines across a broad spectrum of investments (e.g., bankruptcy of Lehman Brothers in 2008 or Corona Crash in 2020).</a:t>
            </a:r>
          </a:p>
        </p:txBody>
      </p:sp>
      <p:sp>
        <p:nvSpPr>
          <p:cNvPr id="2" name="Title 1"/>
          <p:cNvSpPr>
            <a:spLocks noGrp="1"/>
          </p:cNvSpPr>
          <p:nvPr>
            <p:ph type="title"/>
          </p:nvPr>
        </p:nvSpPr>
        <p:spPr/>
        <p:txBody>
          <a:bodyPr/>
          <a:lstStyle/>
          <a:p>
            <a:r>
              <a:rPr lang="en-US" dirty="0"/>
              <a:t>Dynamic Tail Risk Management</a:t>
            </a:r>
            <a:br>
              <a:rPr lang="en-US" dirty="0"/>
            </a:br>
            <a:r>
              <a:rPr lang="en-US" sz="1800" dirty="0"/>
              <a:t>Tail Risk Hedging</a:t>
            </a:r>
          </a:p>
        </p:txBody>
      </p:sp>
      <p:sp>
        <p:nvSpPr>
          <p:cNvPr id="19" name="Content Placeholder 2"/>
          <p:cNvSpPr txBox="1">
            <a:spLocks/>
          </p:cNvSpPr>
          <p:nvPr/>
        </p:nvSpPr>
        <p:spPr>
          <a:xfrm>
            <a:off x="1467001" y="2022290"/>
            <a:ext cx="4298393" cy="3794400"/>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endParaRPr lang="en-US" sz="1400" kern="0" dirty="0">
              <a:solidFill>
                <a:srgbClr val="000000"/>
              </a:solidFill>
            </a:endParaRPr>
          </a:p>
        </p:txBody>
      </p:sp>
      <p:grpSp>
        <p:nvGrpSpPr>
          <p:cNvPr id="34" name="Group 33"/>
          <p:cNvGrpSpPr>
            <a:grpSpLocks noChangeAspect="1"/>
          </p:cNvGrpSpPr>
          <p:nvPr/>
        </p:nvGrpSpPr>
        <p:grpSpPr>
          <a:xfrm>
            <a:off x="1465446" y="3098626"/>
            <a:ext cx="3992425" cy="2654337"/>
            <a:chOff x="466046" y="1362150"/>
            <a:chExt cx="8132372" cy="5207955"/>
          </a:xfrm>
        </p:grpSpPr>
        <p:pic>
          <p:nvPicPr>
            <p:cNvPr id="3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62873" y="1663593"/>
              <a:ext cx="6235545" cy="4613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TextBox 35"/>
            <p:cNvSpPr txBox="1"/>
            <p:nvPr/>
          </p:nvSpPr>
          <p:spPr>
            <a:xfrm>
              <a:off x="4718887" y="1362150"/>
              <a:ext cx="1618409" cy="498197"/>
            </a:xfrm>
            <a:prstGeom prst="rect">
              <a:avLst/>
            </a:prstGeom>
            <a:noFill/>
          </p:spPr>
          <p:txBody>
            <a:bodyPr wrap="square" rtlCol="0">
              <a:spAutoFit/>
            </a:bodyPr>
            <a:lstStyle/>
            <a:p>
              <a:pPr defTabSz="914400" fontAlgn="base">
                <a:spcBef>
                  <a:spcPts val="360"/>
                </a:spcBef>
                <a:spcAft>
                  <a:spcPts val="360"/>
                </a:spcAft>
                <a:buClr>
                  <a:srgbClr val="003781"/>
                </a:buClr>
                <a:tabLst>
                  <a:tab pos="179388" algn="l"/>
                </a:tabLst>
              </a:pPr>
              <a:r>
                <a:rPr lang="en-US" sz="1000" kern="0" dirty="0">
                  <a:solidFill>
                    <a:srgbClr val="000000"/>
                  </a:solidFill>
                  <a:latin typeface="Arial" panose="020B0604020202020204" pitchFamily="34" charset="0"/>
                </a:rPr>
                <a:t>Probability</a:t>
              </a:r>
            </a:p>
          </p:txBody>
        </p:sp>
        <p:cxnSp>
          <p:nvCxnSpPr>
            <p:cNvPr id="37" name="Straight Arrow Connector 36"/>
            <p:cNvCxnSpPr/>
            <p:nvPr/>
          </p:nvCxnSpPr>
          <p:spPr bwMode="auto">
            <a:xfrm flipH="1">
              <a:off x="2500437" y="6349296"/>
              <a:ext cx="2955931" cy="0"/>
            </a:xfrm>
            <a:prstGeom prst="straightConnector1">
              <a:avLst/>
            </a:prstGeom>
            <a:noFill/>
            <a:ln w="9525" cap="flat" cmpd="sng" algn="ctr">
              <a:solidFill>
                <a:schemeClr val="tx1"/>
              </a:solidFill>
              <a:prstDash val="solid"/>
              <a:round/>
              <a:headEnd type="none" w="med" len="med"/>
              <a:tailEnd type="triangle"/>
            </a:ln>
            <a:effectLst/>
          </p:spPr>
        </p:cxnSp>
        <p:sp>
          <p:nvSpPr>
            <p:cNvPr id="38" name="TextBox 37"/>
            <p:cNvSpPr txBox="1"/>
            <p:nvPr/>
          </p:nvSpPr>
          <p:spPr>
            <a:xfrm>
              <a:off x="1661221" y="6117200"/>
              <a:ext cx="885780" cy="452905"/>
            </a:xfrm>
            <a:prstGeom prst="rect">
              <a:avLst/>
            </a:prstGeom>
            <a:noFill/>
          </p:spPr>
          <p:txBody>
            <a:bodyPr wrap="square" rtlCol="0">
              <a:spAutoFit/>
            </a:bodyPr>
            <a:lstStyle/>
            <a:p>
              <a:pPr defTabSz="914400" fontAlgn="base">
                <a:spcBef>
                  <a:spcPts val="360"/>
                </a:spcBef>
                <a:spcAft>
                  <a:spcPts val="360"/>
                </a:spcAft>
                <a:buClr>
                  <a:srgbClr val="003781"/>
                </a:buClr>
                <a:tabLst>
                  <a:tab pos="179388" algn="l"/>
                </a:tabLst>
              </a:pPr>
              <a:r>
                <a:rPr lang="en-US" sz="900" kern="0" dirty="0">
                  <a:solidFill>
                    <a:srgbClr val="000000"/>
                  </a:solidFill>
                  <a:latin typeface="Arial" panose="020B0604020202020204" pitchFamily="34" charset="0"/>
                </a:rPr>
                <a:t>Loss</a:t>
              </a:r>
            </a:p>
          </p:txBody>
        </p:sp>
        <p:cxnSp>
          <p:nvCxnSpPr>
            <p:cNvPr id="39" name="Straight Arrow Connector 38"/>
            <p:cNvCxnSpPr/>
            <p:nvPr/>
          </p:nvCxnSpPr>
          <p:spPr bwMode="auto">
            <a:xfrm flipH="1">
              <a:off x="3225700" y="2811728"/>
              <a:ext cx="1775177" cy="0"/>
            </a:xfrm>
            <a:prstGeom prst="straightConnector1">
              <a:avLst/>
            </a:prstGeom>
            <a:noFill/>
            <a:ln w="9525" cap="flat" cmpd="sng" algn="ctr">
              <a:solidFill>
                <a:schemeClr val="tx1"/>
              </a:solidFill>
              <a:prstDash val="solid"/>
              <a:round/>
              <a:headEnd type="triangle" w="med" len="med"/>
              <a:tailEnd type="none"/>
            </a:ln>
            <a:effectLst/>
          </p:spPr>
        </p:cxnSp>
        <p:cxnSp>
          <p:nvCxnSpPr>
            <p:cNvPr id="40" name="Straight Arrow Connector 39"/>
            <p:cNvCxnSpPr/>
            <p:nvPr/>
          </p:nvCxnSpPr>
          <p:spPr bwMode="auto">
            <a:xfrm flipH="1">
              <a:off x="3225700" y="5869168"/>
              <a:ext cx="399529" cy="0"/>
            </a:xfrm>
            <a:prstGeom prst="straightConnector1">
              <a:avLst/>
            </a:prstGeom>
            <a:noFill/>
            <a:ln w="9525" cap="flat" cmpd="sng" algn="ctr">
              <a:solidFill>
                <a:schemeClr val="tx1"/>
              </a:solidFill>
              <a:prstDash val="solid"/>
              <a:round/>
              <a:headEnd type="triangle" w="med" len="med"/>
              <a:tailEnd type="none"/>
            </a:ln>
            <a:effectLst/>
          </p:spPr>
        </p:cxnSp>
        <p:sp>
          <p:nvSpPr>
            <p:cNvPr id="42" name="TextBox 41"/>
            <p:cNvSpPr txBox="1"/>
            <p:nvPr/>
          </p:nvSpPr>
          <p:spPr>
            <a:xfrm>
              <a:off x="884670" y="2577941"/>
              <a:ext cx="2341031" cy="452905"/>
            </a:xfrm>
            <a:prstGeom prst="rect">
              <a:avLst/>
            </a:prstGeom>
            <a:noFill/>
          </p:spPr>
          <p:txBody>
            <a:bodyPr wrap="square" rtlCol="0">
              <a:spAutoFit/>
            </a:bodyPr>
            <a:lstStyle/>
            <a:p>
              <a:pPr algn="r" defTabSz="914400" fontAlgn="base">
                <a:spcBef>
                  <a:spcPts val="360"/>
                </a:spcBef>
                <a:spcAft>
                  <a:spcPts val="360"/>
                </a:spcAft>
                <a:buClr>
                  <a:srgbClr val="003781"/>
                </a:buClr>
                <a:tabLst>
                  <a:tab pos="179388" algn="l"/>
                </a:tabLst>
              </a:pPr>
              <a:r>
                <a:rPr lang="en-US" sz="900" b="1" kern="0" dirty="0">
                  <a:solidFill>
                    <a:srgbClr val="9E5330"/>
                  </a:solidFill>
                  <a:latin typeface="Arial" panose="020B0604020202020204" pitchFamily="34" charset="0"/>
                </a:rPr>
                <a:t>Diversification</a:t>
              </a:r>
            </a:p>
          </p:txBody>
        </p:sp>
        <p:sp>
          <p:nvSpPr>
            <p:cNvPr id="44" name="TextBox 43"/>
            <p:cNvSpPr txBox="1"/>
            <p:nvPr/>
          </p:nvSpPr>
          <p:spPr>
            <a:xfrm>
              <a:off x="466046" y="5632829"/>
              <a:ext cx="2759654" cy="452905"/>
            </a:xfrm>
            <a:prstGeom prst="rect">
              <a:avLst/>
            </a:prstGeom>
            <a:noFill/>
          </p:spPr>
          <p:txBody>
            <a:bodyPr wrap="square" rtlCol="0">
              <a:spAutoFit/>
            </a:bodyPr>
            <a:lstStyle/>
            <a:p>
              <a:pPr algn="r" defTabSz="914400" fontAlgn="base">
                <a:spcBef>
                  <a:spcPts val="360"/>
                </a:spcBef>
                <a:spcAft>
                  <a:spcPts val="360"/>
                </a:spcAft>
                <a:buClr>
                  <a:srgbClr val="003781"/>
                </a:buClr>
                <a:tabLst>
                  <a:tab pos="179388" algn="l"/>
                </a:tabLst>
              </a:pPr>
              <a:r>
                <a:rPr lang="en-US" sz="900" b="1" kern="0" dirty="0">
                  <a:solidFill>
                    <a:srgbClr val="871219"/>
                  </a:solidFill>
                  <a:latin typeface="Arial" panose="020B0604020202020204" pitchFamily="34" charset="0"/>
                </a:rPr>
                <a:t>Tail Risk Hedging</a:t>
              </a:r>
            </a:p>
          </p:txBody>
        </p:sp>
      </p:grpSp>
      <p:graphicFrame>
        <p:nvGraphicFramePr>
          <p:cNvPr id="20" name="Content Placeholder 5">
            <a:extLst>
              <a:ext uri="{FF2B5EF4-FFF2-40B4-BE49-F238E27FC236}">
                <a16:creationId xmlns:a16="http://schemas.microsoft.com/office/drawing/2014/main" id="{7BE056C5-5CF7-48DA-A0D7-4C6375AD3D44}"/>
              </a:ext>
            </a:extLst>
          </p:cNvPr>
          <p:cNvGraphicFramePr>
            <a:graphicFrameLocks/>
          </p:cNvGraphicFramePr>
          <p:nvPr/>
        </p:nvGraphicFramePr>
        <p:xfrm>
          <a:off x="6077585" y="3346143"/>
          <a:ext cx="4572000" cy="2286000"/>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platzhalter 6">
            <a:extLst>
              <a:ext uri="{FF2B5EF4-FFF2-40B4-BE49-F238E27FC236}">
                <a16:creationId xmlns:a16="http://schemas.microsoft.com/office/drawing/2014/main" id="{9AFDD13E-6126-4BA6-BC9B-FDA2125D94B7}"/>
              </a:ext>
            </a:extLst>
          </p:cNvPr>
          <p:cNvSpPr txBox="1">
            <a:spLocks/>
          </p:cNvSpPr>
          <p:nvPr/>
        </p:nvSpPr>
        <p:spPr>
          <a:xfrm>
            <a:off x="6077586" y="3129045"/>
            <a:ext cx="3730475" cy="307777"/>
          </a:xfrm>
          <a:prstGeom prst="rect">
            <a:avLst/>
          </a:prstGeom>
        </p:spPr>
        <p:txBody>
          <a:bodyPr/>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b="1" kern="0" dirty="0">
                <a:solidFill>
                  <a:srgbClr val="003781"/>
                </a:solidFill>
              </a:rPr>
              <a:t>Payout profile of a put protection for equities</a:t>
            </a:r>
            <a:endParaRPr lang="en-US" kern="0" baseline="30000" dirty="0">
              <a:solidFill>
                <a:srgbClr val="003781"/>
              </a:solidFill>
            </a:endParaRPr>
          </a:p>
        </p:txBody>
      </p:sp>
      <p:sp>
        <p:nvSpPr>
          <p:cNvPr id="22" name="TextBox 21">
            <a:extLst>
              <a:ext uri="{FF2B5EF4-FFF2-40B4-BE49-F238E27FC236}">
                <a16:creationId xmlns:a16="http://schemas.microsoft.com/office/drawing/2014/main" id="{7BC2CCA9-2A2E-4346-BE40-BBAFE7E1CD69}"/>
              </a:ext>
            </a:extLst>
          </p:cNvPr>
          <p:cNvSpPr txBox="1"/>
          <p:nvPr/>
        </p:nvSpPr>
        <p:spPr>
          <a:xfrm>
            <a:off x="6613626" y="4520506"/>
            <a:ext cx="1280760" cy="153888"/>
          </a:xfrm>
          <a:prstGeom prst="rect">
            <a:avLst/>
          </a:prstGeom>
          <a:noFill/>
        </p:spPr>
        <p:txBody>
          <a:bodyPr wrap="square" lIns="0" tIns="0" rIns="0" bIns="0" rtlCol="0">
            <a:spAutoFit/>
          </a:bodyPr>
          <a:lstStyle/>
          <a:p>
            <a:pPr algn="ctr" defTabSz="914400" fontAlgn="base">
              <a:buClr>
                <a:srgbClr val="003781"/>
              </a:buClr>
            </a:pPr>
            <a:r>
              <a:rPr lang="en-US" sz="1000" b="1" kern="0" dirty="0">
                <a:solidFill>
                  <a:srgbClr val="7E5475"/>
                </a:solidFill>
                <a:latin typeface="Arial" panose="020B0604020202020204" pitchFamily="34" charset="0"/>
              </a:rPr>
              <a:t>Downside protection</a:t>
            </a:r>
          </a:p>
        </p:txBody>
      </p:sp>
      <p:cxnSp>
        <p:nvCxnSpPr>
          <p:cNvPr id="23" name="Straight Connector 22">
            <a:extLst>
              <a:ext uri="{FF2B5EF4-FFF2-40B4-BE49-F238E27FC236}">
                <a16:creationId xmlns:a16="http://schemas.microsoft.com/office/drawing/2014/main" id="{CC932666-D209-4DDE-809D-CFD3F3FAE6F2}"/>
              </a:ext>
            </a:extLst>
          </p:cNvPr>
          <p:cNvCxnSpPr/>
          <p:nvPr/>
        </p:nvCxnSpPr>
        <p:spPr bwMode="auto">
          <a:xfrm flipV="1">
            <a:off x="8759124" y="4489787"/>
            <a:ext cx="790575" cy="459413"/>
          </a:xfrm>
          <a:prstGeom prst="line">
            <a:avLst/>
          </a:prstGeom>
          <a:noFill/>
          <a:ln w="28575" cap="flat" cmpd="sng" algn="ctr">
            <a:solidFill>
              <a:schemeClr val="accent6"/>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01C64FF2-F053-44E4-B06C-D6F5751B6770}"/>
              </a:ext>
            </a:extLst>
          </p:cNvPr>
          <p:cNvCxnSpPr/>
          <p:nvPr/>
        </p:nvCxnSpPr>
        <p:spPr bwMode="auto">
          <a:xfrm flipV="1">
            <a:off x="8791203" y="4840232"/>
            <a:ext cx="790575" cy="459413"/>
          </a:xfrm>
          <a:prstGeom prst="line">
            <a:avLst/>
          </a:prstGeom>
          <a:noFill/>
          <a:ln w="28575" cap="flat" cmpd="sng" algn="ctr">
            <a:solidFill>
              <a:schemeClr val="tx2"/>
            </a:solidFill>
            <a:prstDash val="solid"/>
            <a:round/>
            <a:headEnd type="none" w="med" len="med"/>
            <a:tailEnd type="none" w="med" len="med"/>
          </a:ln>
          <a:effectLst/>
        </p:spPr>
      </p:cxnSp>
      <p:cxnSp>
        <p:nvCxnSpPr>
          <p:cNvPr id="25" name="Straight Arrow Connector 24">
            <a:extLst>
              <a:ext uri="{FF2B5EF4-FFF2-40B4-BE49-F238E27FC236}">
                <a16:creationId xmlns:a16="http://schemas.microsoft.com/office/drawing/2014/main" id="{48187AAE-DF00-4109-B7BA-761858E5BF3E}"/>
              </a:ext>
            </a:extLst>
          </p:cNvPr>
          <p:cNvCxnSpPr/>
          <p:nvPr/>
        </p:nvCxnSpPr>
        <p:spPr bwMode="auto">
          <a:xfrm>
            <a:off x="8791202" y="4947750"/>
            <a:ext cx="0" cy="351895"/>
          </a:xfrm>
          <a:prstGeom prst="straightConnector1">
            <a:avLst/>
          </a:prstGeom>
          <a:noFill/>
          <a:ln w="19050" cap="flat" cmpd="sng" algn="ctr">
            <a:solidFill>
              <a:schemeClr val="accent2"/>
            </a:solidFill>
            <a:prstDash val="solid"/>
            <a:round/>
            <a:headEnd type="arrow"/>
            <a:tailEnd type="arrow"/>
          </a:ln>
          <a:effectLst/>
        </p:spPr>
      </p:cxnSp>
      <p:sp>
        <p:nvSpPr>
          <p:cNvPr id="26" name="TextBox 25">
            <a:extLst>
              <a:ext uri="{FF2B5EF4-FFF2-40B4-BE49-F238E27FC236}">
                <a16:creationId xmlns:a16="http://schemas.microsoft.com/office/drawing/2014/main" id="{E9A85FF6-B5D0-4D83-8DD0-BCB544286B39}"/>
              </a:ext>
            </a:extLst>
          </p:cNvPr>
          <p:cNvSpPr txBox="1"/>
          <p:nvPr/>
        </p:nvSpPr>
        <p:spPr>
          <a:xfrm rot="19800000">
            <a:off x="8856132" y="4762880"/>
            <a:ext cx="822500" cy="153888"/>
          </a:xfrm>
          <a:prstGeom prst="rect">
            <a:avLst/>
          </a:prstGeom>
          <a:noFill/>
        </p:spPr>
        <p:txBody>
          <a:bodyPr wrap="square" lIns="0" tIns="0" rIns="0" bIns="0" rtlCol="0">
            <a:spAutoFit/>
          </a:bodyPr>
          <a:lstStyle/>
          <a:p>
            <a:pPr defTabSz="914400" fontAlgn="base">
              <a:buClr>
                <a:srgbClr val="003781"/>
              </a:buClr>
            </a:pPr>
            <a:r>
              <a:rPr lang="en-US" sz="1000" b="1" kern="0" dirty="0">
                <a:solidFill>
                  <a:srgbClr val="7E5475"/>
                </a:solidFill>
                <a:latin typeface="Arial" panose="020B0604020202020204" pitchFamily="34" charset="0"/>
              </a:rPr>
              <a:t>premia</a:t>
            </a:r>
          </a:p>
        </p:txBody>
      </p:sp>
      <p:sp>
        <p:nvSpPr>
          <p:cNvPr id="27" name="Rounded Rectangle 50">
            <a:extLst>
              <a:ext uri="{FF2B5EF4-FFF2-40B4-BE49-F238E27FC236}">
                <a16:creationId xmlns:a16="http://schemas.microsoft.com/office/drawing/2014/main" id="{503048F0-EA99-4085-A3B0-F13A316A7750}"/>
              </a:ext>
            </a:extLst>
          </p:cNvPr>
          <p:cNvSpPr/>
          <p:nvPr/>
        </p:nvSpPr>
        <p:spPr bwMode="auto">
          <a:xfrm>
            <a:off x="8673376" y="4489787"/>
            <a:ext cx="981075" cy="815731"/>
          </a:xfrm>
          <a:prstGeom prst="roundRect">
            <a:avLst/>
          </a:prstGeom>
          <a:noFill/>
          <a:ln w="19050" cap="flat" cmpd="sng" algn="ctr">
            <a:solidFill>
              <a:schemeClr val="accent2"/>
            </a:solidFill>
            <a:prstDash val="sysDot"/>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a:solidFill>
                <a:srgbClr val="FFFFFF"/>
              </a:solidFill>
              <a:latin typeface="Arial" charset="0"/>
            </a:endParaRPr>
          </a:p>
        </p:txBody>
      </p:sp>
      <p:sp>
        <p:nvSpPr>
          <p:cNvPr id="29" name="TextBox 28">
            <a:extLst>
              <a:ext uri="{FF2B5EF4-FFF2-40B4-BE49-F238E27FC236}">
                <a16:creationId xmlns:a16="http://schemas.microsoft.com/office/drawing/2014/main" id="{E90A9EFF-3353-49A1-A439-E84E2B2CDA91}"/>
              </a:ext>
            </a:extLst>
          </p:cNvPr>
          <p:cNvSpPr txBox="1"/>
          <p:nvPr/>
        </p:nvSpPr>
        <p:spPr>
          <a:xfrm>
            <a:off x="9178281" y="3954428"/>
            <a:ext cx="1280760" cy="307777"/>
          </a:xfrm>
          <a:prstGeom prst="rect">
            <a:avLst/>
          </a:prstGeom>
          <a:noFill/>
        </p:spPr>
        <p:txBody>
          <a:bodyPr wrap="square" lIns="0" tIns="0" rIns="0" bIns="0" rtlCol="0">
            <a:spAutoFit/>
          </a:bodyPr>
          <a:lstStyle/>
          <a:p>
            <a:pPr algn="r" defTabSz="914400" fontAlgn="base">
              <a:buClr>
                <a:srgbClr val="003781"/>
              </a:buClr>
            </a:pPr>
            <a:r>
              <a:rPr lang="en-US" sz="1000" b="1" kern="0" dirty="0">
                <a:solidFill>
                  <a:srgbClr val="7E5475"/>
                </a:solidFill>
                <a:latin typeface="Arial" panose="020B0604020202020204" pitchFamily="34" charset="0"/>
              </a:rPr>
              <a:t>Premia reduces upside participation</a:t>
            </a:r>
          </a:p>
        </p:txBody>
      </p:sp>
      <p:sp>
        <p:nvSpPr>
          <p:cNvPr id="45" name="TextBox 44">
            <a:extLst>
              <a:ext uri="{FF2B5EF4-FFF2-40B4-BE49-F238E27FC236}">
                <a16:creationId xmlns:a16="http://schemas.microsoft.com/office/drawing/2014/main" id="{BF87896E-D892-405F-850B-D0F6CA45692A}"/>
              </a:ext>
            </a:extLst>
          </p:cNvPr>
          <p:cNvSpPr txBox="1"/>
          <p:nvPr/>
        </p:nvSpPr>
        <p:spPr>
          <a:xfrm>
            <a:off x="9733731" y="5238009"/>
            <a:ext cx="817531" cy="153888"/>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en-US" sz="1000" b="1" kern="0" dirty="0">
                <a:solidFill>
                  <a:srgbClr val="000000"/>
                </a:solidFill>
                <a:latin typeface="Arial" panose="020B0604020202020204" pitchFamily="34" charset="0"/>
              </a:rPr>
              <a:t>Market return</a:t>
            </a:r>
          </a:p>
        </p:txBody>
      </p:sp>
      <p:sp>
        <p:nvSpPr>
          <p:cNvPr id="47" name="TextBox 46">
            <a:extLst>
              <a:ext uri="{FF2B5EF4-FFF2-40B4-BE49-F238E27FC236}">
                <a16:creationId xmlns:a16="http://schemas.microsoft.com/office/drawing/2014/main" id="{29407594-E234-45EE-AF76-C21E25917E16}"/>
              </a:ext>
            </a:extLst>
          </p:cNvPr>
          <p:cNvSpPr txBox="1"/>
          <p:nvPr/>
        </p:nvSpPr>
        <p:spPr>
          <a:xfrm rot="16200000">
            <a:off x="5611113" y="3794160"/>
            <a:ext cx="932948" cy="153888"/>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en-US" sz="1000" b="1" kern="0" dirty="0">
                <a:solidFill>
                  <a:srgbClr val="000000"/>
                </a:solidFill>
                <a:latin typeface="Arial" panose="020B0604020202020204" pitchFamily="34" charset="0"/>
              </a:rPr>
              <a:t>Portfolio return</a:t>
            </a:r>
          </a:p>
        </p:txBody>
      </p:sp>
      <p:sp>
        <p:nvSpPr>
          <p:cNvPr id="28" name="Content Placeholder 2">
            <a:extLst>
              <a:ext uri="{FF2B5EF4-FFF2-40B4-BE49-F238E27FC236}">
                <a16:creationId xmlns:a16="http://schemas.microsoft.com/office/drawing/2014/main" id="{5843C95F-2827-402D-9FF3-3398DE532455}"/>
              </a:ext>
            </a:extLst>
          </p:cNvPr>
          <p:cNvSpPr txBox="1">
            <a:spLocks/>
          </p:cNvSpPr>
          <p:nvPr/>
        </p:nvSpPr>
        <p:spPr>
          <a:xfrm>
            <a:off x="6109855" y="1662184"/>
            <a:ext cx="4187040" cy="1100871"/>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sz="1100" b="1" kern="0" dirty="0">
                <a:solidFill>
                  <a:srgbClr val="000000"/>
                </a:solidFill>
              </a:rPr>
              <a:t>Tail Risk Hedging</a:t>
            </a:r>
          </a:p>
          <a:p>
            <a:pPr marL="0" indent="0">
              <a:buClr>
                <a:srgbClr val="003781"/>
              </a:buClr>
              <a:buNone/>
            </a:pPr>
            <a:r>
              <a:rPr lang="en-US" sz="1100" kern="0" dirty="0">
                <a:solidFill>
                  <a:srgbClr val="000000"/>
                </a:solidFill>
              </a:rPr>
              <a:t>Tail risk hedging aims to protect the portfolio against those severe market shocks. The basic idea is to give up a small portion of the returns in calm markets each year while being protected against those cataclysmic market scenarios. </a:t>
            </a:r>
          </a:p>
        </p:txBody>
      </p:sp>
      <p:sp>
        <p:nvSpPr>
          <p:cNvPr id="31" name="Text Placeholder 2">
            <a:extLst>
              <a:ext uri="{FF2B5EF4-FFF2-40B4-BE49-F238E27FC236}">
                <a16:creationId xmlns:a16="http://schemas.microsoft.com/office/drawing/2014/main" id="{576557EF-E7F1-42E6-BFCA-D6023740E440}"/>
              </a:ext>
            </a:extLst>
          </p:cNvPr>
          <p:cNvSpPr txBox="1">
            <a:spLocks/>
          </p:cNvSpPr>
          <p:nvPr/>
        </p:nvSpPr>
        <p:spPr>
          <a:xfrm>
            <a:off x="1467001" y="6235340"/>
            <a:ext cx="8640000" cy="373805"/>
          </a:xfrm>
          <a:prstGeom prst="rect">
            <a:avLst/>
          </a:prstGeom>
        </p:spPr>
        <p:txBody>
          <a:bodyPr lIns="0" tIns="0" rIns="0" bIns="0" anchor="b"/>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sz="800" kern="0" dirty="0">
                <a:solidFill>
                  <a:srgbClr val="000000"/>
                </a:solidFill>
                <a:latin typeface="Arial Narrow" panose="020B0606020202030204" pitchFamily="34" charset="0"/>
              </a:rPr>
              <a:t>Source: Allianz Global Investors. Schematic representation for illustrative purposes only.</a:t>
            </a:r>
          </a:p>
        </p:txBody>
      </p:sp>
    </p:spTree>
    <p:extLst>
      <p:ext uri="{BB962C8B-B14F-4D97-AF65-F5344CB8AC3E}">
        <p14:creationId xmlns:p14="http://schemas.microsoft.com/office/powerpoint/2010/main" val="2595151920"/>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7654" name="think-cell Folie" r:id="rId5" imgW="270" imgH="270" progId="TCLayout.ActiveDocument.1">
                  <p:embed/>
                </p:oleObj>
              </mc:Choice>
              <mc:Fallback>
                <p:oleObj name="think-cell Folie" r:id="rId5" imgW="270" imgH="270" progId="TCLayout.ActiveDocument.1">
                  <p:embed/>
                  <p:pic>
                    <p:nvPicPr>
                      <p:cNvPr id="5" name="Object 4" hidden="1"/>
                      <p:cNvPicPr/>
                      <p:nvPr/>
                    </p:nvPicPr>
                    <p:blipFill>
                      <a:blip r:embed="rId6"/>
                      <a:stretch>
                        <a:fillRect/>
                      </a:stretch>
                    </p:blipFill>
                    <p:spPr>
                      <a:xfrm>
                        <a:off x="1144589" y="1589"/>
                        <a:ext cx="1587" cy="1587"/>
                      </a:xfrm>
                      <a:prstGeom prst="rect">
                        <a:avLst/>
                      </a:prstGeom>
                    </p:spPr>
                  </p:pic>
                </p:oleObj>
              </mc:Fallback>
            </mc:AlternateContent>
          </a:graphicData>
        </a:graphic>
      </p:graphicFrame>
      <p:sp>
        <p:nvSpPr>
          <p:cNvPr id="2" name="Title 1"/>
          <p:cNvSpPr>
            <a:spLocks noGrp="1"/>
          </p:cNvSpPr>
          <p:nvPr>
            <p:ph type="title"/>
          </p:nvPr>
        </p:nvSpPr>
        <p:spPr>
          <a:xfrm>
            <a:off x="1467000" y="660011"/>
            <a:ext cx="6355474" cy="607190"/>
          </a:xfrm>
        </p:spPr>
        <p:txBody>
          <a:bodyPr/>
          <a:lstStyle/>
          <a:p>
            <a:r>
              <a:rPr lang="de-DE" dirty="0" err="1"/>
              <a:t>Why</a:t>
            </a:r>
            <a:r>
              <a:rPr lang="de-DE" dirty="0"/>
              <a:t> AllianzGI Dynamic </a:t>
            </a:r>
            <a:r>
              <a:rPr lang="de-DE" dirty="0" err="1"/>
              <a:t>Tail</a:t>
            </a:r>
            <a:r>
              <a:rPr lang="de-DE" dirty="0"/>
              <a:t> Risk-Management (DTRM) Solution</a:t>
            </a:r>
            <a:r>
              <a:rPr lang="en-GB" dirty="0"/>
              <a:t/>
            </a:r>
            <a:br>
              <a:rPr lang="en-GB" dirty="0"/>
            </a:br>
            <a:endParaRPr lang="en-GB" sz="1800" dirty="0"/>
          </a:p>
        </p:txBody>
      </p:sp>
      <p:sp>
        <p:nvSpPr>
          <p:cNvPr id="35" name="Text Box 13">
            <a:extLst>
              <a:ext uri="{FF2B5EF4-FFF2-40B4-BE49-F238E27FC236}">
                <a16:creationId xmlns:a16="http://schemas.microsoft.com/office/drawing/2014/main" id="{293E4690-70E8-442C-8CF9-769B8A5E7293}"/>
              </a:ext>
            </a:extLst>
          </p:cNvPr>
          <p:cNvSpPr txBox="1">
            <a:spLocks noChangeArrowheads="1"/>
          </p:cNvSpPr>
          <p:nvPr/>
        </p:nvSpPr>
        <p:spPr bwMode="auto">
          <a:xfrm>
            <a:off x="1467001" y="6333289"/>
            <a:ext cx="9182413" cy="297517"/>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12700">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400">
                <a:solidFill>
                  <a:schemeClr val="tx1"/>
                </a:solidFill>
                <a:latin typeface="Arial" charset="0"/>
              </a:defRPr>
            </a:lvl1pPr>
            <a:lvl2pPr marL="742950" indent="-285750" eaLnBrk="0" hangingPunct="0">
              <a:defRPr sz="1400">
                <a:solidFill>
                  <a:schemeClr val="tx1"/>
                </a:solidFill>
                <a:latin typeface="Arial" charset="0"/>
              </a:defRPr>
            </a:lvl2pPr>
            <a:lvl3pPr marL="1143000" indent="-228600" eaLnBrk="0" hangingPunct="0">
              <a:defRPr sz="1400">
                <a:solidFill>
                  <a:schemeClr val="tx1"/>
                </a:solidFill>
                <a:latin typeface="Arial" charset="0"/>
              </a:defRPr>
            </a:lvl3pPr>
            <a:lvl4pPr marL="1600200" indent="-228600" eaLnBrk="0" hangingPunct="0">
              <a:defRPr sz="1400">
                <a:solidFill>
                  <a:schemeClr val="tx1"/>
                </a:solidFill>
                <a:latin typeface="Arial" charset="0"/>
              </a:defRPr>
            </a:lvl4pPr>
            <a:lvl5pPr marL="2057400" indent="-228600" eaLnBrk="0" hangingPunct="0">
              <a:defRPr sz="1400">
                <a:solidFill>
                  <a:schemeClr val="tx1"/>
                </a:solidFill>
                <a:latin typeface="Arial" charset="0"/>
              </a:defRPr>
            </a:lvl5pPr>
            <a:lvl6pPr marL="2514600" indent="-228600" eaLnBrk="0" fontAlgn="base" hangingPunct="0">
              <a:spcBef>
                <a:spcPct val="50000"/>
              </a:spcBef>
              <a:spcAft>
                <a:spcPct val="0"/>
              </a:spcAft>
              <a:defRPr sz="1400">
                <a:solidFill>
                  <a:schemeClr val="tx1"/>
                </a:solidFill>
                <a:latin typeface="Arial" charset="0"/>
              </a:defRPr>
            </a:lvl6pPr>
            <a:lvl7pPr marL="2971800" indent="-228600" eaLnBrk="0" fontAlgn="base" hangingPunct="0">
              <a:spcBef>
                <a:spcPct val="50000"/>
              </a:spcBef>
              <a:spcAft>
                <a:spcPct val="0"/>
              </a:spcAft>
              <a:defRPr sz="1400">
                <a:solidFill>
                  <a:schemeClr val="tx1"/>
                </a:solidFill>
                <a:latin typeface="Arial" charset="0"/>
              </a:defRPr>
            </a:lvl7pPr>
            <a:lvl8pPr marL="3429000" indent="-228600" eaLnBrk="0" fontAlgn="base" hangingPunct="0">
              <a:spcBef>
                <a:spcPct val="50000"/>
              </a:spcBef>
              <a:spcAft>
                <a:spcPct val="0"/>
              </a:spcAft>
              <a:defRPr sz="1400">
                <a:solidFill>
                  <a:schemeClr val="tx1"/>
                </a:solidFill>
                <a:latin typeface="Arial" charset="0"/>
              </a:defRPr>
            </a:lvl8pPr>
            <a:lvl9pPr marL="3886200" indent="-228600" eaLnBrk="0" fontAlgn="base" hangingPunct="0">
              <a:spcBef>
                <a:spcPct val="50000"/>
              </a:spcBef>
              <a:spcAft>
                <a:spcPct val="0"/>
              </a:spcAft>
              <a:defRPr sz="1400">
                <a:solidFill>
                  <a:schemeClr val="tx1"/>
                </a:solidFill>
                <a:latin typeface="Arial" charset="0"/>
              </a:defRPr>
            </a:lvl9pPr>
          </a:lstStyle>
          <a:p>
            <a:pPr defTabSz="914400" eaLnBrk="1" fontAlgn="base" hangingPunct="1">
              <a:spcBef>
                <a:spcPct val="0"/>
              </a:spcBef>
              <a:spcAft>
                <a:spcPts val="360"/>
              </a:spcAft>
              <a:buClr>
                <a:srgbClr val="003087"/>
              </a:buClr>
              <a:tabLst>
                <a:tab pos="179388" algn="l"/>
              </a:tabLst>
            </a:pPr>
            <a:r>
              <a:rPr lang="en-US" sz="800" kern="0" dirty="0">
                <a:solidFill>
                  <a:srgbClr val="000000"/>
                </a:solidFill>
                <a:latin typeface="Arial Narrow" panose="020B0606020202030204" pitchFamily="34" charset="0"/>
              </a:rPr>
              <a:t>VEV: Required equity buffers (</a:t>
            </a:r>
            <a:r>
              <a:rPr lang="en-US" sz="800" kern="0" dirty="0" err="1">
                <a:solidFill>
                  <a:srgbClr val="000000"/>
                </a:solidFill>
                <a:latin typeface="Arial Narrow" panose="020B0606020202030204" pitchFamily="34" charset="0"/>
              </a:rPr>
              <a:t>Vereist</a:t>
            </a:r>
            <a:r>
              <a:rPr lang="en-US" sz="800" kern="0" dirty="0">
                <a:solidFill>
                  <a:srgbClr val="000000"/>
                </a:solidFill>
                <a:latin typeface="Arial Narrow" panose="020B0606020202030204" pitchFamily="34" charset="0"/>
              </a:rPr>
              <a:t> Eigen </a:t>
            </a:r>
            <a:r>
              <a:rPr lang="en-US" sz="800" kern="0" dirty="0" err="1">
                <a:solidFill>
                  <a:srgbClr val="000000"/>
                </a:solidFill>
                <a:latin typeface="Arial Narrow" panose="020B0606020202030204" pitchFamily="34" charset="0"/>
              </a:rPr>
              <a:t>Vermogen</a:t>
            </a:r>
            <a:r>
              <a:rPr lang="en-US" sz="800" kern="0" dirty="0">
                <a:solidFill>
                  <a:srgbClr val="000000"/>
                </a:solidFill>
                <a:latin typeface="Arial Narrow" panose="020B0606020202030204" pitchFamily="34" charset="0"/>
              </a:rPr>
              <a:t>)</a:t>
            </a:r>
          </a:p>
          <a:p>
            <a:pPr defTabSz="914400" eaLnBrk="1" fontAlgn="base" hangingPunct="1">
              <a:spcBef>
                <a:spcPct val="0"/>
              </a:spcBef>
              <a:spcAft>
                <a:spcPts val="360"/>
              </a:spcAft>
              <a:buClr>
                <a:srgbClr val="003087"/>
              </a:buClr>
              <a:tabLst>
                <a:tab pos="179388" algn="l"/>
              </a:tabLst>
            </a:pPr>
            <a:r>
              <a:rPr lang="en-US" sz="800" kern="0" dirty="0">
                <a:solidFill>
                  <a:srgbClr val="000000"/>
                </a:solidFill>
                <a:latin typeface="Arial Narrow" panose="020B0606020202030204" pitchFamily="34" charset="0"/>
              </a:rPr>
              <a:t>Source: Allianz Global Investors. This is for illustrative purposes only.</a:t>
            </a:r>
            <a:endParaRPr lang="de-DE" sz="800" kern="0" dirty="0">
              <a:solidFill>
                <a:srgbClr val="000000"/>
              </a:solidFill>
              <a:latin typeface="Arial Narrow" panose="020B0606020202030204" pitchFamily="34" charset="0"/>
              <a:ea typeface="Arial Unicode MS" pitchFamily="34" charset="-128"/>
              <a:cs typeface="Arial Unicode MS" pitchFamily="34" charset="-128"/>
            </a:endParaRPr>
          </a:p>
        </p:txBody>
      </p:sp>
      <p:grpSp>
        <p:nvGrpSpPr>
          <p:cNvPr id="9" name="Group 8">
            <a:extLst>
              <a:ext uri="{FF2B5EF4-FFF2-40B4-BE49-F238E27FC236}">
                <a16:creationId xmlns:a16="http://schemas.microsoft.com/office/drawing/2014/main" id="{BF5FECC4-36A0-4171-8872-C3388831DB25}"/>
              </a:ext>
            </a:extLst>
          </p:cNvPr>
          <p:cNvGrpSpPr/>
          <p:nvPr/>
        </p:nvGrpSpPr>
        <p:grpSpPr>
          <a:xfrm>
            <a:off x="1143000" y="1628130"/>
            <a:ext cx="9906000" cy="4216774"/>
            <a:chOff x="0" y="1981215"/>
            <a:chExt cx="9906000" cy="4216774"/>
          </a:xfrm>
        </p:grpSpPr>
        <p:sp>
          <p:nvSpPr>
            <p:cNvPr id="3" name="box 22"/>
            <p:cNvSpPr/>
            <p:nvPr/>
          </p:nvSpPr>
          <p:spPr>
            <a:xfrm>
              <a:off x="0" y="4261050"/>
              <a:ext cx="9906000" cy="1450401"/>
            </a:xfrm>
            <a:prstGeom prst="rect">
              <a:avLst/>
            </a:prstGeom>
            <a:solidFill>
              <a:srgbClr val="D6E0EA"/>
            </a:solidFill>
            <a:ln>
              <a:noFill/>
            </a:ln>
          </p:spPr>
          <p:style>
            <a:lnRef idx="2">
              <a:schemeClr val="accent1">
                <a:shade val="50000"/>
              </a:schemeClr>
            </a:lnRef>
            <a:fillRef idx="1">
              <a:schemeClr val="accent1"/>
            </a:fillRef>
            <a:effectRef idx="0">
              <a:schemeClr val="accent1"/>
            </a:effectRef>
            <a:fontRef idx="minor">
              <a:schemeClr val="lt1"/>
            </a:fontRef>
          </p:style>
          <p:txBody>
            <a:bodyPr lIns="1224000" tIns="936000" rIns="1224000" rtlCol="0" anchor="t"/>
            <a:lstStyle/>
            <a:p>
              <a:pPr marL="176213" indent="-176213" algn="ctr" defTabSz="914400" fontAlgn="base">
                <a:spcBef>
                  <a:spcPts val="360"/>
                </a:spcBef>
                <a:spcAft>
                  <a:spcPts val="360"/>
                </a:spcAft>
                <a:buClr>
                  <a:srgbClr val="003781"/>
                </a:buClr>
                <a:tabLst>
                  <a:tab pos="179388" algn="l"/>
                </a:tabLst>
              </a:pPr>
              <a:r>
                <a:rPr lang="en-GB" sz="1400" b="1" kern="0" dirty="0">
                  <a:solidFill>
                    <a:srgbClr val="000000"/>
                  </a:solidFill>
                  <a:latin typeface="Arial"/>
                </a:rPr>
                <a:t>Effective Hedging Solution</a:t>
              </a:r>
            </a:p>
          </p:txBody>
        </p:sp>
        <p:grpSp>
          <p:nvGrpSpPr>
            <p:cNvPr id="8" name="Group 7">
              <a:extLst>
                <a:ext uri="{FF2B5EF4-FFF2-40B4-BE49-F238E27FC236}">
                  <a16:creationId xmlns:a16="http://schemas.microsoft.com/office/drawing/2014/main" id="{B07537D9-1D90-4DAB-9766-FA5053AAAA15}"/>
                </a:ext>
              </a:extLst>
            </p:cNvPr>
            <p:cNvGrpSpPr/>
            <p:nvPr/>
          </p:nvGrpSpPr>
          <p:grpSpPr>
            <a:xfrm>
              <a:off x="621516" y="1981215"/>
              <a:ext cx="8662967" cy="3168072"/>
              <a:chOff x="709633" y="1921087"/>
              <a:chExt cx="8662967" cy="3168072"/>
            </a:xfrm>
          </p:grpSpPr>
          <p:grpSp>
            <p:nvGrpSpPr>
              <p:cNvPr id="7" name="Group 6">
                <a:extLst>
                  <a:ext uri="{FF2B5EF4-FFF2-40B4-BE49-F238E27FC236}">
                    <a16:creationId xmlns:a16="http://schemas.microsoft.com/office/drawing/2014/main" id="{A84430EC-AB46-42B6-A393-8CB84703617A}"/>
                  </a:ext>
                </a:extLst>
              </p:cNvPr>
              <p:cNvGrpSpPr/>
              <p:nvPr/>
            </p:nvGrpSpPr>
            <p:grpSpPr>
              <a:xfrm>
                <a:off x="709633" y="1921087"/>
                <a:ext cx="8662967" cy="3168072"/>
                <a:chOff x="508193" y="1943129"/>
                <a:chExt cx="9350590" cy="3168072"/>
              </a:xfrm>
            </p:grpSpPr>
            <p:grpSp>
              <p:nvGrpSpPr>
                <p:cNvPr id="6" name="Group 5">
                  <a:extLst>
                    <a:ext uri="{FF2B5EF4-FFF2-40B4-BE49-F238E27FC236}">
                      <a16:creationId xmlns:a16="http://schemas.microsoft.com/office/drawing/2014/main" id="{D8E1FA63-CC2B-4826-A37C-EE5A67EED052}"/>
                    </a:ext>
                  </a:extLst>
                </p:cNvPr>
                <p:cNvGrpSpPr/>
                <p:nvPr/>
              </p:nvGrpSpPr>
              <p:grpSpPr>
                <a:xfrm>
                  <a:off x="508193" y="1943129"/>
                  <a:ext cx="7480472" cy="3168072"/>
                  <a:chOff x="1212764" y="1938220"/>
                  <a:chExt cx="7480472" cy="3168072"/>
                </a:xfrm>
              </p:grpSpPr>
              <p:sp>
                <p:nvSpPr>
                  <p:cNvPr id="39" name="Pfeil nach unten 38"/>
                  <p:cNvSpPr/>
                  <p:nvPr/>
                </p:nvSpPr>
                <p:spPr bwMode="auto">
                  <a:xfrm>
                    <a:off x="3082882" y="1938220"/>
                    <a:ext cx="1870118" cy="3168072"/>
                  </a:xfrm>
                  <a:prstGeom prst="downArrow">
                    <a:avLst>
                      <a:gd name="adj1" fmla="val 100000"/>
                      <a:gd name="adj2" fmla="val 28542"/>
                    </a:avLst>
                  </a:prstGeom>
                  <a:solidFill>
                    <a:srgbClr val="878787"/>
                  </a:solid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r>
                      <a:rPr lang="en-US" sz="1200" b="1" kern="0" dirty="0">
                        <a:solidFill>
                          <a:srgbClr val="FFFFFF"/>
                        </a:solidFill>
                        <a:latin typeface="Arial" charset="0"/>
                      </a:rPr>
                      <a:t>No material basis risk</a:t>
                    </a:r>
                  </a:p>
                  <a:p>
                    <a:pPr algn="ctr" defTabSz="914400" fontAlgn="base">
                      <a:spcBef>
                        <a:spcPts val="360"/>
                      </a:spcBef>
                      <a:spcAft>
                        <a:spcPct val="25000"/>
                      </a:spcAft>
                      <a:buClr>
                        <a:srgbClr val="003781"/>
                      </a:buClr>
                    </a:pPr>
                    <a:r>
                      <a:rPr lang="en-US" sz="1200" kern="0" dirty="0">
                        <a:solidFill>
                          <a:srgbClr val="FFFFFF"/>
                        </a:solidFill>
                        <a:latin typeface="Arial" charset="0"/>
                      </a:rPr>
                      <a:t>Correlation or proxy hedges should only be used if no liquid hedging alternatives are available </a:t>
                    </a:r>
                  </a:p>
                </p:txBody>
              </p:sp>
              <p:sp>
                <p:nvSpPr>
                  <p:cNvPr id="42" name="Pfeil nach unten 41"/>
                  <p:cNvSpPr/>
                  <p:nvPr/>
                </p:nvSpPr>
                <p:spPr bwMode="auto">
                  <a:xfrm>
                    <a:off x="4952997" y="1938220"/>
                    <a:ext cx="1870119" cy="3168072"/>
                  </a:xfrm>
                  <a:prstGeom prst="downArrow">
                    <a:avLst>
                      <a:gd name="adj1" fmla="val 100000"/>
                      <a:gd name="adj2" fmla="val 28542"/>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r>
                      <a:rPr lang="en-GB" sz="1200" b="1" kern="0" dirty="0">
                        <a:solidFill>
                          <a:srgbClr val="FFFFFF"/>
                        </a:solidFill>
                        <a:latin typeface="Arial" charset="0"/>
                      </a:rPr>
                      <a:t>Continuous protection </a:t>
                    </a:r>
                  </a:p>
                  <a:p>
                    <a:pPr algn="ctr" defTabSz="914400" fontAlgn="base">
                      <a:spcBef>
                        <a:spcPts val="360"/>
                      </a:spcBef>
                      <a:spcAft>
                        <a:spcPct val="25000"/>
                      </a:spcAft>
                      <a:buClr>
                        <a:srgbClr val="003781"/>
                      </a:buClr>
                    </a:pPr>
                    <a:r>
                      <a:rPr lang="en-GB" sz="1200" kern="0" dirty="0">
                        <a:solidFill>
                          <a:srgbClr val="FFFFFF"/>
                        </a:solidFill>
                        <a:latin typeface="Arial" charset="0"/>
                      </a:rPr>
                      <a:t>No tactical protection switch-off or “just in time” hedging</a:t>
                    </a:r>
                  </a:p>
                </p:txBody>
              </p:sp>
              <p:sp>
                <p:nvSpPr>
                  <p:cNvPr id="45" name="Pfeil nach unten 44"/>
                  <p:cNvSpPr/>
                  <p:nvPr/>
                </p:nvSpPr>
                <p:spPr bwMode="auto">
                  <a:xfrm>
                    <a:off x="6823118" y="1938220"/>
                    <a:ext cx="1870118" cy="3168072"/>
                  </a:xfrm>
                  <a:prstGeom prst="downArrow">
                    <a:avLst>
                      <a:gd name="adj1" fmla="val 100000"/>
                      <a:gd name="adj2" fmla="val 28542"/>
                    </a:avLst>
                  </a:prstGeom>
                  <a:solidFill>
                    <a:srgbClr val="B2B2B2"/>
                  </a:solid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r>
                      <a:rPr lang="en-GB" sz="1200" b="1" kern="0" dirty="0">
                        <a:solidFill>
                          <a:srgbClr val="FFFFFF"/>
                        </a:solidFill>
                        <a:latin typeface="Arial" charset="0"/>
                      </a:rPr>
                      <a:t>Dynamic hedging</a:t>
                    </a:r>
                  </a:p>
                  <a:p>
                    <a:pPr algn="ctr" defTabSz="914400" fontAlgn="base">
                      <a:spcBef>
                        <a:spcPts val="360"/>
                      </a:spcBef>
                      <a:spcAft>
                        <a:spcPct val="25000"/>
                      </a:spcAft>
                      <a:buClr>
                        <a:srgbClr val="003781"/>
                      </a:buClr>
                    </a:pPr>
                    <a:r>
                      <a:rPr lang="en-GB" sz="1200" kern="0" dirty="0">
                        <a:solidFill>
                          <a:srgbClr val="FFFFFF"/>
                        </a:solidFill>
                        <a:latin typeface="Arial" charset="0"/>
                      </a:rPr>
                      <a:t>Dynamic and market-dependent hedging approach, to optimize protection cost while maintaining the target protection</a:t>
                    </a:r>
                    <a:endParaRPr lang="en-GB" sz="1200" b="1" kern="0" dirty="0">
                      <a:solidFill>
                        <a:srgbClr val="FFFFFF"/>
                      </a:solidFill>
                      <a:latin typeface="Arial" charset="0"/>
                    </a:endParaRPr>
                  </a:p>
                </p:txBody>
              </p:sp>
              <p:sp>
                <p:nvSpPr>
                  <p:cNvPr id="33" name="Pfeil nach unten 32"/>
                  <p:cNvSpPr/>
                  <p:nvPr/>
                </p:nvSpPr>
                <p:spPr bwMode="auto">
                  <a:xfrm>
                    <a:off x="1212764" y="1938220"/>
                    <a:ext cx="1870118" cy="3168072"/>
                  </a:xfrm>
                  <a:prstGeom prst="downArrow">
                    <a:avLst>
                      <a:gd name="adj1" fmla="val 100000"/>
                      <a:gd name="adj2" fmla="val 28542"/>
                    </a:avLst>
                  </a:pr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r>
                      <a:rPr lang="en-US" sz="1200" b="1" kern="0" dirty="0">
                        <a:solidFill>
                          <a:srgbClr val="FFFFFF"/>
                        </a:solidFill>
                        <a:latin typeface="Arial" charset="0"/>
                      </a:rPr>
                      <a:t>Only liquid instruments</a:t>
                    </a:r>
                  </a:p>
                  <a:p>
                    <a:pPr algn="ctr" defTabSz="914400" fontAlgn="base">
                      <a:spcBef>
                        <a:spcPts val="360"/>
                      </a:spcBef>
                      <a:spcAft>
                        <a:spcPct val="25000"/>
                      </a:spcAft>
                      <a:buClr>
                        <a:srgbClr val="003781"/>
                      </a:buClr>
                    </a:pPr>
                    <a:r>
                      <a:rPr lang="en-US" sz="1200" kern="0" dirty="0">
                        <a:solidFill>
                          <a:srgbClr val="FFFFFF"/>
                        </a:solidFill>
                        <a:latin typeface="Arial" charset="0"/>
                      </a:rPr>
                      <a:t>Hedging instruments should be liquid and exchange traded in order to mitigate default risks and liquidity squeezes</a:t>
                    </a:r>
                  </a:p>
                </p:txBody>
              </p:sp>
              <p:grpSp>
                <p:nvGrpSpPr>
                  <p:cNvPr id="18" name="Gruppieren 541">
                    <a:extLst>
                      <a:ext uri="{FF2B5EF4-FFF2-40B4-BE49-F238E27FC236}">
                        <a16:creationId xmlns:a16="http://schemas.microsoft.com/office/drawing/2014/main" id="{DB0C590F-14D3-4E96-A1F2-6153C5F61BCE}"/>
                      </a:ext>
                    </a:extLst>
                  </p:cNvPr>
                  <p:cNvGrpSpPr>
                    <a:grpSpLocks noChangeAspect="1"/>
                  </p:cNvGrpSpPr>
                  <p:nvPr/>
                </p:nvGrpSpPr>
                <p:grpSpPr>
                  <a:xfrm>
                    <a:off x="1644902" y="2006428"/>
                    <a:ext cx="1005840" cy="1005840"/>
                    <a:chOff x="7945551" y="3598941"/>
                    <a:chExt cx="720000" cy="720000"/>
                  </a:xfrm>
                </p:grpSpPr>
                <p:sp>
                  <p:nvSpPr>
                    <p:cNvPr id="19" name="Ellipse 52">
                      <a:extLst>
                        <a:ext uri="{FF2B5EF4-FFF2-40B4-BE49-F238E27FC236}">
                          <a16:creationId xmlns:a16="http://schemas.microsoft.com/office/drawing/2014/main" id="{6A480E40-5410-4372-B359-B663B5BB3D35}"/>
                        </a:ext>
                      </a:extLst>
                    </p:cNvPr>
                    <p:cNvSpPr>
                      <a:spLocks noChangeAspect="1"/>
                    </p:cNvSpPr>
                    <p:nvPr/>
                  </p:nvSpPr>
                  <p:spPr bwMode="auto">
                    <a:xfrm>
                      <a:off x="7945551" y="3598941"/>
                      <a:ext cx="720000" cy="720000"/>
                    </a:xfrm>
                    <a:prstGeom prst="ellipse">
                      <a:avLst/>
                    </a:pr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90"/>
                        </a:spcBef>
                        <a:spcAft>
                          <a:spcPts val="390"/>
                        </a:spcAft>
                        <a:buClr>
                          <a:srgbClr val="003781"/>
                        </a:buClr>
                      </a:pPr>
                      <a:endParaRPr lang="de-DE" sz="1300" kern="0" dirty="0" err="1">
                        <a:solidFill>
                          <a:srgbClr val="FFFFFF"/>
                        </a:solidFill>
                        <a:latin typeface="Arial" charset="0"/>
                      </a:endParaRPr>
                    </a:p>
                  </p:txBody>
                </p:sp>
                <p:pic>
                  <p:nvPicPr>
                    <p:cNvPr id="20" name="Grafik 531">
                      <a:extLst>
                        <a:ext uri="{FF2B5EF4-FFF2-40B4-BE49-F238E27FC236}">
                          <a16:creationId xmlns:a16="http://schemas.microsoft.com/office/drawing/2014/main" id="{22BDB7DE-4D6A-4B8A-8259-CB7B4DA0305C}"/>
                        </a:ext>
                      </a:extLst>
                    </p:cNvPr>
                    <p:cNvPicPr>
                      <a:picLocks noChangeAspect="1"/>
                    </p:cNvPicPr>
                    <p:nvPr/>
                  </p:nvPicPr>
                  <p:blipFill>
                    <a:blip r:embed="rId7"/>
                    <a:stretch>
                      <a:fillRect/>
                    </a:stretch>
                  </p:blipFill>
                  <p:spPr>
                    <a:xfrm>
                      <a:off x="8144814" y="3798504"/>
                      <a:ext cx="321474" cy="320874"/>
                    </a:xfrm>
                    <a:prstGeom prst="rect">
                      <a:avLst/>
                    </a:prstGeom>
                  </p:spPr>
                </p:pic>
              </p:grpSp>
              <p:grpSp>
                <p:nvGrpSpPr>
                  <p:cNvPr id="21" name="Gruppieren 60">
                    <a:extLst>
                      <a:ext uri="{FF2B5EF4-FFF2-40B4-BE49-F238E27FC236}">
                        <a16:creationId xmlns:a16="http://schemas.microsoft.com/office/drawing/2014/main" id="{7FAAAD62-33F6-4311-94F3-1A0BCE52D6A8}"/>
                      </a:ext>
                    </a:extLst>
                  </p:cNvPr>
                  <p:cNvGrpSpPr>
                    <a:grpSpLocks noChangeAspect="1"/>
                  </p:cNvGrpSpPr>
                  <p:nvPr/>
                </p:nvGrpSpPr>
                <p:grpSpPr>
                  <a:xfrm>
                    <a:off x="3592708" y="2006428"/>
                    <a:ext cx="1005840" cy="1005840"/>
                    <a:chOff x="6881585" y="2351166"/>
                    <a:chExt cx="720000" cy="720000"/>
                  </a:xfrm>
                  <a:solidFill>
                    <a:srgbClr val="878787"/>
                  </a:solidFill>
                </p:grpSpPr>
                <p:sp>
                  <p:nvSpPr>
                    <p:cNvPr id="22" name="Ellipse 43">
                      <a:extLst>
                        <a:ext uri="{FF2B5EF4-FFF2-40B4-BE49-F238E27FC236}">
                          <a16:creationId xmlns:a16="http://schemas.microsoft.com/office/drawing/2014/main" id="{AF80792B-275C-4BE6-B212-8EA2CDCBD03E}"/>
                        </a:ext>
                      </a:extLst>
                    </p:cNvPr>
                    <p:cNvSpPr>
                      <a:spLocks noChangeAspect="1"/>
                    </p:cNvSpPr>
                    <p:nvPr/>
                  </p:nvSpPr>
                  <p:spPr bwMode="auto">
                    <a:xfrm>
                      <a:off x="6881585" y="2351166"/>
                      <a:ext cx="720000" cy="720000"/>
                    </a:xfrm>
                    <a:prstGeom prst="ellipse">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90"/>
                        </a:spcBef>
                        <a:spcAft>
                          <a:spcPts val="390"/>
                        </a:spcAft>
                        <a:buClr>
                          <a:srgbClr val="003781"/>
                        </a:buClr>
                      </a:pPr>
                      <a:endParaRPr lang="de-DE" sz="1300" kern="0" dirty="0" err="1">
                        <a:solidFill>
                          <a:srgbClr val="FFFFFF"/>
                        </a:solidFill>
                        <a:latin typeface="Arial" charset="0"/>
                      </a:endParaRPr>
                    </a:p>
                  </p:txBody>
                </p:sp>
                <p:pic>
                  <p:nvPicPr>
                    <p:cNvPr id="24" name="Grafik 240">
                      <a:extLst>
                        <a:ext uri="{FF2B5EF4-FFF2-40B4-BE49-F238E27FC236}">
                          <a16:creationId xmlns:a16="http://schemas.microsoft.com/office/drawing/2014/main" id="{9DD746FA-7B77-4352-85D5-54EA99DF2628}"/>
                        </a:ext>
                      </a:extLst>
                    </p:cNvPr>
                    <p:cNvPicPr>
                      <a:picLocks noChangeAspect="1"/>
                    </p:cNvPicPr>
                    <p:nvPr/>
                  </p:nvPicPr>
                  <p:blipFill>
                    <a:blip r:embed="rId8"/>
                    <a:stretch>
                      <a:fillRect/>
                    </a:stretch>
                  </p:blipFill>
                  <p:spPr>
                    <a:xfrm>
                      <a:off x="7025794" y="2583072"/>
                      <a:ext cx="431582" cy="256188"/>
                    </a:xfrm>
                    <a:prstGeom prst="rect">
                      <a:avLst/>
                    </a:prstGeom>
                    <a:grpFill/>
                  </p:spPr>
                </p:pic>
              </p:grpSp>
              <p:grpSp>
                <p:nvGrpSpPr>
                  <p:cNvPr id="25" name="Gruppieren 533">
                    <a:extLst>
                      <a:ext uri="{FF2B5EF4-FFF2-40B4-BE49-F238E27FC236}">
                        <a16:creationId xmlns:a16="http://schemas.microsoft.com/office/drawing/2014/main" id="{73CB8094-B653-4483-A1B1-E6559C395CEE}"/>
                      </a:ext>
                    </a:extLst>
                  </p:cNvPr>
                  <p:cNvGrpSpPr>
                    <a:grpSpLocks noChangeAspect="1"/>
                  </p:cNvGrpSpPr>
                  <p:nvPr/>
                </p:nvGrpSpPr>
                <p:grpSpPr>
                  <a:xfrm>
                    <a:off x="5430857" y="2006428"/>
                    <a:ext cx="914400" cy="914400"/>
                    <a:chOff x="1561446" y="1055766"/>
                    <a:chExt cx="720000" cy="720000"/>
                  </a:xfrm>
                </p:grpSpPr>
                <p:sp>
                  <p:nvSpPr>
                    <p:cNvPr id="27" name="Ellipse 30">
                      <a:extLst>
                        <a:ext uri="{FF2B5EF4-FFF2-40B4-BE49-F238E27FC236}">
                          <a16:creationId xmlns:a16="http://schemas.microsoft.com/office/drawing/2014/main" id="{BF847A30-F26A-4EBC-8838-A26AAFA8E39D}"/>
                        </a:ext>
                      </a:extLst>
                    </p:cNvPr>
                    <p:cNvSpPr>
                      <a:spLocks noChangeAspect="1"/>
                    </p:cNvSpPr>
                    <p:nvPr/>
                  </p:nvSpPr>
                  <p:spPr bwMode="auto">
                    <a:xfrm>
                      <a:off x="1561446" y="1055766"/>
                      <a:ext cx="720000" cy="720000"/>
                    </a:xfrm>
                    <a:prstGeom prst="ellipse">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90"/>
                        </a:spcBef>
                        <a:spcAft>
                          <a:spcPts val="390"/>
                        </a:spcAft>
                        <a:buClr>
                          <a:srgbClr val="003781"/>
                        </a:buClr>
                      </a:pPr>
                      <a:endParaRPr lang="de-DE" sz="1300" kern="0" dirty="0" err="1">
                        <a:solidFill>
                          <a:srgbClr val="FFFFFF"/>
                        </a:solidFill>
                        <a:latin typeface="Arial" charset="0"/>
                      </a:endParaRPr>
                    </a:p>
                  </p:txBody>
                </p:sp>
                <p:pic>
                  <p:nvPicPr>
                    <p:cNvPr id="28" name="Grafik 270">
                      <a:extLst>
                        <a:ext uri="{FF2B5EF4-FFF2-40B4-BE49-F238E27FC236}">
                          <a16:creationId xmlns:a16="http://schemas.microsoft.com/office/drawing/2014/main" id="{410DBD72-7044-4A16-9302-E711AEE19206}"/>
                        </a:ext>
                      </a:extLst>
                    </p:cNvPr>
                    <p:cNvPicPr>
                      <a:picLocks noChangeAspect="1"/>
                    </p:cNvPicPr>
                    <p:nvPr/>
                  </p:nvPicPr>
                  <p:blipFill>
                    <a:blip r:embed="rId9"/>
                    <a:stretch>
                      <a:fillRect/>
                    </a:stretch>
                  </p:blipFill>
                  <p:spPr>
                    <a:xfrm>
                      <a:off x="1709185" y="1228036"/>
                      <a:ext cx="424522" cy="375460"/>
                    </a:xfrm>
                    <a:prstGeom prst="rect">
                      <a:avLst/>
                    </a:prstGeom>
                  </p:spPr>
                </p:pic>
              </p:grpSp>
              <p:grpSp>
                <p:nvGrpSpPr>
                  <p:cNvPr id="29" name="Gruppieren 109">
                    <a:extLst>
                      <a:ext uri="{FF2B5EF4-FFF2-40B4-BE49-F238E27FC236}">
                        <a16:creationId xmlns:a16="http://schemas.microsoft.com/office/drawing/2014/main" id="{254FACD6-37A5-4120-9AEB-5A55443C25C0}"/>
                      </a:ext>
                    </a:extLst>
                  </p:cNvPr>
                  <p:cNvGrpSpPr>
                    <a:grpSpLocks noChangeAspect="1"/>
                  </p:cNvGrpSpPr>
                  <p:nvPr/>
                </p:nvGrpSpPr>
                <p:grpSpPr>
                  <a:xfrm>
                    <a:off x="7322524" y="2006428"/>
                    <a:ext cx="914400" cy="914400"/>
                    <a:chOff x="1561750" y="3598941"/>
                    <a:chExt cx="720000" cy="720000"/>
                  </a:xfrm>
                  <a:solidFill>
                    <a:srgbClr val="B2B2B2"/>
                  </a:solidFill>
                </p:grpSpPr>
                <p:sp>
                  <p:nvSpPr>
                    <p:cNvPr id="31" name="Ellipse 110">
                      <a:extLst>
                        <a:ext uri="{FF2B5EF4-FFF2-40B4-BE49-F238E27FC236}">
                          <a16:creationId xmlns:a16="http://schemas.microsoft.com/office/drawing/2014/main" id="{DCEA31FA-1A38-42D6-8474-5A34F0CAD26E}"/>
                        </a:ext>
                      </a:extLst>
                    </p:cNvPr>
                    <p:cNvSpPr>
                      <a:spLocks noChangeAspect="1"/>
                    </p:cNvSpPr>
                    <p:nvPr/>
                  </p:nvSpPr>
                  <p:spPr bwMode="auto">
                    <a:xfrm>
                      <a:off x="1561750" y="3598941"/>
                      <a:ext cx="720000" cy="720000"/>
                    </a:xfrm>
                    <a:prstGeom prst="ellipse">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90"/>
                        </a:spcBef>
                        <a:spcAft>
                          <a:spcPts val="390"/>
                        </a:spcAft>
                        <a:buClr>
                          <a:srgbClr val="003781"/>
                        </a:buClr>
                      </a:pPr>
                      <a:endParaRPr lang="de-DE" sz="1300" kern="0" dirty="0" err="1">
                        <a:solidFill>
                          <a:srgbClr val="FFFFFF"/>
                        </a:solidFill>
                        <a:latin typeface="Arial" charset="0"/>
                      </a:endParaRPr>
                    </a:p>
                  </p:txBody>
                </p:sp>
                <p:pic>
                  <p:nvPicPr>
                    <p:cNvPr id="34" name="Grafik 111">
                      <a:extLst>
                        <a:ext uri="{FF2B5EF4-FFF2-40B4-BE49-F238E27FC236}">
                          <a16:creationId xmlns:a16="http://schemas.microsoft.com/office/drawing/2014/main" id="{0A356989-A1F1-4DDD-9D46-0D7883D6232A}"/>
                        </a:ext>
                      </a:extLst>
                    </p:cNvPr>
                    <p:cNvPicPr>
                      <a:picLocks noChangeAspect="1"/>
                    </p:cNvPicPr>
                    <p:nvPr/>
                  </p:nvPicPr>
                  <p:blipFill>
                    <a:blip r:embed="rId10"/>
                    <a:stretch>
                      <a:fillRect/>
                    </a:stretch>
                  </p:blipFill>
                  <p:spPr>
                    <a:xfrm>
                      <a:off x="1757230" y="3782334"/>
                      <a:ext cx="329040" cy="353214"/>
                    </a:xfrm>
                    <a:prstGeom prst="rect">
                      <a:avLst/>
                    </a:prstGeom>
                    <a:grpFill/>
                  </p:spPr>
                </p:pic>
              </p:grpSp>
            </p:grpSp>
            <p:sp>
              <p:nvSpPr>
                <p:cNvPr id="26" name="Pfeil nach unten 41">
                  <a:extLst>
                    <a:ext uri="{FF2B5EF4-FFF2-40B4-BE49-F238E27FC236}">
                      <a16:creationId xmlns:a16="http://schemas.microsoft.com/office/drawing/2014/main" id="{5B27A66F-2AB4-4395-AD86-7EE59B90E05A}"/>
                    </a:ext>
                  </a:extLst>
                </p:cNvPr>
                <p:cNvSpPr/>
                <p:nvPr/>
              </p:nvSpPr>
              <p:spPr bwMode="auto">
                <a:xfrm>
                  <a:off x="7988665" y="1943129"/>
                  <a:ext cx="1870118" cy="3168072"/>
                </a:xfrm>
                <a:prstGeom prst="downArrow">
                  <a:avLst>
                    <a:gd name="adj1" fmla="val 100000"/>
                    <a:gd name="adj2" fmla="val 28542"/>
                  </a:avLst>
                </a:prstGeom>
                <a:solidFill>
                  <a:srgbClr val="99B1CA"/>
                </a:solid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r>
                    <a:rPr lang="en-GB" sz="1200" b="1" kern="0" dirty="0">
                      <a:solidFill>
                        <a:srgbClr val="FFFFFF"/>
                      </a:solidFill>
                      <a:latin typeface="Arial" charset="0"/>
                    </a:rPr>
                    <a:t>Transparent framework</a:t>
                  </a:r>
                </a:p>
                <a:p>
                  <a:pPr algn="ctr" defTabSz="914400" fontAlgn="base">
                    <a:spcBef>
                      <a:spcPts val="360"/>
                    </a:spcBef>
                    <a:spcAft>
                      <a:spcPct val="25000"/>
                    </a:spcAft>
                    <a:buClr>
                      <a:srgbClr val="003781"/>
                    </a:buClr>
                  </a:pPr>
                  <a:r>
                    <a:rPr lang="en-GB" sz="1200" kern="0" dirty="0">
                      <a:solidFill>
                        <a:srgbClr val="FFFFFF"/>
                      </a:solidFill>
                      <a:latin typeface="Arial" charset="0"/>
                    </a:rPr>
                    <a:t>The positions of the portfolio are known at any point in time, which does not introduce additional complexity in VEV computations etc.</a:t>
                  </a:r>
                </a:p>
              </p:txBody>
            </p:sp>
          </p:grpSp>
          <p:pic>
            <p:nvPicPr>
              <p:cNvPr id="30" name="Graphic 29">
                <a:extLst>
                  <a:ext uri="{FF2B5EF4-FFF2-40B4-BE49-F238E27FC236}">
                    <a16:creationId xmlns:a16="http://schemas.microsoft.com/office/drawing/2014/main" id="{D5839931-1D43-4026-AB49-2CC69ED3C7D4}"/>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8262501" y="2222204"/>
                <a:ext cx="487604" cy="487604"/>
              </a:xfrm>
              <a:prstGeom prst="rect">
                <a:avLst/>
              </a:prstGeom>
            </p:spPr>
          </p:pic>
        </p:grpSp>
        <p:sp>
          <p:nvSpPr>
            <p:cNvPr id="4" name="Rectangle 3">
              <a:extLst>
                <a:ext uri="{FF2B5EF4-FFF2-40B4-BE49-F238E27FC236}">
                  <a16:creationId xmlns:a16="http://schemas.microsoft.com/office/drawing/2014/main" id="{F28B3D9D-CAB3-421F-9698-831BA732C743}"/>
                </a:ext>
              </a:extLst>
            </p:cNvPr>
            <p:cNvSpPr/>
            <p:nvPr/>
          </p:nvSpPr>
          <p:spPr bwMode="auto">
            <a:xfrm>
              <a:off x="0" y="5676523"/>
              <a:ext cx="9906000" cy="521466"/>
            </a:xfrm>
            <a:prstGeom prst="rect">
              <a:avLst/>
            </a:prstGeom>
            <a:solidFill>
              <a:srgbClr val="326295"/>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1" forceAA="0" compatLnSpc="1">
              <a:prstTxWarp prst="textNoShape">
                <a:avLst/>
              </a:prstTxWarp>
              <a:noAutofit/>
            </a:bodyPr>
            <a:lstStyle/>
            <a:p>
              <a:pPr algn="ctr" defTabSz="914400" fontAlgn="base">
                <a:spcBef>
                  <a:spcPts val="360"/>
                </a:spcBef>
                <a:spcAft>
                  <a:spcPct val="25000"/>
                </a:spcAft>
                <a:buClr>
                  <a:srgbClr val="003781"/>
                </a:buClr>
              </a:pPr>
              <a:r>
                <a:rPr lang="en-US" sz="1200" kern="0" dirty="0">
                  <a:solidFill>
                    <a:srgbClr val="FFFFFF"/>
                  </a:solidFill>
                  <a:latin typeface="Arial" charset="0"/>
                </a:rPr>
                <a:t>In addition, we are able to work together with the individual pension fund and its business partners to customize the solution.</a:t>
              </a:r>
              <a:br>
                <a:rPr lang="en-US" sz="1200" kern="0" dirty="0">
                  <a:solidFill>
                    <a:srgbClr val="FFFFFF"/>
                  </a:solidFill>
                  <a:latin typeface="Arial" charset="0"/>
                </a:rPr>
              </a:br>
              <a:r>
                <a:rPr lang="en-US" sz="1200" kern="0" dirty="0">
                  <a:solidFill>
                    <a:srgbClr val="FFFFFF"/>
                  </a:solidFill>
                  <a:latin typeface="Arial" charset="0"/>
                </a:rPr>
                <a:t>Furthermore, we are familiar with all DNB reporting requirements related to DTRM and are able to support you in this.</a:t>
              </a:r>
            </a:p>
          </p:txBody>
        </p:sp>
      </p:grpSp>
    </p:spTree>
    <p:extLst>
      <p:ext uri="{BB962C8B-B14F-4D97-AF65-F5344CB8AC3E}">
        <p14:creationId xmlns:p14="http://schemas.microsoft.com/office/powerpoint/2010/main" val="12481416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r>
              <a:rPr lang="nl-NL" dirty="0" smtClean="0"/>
              <a:t>De drie fases van de implementatie van de Wet Toekomst Pensioenen</a:t>
            </a:r>
            <a:endParaRPr lang="en-US" dirty="0"/>
          </a:p>
          <a:p>
            <a:endParaRPr lang="en-US" dirty="0" smtClean="0"/>
          </a:p>
          <a:p>
            <a:endParaRPr lang="en-US" dirty="0"/>
          </a:p>
          <a:p>
            <a:endParaRPr lang="en-US" dirty="0" smtClean="0"/>
          </a:p>
          <a:p>
            <a:endParaRPr lang="en-US" dirty="0" smtClean="0"/>
          </a:p>
          <a:p>
            <a:r>
              <a:rPr lang="en-US" dirty="0" err="1" smtClean="0"/>
              <a:t>Sociale</a:t>
            </a:r>
            <a:r>
              <a:rPr lang="en-US" dirty="0" smtClean="0"/>
              <a:t> partners </a:t>
            </a:r>
            <a:r>
              <a:rPr lang="en-US" dirty="0" err="1" smtClean="0"/>
              <a:t>verantwoordelijk</a:t>
            </a:r>
            <a:r>
              <a:rPr lang="en-US" dirty="0" smtClean="0"/>
              <a:t> </a:t>
            </a:r>
            <a:r>
              <a:rPr lang="en-US" dirty="0" err="1" smtClean="0"/>
              <a:t>voor</a:t>
            </a:r>
            <a:r>
              <a:rPr lang="en-US" dirty="0" smtClean="0"/>
              <a:t> </a:t>
            </a:r>
            <a:r>
              <a:rPr lang="en-US" dirty="0" err="1" smtClean="0"/>
              <a:t>contractkeuze</a:t>
            </a:r>
            <a:r>
              <a:rPr lang="en-US" dirty="0" smtClean="0"/>
              <a:t>, </a:t>
            </a:r>
            <a:r>
              <a:rPr lang="en-US" dirty="0" err="1" smtClean="0"/>
              <a:t>keuze</a:t>
            </a:r>
            <a:r>
              <a:rPr lang="en-US" dirty="0" smtClean="0"/>
              <a:t> tot al </a:t>
            </a:r>
            <a:r>
              <a:rPr lang="en-US" dirty="0" err="1" smtClean="0"/>
              <a:t>dan</a:t>
            </a:r>
            <a:r>
              <a:rPr lang="en-US" dirty="0" smtClean="0"/>
              <a:t> </a:t>
            </a:r>
            <a:r>
              <a:rPr lang="en-US" dirty="0" err="1" smtClean="0"/>
              <a:t>niet</a:t>
            </a:r>
            <a:r>
              <a:rPr lang="en-US" dirty="0" smtClean="0"/>
              <a:t> </a:t>
            </a:r>
            <a:r>
              <a:rPr lang="en-US" dirty="0" err="1" smtClean="0"/>
              <a:t>invaren</a:t>
            </a:r>
            <a:r>
              <a:rPr lang="en-US" dirty="0" smtClean="0"/>
              <a:t>, </a:t>
            </a:r>
            <a:r>
              <a:rPr lang="en-US" dirty="0" err="1" smtClean="0"/>
              <a:t>uitgangspunten</a:t>
            </a:r>
            <a:r>
              <a:rPr lang="en-US" dirty="0" smtClean="0"/>
              <a:t> </a:t>
            </a:r>
            <a:r>
              <a:rPr lang="en-US" dirty="0" err="1" smtClean="0"/>
              <a:t>nieuwe</a:t>
            </a:r>
            <a:r>
              <a:rPr lang="en-US" dirty="0" smtClean="0"/>
              <a:t> </a:t>
            </a:r>
            <a:r>
              <a:rPr lang="en-US" dirty="0" err="1" smtClean="0"/>
              <a:t>regeling</a:t>
            </a:r>
            <a:r>
              <a:rPr lang="en-US" dirty="0" smtClean="0"/>
              <a:t>, moment van </a:t>
            </a:r>
            <a:r>
              <a:rPr lang="en-US" dirty="0" err="1" smtClean="0"/>
              <a:t>overgang</a:t>
            </a:r>
            <a:r>
              <a:rPr lang="en-US" dirty="0" smtClean="0"/>
              <a:t>,  </a:t>
            </a:r>
            <a:r>
              <a:rPr lang="en-US" dirty="0" err="1" smtClean="0"/>
              <a:t>evenwichtigheidstoets</a:t>
            </a:r>
            <a:r>
              <a:rPr lang="en-US" dirty="0" smtClean="0"/>
              <a:t> (effect </a:t>
            </a:r>
            <a:r>
              <a:rPr lang="en-US" dirty="0" err="1" smtClean="0"/>
              <a:t>overstap</a:t>
            </a:r>
            <a:r>
              <a:rPr lang="en-US" dirty="0" smtClean="0"/>
              <a:t> </a:t>
            </a:r>
            <a:r>
              <a:rPr lang="en-US" dirty="0" err="1" smtClean="0"/>
              <a:t>voor</a:t>
            </a:r>
            <a:r>
              <a:rPr lang="en-US" dirty="0" smtClean="0"/>
              <a:t> </a:t>
            </a:r>
            <a:r>
              <a:rPr lang="en-US" dirty="0" err="1" smtClean="0"/>
              <a:t>verschillende</a:t>
            </a:r>
            <a:r>
              <a:rPr lang="en-US" dirty="0" smtClean="0"/>
              <a:t> </a:t>
            </a:r>
            <a:r>
              <a:rPr lang="en-US" dirty="0" err="1" smtClean="0"/>
              <a:t>leeftijden</a:t>
            </a:r>
            <a:r>
              <a:rPr lang="en-US" dirty="0" smtClean="0"/>
              <a:t>)</a:t>
            </a:r>
          </a:p>
          <a:p>
            <a:endParaRPr lang="en-US" dirty="0"/>
          </a:p>
          <a:p>
            <a:r>
              <a:rPr lang="en-US" dirty="0" err="1" smtClean="0"/>
              <a:t>Pensioenfonds</a:t>
            </a:r>
            <a:r>
              <a:rPr lang="en-US" dirty="0" smtClean="0"/>
              <a:t> </a:t>
            </a:r>
            <a:r>
              <a:rPr lang="en-US" dirty="0" err="1" smtClean="0"/>
              <a:t>verantwoordelijk</a:t>
            </a:r>
            <a:r>
              <a:rPr lang="en-US" dirty="0" smtClean="0"/>
              <a:t> </a:t>
            </a:r>
            <a:r>
              <a:rPr lang="en-US" dirty="0" err="1" smtClean="0"/>
              <a:t>voor</a:t>
            </a:r>
            <a:r>
              <a:rPr lang="en-US" dirty="0" smtClean="0"/>
              <a:t> </a:t>
            </a:r>
            <a:r>
              <a:rPr lang="en-US" dirty="0" err="1" smtClean="0"/>
              <a:t>invulling</a:t>
            </a:r>
            <a:r>
              <a:rPr lang="en-US" dirty="0" smtClean="0"/>
              <a:t> </a:t>
            </a:r>
            <a:r>
              <a:rPr lang="en-US" dirty="0" err="1" smtClean="0"/>
              <a:t>pensioenuitkering</a:t>
            </a:r>
            <a:r>
              <a:rPr lang="en-US" dirty="0" smtClean="0"/>
              <a:t> (</a:t>
            </a:r>
            <a:r>
              <a:rPr lang="en-US" dirty="0" err="1" smtClean="0"/>
              <a:t>projectierendement</a:t>
            </a:r>
            <a:r>
              <a:rPr lang="en-US" dirty="0" smtClean="0"/>
              <a:t> </a:t>
            </a:r>
            <a:r>
              <a:rPr lang="en-US" dirty="0" err="1" smtClean="0"/>
              <a:t>en</a:t>
            </a:r>
            <a:r>
              <a:rPr lang="en-US" dirty="0" smtClean="0"/>
              <a:t> al </a:t>
            </a:r>
            <a:r>
              <a:rPr lang="en-US" dirty="0" err="1" smtClean="0"/>
              <a:t>dan</a:t>
            </a:r>
            <a:r>
              <a:rPr lang="en-US" dirty="0" smtClean="0"/>
              <a:t> </a:t>
            </a:r>
            <a:r>
              <a:rPr lang="en-US" dirty="0" err="1" smtClean="0"/>
              <a:t>niet</a:t>
            </a:r>
            <a:r>
              <a:rPr lang="en-US" dirty="0" smtClean="0"/>
              <a:t> </a:t>
            </a:r>
            <a:r>
              <a:rPr lang="en-US" dirty="0" err="1" smtClean="0"/>
              <a:t>spreiden</a:t>
            </a:r>
            <a:r>
              <a:rPr lang="en-US" dirty="0" smtClean="0"/>
              <a:t>), </a:t>
            </a:r>
            <a:r>
              <a:rPr lang="en-US" dirty="0" err="1" smtClean="0"/>
              <a:t>invulling</a:t>
            </a:r>
            <a:r>
              <a:rPr lang="en-US" dirty="0" smtClean="0"/>
              <a:t> </a:t>
            </a:r>
            <a:r>
              <a:rPr lang="en-US" dirty="0" err="1" smtClean="0"/>
              <a:t>verdeelregels</a:t>
            </a:r>
            <a:r>
              <a:rPr lang="en-US" dirty="0" smtClean="0"/>
              <a:t> (</a:t>
            </a:r>
            <a:r>
              <a:rPr lang="en-US" dirty="0" err="1" smtClean="0"/>
              <a:t>overrendement</a:t>
            </a:r>
            <a:r>
              <a:rPr lang="en-US" dirty="0" smtClean="0"/>
              <a:t> </a:t>
            </a:r>
            <a:r>
              <a:rPr lang="en-US" dirty="0" err="1" smtClean="0"/>
              <a:t>en</a:t>
            </a:r>
            <a:r>
              <a:rPr lang="en-US" dirty="0" smtClean="0"/>
              <a:t> </a:t>
            </a:r>
            <a:r>
              <a:rPr lang="en-US" dirty="0" err="1" smtClean="0"/>
              <a:t>beschermingsrendement</a:t>
            </a:r>
            <a:r>
              <a:rPr lang="en-US" dirty="0" smtClean="0"/>
              <a:t>) of lifecycles </a:t>
            </a:r>
            <a:r>
              <a:rPr lang="en-US" dirty="0" err="1" smtClean="0"/>
              <a:t>en</a:t>
            </a:r>
            <a:r>
              <a:rPr lang="en-US" dirty="0" smtClean="0"/>
              <a:t> </a:t>
            </a:r>
            <a:r>
              <a:rPr lang="en-US" dirty="0" err="1" smtClean="0"/>
              <a:t>vul</a:t>
            </a:r>
            <a:r>
              <a:rPr lang="en-US" dirty="0" smtClean="0"/>
              <a:t>-/ </a:t>
            </a:r>
            <a:r>
              <a:rPr lang="en-US" dirty="0" err="1" smtClean="0"/>
              <a:t>en</a:t>
            </a:r>
            <a:r>
              <a:rPr lang="en-US" dirty="0" smtClean="0"/>
              <a:t> </a:t>
            </a:r>
            <a:r>
              <a:rPr lang="en-US" dirty="0" err="1" smtClean="0"/>
              <a:t>uitdeelregels</a:t>
            </a:r>
            <a:r>
              <a:rPr lang="en-US" dirty="0" smtClean="0"/>
              <a:t> </a:t>
            </a:r>
            <a:r>
              <a:rPr lang="en-US" dirty="0" err="1" smtClean="0"/>
              <a:t>solidariteitsreserve</a:t>
            </a:r>
            <a:r>
              <a:rPr lang="en-US" dirty="0" smtClean="0"/>
              <a:t> of </a:t>
            </a:r>
            <a:r>
              <a:rPr lang="en-US" dirty="0" err="1" smtClean="0"/>
              <a:t>risicodelingsreserve</a:t>
            </a:r>
            <a:r>
              <a:rPr lang="en-US" dirty="0" smtClean="0"/>
              <a:t> </a:t>
            </a:r>
            <a:r>
              <a:rPr lang="en-US" dirty="0" err="1" smtClean="0"/>
              <a:t>en</a:t>
            </a:r>
            <a:r>
              <a:rPr lang="en-US" dirty="0" smtClean="0"/>
              <a:t> </a:t>
            </a:r>
            <a:r>
              <a:rPr lang="en-US" dirty="0" err="1" smtClean="0"/>
              <a:t>uitgangspunten</a:t>
            </a:r>
            <a:r>
              <a:rPr lang="en-US" dirty="0" smtClean="0"/>
              <a:t> </a:t>
            </a:r>
            <a:r>
              <a:rPr lang="en-US" dirty="0" err="1" smtClean="0"/>
              <a:t>transitieberekeningen</a:t>
            </a:r>
            <a:r>
              <a:rPr lang="en-US" dirty="0" smtClean="0"/>
              <a:t> (</a:t>
            </a:r>
            <a:r>
              <a:rPr lang="en-US" dirty="0" err="1" smtClean="0"/>
              <a:t>en</a:t>
            </a:r>
            <a:r>
              <a:rPr lang="en-US" dirty="0" smtClean="0"/>
              <a:t> </a:t>
            </a:r>
            <a:r>
              <a:rPr lang="en-US" dirty="0" err="1" smtClean="0"/>
              <a:t>evenwichtigheid</a:t>
            </a:r>
            <a:r>
              <a:rPr lang="en-US" dirty="0" smtClean="0"/>
              <a:t> van de </a:t>
            </a:r>
            <a:r>
              <a:rPr lang="en-US" dirty="0" err="1" smtClean="0"/>
              <a:t>transitie</a:t>
            </a:r>
            <a:r>
              <a:rPr lang="en-US" dirty="0" smtClean="0"/>
              <a:t>)</a:t>
            </a:r>
          </a:p>
          <a:p>
            <a:pPr lvl="1"/>
            <a:endParaRPr lang="en-US" dirty="0" smtClean="0"/>
          </a:p>
        </p:txBody>
      </p:sp>
      <p:sp>
        <p:nvSpPr>
          <p:cNvPr id="3" name="Tijdelijke aanduiding voor voettekst 2"/>
          <p:cNvSpPr>
            <a:spLocks noGrp="1"/>
          </p:cNvSpPr>
          <p:nvPr>
            <p:ph type="ftr" sz="quarter" idx="11"/>
          </p:nvPr>
        </p:nvSpPr>
        <p:spPr/>
        <p:txBody>
          <a:bodyPr/>
          <a:lstStyle/>
          <a:p>
            <a:r>
              <a:rPr lang="nl-NL" dirty="0" smtClean="0"/>
              <a:t>Webinar Wet Toekomst Pensioenen</a:t>
            </a:r>
            <a:endParaRPr lang="nl-NL" dirty="0"/>
          </a:p>
        </p:txBody>
      </p:sp>
      <p:sp>
        <p:nvSpPr>
          <p:cNvPr id="4" name="Tijdelijke aanduiding voor dianummer 3"/>
          <p:cNvSpPr>
            <a:spLocks noGrp="1"/>
          </p:cNvSpPr>
          <p:nvPr>
            <p:ph type="sldNum" sz="quarter" idx="12"/>
          </p:nvPr>
        </p:nvSpPr>
        <p:spPr/>
        <p:txBody>
          <a:bodyPr/>
          <a:lstStyle/>
          <a:p>
            <a:fld id="{FFDD6BF4-F398-43E8-ACFA-0A2EC6044D72}" type="slidenum">
              <a:rPr lang="nl-NL" smtClean="0"/>
              <a:t>6</a:t>
            </a:fld>
            <a:endParaRPr lang="nl-NL"/>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nl-NL" dirty="0" smtClean="0"/>
              <a:t>Inleiding Wet Toekomst Pensioenen</a:t>
            </a:r>
            <a:endParaRPr lang="nl-NL" dirty="0"/>
          </a:p>
        </p:txBody>
      </p:sp>
      <p:sp>
        <p:nvSpPr>
          <p:cNvPr id="7" name="Tijdelijke aanduiding voor tekst 6"/>
          <p:cNvSpPr>
            <a:spLocks noGrp="1"/>
          </p:cNvSpPr>
          <p:nvPr>
            <p:ph type="body" sz="quarter" idx="16"/>
          </p:nvPr>
        </p:nvSpPr>
        <p:spPr/>
        <p:txBody>
          <a:bodyPr/>
          <a:lstStyle/>
          <a:p>
            <a:endParaRPr lang="nl-NL"/>
          </a:p>
        </p:txBody>
      </p:sp>
      <p:pic>
        <p:nvPicPr>
          <p:cNvPr id="8" name="Afbeelding 7"/>
          <p:cNvPicPr>
            <a:picLocks noChangeAspect="1"/>
          </p:cNvPicPr>
          <p:nvPr/>
        </p:nvPicPr>
        <p:blipFill>
          <a:blip r:embed="rId2"/>
          <a:stretch>
            <a:fillRect/>
          </a:stretch>
        </p:blipFill>
        <p:spPr>
          <a:xfrm>
            <a:off x="673965" y="1897230"/>
            <a:ext cx="6119361" cy="1197782"/>
          </a:xfrm>
          <a:prstGeom prst="rect">
            <a:avLst/>
          </a:prstGeom>
        </p:spPr>
      </p:pic>
    </p:spTree>
    <p:extLst>
      <p:ext uri="{BB962C8B-B14F-4D97-AF65-F5344CB8AC3E}">
        <p14:creationId xmlns:p14="http://schemas.microsoft.com/office/powerpoint/2010/main" val="159534068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467000" y="660011"/>
            <a:ext cx="8284219" cy="607190"/>
          </a:xfrm>
        </p:spPr>
        <p:txBody>
          <a:bodyPr/>
          <a:lstStyle/>
          <a:p>
            <a:r>
              <a:rPr lang="en-US" dirty="0"/>
              <a:t>Dynamic Tail Risk Management </a:t>
            </a:r>
            <a:br>
              <a:rPr lang="en-US" dirty="0"/>
            </a:br>
            <a:r>
              <a:rPr lang="en-US" sz="1800" dirty="0"/>
              <a:t>Why Dynamic Hedging?</a:t>
            </a:r>
          </a:p>
        </p:txBody>
      </p:sp>
      <p:sp>
        <p:nvSpPr>
          <p:cNvPr id="4" name="Content Placeholder 2"/>
          <p:cNvSpPr txBox="1">
            <a:spLocks/>
          </p:cNvSpPr>
          <p:nvPr/>
        </p:nvSpPr>
        <p:spPr>
          <a:xfrm>
            <a:off x="1485900" y="3258076"/>
            <a:ext cx="4551196" cy="250934"/>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b="1" kern="0" dirty="0">
                <a:solidFill>
                  <a:srgbClr val="003781"/>
                </a:solidFill>
              </a:rPr>
              <a:t>S&amp;P 500 implied volatility surface as of 01/31/2020</a:t>
            </a:r>
            <a:r>
              <a:rPr lang="en-US" b="1" kern="0" baseline="30000" dirty="0">
                <a:solidFill>
                  <a:srgbClr val="003781"/>
                </a:solidFill>
              </a:rPr>
              <a:t>*</a:t>
            </a:r>
          </a:p>
        </p:txBody>
      </p:sp>
      <p:sp>
        <p:nvSpPr>
          <p:cNvPr id="7" name="Content Placeholder 2"/>
          <p:cNvSpPr txBox="1">
            <a:spLocks/>
          </p:cNvSpPr>
          <p:nvPr/>
        </p:nvSpPr>
        <p:spPr>
          <a:xfrm>
            <a:off x="6189496" y="3258076"/>
            <a:ext cx="4551196" cy="250934"/>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b="1" kern="0" dirty="0">
                <a:solidFill>
                  <a:srgbClr val="003781"/>
                </a:solidFill>
              </a:rPr>
              <a:t>S&amp;P 500 implied volatility surface as of 03/23/2020</a:t>
            </a:r>
            <a:r>
              <a:rPr lang="en-US" b="1" kern="0" baseline="30000" dirty="0">
                <a:solidFill>
                  <a:srgbClr val="003781"/>
                </a:solidFill>
              </a:rPr>
              <a:t>*</a:t>
            </a:r>
            <a:endParaRPr lang="en-US" b="1" kern="0" dirty="0">
              <a:solidFill>
                <a:srgbClr val="003781"/>
              </a:solidFill>
            </a:endParaRPr>
          </a:p>
        </p:txBody>
      </p:sp>
      <p:sp>
        <p:nvSpPr>
          <p:cNvPr id="36" name="Content Placeholder 2"/>
          <p:cNvSpPr txBox="1">
            <a:spLocks/>
          </p:cNvSpPr>
          <p:nvPr/>
        </p:nvSpPr>
        <p:spPr>
          <a:xfrm>
            <a:off x="1467000" y="1585488"/>
            <a:ext cx="8896200" cy="2117832"/>
          </a:xfrm>
          <a:prstGeom prst="rect">
            <a:avLst/>
          </a:prstGeom>
        </p:spPr>
        <p:txBody>
          <a:bodyPr lIns="0" tIns="0" rIns="0" bIns="0"/>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a:buClr>
                <a:srgbClr val="003781"/>
              </a:buClr>
            </a:pPr>
            <a:r>
              <a:rPr lang="en-US" kern="0" dirty="0">
                <a:solidFill>
                  <a:srgbClr val="000000"/>
                </a:solidFill>
              </a:rPr>
              <a:t>Most option-based hedging strategies in the market follow a static tail risk reduction approach where options with fixed maturity and </a:t>
            </a:r>
            <a:r>
              <a:rPr lang="en-US" kern="0" dirty="0" err="1">
                <a:solidFill>
                  <a:srgbClr val="000000"/>
                </a:solidFill>
              </a:rPr>
              <a:t>moneyness</a:t>
            </a:r>
            <a:r>
              <a:rPr lang="en-US" kern="0" dirty="0">
                <a:solidFill>
                  <a:srgbClr val="000000"/>
                </a:solidFill>
              </a:rPr>
              <a:t> are bought and rolled regularly (according to a </a:t>
            </a:r>
            <a:r>
              <a:rPr lang="en-US" kern="0" dirty="0" err="1">
                <a:solidFill>
                  <a:srgbClr val="000000"/>
                </a:solidFill>
              </a:rPr>
              <a:t>backtest</a:t>
            </a:r>
            <a:r>
              <a:rPr lang="en-US" kern="0" dirty="0">
                <a:solidFill>
                  <a:srgbClr val="000000"/>
                </a:solidFill>
              </a:rPr>
              <a:t>).</a:t>
            </a:r>
          </a:p>
          <a:p>
            <a:pPr>
              <a:buClr>
                <a:srgbClr val="003781"/>
              </a:buClr>
            </a:pPr>
            <a:r>
              <a:rPr lang="en-US" kern="0" dirty="0">
                <a:solidFill>
                  <a:srgbClr val="000000"/>
                </a:solidFill>
              </a:rPr>
              <a:t>Shown below are the implied volatility surfaces, which represent the priced-in risk depending on maturity and moneyness, at two different times (left: quiet market, right: beginning of the corona crisis in 2020).</a:t>
            </a:r>
          </a:p>
          <a:p>
            <a:pPr>
              <a:buClr>
                <a:srgbClr val="003781"/>
              </a:buClr>
            </a:pPr>
            <a:r>
              <a:rPr lang="en-US" kern="0" dirty="0">
                <a:solidFill>
                  <a:srgbClr val="000000"/>
                </a:solidFill>
              </a:rPr>
              <a:t>Fixing the expiry and </a:t>
            </a:r>
            <a:r>
              <a:rPr lang="en-US" kern="0" dirty="0" err="1">
                <a:solidFill>
                  <a:srgbClr val="000000"/>
                </a:solidFill>
              </a:rPr>
              <a:t>moneyness</a:t>
            </a:r>
            <a:r>
              <a:rPr lang="en-US" kern="0" dirty="0">
                <a:solidFill>
                  <a:srgbClr val="000000"/>
                </a:solidFill>
              </a:rPr>
              <a:t> in the static approaches completely neglects the market information and dynamics on the options market, which leads to significantly higher hedging costs.</a:t>
            </a:r>
          </a:p>
        </p:txBody>
      </p:sp>
      <p:sp>
        <p:nvSpPr>
          <p:cNvPr id="42" name="Textplatzhalter 3"/>
          <p:cNvSpPr txBox="1">
            <a:spLocks/>
          </p:cNvSpPr>
          <p:nvPr/>
        </p:nvSpPr>
        <p:spPr>
          <a:xfrm>
            <a:off x="1375560" y="6440940"/>
            <a:ext cx="8934300" cy="417060"/>
          </a:xfrm>
          <a:prstGeom prst="rect">
            <a:avLst/>
          </a:prstGeom>
        </p:spPr>
        <p:txBody>
          <a:bodyPr/>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spcBef>
                <a:spcPts val="0"/>
              </a:spcBef>
              <a:spcAft>
                <a:spcPts val="0"/>
              </a:spcAft>
              <a:buClr>
                <a:srgbClr val="003781"/>
              </a:buClr>
              <a:buNone/>
            </a:pPr>
            <a:r>
              <a:rPr lang="en-US" sz="800" kern="0" dirty="0">
                <a:solidFill>
                  <a:srgbClr val="000000"/>
                </a:solidFill>
                <a:latin typeface="Arial Narrow" panose="020B0606020202030204" pitchFamily="34" charset="0"/>
              </a:rPr>
              <a:t>* Data source: Bloomberg.</a:t>
            </a:r>
          </a:p>
        </p:txBody>
      </p:sp>
      <p:grpSp>
        <p:nvGrpSpPr>
          <p:cNvPr id="35" name="Group 34"/>
          <p:cNvGrpSpPr>
            <a:grpSpLocks noChangeAspect="1"/>
          </p:cNvGrpSpPr>
          <p:nvPr/>
        </p:nvGrpSpPr>
        <p:grpSpPr>
          <a:xfrm>
            <a:off x="8220995" y="1"/>
            <a:ext cx="913213" cy="1005360"/>
            <a:chOff x="8245451" y="1117879"/>
            <a:chExt cx="1318413" cy="1442193"/>
          </a:xfrm>
          <a:solidFill>
            <a:srgbClr val="B2B2B2"/>
          </a:solidFill>
        </p:grpSpPr>
        <p:sp>
          <p:nvSpPr>
            <p:cNvPr id="37" name="Pfeil nach unten 32"/>
            <p:cNvSpPr/>
            <p:nvPr/>
          </p:nvSpPr>
          <p:spPr bwMode="auto">
            <a:xfrm>
              <a:off x="8245451" y="1117879"/>
              <a:ext cx="1318413" cy="1442193"/>
            </a:xfrm>
            <a:prstGeom prst="downArrow">
              <a:avLst>
                <a:gd name="adj1" fmla="val 100000"/>
                <a:gd name="adj2" fmla="val 28542"/>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2000" tIns="1080000" rIns="72000" bIns="72000" numCol="1" spcCol="0" rtlCol="0" fromWordArt="0" anchor="t" anchorCtr="0" forceAA="0" compatLnSpc="1">
              <a:prstTxWarp prst="textNoShape">
                <a:avLst/>
              </a:prstTxWarp>
              <a:noAutofit/>
            </a:bodyPr>
            <a:lstStyle/>
            <a:p>
              <a:pPr algn="ctr" defTabSz="914400" fontAlgn="base">
                <a:spcBef>
                  <a:spcPts val="360"/>
                </a:spcBef>
                <a:spcAft>
                  <a:spcPct val="25000"/>
                </a:spcAft>
                <a:buClr>
                  <a:srgbClr val="003781"/>
                </a:buClr>
              </a:pPr>
              <a:endParaRPr lang="en-US" sz="1050" b="1" kern="0" dirty="0">
                <a:solidFill>
                  <a:srgbClr val="FFFFFF"/>
                </a:solidFill>
                <a:latin typeface="Arial" charset="0"/>
              </a:endParaRPr>
            </a:p>
          </p:txBody>
        </p:sp>
        <p:sp>
          <p:nvSpPr>
            <p:cNvPr id="38" name="Rectangle 37"/>
            <p:cNvSpPr/>
            <p:nvPr/>
          </p:nvSpPr>
          <p:spPr>
            <a:xfrm>
              <a:off x="8433062" y="1748077"/>
              <a:ext cx="960884" cy="529808"/>
            </a:xfrm>
            <a:prstGeom prst="rect">
              <a:avLst/>
            </a:prstGeom>
            <a:noFill/>
          </p:spPr>
          <p:txBody>
            <a:bodyPr wrap="none">
              <a:spAutoFit/>
            </a:bodyPr>
            <a:lstStyle/>
            <a:p>
              <a:pPr algn="ctr" defTabSz="914400" fontAlgn="base">
                <a:buClr>
                  <a:srgbClr val="003781"/>
                </a:buClr>
              </a:pPr>
              <a:r>
                <a:rPr lang="en-US" sz="900" b="1" kern="0" dirty="0">
                  <a:solidFill>
                    <a:srgbClr val="FFFFFF"/>
                  </a:solidFill>
                  <a:latin typeface="Arial" charset="0"/>
                </a:rPr>
                <a:t>Dynamic</a:t>
              </a:r>
            </a:p>
            <a:p>
              <a:pPr algn="ctr" defTabSz="914400" fontAlgn="base">
                <a:buClr>
                  <a:srgbClr val="003781"/>
                </a:buClr>
              </a:pPr>
              <a:r>
                <a:rPr lang="en-US" sz="900" b="1" kern="0" dirty="0">
                  <a:solidFill>
                    <a:srgbClr val="FFFFFF"/>
                  </a:solidFill>
                  <a:latin typeface="Arial" charset="0"/>
                </a:rPr>
                <a:t>hedging</a:t>
              </a:r>
            </a:p>
          </p:txBody>
        </p:sp>
      </p:grpSp>
      <p:grpSp>
        <p:nvGrpSpPr>
          <p:cNvPr id="39" name="Gruppieren 541">
            <a:extLst>
              <a:ext uri="{FF2B5EF4-FFF2-40B4-BE49-F238E27FC236}">
                <a16:creationId xmlns:a16="http://schemas.microsoft.com/office/drawing/2014/main" id="{DB0C590F-14D3-4E96-A1F2-6153C5F61BCE}"/>
              </a:ext>
            </a:extLst>
          </p:cNvPr>
          <p:cNvGrpSpPr>
            <a:grpSpLocks noChangeAspect="1"/>
          </p:cNvGrpSpPr>
          <p:nvPr/>
        </p:nvGrpSpPr>
        <p:grpSpPr>
          <a:xfrm>
            <a:off x="8472717" y="45722"/>
            <a:ext cx="457200" cy="457200"/>
            <a:chOff x="8002825" y="3648033"/>
            <a:chExt cx="490909" cy="490909"/>
          </a:xfrm>
          <a:solidFill>
            <a:srgbClr val="B2B2B2"/>
          </a:solidFill>
        </p:grpSpPr>
        <p:sp>
          <p:nvSpPr>
            <p:cNvPr id="40" name="Ellipse 52">
              <a:extLst>
                <a:ext uri="{FF2B5EF4-FFF2-40B4-BE49-F238E27FC236}">
                  <a16:creationId xmlns:a16="http://schemas.microsoft.com/office/drawing/2014/main" id="{6A480E40-5410-4372-B359-B663B5BB3D35}"/>
                </a:ext>
              </a:extLst>
            </p:cNvPr>
            <p:cNvSpPr>
              <a:spLocks noChangeAspect="1"/>
            </p:cNvSpPr>
            <p:nvPr/>
          </p:nvSpPr>
          <p:spPr bwMode="auto">
            <a:xfrm>
              <a:off x="8002825" y="3648033"/>
              <a:ext cx="490909" cy="490909"/>
            </a:xfrm>
            <a:prstGeom prst="ellipse">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90"/>
                </a:spcBef>
                <a:spcAft>
                  <a:spcPts val="390"/>
                </a:spcAft>
                <a:buClr>
                  <a:srgbClr val="003781"/>
                </a:buClr>
              </a:pPr>
              <a:endParaRPr lang="en-US" sz="1300" kern="0" dirty="0">
                <a:solidFill>
                  <a:srgbClr val="FFFFFF"/>
                </a:solidFill>
                <a:latin typeface="Arial" charset="0"/>
              </a:endParaRPr>
            </a:p>
          </p:txBody>
        </p:sp>
        <p:pic>
          <p:nvPicPr>
            <p:cNvPr id="52" name="Grafik 531">
              <a:extLst>
                <a:ext uri="{FF2B5EF4-FFF2-40B4-BE49-F238E27FC236}">
                  <a16:creationId xmlns:a16="http://schemas.microsoft.com/office/drawing/2014/main" id="{22BDB7DE-4D6A-4B8A-8259-CB7B4DA0305C}"/>
                </a:ext>
              </a:extLst>
            </p:cNvPr>
            <p:cNvPicPr>
              <a:picLocks noChangeAspect="1"/>
            </p:cNvPicPr>
            <p:nvPr/>
          </p:nvPicPr>
          <p:blipFill>
            <a:blip r:embed="rId3"/>
            <a:stretch>
              <a:fillRect/>
            </a:stretch>
          </p:blipFill>
          <p:spPr>
            <a:xfrm>
              <a:off x="8088232" y="3727595"/>
              <a:ext cx="321474" cy="320874"/>
            </a:xfrm>
            <a:prstGeom prst="rect">
              <a:avLst/>
            </a:prstGeom>
            <a:grpFill/>
          </p:spPr>
        </p:pic>
      </p:grpSp>
      <p:graphicFrame>
        <p:nvGraphicFramePr>
          <p:cNvPr id="41" name="Chart 40"/>
          <p:cNvGraphicFramePr/>
          <p:nvPr/>
        </p:nvGraphicFramePr>
        <p:xfrm>
          <a:off x="6078510" y="3269186"/>
          <a:ext cx="4636008" cy="341071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3" name="Chart 42"/>
          <p:cNvGraphicFramePr/>
          <p:nvPr/>
        </p:nvGraphicFramePr>
        <p:xfrm>
          <a:off x="1375560" y="3269186"/>
          <a:ext cx="4635348" cy="3413760"/>
        </p:xfrm>
        <a:graphic>
          <a:graphicData uri="http://schemas.openxmlformats.org/drawingml/2006/chart">
            <c:chart xmlns:c="http://schemas.openxmlformats.org/drawingml/2006/chart" xmlns:r="http://schemas.openxmlformats.org/officeDocument/2006/relationships" r:id="rId5"/>
          </a:graphicData>
        </a:graphic>
      </p:graphicFrame>
      <p:sp>
        <p:nvSpPr>
          <p:cNvPr id="44" name="TextBox 43"/>
          <p:cNvSpPr txBox="1"/>
          <p:nvPr/>
        </p:nvSpPr>
        <p:spPr>
          <a:xfrm>
            <a:off x="6675120" y="3659506"/>
            <a:ext cx="1083630"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900" b="1" kern="0" dirty="0">
                <a:solidFill>
                  <a:srgbClr val="D0822F"/>
                </a:solidFill>
                <a:latin typeface="Arial" panose="020B0604020202020204" pitchFamily="34" charset="0"/>
              </a:rPr>
              <a:t>71% (20% OTM, 1M)</a:t>
            </a:r>
          </a:p>
        </p:txBody>
      </p:sp>
      <p:sp>
        <p:nvSpPr>
          <p:cNvPr id="45" name="TextBox 44"/>
          <p:cNvSpPr txBox="1"/>
          <p:nvPr/>
        </p:nvSpPr>
        <p:spPr>
          <a:xfrm>
            <a:off x="1822377" y="4350445"/>
            <a:ext cx="1083630"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900" b="1" kern="0" dirty="0">
                <a:solidFill>
                  <a:srgbClr val="D0822F"/>
                </a:solidFill>
                <a:latin typeface="Arial" panose="020B0604020202020204" pitchFamily="34" charset="0"/>
              </a:rPr>
              <a:t>37% (20% OTM, 1M)</a:t>
            </a:r>
          </a:p>
        </p:txBody>
      </p:sp>
      <p:sp>
        <p:nvSpPr>
          <p:cNvPr id="53" name="TextBox 52"/>
          <p:cNvSpPr txBox="1"/>
          <p:nvPr/>
        </p:nvSpPr>
        <p:spPr>
          <a:xfrm>
            <a:off x="8792754" y="4324351"/>
            <a:ext cx="1064394"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900" b="1" kern="0" dirty="0">
                <a:solidFill>
                  <a:srgbClr val="D0822F"/>
                </a:solidFill>
                <a:latin typeface="Arial" panose="020B0604020202020204" pitchFamily="34" charset="0"/>
              </a:rPr>
              <a:t>33% (20% OTM, 2Y)</a:t>
            </a:r>
          </a:p>
        </p:txBody>
      </p:sp>
      <p:sp>
        <p:nvSpPr>
          <p:cNvPr id="54" name="TextBox 53"/>
          <p:cNvSpPr txBox="1"/>
          <p:nvPr/>
        </p:nvSpPr>
        <p:spPr>
          <a:xfrm>
            <a:off x="3855720" y="4452089"/>
            <a:ext cx="1064394"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900" b="1" kern="0" dirty="0">
                <a:solidFill>
                  <a:srgbClr val="D0822F"/>
                </a:solidFill>
                <a:latin typeface="Arial" panose="020B0604020202020204" pitchFamily="34" charset="0"/>
              </a:rPr>
              <a:t>21% (20% OTM, 2Y)</a:t>
            </a:r>
          </a:p>
        </p:txBody>
      </p:sp>
      <p:cxnSp>
        <p:nvCxnSpPr>
          <p:cNvPr id="55" name="Straight Arrow Connector 54"/>
          <p:cNvCxnSpPr/>
          <p:nvPr/>
        </p:nvCxnSpPr>
        <p:spPr bwMode="auto">
          <a:xfrm flipV="1">
            <a:off x="7579278" y="3824017"/>
            <a:ext cx="885817" cy="1533141"/>
          </a:xfrm>
          <a:prstGeom prst="straightConnector1">
            <a:avLst/>
          </a:prstGeom>
          <a:noFill/>
          <a:ln w="28575" cap="flat" cmpd="sng" algn="ctr">
            <a:solidFill>
              <a:srgbClr val="C00000"/>
            </a:solidFill>
            <a:prstDash val="solid"/>
            <a:round/>
            <a:headEnd type="none" w="med" len="med"/>
            <a:tailEnd type="none" w="med" len="med"/>
          </a:ln>
          <a:effectLst/>
        </p:spPr>
      </p:cxnSp>
      <p:sp>
        <p:nvSpPr>
          <p:cNvPr id="56" name="TextBox 55"/>
          <p:cNvSpPr txBox="1"/>
          <p:nvPr/>
        </p:nvSpPr>
        <p:spPr>
          <a:xfrm>
            <a:off x="7161238" y="4552488"/>
            <a:ext cx="814325"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900" b="1" kern="0" dirty="0">
                <a:solidFill>
                  <a:srgbClr val="D0822F"/>
                </a:solidFill>
                <a:latin typeface="Arial" panose="020B0604020202020204" pitchFamily="34" charset="0"/>
              </a:rPr>
              <a:t>56% (ATM, 1M)</a:t>
            </a:r>
          </a:p>
        </p:txBody>
      </p:sp>
      <p:sp>
        <p:nvSpPr>
          <p:cNvPr id="57" name="TextBox 56"/>
          <p:cNvSpPr txBox="1"/>
          <p:nvPr/>
        </p:nvSpPr>
        <p:spPr>
          <a:xfrm>
            <a:off x="2605714" y="5331465"/>
            <a:ext cx="950581" cy="161583"/>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de-DE" sz="1050" b="1" kern="0" dirty="0">
                <a:solidFill>
                  <a:srgbClr val="D0822F"/>
                </a:solidFill>
                <a:latin typeface="Arial" panose="020B0604020202020204" pitchFamily="34" charset="0"/>
              </a:rPr>
              <a:t>16% (ATM, 1M)</a:t>
            </a:r>
          </a:p>
        </p:txBody>
      </p:sp>
      <p:sp>
        <p:nvSpPr>
          <p:cNvPr id="58" name="Oval 57"/>
          <p:cNvSpPr/>
          <p:nvPr/>
        </p:nvSpPr>
        <p:spPr bwMode="auto">
          <a:xfrm>
            <a:off x="2468553" y="5351705"/>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59" name="TextBox 58"/>
          <p:cNvSpPr txBox="1"/>
          <p:nvPr/>
        </p:nvSpPr>
        <p:spPr>
          <a:xfrm>
            <a:off x="8335554" y="4113372"/>
            <a:ext cx="2224968" cy="138499"/>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en-US" sz="900" b="1" i="1" kern="0" dirty="0">
                <a:solidFill>
                  <a:srgbClr val="C00000"/>
                </a:solidFill>
                <a:latin typeface="Arial" panose="020B0604020202020204" pitchFamily="34" charset="0"/>
              </a:rPr>
              <a:t>Short-dated expiries are more expensive</a:t>
            </a:r>
          </a:p>
        </p:txBody>
      </p:sp>
      <p:cxnSp>
        <p:nvCxnSpPr>
          <p:cNvPr id="60" name="Straight Arrow Connector 59"/>
          <p:cNvCxnSpPr/>
          <p:nvPr/>
        </p:nvCxnSpPr>
        <p:spPr bwMode="auto">
          <a:xfrm flipV="1">
            <a:off x="6582095" y="3824017"/>
            <a:ext cx="1890623" cy="40263"/>
          </a:xfrm>
          <a:prstGeom prst="straightConnector1">
            <a:avLst/>
          </a:prstGeom>
          <a:noFill/>
          <a:ln w="28575" cap="flat" cmpd="sng" algn="ctr">
            <a:solidFill>
              <a:srgbClr val="C00000"/>
            </a:solidFill>
            <a:prstDash val="solid"/>
            <a:round/>
            <a:headEnd type="none" w="med" len="med"/>
            <a:tailEnd type="none" w="med" len="med"/>
          </a:ln>
          <a:effectLst/>
        </p:spPr>
      </p:cxnSp>
      <p:cxnSp>
        <p:nvCxnSpPr>
          <p:cNvPr id="61" name="Straight Arrow Connector 60"/>
          <p:cNvCxnSpPr/>
          <p:nvPr/>
        </p:nvCxnSpPr>
        <p:spPr bwMode="auto">
          <a:xfrm flipH="1" flipV="1">
            <a:off x="6589715" y="3864278"/>
            <a:ext cx="989563" cy="1467186"/>
          </a:xfrm>
          <a:prstGeom prst="straightConnector1">
            <a:avLst/>
          </a:prstGeom>
          <a:noFill/>
          <a:ln w="28575" cap="flat" cmpd="sng" algn="ctr">
            <a:solidFill>
              <a:srgbClr val="C00000"/>
            </a:solidFill>
            <a:prstDash val="solid"/>
            <a:round/>
            <a:headEnd type="none" w="med" len="med"/>
            <a:tailEnd type="none" w="med" len="med"/>
          </a:ln>
          <a:effectLst/>
        </p:spPr>
      </p:cxnSp>
      <p:sp>
        <p:nvSpPr>
          <p:cNvPr id="62" name="Oval 61"/>
          <p:cNvSpPr/>
          <p:nvPr/>
        </p:nvSpPr>
        <p:spPr bwMode="auto">
          <a:xfrm>
            <a:off x="2878697" y="4913917"/>
            <a:ext cx="109728" cy="109728"/>
          </a:xfrm>
          <a:prstGeom prst="ellipse">
            <a:avLst/>
          </a:prstGeom>
          <a:solidFill>
            <a:srgbClr val="C00000"/>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63" name="TextBox 62"/>
          <p:cNvSpPr txBox="1"/>
          <p:nvPr/>
        </p:nvSpPr>
        <p:spPr>
          <a:xfrm>
            <a:off x="2972357" y="3978027"/>
            <a:ext cx="1827423" cy="161583"/>
          </a:xfrm>
          <a:prstGeom prst="rect">
            <a:avLst/>
          </a:prstGeom>
          <a:noFill/>
        </p:spPr>
        <p:txBody>
          <a:bodyPr wrap="none" lIns="0" tIns="0" rIns="0" bIns="0" rtlCol="0">
            <a:spAutoFit/>
          </a:bodyPr>
          <a:lstStyle/>
          <a:p>
            <a:pPr defTabSz="914400" fontAlgn="base">
              <a:spcBef>
                <a:spcPts val="360"/>
              </a:spcBef>
              <a:spcAft>
                <a:spcPts val="360"/>
              </a:spcAft>
              <a:buClr>
                <a:srgbClr val="003781"/>
              </a:buClr>
            </a:pPr>
            <a:r>
              <a:rPr lang="en-US" sz="900" b="1" i="1" kern="0" dirty="0">
                <a:solidFill>
                  <a:srgbClr val="C00000"/>
                </a:solidFill>
                <a:latin typeface="Arial" panose="020B0604020202020204" pitchFamily="34" charset="0"/>
              </a:rPr>
              <a:t>Is this point always optimal? </a:t>
            </a:r>
            <a:r>
              <a:rPr lang="en-US" sz="1050" b="1" i="1" kern="0" dirty="0">
                <a:solidFill>
                  <a:srgbClr val="C00000"/>
                </a:solidFill>
                <a:latin typeface="Arial" panose="020B0604020202020204" pitchFamily="34" charset="0"/>
              </a:rPr>
              <a:t>No!</a:t>
            </a:r>
          </a:p>
        </p:txBody>
      </p:sp>
      <p:cxnSp>
        <p:nvCxnSpPr>
          <p:cNvPr id="64" name="Straight Arrow Connector 63"/>
          <p:cNvCxnSpPr>
            <a:endCxn id="62" idx="7"/>
          </p:cNvCxnSpPr>
          <p:nvPr/>
        </p:nvCxnSpPr>
        <p:spPr bwMode="auto">
          <a:xfrm flipH="1">
            <a:off x="2972356" y="4180150"/>
            <a:ext cx="825192" cy="749837"/>
          </a:xfrm>
          <a:prstGeom prst="straightConnector1">
            <a:avLst/>
          </a:prstGeom>
          <a:noFill/>
          <a:ln w="12700" cap="flat" cmpd="sng" algn="ctr">
            <a:solidFill>
              <a:srgbClr val="C00000"/>
            </a:solidFill>
            <a:prstDash val="solid"/>
            <a:round/>
            <a:headEnd type="none" w="med" len="med"/>
            <a:tailEnd type="arrow"/>
          </a:ln>
          <a:effectLst/>
        </p:spPr>
      </p:cxnSp>
      <p:sp>
        <p:nvSpPr>
          <p:cNvPr id="65" name="Oval 64"/>
          <p:cNvSpPr/>
          <p:nvPr/>
        </p:nvSpPr>
        <p:spPr bwMode="auto">
          <a:xfrm>
            <a:off x="3864537" y="4605827"/>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66" name="Oval 65"/>
          <p:cNvSpPr/>
          <p:nvPr/>
        </p:nvSpPr>
        <p:spPr bwMode="auto">
          <a:xfrm>
            <a:off x="1820853" y="4543343"/>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67" name="Oval 66"/>
          <p:cNvSpPr/>
          <p:nvPr/>
        </p:nvSpPr>
        <p:spPr bwMode="auto">
          <a:xfrm>
            <a:off x="6534850" y="3820194"/>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68" name="Oval 67"/>
          <p:cNvSpPr/>
          <p:nvPr/>
        </p:nvSpPr>
        <p:spPr bwMode="auto">
          <a:xfrm>
            <a:off x="7167167" y="4428460"/>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69" name="Oval 68"/>
          <p:cNvSpPr/>
          <p:nvPr/>
        </p:nvSpPr>
        <p:spPr bwMode="auto">
          <a:xfrm>
            <a:off x="8573999" y="4353121"/>
            <a:ext cx="109728" cy="109728"/>
          </a:xfrm>
          <a:prstGeom prst="ellipse">
            <a:avLst/>
          </a:prstGeom>
          <a:solidFill>
            <a:schemeClr val="accent6"/>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
        <p:nvSpPr>
          <p:cNvPr id="70" name="Oval 69"/>
          <p:cNvSpPr/>
          <p:nvPr/>
        </p:nvSpPr>
        <p:spPr bwMode="auto">
          <a:xfrm>
            <a:off x="7527405" y="4221074"/>
            <a:ext cx="109728" cy="109728"/>
          </a:xfrm>
          <a:prstGeom prst="ellipse">
            <a:avLst/>
          </a:prstGeom>
          <a:solidFill>
            <a:srgbClr val="C00000"/>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326295"/>
              </a:solidFill>
              <a:latin typeface="Arial" charset="0"/>
            </a:endParaRPr>
          </a:p>
        </p:txBody>
      </p:sp>
    </p:spTree>
    <p:extLst>
      <p:ext uri="{BB962C8B-B14F-4D97-AF65-F5344CB8AC3E}">
        <p14:creationId xmlns:p14="http://schemas.microsoft.com/office/powerpoint/2010/main" val="40278668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029F9-6006-4FA8-9560-A85E7C7EEE6D}"/>
              </a:ext>
            </a:extLst>
          </p:cNvPr>
          <p:cNvSpPr>
            <a:spLocks noGrp="1"/>
          </p:cNvSpPr>
          <p:nvPr>
            <p:ph type="title"/>
          </p:nvPr>
        </p:nvSpPr>
        <p:spPr/>
        <p:txBody>
          <a:bodyPr/>
          <a:lstStyle/>
          <a:p>
            <a:r>
              <a:rPr lang="de-DE" dirty="0" err="1"/>
              <a:t>Overview</a:t>
            </a:r>
            <a:r>
              <a:rPr lang="de-DE" dirty="0"/>
              <a:t> </a:t>
            </a:r>
            <a:r>
              <a:rPr lang="de-DE" dirty="0" err="1"/>
              <a:t>of</a:t>
            </a:r>
            <a:r>
              <a:rPr lang="de-DE" dirty="0"/>
              <a:t> Asset </a:t>
            </a:r>
            <a:r>
              <a:rPr lang="de-DE" dirty="0" err="1"/>
              <a:t>Allocations</a:t>
            </a:r>
            <a:endParaRPr lang="en-US" dirty="0"/>
          </a:p>
        </p:txBody>
      </p:sp>
      <p:sp>
        <p:nvSpPr>
          <p:cNvPr id="3" name="Text Placeholder 2">
            <a:extLst>
              <a:ext uri="{FF2B5EF4-FFF2-40B4-BE49-F238E27FC236}">
                <a16:creationId xmlns:a16="http://schemas.microsoft.com/office/drawing/2014/main" id="{2A6B7780-6FF2-446B-8D3F-D0B19A71FC4E}"/>
              </a:ext>
            </a:extLst>
          </p:cNvPr>
          <p:cNvSpPr>
            <a:spLocks noGrp="1"/>
          </p:cNvSpPr>
          <p:nvPr>
            <p:ph type="body" sz="quarter" idx="22"/>
          </p:nvPr>
        </p:nvSpPr>
        <p:spPr/>
        <p:txBody>
          <a:bodyPr/>
          <a:lstStyle/>
          <a:p>
            <a:r>
              <a:rPr lang="en-GB" dirty="0"/>
              <a:t>*Hypothetical asset allocation of a pension plan</a:t>
            </a:r>
          </a:p>
          <a:p>
            <a:r>
              <a:rPr lang="en-US" dirty="0"/>
              <a:t>Source: Triple A/Lestrade.</a:t>
            </a:r>
          </a:p>
        </p:txBody>
      </p:sp>
      <p:graphicFrame>
        <p:nvGraphicFramePr>
          <p:cNvPr id="4" name="Table 3">
            <a:extLst>
              <a:ext uri="{FF2B5EF4-FFF2-40B4-BE49-F238E27FC236}">
                <a16:creationId xmlns:a16="http://schemas.microsoft.com/office/drawing/2014/main" id="{524CE81A-BE25-4C2D-B234-04A2B6381277}"/>
              </a:ext>
            </a:extLst>
          </p:cNvPr>
          <p:cNvGraphicFramePr>
            <a:graphicFrameLocks noGrp="1"/>
          </p:cNvGraphicFramePr>
          <p:nvPr>
            <p:extLst/>
          </p:nvPr>
        </p:nvGraphicFramePr>
        <p:xfrm>
          <a:off x="1467002" y="1751887"/>
          <a:ext cx="4199713" cy="4446096"/>
        </p:xfrm>
        <a:graphic>
          <a:graphicData uri="http://schemas.openxmlformats.org/drawingml/2006/table">
            <a:tbl>
              <a:tblPr firstRow="1"/>
              <a:tblGrid>
                <a:gridCol w="1703975">
                  <a:extLst>
                    <a:ext uri="{9D8B030D-6E8A-4147-A177-3AD203B41FA5}">
                      <a16:colId xmlns:a16="http://schemas.microsoft.com/office/drawing/2014/main" val="1789212905"/>
                    </a:ext>
                  </a:extLst>
                </a:gridCol>
                <a:gridCol w="2495738">
                  <a:extLst>
                    <a:ext uri="{9D8B030D-6E8A-4147-A177-3AD203B41FA5}">
                      <a16:colId xmlns:a16="http://schemas.microsoft.com/office/drawing/2014/main" val="209808847"/>
                    </a:ext>
                  </a:extLst>
                </a:gridCol>
              </a:tblGrid>
              <a:tr h="601176">
                <a:tc>
                  <a:txBody>
                    <a:bodyPr/>
                    <a:lstStyle/>
                    <a:p>
                      <a:pPr algn="l" fontAlgn="b"/>
                      <a:endParaRPr lang="en-US" sz="1100" b="0" i="0" u="none" strike="noStrike" dirty="0">
                        <a:solidFill>
                          <a:srgbClr val="000000"/>
                        </a:solidFill>
                        <a:effectLst/>
                        <a:latin typeface="Calibri" panose="020F0502020204030204" pitchFamily="34" charset="0"/>
                      </a:endParaRPr>
                    </a:p>
                  </a:txBody>
                  <a:tcPr marL="9525" marR="9525" marT="9525" marB="0" anchor="b"/>
                </a:tc>
                <a:tc>
                  <a:txBody>
                    <a:bodyPr/>
                    <a:lstStyle/>
                    <a:p>
                      <a:pPr algn="ctr" fontAlgn="b"/>
                      <a:r>
                        <a:rPr lang="en-US" sz="1100" u="none" strike="noStrike" dirty="0">
                          <a:effectLst/>
                        </a:rPr>
                        <a:t>SAA Definition</a:t>
                      </a:r>
                      <a:endParaRPr lang="en-US" sz="1100" b="1"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16421331"/>
                  </a:ext>
                </a:extLst>
              </a:tr>
              <a:tr h="256328">
                <a:tc>
                  <a:txBody>
                    <a:bodyPr/>
                    <a:lstStyle/>
                    <a:p>
                      <a:pPr algn="l" fontAlgn="b"/>
                      <a:r>
                        <a:rPr lang="en-US" sz="1000" u="none" strike="noStrike" dirty="0">
                          <a:effectLst/>
                        </a:rPr>
                        <a:t>Equity Developed</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24.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46698763"/>
                  </a:ext>
                </a:extLst>
              </a:tr>
              <a:tr h="256328">
                <a:tc>
                  <a:txBody>
                    <a:bodyPr/>
                    <a:lstStyle/>
                    <a:p>
                      <a:pPr algn="l" fontAlgn="b"/>
                      <a:r>
                        <a:rPr lang="en-US" sz="1000" u="none" strike="noStrike" dirty="0">
                          <a:effectLst/>
                        </a:rPr>
                        <a:t>Equity Emerging Markets</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6.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97519787"/>
                  </a:ext>
                </a:extLst>
              </a:tr>
              <a:tr h="256328">
                <a:tc>
                  <a:txBody>
                    <a:bodyPr/>
                    <a:lstStyle/>
                    <a:p>
                      <a:pPr algn="l" fontAlgn="b"/>
                      <a:r>
                        <a:rPr lang="en-US" sz="1000" u="none" strike="noStrike" dirty="0">
                          <a:effectLst/>
                        </a:rPr>
                        <a:t>Direct Real Estate</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2.5%</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01585578"/>
                  </a:ext>
                </a:extLst>
              </a:tr>
              <a:tr h="256328">
                <a:tc>
                  <a:txBody>
                    <a:bodyPr/>
                    <a:lstStyle/>
                    <a:p>
                      <a:pPr algn="l" fontAlgn="b"/>
                      <a:r>
                        <a:rPr lang="en-US" sz="1000" u="none" strike="noStrike">
                          <a:effectLst/>
                        </a:rPr>
                        <a:t>Indirect Real Estate</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7.5%</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4244441169"/>
                  </a:ext>
                </a:extLst>
              </a:tr>
              <a:tr h="256328">
                <a:tc>
                  <a:txBody>
                    <a:bodyPr/>
                    <a:lstStyle/>
                    <a:p>
                      <a:pPr algn="l" fontAlgn="b"/>
                      <a:r>
                        <a:rPr lang="en-US" sz="1000" u="none" strike="noStrike">
                          <a:effectLst/>
                        </a:rPr>
                        <a:t>Global High Yield</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5.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777600517"/>
                  </a:ext>
                </a:extLst>
              </a:tr>
              <a:tr h="256328">
                <a:tc>
                  <a:txBody>
                    <a:bodyPr/>
                    <a:lstStyle/>
                    <a:p>
                      <a:pPr algn="l" fontAlgn="b"/>
                      <a:r>
                        <a:rPr lang="en-US" sz="1000" u="none" strike="noStrike">
                          <a:effectLst/>
                        </a:rPr>
                        <a:t>Emerging Markets HC</a:t>
                      </a:r>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5.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38572144"/>
                  </a:ext>
                </a:extLst>
              </a:tr>
              <a:tr h="256328">
                <a:tc>
                  <a:txBody>
                    <a:bodyPr/>
                    <a:lstStyle/>
                    <a:p>
                      <a:pPr algn="l" fontAlgn="b"/>
                      <a:r>
                        <a:rPr lang="en-US" sz="1000" u="none" strike="noStrike" dirty="0">
                          <a:effectLst/>
                        </a:rPr>
                        <a:t>Matching Portfolio</a:t>
                      </a:r>
                      <a:endParaRPr lang="en-US" sz="10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50.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44251676"/>
                  </a:ext>
                </a:extLst>
              </a:tr>
              <a:tr h="256328">
                <a:tc>
                  <a:txBody>
                    <a:bodyPr/>
                    <a:lstStyle/>
                    <a:p>
                      <a:pPr algn="l" fontAlgn="b"/>
                      <a:endParaRPr lang="en-US" sz="10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65856795"/>
                  </a:ext>
                </a:extLst>
              </a:tr>
              <a:tr h="256328">
                <a:tc>
                  <a:txBody>
                    <a:bodyPr/>
                    <a:lstStyle/>
                    <a:p>
                      <a:pPr algn="l" fontAlgn="b"/>
                      <a:r>
                        <a:rPr lang="en-US" sz="1000" b="1" u="none" strike="noStrike">
                          <a:effectLst/>
                        </a:rPr>
                        <a:t>Coverage Ratio</a:t>
                      </a:r>
                      <a:endParaRPr lang="en-US" sz="10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100.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903285483"/>
                  </a:ext>
                </a:extLst>
              </a:tr>
              <a:tr h="256328">
                <a:tc>
                  <a:txBody>
                    <a:bodyPr/>
                    <a:lstStyle/>
                    <a:p>
                      <a:pPr algn="l" fontAlgn="b"/>
                      <a:r>
                        <a:rPr lang="en-US" sz="1000" b="1" u="none" strike="noStrike" dirty="0">
                          <a:effectLst/>
                        </a:rPr>
                        <a:t>Liability Duration</a:t>
                      </a:r>
                      <a:endParaRPr lang="en-US" sz="10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16.9</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845291772"/>
                  </a:ext>
                </a:extLst>
              </a:tr>
              <a:tr h="256328">
                <a:tc>
                  <a:txBody>
                    <a:bodyPr/>
                    <a:lstStyle/>
                    <a:p>
                      <a:pPr algn="l" fontAlgn="b"/>
                      <a:endParaRPr lang="en-US" sz="1000" b="1"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65620976"/>
                  </a:ext>
                </a:extLst>
              </a:tr>
              <a:tr h="256328">
                <a:tc>
                  <a:txBody>
                    <a:bodyPr/>
                    <a:lstStyle/>
                    <a:p>
                      <a:pPr algn="l" fontAlgn="b"/>
                      <a:r>
                        <a:rPr lang="en-US" sz="1000" b="1" u="none" strike="noStrike" dirty="0">
                          <a:effectLst/>
                        </a:rPr>
                        <a:t>Interest Rate Hedge</a:t>
                      </a:r>
                      <a:endParaRPr lang="en-US" sz="10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50.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93059846"/>
                  </a:ext>
                </a:extLst>
              </a:tr>
              <a:tr h="256328">
                <a:tc>
                  <a:txBody>
                    <a:bodyPr/>
                    <a:lstStyle/>
                    <a:p>
                      <a:pPr algn="l" fontAlgn="b"/>
                      <a:r>
                        <a:rPr lang="en-US" sz="1000" b="1" u="none" strike="noStrike" dirty="0">
                          <a:effectLst/>
                        </a:rPr>
                        <a:t>FX Hedge</a:t>
                      </a:r>
                      <a:endParaRPr lang="en-US" sz="10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r>
                        <a:rPr lang="en-US" sz="1000" u="none" strike="noStrike" dirty="0">
                          <a:effectLst/>
                        </a:rPr>
                        <a:t>75.0%</a:t>
                      </a:r>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61953822"/>
                  </a:ext>
                </a:extLst>
              </a:tr>
              <a:tr h="256328">
                <a:tc>
                  <a:txBody>
                    <a:bodyPr/>
                    <a:lstStyle/>
                    <a:p>
                      <a:pPr algn="l" fontAlgn="b"/>
                      <a:endParaRPr lang="en-US" sz="1000" b="1"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en-US" sz="10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56039830"/>
                  </a:ext>
                </a:extLst>
              </a:tr>
              <a:tr h="256328">
                <a:tc>
                  <a:txBody>
                    <a:bodyPr/>
                    <a:lstStyle/>
                    <a:p>
                      <a:pPr algn="l" fontAlgn="b"/>
                      <a:r>
                        <a:rPr lang="en-US" sz="1000" b="1" i="0" u="none" strike="noStrike" dirty="0">
                          <a:solidFill>
                            <a:srgbClr val="000000"/>
                          </a:solidFill>
                          <a:effectLst/>
                          <a:latin typeface="+mn-lt"/>
                        </a:rPr>
                        <a:t>Portfolio VEV</a:t>
                      </a:r>
                    </a:p>
                  </a:txBody>
                  <a:tcPr marL="9525" marR="9525" marT="9525" marB="0" anchor="ctr"/>
                </a:tc>
                <a:tc>
                  <a:txBody>
                    <a:bodyPr/>
                    <a:lstStyle/>
                    <a:p>
                      <a:pPr marL="0" algn="ctr" defTabSz="914400" rtl="0" eaLnBrk="1" fontAlgn="b" latinLnBrk="0" hangingPunct="1"/>
                      <a:r>
                        <a:rPr lang="en-US" sz="1000" u="none" strike="noStrike" kern="1200" dirty="0">
                          <a:solidFill>
                            <a:schemeClr val="tx1"/>
                          </a:solidFill>
                          <a:effectLst/>
                          <a:latin typeface="+mn-lt"/>
                          <a:ea typeface="+mn-ea"/>
                          <a:cs typeface="+mn-cs"/>
                        </a:rPr>
                        <a:t>18.9%</a:t>
                      </a:r>
                    </a:p>
                  </a:txBody>
                  <a:tcPr marL="9525" marR="9525" marT="9525" marB="0" anchor="ctr"/>
                </a:tc>
                <a:extLst>
                  <a:ext uri="{0D108BD9-81ED-4DB2-BD59-A6C34878D82A}">
                    <a16:rowId xmlns:a16="http://schemas.microsoft.com/office/drawing/2014/main" val="3181691719"/>
                  </a:ext>
                </a:extLst>
              </a:tr>
            </a:tbl>
          </a:graphicData>
        </a:graphic>
      </p:graphicFrame>
      <p:graphicFrame>
        <p:nvGraphicFramePr>
          <p:cNvPr id="6" name="Chart 5">
            <a:extLst>
              <a:ext uri="{FF2B5EF4-FFF2-40B4-BE49-F238E27FC236}">
                <a16:creationId xmlns:a16="http://schemas.microsoft.com/office/drawing/2014/main" id="{EEC1ED6B-A502-4544-A773-3E81B15324BB}"/>
              </a:ext>
            </a:extLst>
          </p:cNvPr>
          <p:cNvGraphicFramePr>
            <a:graphicFrameLocks/>
          </p:cNvGraphicFramePr>
          <p:nvPr>
            <p:extLst/>
          </p:nvPr>
        </p:nvGraphicFramePr>
        <p:xfrm>
          <a:off x="3082367" y="1144698"/>
          <a:ext cx="2761488" cy="18423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Chart 7">
            <a:extLst>
              <a:ext uri="{FF2B5EF4-FFF2-40B4-BE49-F238E27FC236}">
                <a16:creationId xmlns:a16="http://schemas.microsoft.com/office/drawing/2014/main" id="{E46654F1-2836-4435-A15F-EDA56149EAFC}"/>
              </a:ext>
            </a:extLst>
          </p:cNvPr>
          <p:cNvGraphicFramePr>
            <a:graphicFrameLocks/>
          </p:cNvGraphicFramePr>
          <p:nvPr>
            <p:extLst/>
          </p:nvPr>
        </p:nvGraphicFramePr>
        <p:xfrm>
          <a:off x="5925795" y="1938615"/>
          <a:ext cx="4627188" cy="314037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8789729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Chart&#10;&#10;Description automatically generated">
            <a:extLst>
              <a:ext uri="{FF2B5EF4-FFF2-40B4-BE49-F238E27FC236}">
                <a16:creationId xmlns:a16="http://schemas.microsoft.com/office/drawing/2014/main" id="{D42EFBFC-7649-4956-83EA-0AB2AADCD8B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08760" y="2176272"/>
            <a:ext cx="6177828" cy="2734056"/>
          </a:xfrm>
          <a:prstGeom prst="rect">
            <a:avLst/>
          </a:prstGeom>
        </p:spPr>
      </p:pic>
      <p:sp>
        <p:nvSpPr>
          <p:cNvPr id="4" name="TextBox 3">
            <a:extLst>
              <a:ext uri="{FF2B5EF4-FFF2-40B4-BE49-F238E27FC236}">
                <a16:creationId xmlns:a16="http://schemas.microsoft.com/office/drawing/2014/main" id="{36763281-F50D-4423-B6AE-77007B235078}"/>
              </a:ext>
            </a:extLst>
          </p:cNvPr>
          <p:cNvSpPr txBox="1"/>
          <p:nvPr/>
        </p:nvSpPr>
        <p:spPr>
          <a:xfrm>
            <a:off x="1467000" y="1580966"/>
            <a:ext cx="9145925" cy="3057247"/>
          </a:xfrm>
          <a:prstGeom prst="rect">
            <a:avLst/>
          </a:prstGeom>
          <a:noFill/>
        </p:spPr>
        <p:txBody>
          <a:bodyPr wrap="square" lIns="0" tIns="0" rIns="0" bIns="0" rtlCol="0">
            <a:spAutoFit/>
          </a:bodyPr>
          <a:lstStyle/>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a:solidFill>
                  <a:srgbClr val="000000"/>
                </a:solidFill>
                <a:latin typeface="Arial" panose="020B0604020202020204" pitchFamily="34" charset="0"/>
              </a:rPr>
              <a:t>The </a:t>
            </a:r>
            <a:r>
              <a:rPr lang="de-DE" sz="1200" kern="0" dirty="0" err="1">
                <a:solidFill>
                  <a:srgbClr val="000000"/>
                </a:solidFill>
                <a:latin typeface="Arial" panose="020B0604020202020204" pitchFamily="34" charset="0"/>
              </a:rPr>
              <a:t>projec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t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on 10,000 </a:t>
            </a:r>
            <a:r>
              <a:rPr lang="de-DE" sz="1200" kern="0" dirty="0" err="1">
                <a:solidFill>
                  <a:srgbClr val="000000"/>
                </a:solidFill>
                <a:latin typeface="Arial" panose="020B0604020202020204" pitchFamily="34" charset="0"/>
              </a:rPr>
              <a:t>risklab</a:t>
            </a:r>
            <a:r>
              <a:rPr lang="de-DE" sz="1200" kern="0" dirty="0">
                <a:solidFill>
                  <a:srgbClr val="000000"/>
                </a:solidFill>
                <a:latin typeface="Arial" panose="020B0604020202020204" pitchFamily="34" charset="0"/>
              </a:rPr>
              <a:t> Capital Market Scenarios </a:t>
            </a:r>
            <a:r>
              <a:rPr lang="de-DE" sz="1200" kern="0" dirty="0" err="1">
                <a:solidFill>
                  <a:srgbClr val="000000"/>
                </a:solidFill>
                <a:latin typeface="Arial" panose="020B0604020202020204" pitchFamily="34" charset="0"/>
              </a:rPr>
              <a:t>i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ollowing</a:t>
            </a:r>
            <a:r>
              <a:rPr lang="de-DE" sz="1200" kern="0" dirty="0">
                <a:solidFill>
                  <a:srgbClr val="000000"/>
                </a:solidFill>
                <a:latin typeface="Arial" panose="020B0604020202020204" pitchFamily="34" charset="0"/>
              </a:rPr>
              <a:t>:</a:t>
            </a: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p:txBody>
      </p:sp>
      <p:sp>
        <p:nvSpPr>
          <p:cNvPr id="2" name="Title 1">
            <a:extLst>
              <a:ext uri="{FF2B5EF4-FFF2-40B4-BE49-F238E27FC236}">
                <a16:creationId xmlns:a16="http://schemas.microsoft.com/office/drawing/2014/main" id="{2930ED41-6DC5-43D9-9DF7-62088188A053}"/>
              </a:ext>
            </a:extLst>
          </p:cNvPr>
          <p:cNvSpPr>
            <a:spLocks noGrp="1"/>
          </p:cNvSpPr>
          <p:nvPr>
            <p:ph type="title"/>
          </p:nvPr>
        </p:nvSpPr>
        <p:spPr>
          <a:xfrm>
            <a:off x="1467001" y="660011"/>
            <a:ext cx="6058693" cy="607190"/>
          </a:xfrm>
        </p:spPr>
        <p:txBody>
          <a:bodyPr/>
          <a:lstStyle/>
          <a:p>
            <a:r>
              <a:rPr lang="de-DE" dirty="0" err="1"/>
              <a:t>What</a:t>
            </a:r>
            <a:r>
              <a:rPr lang="de-DE" dirty="0"/>
              <a:t> </a:t>
            </a:r>
            <a:r>
              <a:rPr lang="de-DE" dirty="0" err="1"/>
              <a:t>Does</a:t>
            </a:r>
            <a:r>
              <a:rPr lang="de-DE" dirty="0"/>
              <a:t> An Equity </a:t>
            </a:r>
            <a:r>
              <a:rPr lang="de-DE" dirty="0" err="1"/>
              <a:t>Drawdown</a:t>
            </a:r>
            <a:r>
              <a:rPr lang="de-DE" dirty="0"/>
              <a:t> Mean </a:t>
            </a:r>
            <a:r>
              <a:rPr lang="de-DE" dirty="0" err="1"/>
              <a:t>For</a:t>
            </a:r>
            <a:r>
              <a:rPr lang="de-DE" dirty="0"/>
              <a:t> The Coverage Ratio?</a:t>
            </a:r>
            <a:endParaRPr lang="en-US" dirty="0"/>
          </a:p>
        </p:txBody>
      </p:sp>
      <p:sp>
        <p:nvSpPr>
          <p:cNvPr id="3" name="Text Placeholder 2">
            <a:extLst>
              <a:ext uri="{FF2B5EF4-FFF2-40B4-BE49-F238E27FC236}">
                <a16:creationId xmlns:a16="http://schemas.microsoft.com/office/drawing/2014/main" id="{87F3D4DC-1EEA-43DC-B041-ECBE8DF88211}"/>
              </a:ext>
            </a:extLst>
          </p:cNvPr>
          <p:cNvSpPr>
            <a:spLocks noGrp="1"/>
          </p:cNvSpPr>
          <p:nvPr>
            <p:ph type="body" sz="quarter" idx="22"/>
          </p:nvPr>
        </p:nvSpPr>
        <p:spPr/>
        <p:txBody>
          <a:bodyPr/>
          <a:lstStyle/>
          <a:p>
            <a:r>
              <a:rPr lang="en-US" dirty="0"/>
              <a:t>Source:</a:t>
            </a:r>
            <a:r>
              <a:rPr lang="de-DE" dirty="0"/>
              <a:t> </a:t>
            </a:r>
            <a:r>
              <a:rPr lang="de-DE" dirty="0" err="1"/>
              <a:t>risklab</a:t>
            </a:r>
            <a:r>
              <a:rPr lang="de-DE" dirty="0"/>
              <a:t>,</a:t>
            </a:r>
            <a:r>
              <a:rPr lang="en-US" dirty="0"/>
              <a:t> 30.06.2021. Forward-looking simulation based on 10,000 economic scenarios for a time horizon of 5 years. </a:t>
            </a:r>
            <a:r>
              <a:rPr lang="en-US" b="1" dirty="0"/>
              <a:t>The performance is hypothetical and provided for illustrative purposes only and are not indicated of actual return likely to be achieved. Hypothetical performance results have certain inherent limitations. The results do not reflect the results of investing in actual accounts or the material economic and market factors that could impact an investment manager's decision-making process. </a:t>
            </a:r>
            <a:r>
              <a:rPr lang="en-US" dirty="0"/>
              <a:t>Please refer to the disclaimer at the end of the presentation. </a:t>
            </a:r>
          </a:p>
        </p:txBody>
      </p:sp>
      <p:grpSp>
        <p:nvGrpSpPr>
          <p:cNvPr id="17" name="Gruppieren 1">
            <a:extLst>
              <a:ext uri="{FF2B5EF4-FFF2-40B4-BE49-F238E27FC236}">
                <a16:creationId xmlns:a16="http://schemas.microsoft.com/office/drawing/2014/main" id="{FC5FEC50-F893-4EC7-AA14-D5463DE49475}"/>
              </a:ext>
            </a:extLst>
          </p:cNvPr>
          <p:cNvGrpSpPr/>
          <p:nvPr/>
        </p:nvGrpSpPr>
        <p:grpSpPr bwMode="gray">
          <a:xfrm>
            <a:off x="1402514" y="5389617"/>
            <a:ext cx="9322486" cy="530261"/>
            <a:chOff x="324000" y="5630892"/>
            <a:chExt cx="9252000" cy="532308"/>
          </a:xfrm>
          <a:solidFill>
            <a:srgbClr val="326295"/>
          </a:solidFill>
        </p:grpSpPr>
        <p:sp>
          <p:nvSpPr>
            <p:cNvPr id="18" name="Freeform 6">
              <a:extLst>
                <a:ext uri="{FF2B5EF4-FFF2-40B4-BE49-F238E27FC236}">
                  <a16:creationId xmlns:a16="http://schemas.microsoft.com/office/drawing/2014/main" id="{64263DBE-A0E3-45A9-AFD5-8D6E8888853E}"/>
                </a:ext>
              </a:extLst>
            </p:cNvPr>
            <p:cNvSpPr>
              <a:spLocks/>
            </p:cNvSpPr>
            <p:nvPr/>
          </p:nvSpPr>
          <p:spPr bwMode="gray">
            <a:xfrm>
              <a:off x="324000"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9" name="Freeform 7">
              <a:extLst>
                <a:ext uri="{FF2B5EF4-FFF2-40B4-BE49-F238E27FC236}">
                  <a16:creationId xmlns:a16="http://schemas.microsoft.com/office/drawing/2014/main" id="{99F81CA5-F519-4CCB-8FBB-66EB216B3B3C}"/>
                </a:ext>
              </a:extLst>
            </p:cNvPr>
            <p:cNvSpPr>
              <a:spLocks/>
            </p:cNvSpPr>
            <p:nvPr/>
          </p:nvSpPr>
          <p:spPr bwMode="gray">
            <a:xfrm>
              <a:off x="558410" y="5639981"/>
              <a:ext cx="239193" cy="523219"/>
            </a:xfrm>
            <a:custGeom>
              <a:avLst/>
              <a:gdLst>
                <a:gd name="T0" fmla="*/ 0 w 138"/>
                <a:gd name="T1" fmla="*/ 0 h 286"/>
                <a:gd name="T2" fmla="*/ 68 w 138"/>
                <a:gd name="T3" fmla="*/ 144 h 286"/>
                <a:gd name="T4" fmla="*/ 0 w 138"/>
                <a:gd name="T5" fmla="*/ 286 h 286"/>
                <a:gd name="T6" fmla="*/ 70 w 138"/>
                <a:gd name="T7" fmla="*/ 286 h 286"/>
                <a:gd name="T8" fmla="*/ 138 w 138"/>
                <a:gd name="T9" fmla="*/ 144 h 286"/>
                <a:gd name="T10" fmla="*/ 70 w 138"/>
                <a:gd name="T11" fmla="*/ 0 h 286"/>
                <a:gd name="T12" fmla="*/ 0 w 138"/>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8" h="286">
                  <a:moveTo>
                    <a:pt x="0" y="0"/>
                  </a:moveTo>
                  <a:lnTo>
                    <a:pt x="68" y="144"/>
                  </a:lnTo>
                  <a:lnTo>
                    <a:pt x="0" y="286"/>
                  </a:lnTo>
                  <a:lnTo>
                    <a:pt x="70" y="286"/>
                  </a:lnTo>
                  <a:lnTo>
                    <a:pt x="138" y="144"/>
                  </a:lnTo>
                  <a:lnTo>
                    <a:pt x="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20" name="Freeform 8">
              <a:extLst>
                <a:ext uri="{FF2B5EF4-FFF2-40B4-BE49-F238E27FC236}">
                  <a16:creationId xmlns:a16="http://schemas.microsoft.com/office/drawing/2014/main" id="{3DC027DD-3C8A-4E72-8F0C-BFE5A619B21F}"/>
                </a:ext>
              </a:extLst>
            </p:cNvPr>
            <p:cNvSpPr>
              <a:spLocks/>
            </p:cNvSpPr>
            <p:nvPr/>
          </p:nvSpPr>
          <p:spPr bwMode="gray">
            <a:xfrm>
              <a:off x="797603"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21" name="Freeform 9">
              <a:extLst>
                <a:ext uri="{FF2B5EF4-FFF2-40B4-BE49-F238E27FC236}">
                  <a16:creationId xmlns:a16="http://schemas.microsoft.com/office/drawing/2014/main" id="{F119451A-BFC2-4239-865E-130A0EDD9F56}"/>
                </a:ext>
              </a:extLst>
            </p:cNvPr>
            <p:cNvSpPr>
              <a:spLocks/>
            </p:cNvSpPr>
            <p:nvPr/>
          </p:nvSpPr>
          <p:spPr bwMode="gray">
            <a:xfrm>
              <a:off x="1035202" y="5630892"/>
              <a:ext cx="8540798" cy="523220"/>
            </a:xfrm>
            <a:custGeom>
              <a:avLst/>
              <a:gdLst>
                <a:gd name="T0" fmla="*/ 0 w 4942"/>
                <a:gd name="T1" fmla="*/ 0 h 286"/>
                <a:gd name="T2" fmla="*/ 69 w 4942"/>
                <a:gd name="T3" fmla="*/ 144 h 286"/>
                <a:gd name="T4" fmla="*/ 0 w 4942"/>
                <a:gd name="T5" fmla="*/ 286 h 286"/>
                <a:gd name="T6" fmla="*/ 4942 w 4942"/>
                <a:gd name="T7" fmla="*/ 286 h 286"/>
                <a:gd name="T8" fmla="*/ 4942 w 4942"/>
                <a:gd name="T9" fmla="*/ 0 h 286"/>
                <a:gd name="T10" fmla="*/ 0 w 4942"/>
                <a:gd name="T11" fmla="*/ 0 h 286"/>
              </a:gdLst>
              <a:ahLst/>
              <a:cxnLst>
                <a:cxn ang="0">
                  <a:pos x="T0" y="T1"/>
                </a:cxn>
                <a:cxn ang="0">
                  <a:pos x="T2" y="T3"/>
                </a:cxn>
                <a:cxn ang="0">
                  <a:pos x="T4" y="T5"/>
                </a:cxn>
                <a:cxn ang="0">
                  <a:pos x="T6" y="T7"/>
                </a:cxn>
                <a:cxn ang="0">
                  <a:pos x="T8" y="T9"/>
                </a:cxn>
                <a:cxn ang="0">
                  <a:pos x="T10" y="T11"/>
                </a:cxn>
              </a:cxnLst>
              <a:rect l="0" t="0" r="r" b="b"/>
              <a:pathLst>
                <a:path w="4942" h="286">
                  <a:moveTo>
                    <a:pt x="0" y="0"/>
                  </a:moveTo>
                  <a:lnTo>
                    <a:pt x="69" y="144"/>
                  </a:lnTo>
                  <a:lnTo>
                    <a:pt x="0" y="286"/>
                  </a:lnTo>
                  <a:lnTo>
                    <a:pt x="4942" y="286"/>
                  </a:lnTo>
                  <a:lnTo>
                    <a:pt x="494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16000" anchor="ctr" anchorCtr="0">
              <a:noAutofit/>
            </a:bodyPr>
            <a:lstStyle/>
            <a:p>
              <a:pPr marL="85725" defTabSz="914400" fontAlgn="base">
                <a:spcBef>
                  <a:spcPts val="200"/>
                </a:spcBef>
                <a:spcAft>
                  <a:spcPts val="300"/>
                </a:spcAft>
                <a:tabLst>
                  <a:tab pos="179388" algn="l"/>
                </a:tabLst>
              </a:pPr>
              <a:r>
                <a:rPr lang="en-US" sz="1400" kern="0" dirty="0">
                  <a:solidFill>
                    <a:srgbClr val="FFFFFF"/>
                  </a:solidFill>
                  <a:latin typeface="Arial" panose="020B0604020202020204" pitchFamily="34" charset="0"/>
                </a:rPr>
                <a:t>For example, for a EUR 10bn pension plan with a target coverage ratio of 100% and transition in 2025, this translates into the surplus shortfall of EUR 0.95bn.</a:t>
              </a:r>
            </a:p>
          </p:txBody>
        </p:sp>
      </p:grpSp>
      <p:sp>
        <p:nvSpPr>
          <p:cNvPr id="9" name="Rectangle 8">
            <a:extLst>
              <a:ext uri="{FF2B5EF4-FFF2-40B4-BE49-F238E27FC236}">
                <a16:creationId xmlns:a16="http://schemas.microsoft.com/office/drawing/2014/main" id="{21E678BF-7E91-4712-9836-927164734797}"/>
              </a:ext>
            </a:extLst>
          </p:cNvPr>
          <p:cNvSpPr/>
          <p:nvPr/>
        </p:nvSpPr>
        <p:spPr bwMode="auto">
          <a:xfrm>
            <a:off x="2660702" y="3776281"/>
            <a:ext cx="571500" cy="219074"/>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
        <p:nvSpPr>
          <p:cNvPr id="10" name="Rectangle 9">
            <a:extLst>
              <a:ext uri="{FF2B5EF4-FFF2-40B4-BE49-F238E27FC236}">
                <a16:creationId xmlns:a16="http://schemas.microsoft.com/office/drawing/2014/main" id="{AD4535EF-99C1-4829-A6B9-05BE17141244}"/>
              </a:ext>
            </a:extLst>
          </p:cNvPr>
          <p:cNvSpPr/>
          <p:nvPr/>
        </p:nvSpPr>
        <p:spPr bwMode="auto">
          <a:xfrm>
            <a:off x="3366372" y="3811172"/>
            <a:ext cx="4202906" cy="374976"/>
          </a:xfrm>
          <a:prstGeom prst="rect">
            <a:avLst/>
          </a:prstGeom>
          <a:noFill/>
          <a:ln w="1270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cxnSp>
        <p:nvCxnSpPr>
          <p:cNvPr id="14" name="Straight Arrow Connector 13">
            <a:extLst>
              <a:ext uri="{FF2B5EF4-FFF2-40B4-BE49-F238E27FC236}">
                <a16:creationId xmlns:a16="http://schemas.microsoft.com/office/drawing/2014/main" id="{FBF7AE56-9F66-4A6E-A088-43E48A9D2116}"/>
              </a:ext>
            </a:extLst>
          </p:cNvPr>
          <p:cNvCxnSpPr>
            <a:cxnSpLocks/>
          </p:cNvCxnSpPr>
          <p:nvPr/>
        </p:nvCxnSpPr>
        <p:spPr bwMode="auto">
          <a:xfrm flipH="1">
            <a:off x="7569278" y="3987696"/>
            <a:ext cx="962384" cy="0"/>
          </a:xfrm>
          <a:prstGeom prst="straightConnector1">
            <a:avLst/>
          </a:prstGeom>
          <a:noFill/>
          <a:ln w="12700" cap="flat" cmpd="sng" algn="ctr">
            <a:solidFill>
              <a:srgbClr val="DD0031"/>
            </a:solidFill>
            <a:prstDash val="solid"/>
            <a:round/>
            <a:headEnd type="none" w="med" len="med"/>
            <a:tailEnd type="triangle"/>
          </a:ln>
          <a:effectLst/>
        </p:spPr>
      </p:cxnSp>
      <p:sp>
        <p:nvSpPr>
          <p:cNvPr id="15" name="Rectangle 14">
            <a:extLst>
              <a:ext uri="{FF2B5EF4-FFF2-40B4-BE49-F238E27FC236}">
                <a16:creationId xmlns:a16="http://schemas.microsoft.com/office/drawing/2014/main" id="{24EB2987-C0D0-4989-BA4D-DA18E052AD93}"/>
              </a:ext>
            </a:extLst>
          </p:cNvPr>
          <p:cNvSpPr/>
          <p:nvPr/>
        </p:nvSpPr>
        <p:spPr bwMode="auto">
          <a:xfrm>
            <a:off x="8526430" y="3557725"/>
            <a:ext cx="2125603" cy="859942"/>
          </a:xfrm>
          <a:prstGeom prst="rect">
            <a:avLst/>
          </a:prstGeom>
          <a:noFill/>
          <a:ln w="6350" cap="flat" cmpd="sng" algn="ctr">
            <a:solidFill>
              <a:schemeClr val="tx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defTabSz="914400" fontAlgn="base">
              <a:spcBef>
                <a:spcPts val="360"/>
              </a:spcBef>
              <a:spcAft>
                <a:spcPct val="25000"/>
              </a:spcAft>
              <a:buClr>
                <a:srgbClr val="003781"/>
              </a:buClr>
            </a:pPr>
            <a:r>
              <a:rPr lang="en-US" sz="1200" kern="0" dirty="0">
                <a:solidFill>
                  <a:srgbClr val="000000"/>
                </a:solidFill>
                <a:latin typeface="Arial" charset="0"/>
              </a:rPr>
              <a:t>Effect of a 30% or higher equity shock at the end of any given year</a:t>
            </a:r>
          </a:p>
        </p:txBody>
      </p:sp>
    </p:spTree>
    <p:extLst>
      <p:ext uri="{BB962C8B-B14F-4D97-AF65-F5344CB8AC3E}">
        <p14:creationId xmlns:p14="http://schemas.microsoft.com/office/powerpoint/2010/main" val="643590440"/>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DB4D6F-EB37-47B1-91BC-0BF1E7ABADA2}"/>
              </a:ext>
            </a:extLst>
          </p:cNvPr>
          <p:cNvSpPr>
            <a:spLocks noGrp="1"/>
          </p:cNvSpPr>
          <p:nvPr>
            <p:ph type="title"/>
          </p:nvPr>
        </p:nvSpPr>
        <p:spPr/>
        <p:txBody>
          <a:bodyPr/>
          <a:lstStyle/>
          <a:p>
            <a:r>
              <a:rPr lang="en-US" dirty="0"/>
              <a:t>How our DTRM can protect your pension fund’s coverage ratio</a:t>
            </a:r>
          </a:p>
        </p:txBody>
      </p:sp>
      <p:sp>
        <p:nvSpPr>
          <p:cNvPr id="3" name="TextBox 2">
            <a:extLst>
              <a:ext uri="{FF2B5EF4-FFF2-40B4-BE49-F238E27FC236}">
                <a16:creationId xmlns:a16="http://schemas.microsoft.com/office/drawing/2014/main" id="{CE6C44BD-1278-4BD3-9498-1A1A1D54C19F}"/>
              </a:ext>
            </a:extLst>
          </p:cNvPr>
          <p:cNvSpPr txBox="1"/>
          <p:nvPr/>
        </p:nvSpPr>
        <p:spPr>
          <a:xfrm>
            <a:off x="1467000" y="1412342"/>
            <a:ext cx="9182413" cy="5160387"/>
          </a:xfrm>
          <a:prstGeom prst="rect">
            <a:avLst/>
          </a:prstGeom>
          <a:noFill/>
        </p:spPr>
        <p:txBody>
          <a:bodyPr wrap="square" lIns="0" tIns="0" rIns="0" bIns="0" rtlCol="0">
            <a:spAutoFit/>
          </a:bodyPr>
          <a:lstStyle/>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err="1">
                <a:solidFill>
                  <a:srgbClr val="000000"/>
                </a:solidFill>
                <a:latin typeface="Arial" panose="020B0604020202020204" pitchFamily="34" charset="0"/>
              </a:rPr>
              <a:t>Fo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Dutc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und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with</a:t>
            </a:r>
            <a:r>
              <a:rPr lang="de-DE" sz="1200" kern="0" dirty="0">
                <a:solidFill>
                  <a:srgbClr val="000000"/>
                </a:solidFill>
                <a:latin typeface="Arial" panose="020B0604020202020204" pitchFamily="34" charset="0"/>
              </a:rPr>
              <a:t> an </a:t>
            </a:r>
            <a:r>
              <a:rPr lang="de-DE" sz="1200" kern="0" dirty="0" err="1">
                <a:solidFill>
                  <a:srgbClr val="000000"/>
                </a:solidFill>
                <a:latin typeface="Arial" panose="020B0604020202020204" pitchFamily="34" charset="0"/>
              </a:rPr>
              <a:t>inten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ppl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o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Transition FTK </a:t>
            </a:r>
            <a:r>
              <a:rPr lang="de-DE" sz="1200" kern="0" dirty="0" err="1">
                <a:solidFill>
                  <a:srgbClr val="000000"/>
                </a:solidFill>
                <a:latin typeface="Arial" panose="020B0604020202020204" pitchFamily="34" charset="0"/>
              </a:rPr>
              <a:t>i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rucial</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ee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arge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on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ransition</a:t>
            </a:r>
            <a:r>
              <a:rPr lang="de-DE" sz="1200" kern="0" dirty="0">
                <a:solidFill>
                  <a:srgbClr val="000000"/>
                </a:solidFill>
                <a:latin typeface="Arial" panose="020B0604020202020204" pitchFamily="34" charset="0"/>
              </a:rPr>
              <a:t> date.</a:t>
            </a:r>
          </a:p>
          <a:p>
            <a:pPr marL="171450" indent="-171450" defTabSz="914400" fontAlgn="base">
              <a:spcBef>
                <a:spcPts val="360"/>
              </a:spcBef>
              <a:spcAft>
                <a:spcPts val="360"/>
              </a:spcAft>
              <a:buClr>
                <a:srgbClr val="003781"/>
              </a:buClr>
              <a:buFont typeface="Wingdings" panose="05000000000000000000" pitchFamily="2" charset="2"/>
              <a:buChar char="§"/>
            </a:pPr>
            <a:r>
              <a:rPr lang="en-US" sz="1200" kern="0" dirty="0">
                <a:solidFill>
                  <a:srgbClr val="000000"/>
                </a:solidFill>
                <a:latin typeface="Arial" panose="020B0604020202020204" pitchFamily="34" charset="0"/>
              </a:rPr>
              <a:t>With </a:t>
            </a:r>
            <a:r>
              <a:rPr lang="en-US" sz="1200" kern="0" dirty="0" err="1">
                <a:solidFill>
                  <a:srgbClr val="000000"/>
                </a:solidFill>
                <a:latin typeface="Arial" panose="020B0604020202020204" pitchFamily="34" charset="0"/>
              </a:rPr>
              <a:t>risklab’s</a:t>
            </a:r>
            <a:r>
              <a:rPr lang="en-US" sz="1200" kern="0" dirty="0">
                <a:solidFill>
                  <a:srgbClr val="000000"/>
                </a:solidFill>
                <a:latin typeface="Arial" panose="020B0604020202020204" pitchFamily="34" charset="0"/>
              </a:rPr>
              <a:t> proprietary scenario analysis we will demonstrate what is the possibility for a Dutch pension fund to get into a problematic situation and what DTRM can do to prevent the fund to get into this situation.</a:t>
            </a:r>
            <a:endParaRPr lang="de-DE" sz="1200" b="1" kern="0" dirty="0">
              <a:solidFill>
                <a:srgbClr val="003781"/>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endParaRPr lang="de-DE" sz="1200" b="1" kern="0" dirty="0">
              <a:solidFill>
                <a:srgbClr val="003781"/>
              </a:solidFill>
              <a:latin typeface="Arial" panose="020B0604020202020204" pitchFamily="34" charset="0"/>
            </a:endParaRPr>
          </a:p>
          <a:p>
            <a:pPr defTabSz="914400" fontAlgn="base">
              <a:spcBef>
                <a:spcPts val="360"/>
              </a:spcBef>
              <a:spcAft>
                <a:spcPts val="360"/>
              </a:spcAft>
              <a:buClr>
                <a:srgbClr val="003781"/>
              </a:buClr>
            </a:pPr>
            <a:r>
              <a:rPr lang="de-DE" sz="1400" b="1" kern="0" dirty="0">
                <a:solidFill>
                  <a:srgbClr val="003781"/>
                </a:solidFill>
                <a:latin typeface="Arial" panose="020B0604020202020204" pitchFamily="34" charset="0"/>
              </a:rPr>
              <a:t>Scenario </a:t>
            </a:r>
            <a:r>
              <a:rPr lang="de-DE" sz="1400" b="1" kern="0" dirty="0" err="1">
                <a:solidFill>
                  <a:srgbClr val="003781"/>
                </a:solidFill>
                <a:latin typeface="Arial" panose="020B0604020202020204" pitchFamily="34" charset="0"/>
              </a:rPr>
              <a:t>analysis</a:t>
            </a:r>
            <a:r>
              <a:rPr lang="de-DE" sz="1400" b="1" kern="0" dirty="0">
                <a:solidFill>
                  <a:srgbClr val="003781"/>
                </a:solidFill>
                <a:latin typeface="Arial" panose="020B0604020202020204" pitchFamily="34" charset="0"/>
              </a:rPr>
              <a:t> </a:t>
            </a:r>
            <a:r>
              <a:rPr lang="de-DE" sz="1400" b="1" kern="0" dirty="0" err="1">
                <a:solidFill>
                  <a:srgbClr val="003781"/>
                </a:solidFill>
                <a:latin typeface="Arial" panose="020B0604020202020204" pitchFamily="34" charset="0"/>
              </a:rPr>
              <a:t>setup</a:t>
            </a:r>
            <a:r>
              <a:rPr lang="de-DE" sz="1400" b="1" kern="0" dirty="0">
                <a:solidFill>
                  <a:srgbClr val="003781"/>
                </a:solidFill>
                <a:latin typeface="Arial" panose="020B0604020202020204" pitchFamily="34" charset="0"/>
              </a:rPr>
              <a:t>:</a:t>
            </a: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a:solidFill>
                  <a:srgbClr val="000000"/>
                </a:solidFill>
                <a:latin typeface="Arial" panose="020B0604020202020204" pitchFamily="34" charset="0"/>
              </a:rPr>
              <a:t>The </a:t>
            </a:r>
            <a:r>
              <a:rPr lang="de-DE" sz="1200" kern="0" dirty="0" err="1">
                <a:solidFill>
                  <a:srgbClr val="000000"/>
                </a:solidFill>
                <a:latin typeface="Arial" panose="020B0604020202020204" pitchFamily="34" charset="0"/>
              </a:rPr>
              <a:t>Dutc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un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urrentl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has</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100% and </a:t>
            </a:r>
            <a:r>
              <a:rPr lang="de-DE" sz="1200" kern="0" dirty="0" err="1">
                <a:solidFill>
                  <a:srgbClr val="000000"/>
                </a:solidFill>
                <a:latin typeface="Arial" panose="020B0604020202020204" pitchFamily="34" charset="0"/>
              </a:rPr>
              <a:t>ha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e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ransition</a:t>
            </a:r>
            <a:r>
              <a:rPr lang="de-DE" sz="1200" kern="0" dirty="0">
                <a:solidFill>
                  <a:srgbClr val="000000"/>
                </a:solidFill>
                <a:latin typeface="Arial" panose="020B0604020202020204" pitchFamily="34" charset="0"/>
              </a:rPr>
              <a:t> date 31-12-2025, </a:t>
            </a:r>
            <a:r>
              <a:rPr lang="de-DE" sz="1200" kern="0" dirty="0" err="1">
                <a:solidFill>
                  <a:srgbClr val="000000"/>
                </a:solidFill>
                <a:latin typeface="Arial" panose="020B0604020202020204" pitchFamily="34" charset="0"/>
              </a:rPr>
              <a:t>with</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targe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100%</a:t>
            </a:r>
          </a:p>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a:solidFill>
                  <a:srgbClr val="000000"/>
                </a:solidFill>
                <a:latin typeface="Arial" panose="020B0604020202020204" pitchFamily="34" charset="0"/>
              </a:rPr>
              <a:t>The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un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has</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liability</a:t>
            </a:r>
            <a:r>
              <a:rPr lang="de-DE" sz="1200" kern="0" dirty="0">
                <a:solidFill>
                  <a:srgbClr val="000000"/>
                </a:solidFill>
                <a:latin typeface="Arial" panose="020B0604020202020204" pitchFamily="34" charset="0"/>
              </a:rPr>
              <a:t> cash </a:t>
            </a:r>
            <a:r>
              <a:rPr lang="de-DE" sz="1200" kern="0" dirty="0" err="1">
                <a:solidFill>
                  <a:srgbClr val="000000"/>
                </a:solidFill>
                <a:latin typeface="Arial" panose="020B0604020202020204" pitchFamily="34" charset="0"/>
              </a:rPr>
              <a:t>flow</a:t>
            </a:r>
            <a:r>
              <a:rPr lang="de-DE" sz="1200" kern="0" dirty="0">
                <a:solidFill>
                  <a:srgbClr val="000000"/>
                </a:solidFill>
                <a:latin typeface="Arial" panose="020B0604020202020204" pitchFamily="34" charset="0"/>
              </a:rPr>
              <a:t> stream </a:t>
            </a:r>
            <a:r>
              <a:rPr lang="de-DE" sz="1200" kern="0" dirty="0" err="1">
                <a:solidFill>
                  <a:srgbClr val="000000"/>
                </a:solidFill>
                <a:latin typeface="Arial" panose="020B0604020202020204" pitchFamily="34" charset="0"/>
              </a:rPr>
              <a:t>tha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epresentativ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typical</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Dutc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ension</a:t>
            </a:r>
            <a:r>
              <a:rPr lang="de-DE" sz="1200" kern="0" dirty="0">
                <a:solidFill>
                  <a:srgbClr val="000000"/>
                </a:solidFill>
                <a:latin typeface="Arial" panose="020B0604020202020204" pitchFamily="34" charset="0"/>
              </a:rPr>
              <a:t> plan and </a:t>
            </a:r>
            <a:r>
              <a:rPr lang="de-DE" sz="1200" kern="0" dirty="0" err="1">
                <a:solidFill>
                  <a:srgbClr val="000000"/>
                </a:solidFill>
                <a:latin typeface="Arial" panose="020B0604020202020204" pitchFamily="34" charset="0"/>
              </a:rPr>
              <a:t>has</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dura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liabilitie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16.9. The </a:t>
            </a:r>
            <a:r>
              <a:rPr lang="de-DE" sz="1200" kern="0" dirty="0" err="1">
                <a:solidFill>
                  <a:srgbClr val="000000"/>
                </a:solidFill>
                <a:latin typeface="Arial" panose="020B0604020202020204" pitchFamily="34" charset="0"/>
              </a:rPr>
              <a:t>liabilit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rofile</a:t>
            </a:r>
            <a:r>
              <a:rPr lang="de-DE" sz="1200" kern="0" dirty="0">
                <a:solidFill>
                  <a:srgbClr val="000000"/>
                </a:solidFill>
                <a:latin typeface="Arial" panose="020B0604020202020204" pitchFamily="34" charset="0"/>
              </a:rPr>
              <a:t> (cash </a:t>
            </a:r>
            <a:r>
              <a:rPr lang="de-DE" sz="1200" kern="0" dirty="0" err="1">
                <a:solidFill>
                  <a:srgbClr val="000000"/>
                </a:solidFill>
                <a:latin typeface="Arial" panose="020B0604020202020204" pitchFamily="34" charset="0"/>
              </a:rPr>
              <a:t>flow</a:t>
            </a:r>
            <a:r>
              <a:rPr lang="de-DE" sz="1200" kern="0" dirty="0">
                <a:solidFill>
                  <a:srgbClr val="000000"/>
                </a:solidFill>
                <a:latin typeface="Arial" panose="020B0604020202020204" pitchFamily="34" charset="0"/>
              </a:rPr>
              <a:t> &amp; </a:t>
            </a:r>
            <a:r>
              <a:rPr lang="de-DE" sz="1200" kern="0" dirty="0" err="1">
                <a:solidFill>
                  <a:srgbClr val="000000"/>
                </a:solidFill>
                <a:latin typeface="Arial" panose="020B0604020202020204" pitchFamily="34" charset="0"/>
              </a:rPr>
              <a:t>dura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tay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nstan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ver</a:t>
            </a:r>
            <a:r>
              <a:rPr lang="de-DE" sz="1200" kern="0" dirty="0">
                <a:solidFill>
                  <a:srgbClr val="000000"/>
                </a:solidFill>
                <a:latin typeface="Arial" panose="020B0604020202020204" pitchFamily="34" charset="0"/>
              </a:rPr>
              <a:t> time</a:t>
            </a:r>
          </a:p>
          <a:p>
            <a:pPr marL="171450" indent="-171450" defTabSz="914400" fontAlgn="base">
              <a:spcBef>
                <a:spcPts val="360"/>
              </a:spcBef>
              <a:spcAft>
                <a:spcPts val="360"/>
              </a:spcAft>
              <a:buClr>
                <a:srgbClr val="003781"/>
              </a:buClr>
              <a:buFont typeface="Wingdings" panose="05000000000000000000" pitchFamily="2" charset="2"/>
              <a:buChar char="§"/>
            </a:pPr>
            <a:r>
              <a:rPr lang="en-US" sz="1200" kern="0" dirty="0">
                <a:solidFill>
                  <a:srgbClr val="000000"/>
                </a:solidFill>
                <a:latin typeface="Arial" panose="020B0604020202020204" pitchFamily="34" charset="0"/>
              </a:rPr>
              <a:t>The pension fund has an asset allocation as shown earlier</a:t>
            </a:r>
          </a:p>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a:solidFill>
                  <a:srgbClr val="000000"/>
                </a:solidFill>
                <a:latin typeface="Arial" panose="020B0604020202020204" pitchFamily="34" charset="0"/>
              </a:rPr>
              <a:t>The </a:t>
            </a:r>
            <a:r>
              <a:rPr lang="de-DE" sz="1200" kern="0" dirty="0" err="1">
                <a:solidFill>
                  <a:srgbClr val="000000"/>
                </a:solidFill>
                <a:latin typeface="Arial" panose="020B0604020202020204" pitchFamily="34" charset="0"/>
              </a:rPr>
              <a:t>liability</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matching</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ortfoli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nstruct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using</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ot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government</a:t>
            </a:r>
            <a:r>
              <a:rPr lang="de-DE" sz="1200" kern="0" dirty="0">
                <a:solidFill>
                  <a:srgbClr val="000000"/>
                </a:solidFill>
                <a:latin typeface="Arial" panose="020B0604020202020204" pitchFamily="34" charset="0"/>
              </a:rPr>
              <a:t> and </a:t>
            </a:r>
            <a:r>
              <a:rPr lang="de-DE" sz="1200" kern="0" dirty="0" err="1">
                <a:solidFill>
                  <a:srgbClr val="000000"/>
                </a:solidFill>
                <a:latin typeface="Arial" panose="020B0604020202020204" pitchFamily="34" charset="0"/>
              </a:rPr>
              <a:t>corporat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ond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well</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s</a:t>
            </a:r>
            <a:r>
              <a:rPr lang="de-DE" sz="1200" kern="0" dirty="0">
                <a:solidFill>
                  <a:srgbClr val="000000"/>
                </a:solidFill>
                <a:latin typeface="Arial" panose="020B0604020202020204" pitchFamily="34" charset="0"/>
              </a:rPr>
              <a:t> a derivative </a:t>
            </a:r>
            <a:r>
              <a:rPr lang="de-DE" sz="1200" kern="0" dirty="0" err="1">
                <a:solidFill>
                  <a:srgbClr val="000000"/>
                </a:solidFill>
                <a:latin typeface="Arial" panose="020B0604020202020204" pitchFamily="34" charset="0"/>
              </a:rPr>
              <a:t>overlay</a:t>
            </a:r>
            <a:endParaRPr lang="de-DE" sz="1200" kern="0" dirty="0">
              <a:solidFill>
                <a:srgbClr val="000000"/>
              </a:solidFill>
              <a:latin typeface="Arial" panose="020B0604020202020204" pitchFamily="34" charset="0"/>
            </a:endParaRPr>
          </a:p>
          <a:p>
            <a:pPr marL="171450" indent="-171450" defTabSz="914400" fontAlgn="base">
              <a:spcBef>
                <a:spcPts val="360"/>
              </a:spcBef>
              <a:spcAft>
                <a:spcPts val="360"/>
              </a:spcAft>
              <a:buClr>
                <a:srgbClr val="003781"/>
              </a:buClr>
              <a:buFont typeface="Wingdings" panose="05000000000000000000" pitchFamily="2" charset="2"/>
              <a:buChar char="§"/>
            </a:pPr>
            <a:r>
              <a:rPr lang="de-DE" sz="1200" kern="0" dirty="0">
                <a:solidFill>
                  <a:srgbClr val="000000"/>
                </a:solidFill>
                <a:latin typeface="Arial" panose="020B0604020202020204" pitchFamily="34" charset="0"/>
              </a:rPr>
              <a:t>Forward-</a:t>
            </a:r>
            <a:r>
              <a:rPr lang="de-DE" sz="1200" kern="0" dirty="0" err="1">
                <a:solidFill>
                  <a:srgbClr val="000000"/>
                </a:solidFill>
                <a:latin typeface="Arial" panose="020B0604020202020204" pitchFamily="34" charset="0"/>
              </a:rPr>
              <a:t>looking</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cenario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rom</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isklab‘s</a:t>
            </a:r>
            <a:r>
              <a:rPr lang="de-DE" sz="1200" kern="0" dirty="0">
                <a:solidFill>
                  <a:srgbClr val="000000"/>
                </a:solidFill>
                <a:latin typeface="Arial" panose="020B0604020202020204" pitchFamily="34" charset="0"/>
              </a:rPr>
              <a:t> Capital </a:t>
            </a:r>
            <a:r>
              <a:rPr lang="de-DE" sz="1200" kern="0" dirty="0" err="1">
                <a:solidFill>
                  <a:srgbClr val="000000"/>
                </a:solidFill>
                <a:latin typeface="Arial" panose="020B0604020202020204" pitchFamily="34" charset="0"/>
              </a:rPr>
              <a:t>Markets</a:t>
            </a:r>
            <a:r>
              <a:rPr lang="de-DE" sz="1200" kern="0" dirty="0">
                <a:solidFill>
                  <a:srgbClr val="000000"/>
                </a:solidFill>
                <a:latin typeface="Arial" panose="020B0604020202020204" pitchFamily="34" charset="0"/>
              </a:rPr>
              <a:t> Model* </a:t>
            </a:r>
            <a:r>
              <a:rPr lang="de-DE" sz="1200" kern="0" dirty="0" err="1">
                <a:solidFill>
                  <a:srgbClr val="000000"/>
                </a:solidFill>
                <a:latin typeface="Arial" panose="020B0604020202020204" pitchFamily="34" charset="0"/>
              </a:rPr>
              <a:t>ar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pplied</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rojec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coverag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rati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utcomes</a:t>
            </a:r>
            <a:endParaRPr lang="de-DE" sz="1200" kern="0" dirty="0">
              <a:solidFill>
                <a:srgbClr val="000000"/>
              </a:solidFill>
              <a:latin typeface="Arial" panose="020B0604020202020204" pitchFamily="34" charset="0"/>
            </a:endParaRPr>
          </a:p>
          <a:p>
            <a:pPr marL="342900" lvl="1" indent="-171450" defTabSz="914400" fontAlgn="base">
              <a:spcBef>
                <a:spcPts val="360"/>
              </a:spcBef>
              <a:spcAft>
                <a:spcPts val="360"/>
              </a:spcAft>
              <a:buClr>
                <a:srgbClr val="003781"/>
              </a:buClr>
              <a:buFont typeface="Wingdings" panose="05000000000000000000" pitchFamily="2" charset="2"/>
              <a:buChar char="§"/>
            </a:pPr>
            <a:r>
              <a:rPr lang="de-DE" sz="1200" kern="0" dirty="0" err="1">
                <a:solidFill>
                  <a:srgbClr val="000000"/>
                </a:solidFill>
                <a:latin typeface="Arial" panose="020B0604020202020204" pitchFamily="34" charset="0"/>
              </a:rPr>
              <a:t>W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used</a:t>
            </a:r>
            <a:r>
              <a:rPr lang="de-DE" sz="1200" kern="0" dirty="0">
                <a:solidFill>
                  <a:srgbClr val="000000"/>
                </a:solidFill>
                <a:latin typeface="Arial" panose="020B0604020202020204" pitchFamily="34" charset="0"/>
              </a:rPr>
              <a:t> a </a:t>
            </a:r>
            <a:r>
              <a:rPr lang="de-DE" sz="1200" kern="0" dirty="0" err="1">
                <a:solidFill>
                  <a:srgbClr val="000000"/>
                </a:solidFill>
                <a:latin typeface="Arial" panose="020B0604020202020204" pitchFamily="34" charset="0"/>
              </a:rPr>
              <a:t>representativ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simplified</a:t>
            </a:r>
            <a:r>
              <a:rPr lang="de-DE" sz="1200" kern="0" dirty="0">
                <a:solidFill>
                  <a:srgbClr val="000000"/>
                </a:solidFill>
                <a:latin typeface="Arial" panose="020B0604020202020204" pitchFamily="34" charset="0"/>
              </a:rPr>
              <a:t> DTRM </a:t>
            </a:r>
            <a:r>
              <a:rPr lang="de-DE" sz="1200" kern="0" dirty="0" err="1">
                <a:solidFill>
                  <a:srgbClr val="000000"/>
                </a:solidFill>
                <a:latin typeface="Arial" panose="020B0604020202020204" pitchFamily="34" charset="0"/>
              </a:rPr>
              <a:t>simula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evaluat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effects</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dding</a:t>
            </a:r>
            <a:r>
              <a:rPr lang="de-DE" sz="1200" kern="0" dirty="0">
                <a:solidFill>
                  <a:srgbClr val="000000"/>
                </a:solidFill>
                <a:latin typeface="Arial" panose="020B0604020202020204" pitchFamily="34" charset="0"/>
              </a:rPr>
              <a:t> DTRM </a:t>
            </a:r>
            <a:r>
              <a:rPr lang="de-DE" sz="1200" kern="0" dirty="0" err="1">
                <a:solidFill>
                  <a:srgbClr val="000000"/>
                </a:solidFill>
                <a:latin typeface="Arial" panose="020B0604020202020204" pitchFamily="34" charset="0"/>
              </a:rPr>
              <a:t>t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ortfolio</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wit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protection</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floor</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80%</a:t>
            </a:r>
          </a:p>
          <a:p>
            <a:pPr marL="342900" lvl="1" indent="-171450" defTabSz="914400" fontAlgn="base">
              <a:spcBef>
                <a:spcPts val="360"/>
              </a:spcBef>
              <a:spcAft>
                <a:spcPts val="360"/>
              </a:spcAft>
              <a:buClr>
                <a:srgbClr val="003781"/>
              </a:buClr>
              <a:buFont typeface="Wingdings" panose="05000000000000000000" pitchFamily="2" charset="2"/>
              <a:buChar char="§"/>
            </a:pPr>
            <a:r>
              <a:rPr lang="de-DE" sz="1200" kern="0" dirty="0" err="1">
                <a:solidFill>
                  <a:srgbClr val="000000"/>
                </a:solidFill>
                <a:latin typeface="Arial" panose="020B0604020202020204" pitchFamily="34" charset="0"/>
              </a:rPr>
              <a:t>W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discoun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bot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ssets</a:t>
            </a:r>
            <a:r>
              <a:rPr lang="de-DE" sz="1200" kern="0" dirty="0">
                <a:solidFill>
                  <a:srgbClr val="000000"/>
                </a:solidFill>
                <a:latin typeface="Arial" panose="020B0604020202020204" pitchFamily="34" charset="0"/>
              </a:rPr>
              <a:t> and </a:t>
            </a:r>
            <a:r>
              <a:rPr lang="de-DE" sz="1200" kern="0" dirty="0" err="1">
                <a:solidFill>
                  <a:srgbClr val="000000"/>
                </a:solidFill>
                <a:latin typeface="Arial" panose="020B0604020202020204" pitchFamily="34" charset="0"/>
              </a:rPr>
              <a:t>liabilites</a:t>
            </a:r>
            <a:r>
              <a:rPr lang="de-DE" sz="1200" kern="0" dirty="0">
                <a:solidFill>
                  <a:srgbClr val="000000"/>
                </a:solidFill>
                <a:latin typeface="Arial" panose="020B0604020202020204" pitchFamily="34" charset="0"/>
              </a:rPr>
              <a:t> and </a:t>
            </a:r>
            <a:r>
              <a:rPr lang="de-DE" sz="1200" kern="0" dirty="0" err="1">
                <a:solidFill>
                  <a:srgbClr val="000000"/>
                </a:solidFill>
                <a:latin typeface="Arial" panose="020B0604020202020204" pitchFamily="34" charset="0"/>
              </a:rPr>
              <a:t>show</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economic</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impact</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of</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adding</a:t>
            </a:r>
            <a:r>
              <a:rPr lang="de-DE" sz="1200" kern="0" dirty="0">
                <a:solidFill>
                  <a:srgbClr val="000000"/>
                </a:solidFill>
                <a:latin typeface="Arial" panose="020B0604020202020204" pitchFamily="34" charset="0"/>
              </a:rPr>
              <a:t> DTRM </a:t>
            </a:r>
            <a:r>
              <a:rPr lang="de-DE" sz="1200" kern="0" dirty="0" err="1">
                <a:solidFill>
                  <a:srgbClr val="000000"/>
                </a:solidFill>
                <a:latin typeface="Arial" panose="020B0604020202020204" pitchFamily="34" charset="0"/>
              </a:rPr>
              <a:t>with</a:t>
            </a:r>
            <a:r>
              <a:rPr lang="de-DE" sz="1200" kern="0" dirty="0">
                <a:solidFill>
                  <a:srgbClr val="000000"/>
                </a:solidFill>
                <a:latin typeface="Arial" panose="020B0604020202020204" pitchFamily="34" charset="0"/>
              </a:rPr>
              <a:t> </a:t>
            </a:r>
            <a:r>
              <a:rPr lang="de-DE" sz="1200" kern="0" dirty="0" err="1">
                <a:solidFill>
                  <a:srgbClr val="000000"/>
                </a:solidFill>
                <a:latin typeface="Arial" panose="020B0604020202020204" pitchFamily="34" charset="0"/>
              </a:rPr>
              <a:t>the</a:t>
            </a:r>
            <a:r>
              <a:rPr lang="de-DE" sz="1200" kern="0" dirty="0">
                <a:solidFill>
                  <a:srgbClr val="000000"/>
                </a:solidFill>
                <a:latin typeface="Arial" panose="020B0604020202020204" pitchFamily="34" charset="0"/>
              </a:rPr>
              <a:t> EUR Swap </a:t>
            </a:r>
            <a:r>
              <a:rPr lang="de-DE" sz="1200" kern="0" dirty="0" err="1">
                <a:solidFill>
                  <a:srgbClr val="000000"/>
                </a:solidFill>
                <a:latin typeface="Arial" panose="020B0604020202020204" pitchFamily="34" charset="0"/>
              </a:rPr>
              <a:t>Curve</a:t>
            </a:r>
            <a:endParaRPr lang="de-DE" sz="1200" kern="0" dirty="0">
              <a:solidFill>
                <a:srgbClr val="000000"/>
              </a:solidFill>
              <a:latin typeface="Arial" panose="020B0604020202020204" pitchFamily="34" charset="0"/>
            </a:endParaRPr>
          </a:p>
          <a:p>
            <a:pPr defTabSz="914400" fontAlgn="base">
              <a:spcBef>
                <a:spcPts val="360"/>
              </a:spcBef>
              <a:spcAft>
                <a:spcPts val="360"/>
              </a:spcAft>
              <a:buClr>
                <a:srgbClr val="003781"/>
              </a:buClr>
            </a:pPr>
            <a:endParaRPr lang="de-DE" sz="1200" kern="0" dirty="0">
              <a:solidFill>
                <a:srgbClr val="000000"/>
              </a:solidFill>
              <a:latin typeface="Arial" panose="020B0604020202020204" pitchFamily="34" charset="0"/>
            </a:endParaRPr>
          </a:p>
          <a:p>
            <a:pPr marL="342900" lvl="1" indent="-171450" defTabSz="914400" fontAlgn="base">
              <a:spcBef>
                <a:spcPts val="360"/>
              </a:spcBef>
              <a:spcAft>
                <a:spcPts val="360"/>
              </a:spcAft>
              <a:buClr>
                <a:srgbClr val="003781"/>
              </a:buClr>
              <a:buFont typeface="Wingdings" panose="05000000000000000000" pitchFamily="2" charset="2"/>
              <a:buChar char="§"/>
            </a:pPr>
            <a:endParaRPr lang="de-DE" sz="1200" kern="0" dirty="0">
              <a:solidFill>
                <a:srgbClr val="000000"/>
              </a:solidFill>
              <a:latin typeface="Arial" panose="020B0604020202020204" pitchFamily="34" charset="0"/>
            </a:endParaRPr>
          </a:p>
          <a:p>
            <a:pPr marL="171450" defTabSz="914400" fontAlgn="base">
              <a:spcBef>
                <a:spcPts val="360"/>
              </a:spcBef>
              <a:spcAft>
                <a:spcPts val="360"/>
              </a:spcAft>
              <a:buClr>
                <a:srgbClr val="003781"/>
              </a:buClr>
            </a:pPr>
            <a:endParaRPr lang="de-DE" sz="1200" kern="0" dirty="0">
              <a:solidFill>
                <a:srgbClr val="000000"/>
              </a:solidFill>
              <a:latin typeface="Arial" panose="020B0604020202020204" pitchFamily="34" charset="0"/>
            </a:endParaRPr>
          </a:p>
          <a:p>
            <a:pPr marL="171450" defTabSz="914400" fontAlgn="base">
              <a:spcBef>
                <a:spcPts val="360"/>
              </a:spcBef>
              <a:spcAft>
                <a:spcPts val="360"/>
              </a:spcAft>
              <a:buClr>
                <a:srgbClr val="003781"/>
              </a:buClr>
            </a:pPr>
            <a:endParaRPr lang="de-DE" sz="1200" kern="0" dirty="0">
              <a:solidFill>
                <a:srgbClr val="000000"/>
              </a:solidFill>
              <a:latin typeface="Arial" panose="020B0604020202020204" pitchFamily="34" charset="0"/>
            </a:endParaRPr>
          </a:p>
        </p:txBody>
      </p:sp>
    </p:spTree>
    <p:extLst>
      <p:ext uri="{BB962C8B-B14F-4D97-AF65-F5344CB8AC3E}">
        <p14:creationId xmlns:p14="http://schemas.microsoft.com/office/powerpoint/2010/main" val="221106811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Picture 22" descr="Chart, waterfall chart&#10;&#10;Description automatically generated">
            <a:extLst>
              <a:ext uri="{FF2B5EF4-FFF2-40B4-BE49-F238E27FC236}">
                <a16:creationId xmlns:a16="http://schemas.microsoft.com/office/drawing/2014/main" id="{6467070E-C100-4C4F-B19C-D4486FDF1E0A}"/>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3101" y="2935909"/>
            <a:ext cx="4480394" cy="1981834"/>
          </a:xfrm>
          <a:prstGeom prst="rect">
            <a:avLst/>
          </a:prstGeom>
        </p:spPr>
      </p:pic>
      <p:sp>
        <p:nvSpPr>
          <p:cNvPr id="14" name="Rectangle 13"/>
          <p:cNvSpPr>
            <a:spLocks noChangeArrowheads="1"/>
          </p:cNvSpPr>
          <p:nvPr/>
        </p:nvSpPr>
        <p:spPr bwMode="auto">
          <a:xfrm>
            <a:off x="2158522" y="1415488"/>
            <a:ext cx="8129158" cy="1652451"/>
          </a:xfrm>
          <a:prstGeom prst="rect">
            <a:avLst/>
          </a:prstGeom>
          <a:noFill/>
          <a:ln>
            <a:noFill/>
          </a:ln>
        </p:spPr>
        <p:txBody>
          <a:bodyPr wrap="square" lIns="45720" tIns="45720" rIns="45720" bIns="0" anchor="t" anchorCtr="0">
            <a:noAutofit/>
          </a:bodyPr>
          <a:lstStyle/>
          <a:p>
            <a:pPr marL="171450" indent="-171450" defTabSz="914400" fontAlgn="base">
              <a:spcBef>
                <a:spcPts val="300"/>
              </a:spcBef>
              <a:spcAft>
                <a:spcPts val="300"/>
              </a:spcAft>
              <a:buClr>
                <a:srgbClr val="003781"/>
              </a:buClr>
              <a:buFont typeface="Arial" panose="020B0604020202020204" pitchFamily="34" charset="0"/>
              <a:buChar char="−"/>
              <a:tabLst>
                <a:tab pos="179388" algn="l"/>
              </a:tabLst>
              <a:defRPr/>
            </a:pPr>
            <a:endParaRPr lang="en-US" sz="1200" kern="0" dirty="0">
              <a:solidFill>
                <a:srgbClr val="000000"/>
              </a:solidFill>
              <a:latin typeface="Arial" panose="020B0604020202020204" pitchFamily="34" charset="0"/>
            </a:endParaRPr>
          </a:p>
        </p:txBody>
      </p:sp>
      <p:sp>
        <p:nvSpPr>
          <p:cNvPr id="7" name="Titel 6"/>
          <p:cNvSpPr>
            <a:spLocks noGrp="1"/>
          </p:cNvSpPr>
          <p:nvPr>
            <p:ph type="title"/>
          </p:nvPr>
        </p:nvSpPr>
        <p:spPr/>
        <p:txBody>
          <a:bodyPr/>
          <a:lstStyle/>
          <a:p>
            <a:r>
              <a:rPr lang="en-US" dirty="0">
                <a:solidFill>
                  <a:srgbClr val="003781"/>
                </a:solidFill>
              </a:rPr>
              <a:t>Effect of Including DTRM with 80% Protection Level</a:t>
            </a:r>
          </a:p>
        </p:txBody>
      </p:sp>
      <p:sp>
        <p:nvSpPr>
          <p:cNvPr id="17" name="Text Placeholder 2">
            <a:extLst>
              <a:ext uri="{FF2B5EF4-FFF2-40B4-BE49-F238E27FC236}">
                <a16:creationId xmlns:a16="http://schemas.microsoft.com/office/drawing/2014/main" id="{000733F1-AAD3-4969-BB9A-2DB0E1C61001}"/>
              </a:ext>
            </a:extLst>
          </p:cNvPr>
          <p:cNvSpPr>
            <a:spLocks noGrp="1"/>
          </p:cNvSpPr>
          <p:nvPr>
            <p:ph type="body" sz="quarter" idx="22"/>
          </p:nvPr>
        </p:nvSpPr>
        <p:spPr>
          <a:xfrm>
            <a:off x="1467001" y="6235340"/>
            <a:ext cx="8640000" cy="373805"/>
          </a:xfrm>
        </p:spPr>
        <p:txBody>
          <a:bodyPr/>
          <a:lstStyle/>
          <a:p>
            <a:r>
              <a:rPr lang="en-US" sz="1000" dirty="0"/>
              <a:t>*Equity Shock is defined as an equity drawdown of 30% or more over the next year.</a:t>
            </a:r>
          </a:p>
          <a:p>
            <a:r>
              <a:rPr lang="en-US" dirty="0"/>
              <a:t>Source:</a:t>
            </a:r>
            <a:r>
              <a:rPr lang="de-DE" dirty="0"/>
              <a:t> </a:t>
            </a:r>
            <a:r>
              <a:rPr lang="de-DE" dirty="0" err="1"/>
              <a:t>risklab</a:t>
            </a:r>
            <a:r>
              <a:rPr lang="de-DE" dirty="0"/>
              <a:t>,</a:t>
            </a:r>
            <a:r>
              <a:rPr lang="en-US" dirty="0"/>
              <a:t> 30.06.2021. Forward-looking simulation based on 10,000 economic scenarios for a time horizon of 5 years. </a:t>
            </a:r>
            <a:r>
              <a:rPr lang="en-US" b="1" dirty="0"/>
              <a:t>The performance is hypothetical and provided for illustrative purposes only and are not indicated of actual return likely to be achieved. Hypothetical performance results have certain inherent limitations. The results do not reflect the results of investing in actual accounts or the material economic and market factors that could impact an investment manager's decision-making process. </a:t>
            </a:r>
            <a:r>
              <a:rPr lang="en-US" dirty="0"/>
              <a:t>Please refer to the disclaimer at the end of the presentation. </a:t>
            </a:r>
          </a:p>
        </p:txBody>
      </p:sp>
      <p:grpSp>
        <p:nvGrpSpPr>
          <p:cNvPr id="3" name="Group 2">
            <a:extLst>
              <a:ext uri="{FF2B5EF4-FFF2-40B4-BE49-F238E27FC236}">
                <a16:creationId xmlns:a16="http://schemas.microsoft.com/office/drawing/2014/main" id="{11ED368D-134F-4C0B-B313-C2BEA9F720A1}"/>
              </a:ext>
            </a:extLst>
          </p:cNvPr>
          <p:cNvGrpSpPr/>
          <p:nvPr/>
        </p:nvGrpSpPr>
        <p:grpSpPr>
          <a:xfrm>
            <a:off x="1623767" y="2594504"/>
            <a:ext cx="9071567" cy="1657565"/>
            <a:chOff x="480766" y="2098114"/>
            <a:chExt cx="9071567" cy="1657565"/>
          </a:xfrm>
        </p:grpSpPr>
        <p:grpSp>
          <p:nvGrpSpPr>
            <p:cNvPr id="15" name="Group 14">
              <a:extLst>
                <a:ext uri="{FF2B5EF4-FFF2-40B4-BE49-F238E27FC236}">
                  <a16:creationId xmlns:a16="http://schemas.microsoft.com/office/drawing/2014/main" id="{2F1946F5-0C1F-42CF-9819-EF77F2E8A7E3}"/>
                </a:ext>
              </a:extLst>
            </p:cNvPr>
            <p:cNvGrpSpPr/>
            <p:nvPr/>
          </p:nvGrpSpPr>
          <p:grpSpPr>
            <a:xfrm>
              <a:off x="480766" y="2098114"/>
              <a:ext cx="9071567" cy="339970"/>
              <a:chOff x="480766" y="2845910"/>
              <a:chExt cx="9071567" cy="339970"/>
            </a:xfrm>
          </p:grpSpPr>
          <p:sp>
            <p:nvSpPr>
              <p:cNvPr id="34" name="Rectangle 33"/>
              <p:cNvSpPr/>
              <p:nvPr/>
            </p:nvSpPr>
            <p:spPr bwMode="auto">
              <a:xfrm>
                <a:off x="480766" y="2845910"/>
                <a:ext cx="4472233" cy="339970"/>
              </a:xfrm>
              <a:prstGeom prst="rect">
                <a:avLst/>
              </a:prstGeom>
              <a:solidFill>
                <a:schemeClr val="tx2"/>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base">
                  <a:lnSpc>
                    <a:spcPct val="110000"/>
                  </a:lnSpc>
                  <a:spcBef>
                    <a:spcPct val="50000"/>
                  </a:spcBef>
                  <a:spcAft>
                    <a:spcPct val="25000"/>
                  </a:spcAft>
                  <a:buClr>
                    <a:srgbClr val="003781"/>
                  </a:buClr>
                  <a:tabLst>
                    <a:tab pos="179388" algn="l"/>
                  </a:tabLst>
                </a:pPr>
                <a:r>
                  <a:rPr lang="en-US" sz="1200" b="1" kern="0" dirty="0">
                    <a:solidFill>
                      <a:srgbClr val="FFFFFF"/>
                    </a:solidFill>
                    <a:latin typeface="Arial" panose="020B0604020202020204" pitchFamily="34" charset="0"/>
                  </a:rPr>
                  <a:t>Coverage Ratio – SAA</a:t>
                </a:r>
              </a:p>
            </p:txBody>
          </p:sp>
          <p:sp>
            <p:nvSpPr>
              <p:cNvPr id="20" name="Rectangle 19"/>
              <p:cNvSpPr/>
              <p:nvPr/>
            </p:nvSpPr>
            <p:spPr bwMode="auto">
              <a:xfrm>
                <a:off x="5080101" y="2845910"/>
                <a:ext cx="4472232" cy="339969"/>
              </a:xfrm>
              <a:prstGeom prst="rect">
                <a:avLst/>
              </a:prstGeom>
              <a:solidFill>
                <a:schemeClr val="tx2"/>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base">
                  <a:lnSpc>
                    <a:spcPct val="110000"/>
                  </a:lnSpc>
                  <a:spcBef>
                    <a:spcPct val="50000"/>
                  </a:spcBef>
                  <a:spcAft>
                    <a:spcPct val="25000"/>
                  </a:spcAft>
                  <a:buClr>
                    <a:srgbClr val="003781"/>
                  </a:buClr>
                  <a:tabLst>
                    <a:tab pos="179388" algn="l"/>
                  </a:tabLst>
                </a:pPr>
                <a:r>
                  <a:rPr lang="en-US" sz="1200" b="1" kern="0" dirty="0">
                    <a:solidFill>
                      <a:srgbClr val="FFFFFF"/>
                    </a:solidFill>
                    <a:latin typeface="Arial" panose="020B0604020202020204" pitchFamily="34" charset="0"/>
                  </a:rPr>
                  <a:t>Coverage Ratio – with DTRM</a:t>
                </a:r>
              </a:p>
            </p:txBody>
          </p:sp>
        </p:grpSp>
        <p:sp>
          <p:nvSpPr>
            <p:cNvPr id="16" name="Rectangle 15">
              <a:extLst>
                <a:ext uri="{FF2B5EF4-FFF2-40B4-BE49-F238E27FC236}">
                  <a16:creationId xmlns:a16="http://schemas.microsoft.com/office/drawing/2014/main" id="{8924EAC0-182A-4D32-AF4F-9F2301F6E17C}"/>
                </a:ext>
              </a:extLst>
            </p:cNvPr>
            <p:cNvSpPr/>
            <p:nvPr/>
          </p:nvSpPr>
          <p:spPr bwMode="auto">
            <a:xfrm>
              <a:off x="1339913" y="3603279"/>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
          <p:nvSpPr>
            <p:cNvPr id="19" name="Rectangle 18">
              <a:extLst>
                <a:ext uri="{FF2B5EF4-FFF2-40B4-BE49-F238E27FC236}">
                  <a16:creationId xmlns:a16="http://schemas.microsoft.com/office/drawing/2014/main" id="{4C1A1126-B828-4B08-B68C-51DB361F5EA0}"/>
                </a:ext>
              </a:extLst>
            </p:cNvPr>
            <p:cNvSpPr/>
            <p:nvPr/>
          </p:nvSpPr>
          <p:spPr bwMode="auto">
            <a:xfrm>
              <a:off x="5917570" y="3603387"/>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grpSp>
      <p:sp>
        <p:nvSpPr>
          <p:cNvPr id="21" name="Rectangle 20">
            <a:extLst>
              <a:ext uri="{FF2B5EF4-FFF2-40B4-BE49-F238E27FC236}">
                <a16:creationId xmlns:a16="http://schemas.microsoft.com/office/drawing/2014/main" id="{23FCCAAF-0172-4F06-B4A1-2487C9AC8C54}"/>
              </a:ext>
            </a:extLst>
          </p:cNvPr>
          <p:cNvSpPr/>
          <p:nvPr/>
        </p:nvSpPr>
        <p:spPr bwMode="auto">
          <a:xfrm>
            <a:off x="2401432" y="4099668"/>
            <a:ext cx="470780"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
        <p:nvSpPr>
          <p:cNvPr id="22" name="Oval 21">
            <a:extLst>
              <a:ext uri="{FF2B5EF4-FFF2-40B4-BE49-F238E27FC236}">
                <a16:creationId xmlns:a16="http://schemas.microsoft.com/office/drawing/2014/main" id="{AE8F87CE-494C-4BA4-90A0-95B0CADAF335}"/>
              </a:ext>
            </a:extLst>
          </p:cNvPr>
          <p:cNvSpPr/>
          <p:nvPr/>
        </p:nvSpPr>
        <p:spPr bwMode="auto">
          <a:xfrm>
            <a:off x="9971736" y="4024723"/>
            <a:ext cx="470780" cy="270889"/>
          </a:xfrm>
          <a:prstGeom prst="ellipse">
            <a:avLst/>
          </a:prstGeom>
          <a:noFill/>
          <a:ln w="1270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FFFFFF"/>
              </a:solidFill>
              <a:latin typeface="Arial" charset="0"/>
            </a:endParaRPr>
          </a:p>
        </p:txBody>
      </p:sp>
      <p:sp>
        <p:nvSpPr>
          <p:cNvPr id="26" name="TextBox 25">
            <a:extLst>
              <a:ext uri="{FF2B5EF4-FFF2-40B4-BE49-F238E27FC236}">
                <a16:creationId xmlns:a16="http://schemas.microsoft.com/office/drawing/2014/main" id="{6802C280-0CFC-4FB0-A2E5-AE96036A7E7A}"/>
              </a:ext>
            </a:extLst>
          </p:cNvPr>
          <p:cNvSpPr txBox="1"/>
          <p:nvPr/>
        </p:nvSpPr>
        <p:spPr>
          <a:xfrm>
            <a:off x="1467000" y="1525548"/>
            <a:ext cx="9228333" cy="184666"/>
          </a:xfrm>
          <a:prstGeom prst="rect">
            <a:avLst/>
          </a:prstGeom>
          <a:noFill/>
        </p:spPr>
        <p:txBody>
          <a:bodyPr wrap="square" lIns="0" tIns="0" rIns="0" bIns="0" rtlCol="0">
            <a:spAutoFit/>
          </a:bodyPr>
          <a:lstStyle/>
          <a:p>
            <a:pPr defTabSz="914400" fontAlgn="base">
              <a:spcBef>
                <a:spcPts val="360"/>
              </a:spcBef>
              <a:spcAft>
                <a:spcPts val="360"/>
              </a:spcAft>
              <a:buClr>
                <a:srgbClr val="003781"/>
              </a:buClr>
            </a:pPr>
            <a:r>
              <a:rPr lang="en-US" sz="1200" b="1" kern="0" dirty="0">
                <a:solidFill>
                  <a:srgbClr val="000000"/>
                </a:solidFill>
                <a:latin typeface="Arial" panose="020B0604020202020204" pitchFamily="34" charset="0"/>
              </a:rPr>
              <a:t>DTRM provides a strong downside risk protection</a:t>
            </a:r>
          </a:p>
        </p:txBody>
      </p:sp>
      <p:pic>
        <p:nvPicPr>
          <p:cNvPr id="18" name="Picture 17" descr="Chart&#10;&#10;Description automatically generated">
            <a:extLst>
              <a:ext uri="{FF2B5EF4-FFF2-40B4-BE49-F238E27FC236}">
                <a16:creationId xmlns:a16="http://schemas.microsoft.com/office/drawing/2014/main" id="{7E2D988A-D7D0-4A0A-8040-6C00FE6DE1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3767" y="2934473"/>
            <a:ext cx="4462426" cy="1986086"/>
          </a:xfrm>
          <a:prstGeom prst="rect">
            <a:avLst/>
          </a:prstGeom>
        </p:spPr>
      </p:pic>
      <p:sp>
        <p:nvSpPr>
          <p:cNvPr id="25" name="Oval 24">
            <a:extLst>
              <a:ext uri="{FF2B5EF4-FFF2-40B4-BE49-F238E27FC236}">
                <a16:creationId xmlns:a16="http://schemas.microsoft.com/office/drawing/2014/main" id="{4EB24CB3-A1E1-46A5-BDF0-3416FE29FDBF}"/>
              </a:ext>
            </a:extLst>
          </p:cNvPr>
          <p:cNvSpPr/>
          <p:nvPr/>
        </p:nvSpPr>
        <p:spPr bwMode="auto">
          <a:xfrm>
            <a:off x="5316221" y="4111830"/>
            <a:ext cx="470780" cy="270889"/>
          </a:xfrm>
          <a:prstGeom prst="ellipse">
            <a:avLst/>
          </a:prstGeom>
          <a:noFill/>
          <a:ln w="1270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FFFFFF"/>
              </a:solidFill>
              <a:latin typeface="Arial" charset="0"/>
            </a:endParaRPr>
          </a:p>
        </p:txBody>
      </p:sp>
      <p:sp>
        <p:nvSpPr>
          <p:cNvPr id="27" name="Rectangle 26">
            <a:extLst>
              <a:ext uri="{FF2B5EF4-FFF2-40B4-BE49-F238E27FC236}">
                <a16:creationId xmlns:a16="http://schemas.microsoft.com/office/drawing/2014/main" id="{6C672AAD-4D70-4CA1-9B49-637AE009188E}"/>
              </a:ext>
            </a:extLst>
          </p:cNvPr>
          <p:cNvSpPr/>
          <p:nvPr/>
        </p:nvSpPr>
        <p:spPr bwMode="auto">
          <a:xfrm>
            <a:off x="2442173" y="4099668"/>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Tree>
    <p:extLst>
      <p:ext uri="{BB962C8B-B14F-4D97-AF65-F5344CB8AC3E}">
        <p14:creationId xmlns:p14="http://schemas.microsoft.com/office/powerpoint/2010/main" val="200358099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descr="Chart, waterfall chart&#10;&#10;Description automatically generated">
            <a:extLst>
              <a:ext uri="{FF2B5EF4-FFF2-40B4-BE49-F238E27FC236}">
                <a16:creationId xmlns:a16="http://schemas.microsoft.com/office/drawing/2014/main" id="{EDAD7DF0-7BDC-475C-AFDB-0F303851C3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23102" y="2930486"/>
            <a:ext cx="4489995" cy="1986086"/>
          </a:xfrm>
          <a:prstGeom prst="rect">
            <a:avLst/>
          </a:prstGeom>
        </p:spPr>
      </p:pic>
      <p:sp>
        <p:nvSpPr>
          <p:cNvPr id="14" name="Rectangle 13"/>
          <p:cNvSpPr>
            <a:spLocks noChangeArrowheads="1"/>
          </p:cNvSpPr>
          <p:nvPr/>
        </p:nvSpPr>
        <p:spPr bwMode="auto">
          <a:xfrm>
            <a:off x="2158522" y="1415488"/>
            <a:ext cx="8129158" cy="1652451"/>
          </a:xfrm>
          <a:prstGeom prst="rect">
            <a:avLst/>
          </a:prstGeom>
          <a:noFill/>
          <a:ln>
            <a:noFill/>
          </a:ln>
        </p:spPr>
        <p:txBody>
          <a:bodyPr wrap="square" lIns="45720" tIns="45720" rIns="45720" bIns="0" anchor="t" anchorCtr="0">
            <a:noAutofit/>
          </a:bodyPr>
          <a:lstStyle/>
          <a:p>
            <a:pPr marL="171450" indent="-171450" defTabSz="914400" fontAlgn="base">
              <a:spcBef>
                <a:spcPts val="300"/>
              </a:spcBef>
              <a:spcAft>
                <a:spcPts val="300"/>
              </a:spcAft>
              <a:buClr>
                <a:srgbClr val="003781"/>
              </a:buClr>
              <a:buFont typeface="Arial" panose="020B0604020202020204" pitchFamily="34" charset="0"/>
              <a:buChar char="−"/>
              <a:tabLst>
                <a:tab pos="179388" algn="l"/>
              </a:tabLst>
              <a:defRPr/>
            </a:pPr>
            <a:endParaRPr lang="en-US" sz="1200" kern="0" dirty="0">
              <a:solidFill>
                <a:srgbClr val="000000"/>
              </a:solidFill>
              <a:latin typeface="Arial" panose="020B0604020202020204" pitchFamily="34" charset="0"/>
            </a:endParaRPr>
          </a:p>
        </p:txBody>
      </p:sp>
      <p:sp>
        <p:nvSpPr>
          <p:cNvPr id="7" name="Titel 6"/>
          <p:cNvSpPr>
            <a:spLocks noGrp="1"/>
          </p:cNvSpPr>
          <p:nvPr>
            <p:ph type="title"/>
          </p:nvPr>
        </p:nvSpPr>
        <p:spPr/>
        <p:txBody>
          <a:bodyPr/>
          <a:lstStyle/>
          <a:p>
            <a:r>
              <a:rPr lang="en-US" dirty="0">
                <a:solidFill>
                  <a:srgbClr val="003781"/>
                </a:solidFill>
              </a:rPr>
              <a:t>Effect of Including DTRM with PE</a:t>
            </a:r>
            <a:br>
              <a:rPr lang="en-US" dirty="0">
                <a:solidFill>
                  <a:srgbClr val="003781"/>
                </a:solidFill>
              </a:rPr>
            </a:br>
            <a:r>
              <a:rPr lang="en-US" dirty="0">
                <a:solidFill>
                  <a:srgbClr val="003781"/>
                </a:solidFill>
              </a:rPr>
              <a:t>Utilization of the Freed-Up VEV</a:t>
            </a:r>
          </a:p>
        </p:txBody>
      </p:sp>
      <p:sp>
        <p:nvSpPr>
          <p:cNvPr id="17" name="Text Placeholder 2">
            <a:extLst>
              <a:ext uri="{FF2B5EF4-FFF2-40B4-BE49-F238E27FC236}">
                <a16:creationId xmlns:a16="http://schemas.microsoft.com/office/drawing/2014/main" id="{000733F1-AAD3-4969-BB9A-2DB0E1C61001}"/>
              </a:ext>
            </a:extLst>
          </p:cNvPr>
          <p:cNvSpPr>
            <a:spLocks noGrp="1"/>
          </p:cNvSpPr>
          <p:nvPr>
            <p:ph type="body" sz="quarter" idx="22"/>
          </p:nvPr>
        </p:nvSpPr>
        <p:spPr>
          <a:xfrm>
            <a:off x="1467001" y="6235340"/>
            <a:ext cx="8640000" cy="373805"/>
          </a:xfrm>
        </p:spPr>
        <p:txBody>
          <a:bodyPr/>
          <a:lstStyle/>
          <a:p>
            <a:r>
              <a:rPr lang="en-US" sz="1000" dirty="0"/>
              <a:t>*Equity Shock is defined as an equity drawdown of 30% or more over the next year.</a:t>
            </a:r>
          </a:p>
          <a:p>
            <a:r>
              <a:rPr lang="en-US" sz="1000" dirty="0">
                <a:solidFill>
                  <a:srgbClr val="000000"/>
                </a:solidFill>
                <a:latin typeface="+mn-lt"/>
              </a:rPr>
              <a:t>**Private Equity model is a mark-to-market model and does not include the smoothing effects.</a:t>
            </a:r>
            <a:endParaRPr lang="en-US" sz="1000" dirty="0">
              <a:latin typeface="+mn-lt"/>
            </a:endParaRPr>
          </a:p>
          <a:p>
            <a:r>
              <a:rPr lang="en-US" dirty="0"/>
              <a:t>Source:</a:t>
            </a:r>
            <a:r>
              <a:rPr lang="de-DE" dirty="0"/>
              <a:t> </a:t>
            </a:r>
            <a:r>
              <a:rPr lang="de-DE" dirty="0" err="1"/>
              <a:t>risklab</a:t>
            </a:r>
            <a:r>
              <a:rPr lang="de-DE" dirty="0"/>
              <a:t>,</a:t>
            </a:r>
            <a:r>
              <a:rPr lang="en-US" dirty="0"/>
              <a:t> 30.06.2021. Forward-looking simulation based on 10,000 economic scenarios for a time horizon of 5 years. </a:t>
            </a:r>
            <a:r>
              <a:rPr lang="en-US" b="1" dirty="0"/>
              <a:t>The performance is hypothetical and provided for illustrative purposes only and are not indicated of actual return likely to be achieved. Hypothetical performance results have certain inherent limitations. The results do not reflect the results of investing in actual accounts or the material economic and market factors that could impact an investment manager's decision-making process. </a:t>
            </a:r>
            <a:r>
              <a:rPr lang="en-US" dirty="0"/>
              <a:t>Please refer to the disclaimer at the end of the presentation. </a:t>
            </a:r>
          </a:p>
        </p:txBody>
      </p:sp>
      <p:grpSp>
        <p:nvGrpSpPr>
          <p:cNvPr id="3" name="Group 2">
            <a:extLst>
              <a:ext uri="{FF2B5EF4-FFF2-40B4-BE49-F238E27FC236}">
                <a16:creationId xmlns:a16="http://schemas.microsoft.com/office/drawing/2014/main" id="{11ED368D-134F-4C0B-B313-C2BEA9F720A1}"/>
              </a:ext>
            </a:extLst>
          </p:cNvPr>
          <p:cNvGrpSpPr/>
          <p:nvPr/>
        </p:nvGrpSpPr>
        <p:grpSpPr>
          <a:xfrm>
            <a:off x="1623767" y="2594504"/>
            <a:ext cx="9071567" cy="1657565"/>
            <a:chOff x="480766" y="2098114"/>
            <a:chExt cx="9071567" cy="1657565"/>
          </a:xfrm>
        </p:grpSpPr>
        <p:grpSp>
          <p:nvGrpSpPr>
            <p:cNvPr id="15" name="Group 14">
              <a:extLst>
                <a:ext uri="{FF2B5EF4-FFF2-40B4-BE49-F238E27FC236}">
                  <a16:creationId xmlns:a16="http://schemas.microsoft.com/office/drawing/2014/main" id="{2F1946F5-0C1F-42CF-9819-EF77F2E8A7E3}"/>
                </a:ext>
              </a:extLst>
            </p:cNvPr>
            <p:cNvGrpSpPr/>
            <p:nvPr/>
          </p:nvGrpSpPr>
          <p:grpSpPr>
            <a:xfrm>
              <a:off x="480766" y="2098114"/>
              <a:ext cx="9071567" cy="339970"/>
              <a:chOff x="480766" y="2845910"/>
              <a:chExt cx="9071567" cy="339970"/>
            </a:xfrm>
          </p:grpSpPr>
          <p:sp>
            <p:nvSpPr>
              <p:cNvPr id="34" name="Rectangle 33"/>
              <p:cNvSpPr/>
              <p:nvPr/>
            </p:nvSpPr>
            <p:spPr bwMode="auto">
              <a:xfrm>
                <a:off x="480766" y="2845910"/>
                <a:ext cx="4472233" cy="339970"/>
              </a:xfrm>
              <a:prstGeom prst="rect">
                <a:avLst/>
              </a:prstGeom>
              <a:solidFill>
                <a:schemeClr val="tx2"/>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base">
                  <a:lnSpc>
                    <a:spcPct val="110000"/>
                  </a:lnSpc>
                  <a:spcBef>
                    <a:spcPct val="50000"/>
                  </a:spcBef>
                  <a:spcAft>
                    <a:spcPct val="25000"/>
                  </a:spcAft>
                  <a:buClr>
                    <a:srgbClr val="003781"/>
                  </a:buClr>
                  <a:tabLst>
                    <a:tab pos="179388" algn="l"/>
                  </a:tabLst>
                </a:pPr>
                <a:r>
                  <a:rPr lang="en-US" sz="1200" b="1" kern="0" dirty="0">
                    <a:solidFill>
                      <a:srgbClr val="FFFFFF"/>
                    </a:solidFill>
                    <a:latin typeface="Arial" panose="020B0604020202020204" pitchFamily="34" charset="0"/>
                  </a:rPr>
                  <a:t>Coverage Ratio – SAA</a:t>
                </a:r>
              </a:p>
            </p:txBody>
          </p:sp>
          <p:sp>
            <p:nvSpPr>
              <p:cNvPr id="20" name="Rectangle 19"/>
              <p:cNvSpPr/>
              <p:nvPr/>
            </p:nvSpPr>
            <p:spPr bwMode="auto">
              <a:xfrm>
                <a:off x="5080101" y="2845910"/>
                <a:ext cx="4472232" cy="339969"/>
              </a:xfrm>
              <a:prstGeom prst="rect">
                <a:avLst/>
              </a:prstGeom>
              <a:solidFill>
                <a:schemeClr val="tx2"/>
              </a:solidFill>
              <a:ln w="63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base">
                  <a:lnSpc>
                    <a:spcPct val="110000"/>
                  </a:lnSpc>
                  <a:spcBef>
                    <a:spcPct val="50000"/>
                  </a:spcBef>
                  <a:spcAft>
                    <a:spcPct val="25000"/>
                  </a:spcAft>
                  <a:buClr>
                    <a:srgbClr val="003781"/>
                  </a:buClr>
                  <a:tabLst>
                    <a:tab pos="179388" algn="l"/>
                  </a:tabLst>
                </a:pPr>
                <a:r>
                  <a:rPr lang="en-US" sz="1200" b="1" kern="0" dirty="0">
                    <a:solidFill>
                      <a:srgbClr val="FFFFFF"/>
                    </a:solidFill>
                    <a:latin typeface="Arial" panose="020B0604020202020204" pitchFamily="34" charset="0"/>
                  </a:rPr>
                  <a:t>Coverage Ratio – with DTRM and Private Equity</a:t>
                </a:r>
              </a:p>
            </p:txBody>
          </p:sp>
        </p:grpSp>
        <p:sp>
          <p:nvSpPr>
            <p:cNvPr id="16" name="Rectangle 15">
              <a:extLst>
                <a:ext uri="{FF2B5EF4-FFF2-40B4-BE49-F238E27FC236}">
                  <a16:creationId xmlns:a16="http://schemas.microsoft.com/office/drawing/2014/main" id="{8924EAC0-182A-4D32-AF4F-9F2301F6E17C}"/>
                </a:ext>
              </a:extLst>
            </p:cNvPr>
            <p:cNvSpPr/>
            <p:nvPr/>
          </p:nvSpPr>
          <p:spPr bwMode="auto">
            <a:xfrm>
              <a:off x="1339913" y="3603279"/>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
          <p:nvSpPr>
            <p:cNvPr id="19" name="Rectangle 18">
              <a:extLst>
                <a:ext uri="{FF2B5EF4-FFF2-40B4-BE49-F238E27FC236}">
                  <a16:creationId xmlns:a16="http://schemas.microsoft.com/office/drawing/2014/main" id="{4C1A1126-B828-4B08-B68C-51DB361F5EA0}"/>
                </a:ext>
              </a:extLst>
            </p:cNvPr>
            <p:cNvSpPr/>
            <p:nvPr/>
          </p:nvSpPr>
          <p:spPr bwMode="auto">
            <a:xfrm>
              <a:off x="5917570" y="3603387"/>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grpSp>
      <p:sp>
        <p:nvSpPr>
          <p:cNvPr id="21" name="Rectangle 20">
            <a:extLst>
              <a:ext uri="{FF2B5EF4-FFF2-40B4-BE49-F238E27FC236}">
                <a16:creationId xmlns:a16="http://schemas.microsoft.com/office/drawing/2014/main" id="{23FCCAAF-0172-4F06-B4A1-2487C9AC8C54}"/>
              </a:ext>
            </a:extLst>
          </p:cNvPr>
          <p:cNvSpPr/>
          <p:nvPr/>
        </p:nvSpPr>
        <p:spPr bwMode="auto">
          <a:xfrm>
            <a:off x="2401432" y="4099668"/>
            <a:ext cx="470780"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
        <p:nvSpPr>
          <p:cNvPr id="22" name="Oval 21">
            <a:extLst>
              <a:ext uri="{FF2B5EF4-FFF2-40B4-BE49-F238E27FC236}">
                <a16:creationId xmlns:a16="http://schemas.microsoft.com/office/drawing/2014/main" id="{AE8F87CE-494C-4BA4-90A0-95B0CADAF335}"/>
              </a:ext>
            </a:extLst>
          </p:cNvPr>
          <p:cNvSpPr/>
          <p:nvPr/>
        </p:nvSpPr>
        <p:spPr bwMode="auto">
          <a:xfrm>
            <a:off x="9980790" y="3721366"/>
            <a:ext cx="470780" cy="270889"/>
          </a:xfrm>
          <a:prstGeom prst="ellipse">
            <a:avLst/>
          </a:prstGeom>
          <a:noFill/>
          <a:ln w="1270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FFFFFF"/>
              </a:solidFill>
              <a:latin typeface="Arial" charset="0"/>
            </a:endParaRPr>
          </a:p>
        </p:txBody>
      </p:sp>
      <p:sp>
        <p:nvSpPr>
          <p:cNvPr id="26" name="TextBox 25">
            <a:extLst>
              <a:ext uri="{FF2B5EF4-FFF2-40B4-BE49-F238E27FC236}">
                <a16:creationId xmlns:a16="http://schemas.microsoft.com/office/drawing/2014/main" id="{6802C280-0CFC-4FB0-A2E5-AE96036A7E7A}"/>
              </a:ext>
            </a:extLst>
          </p:cNvPr>
          <p:cNvSpPr txBox="1"/>
          <p:nvPr/>
        </p:nvSpPr>
        <p:spPr>
          <a:xfrm>
            <a:off x="1467000" y="1525548"/>
            <a:ext cx="9228333" cy="184666"/>
          </a:xfrm>
          <a:prstGeom prst="rect">
            <a:avLst/>
          </a:prstGeom>
          <a:noFill/>
        </p:spPr>
        <p:txBody>
          <a:bodyPr wrap="square" lIns="0" tIns="0" rIns="0" bIns="0" rtlCol="0">
            <a:spAutoFit/>
          </a:bodyPr>
          <a:lstStyle/>
          <a:p>
            <a:pPr defTabSz="914400" fontAlgn="base">
              <a:spcBef>
                <a:spcPts val="360"/>
              </a:spcBef>
              <a:spcAft>
                <a:spcPts val="360"/>
              </a:spcAft>
              <a:buClr>
                <a:srgbClr val="003781"/>
              </a:buClr>
            </a:pPr>
            <a:r>
              <a:rPr lang="en-US" sz="1200" b="1" kern="0" dirty="0">
                <a:solidFill>
                  <a:srgbClr val="000000"/>
                </a:solidFill>
                <a:latin typeface="Arial" panose="020B0604020202020204" pitchFamily="34" charset="0"/>
              </a:rPr>
              <a:t>Utilizing the freed up VEV budget to allocate to Private Equity leads to higher portfolio efficiency</a:t>
            </a:r>
          </a:p>
        </p:txBody>
      </p:sp>
      <p:pic>
        <p:nvPicPr>
          <p:cNvPr id="18" name="Picture 17" descr="Chart&#10;&#10;Description automatically generated">
            <a:extLst>
              <a:ext uri="{FF2B5EF4-FFF2-40B4-BE49-F238E27FC236}">
                <a16:creationId xmlns:a16="http://schemas.microsoft.com/office/drawing/2014/main" id="{7E2D988A-D7D0-4A0A-8040-6C00FE6DE1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23767" y="2934473"/>
            <a:ext cx="4462426" cy="1986086"/>
          </a:xfrm>
          <a:prstGeom prst="rect">
            <a:avLst/>
          </a:prstGeom>
        </p:spPr>
      </p:pic>
      <p:sp>
        <p:nvSpPr>
          <p:cNvPr id="25" name="Oval 24">
            <a:extLst>
              <a:ext uri="{FF2B5EF4-FFF2-40B4-BE49-F238E27FC236}">
                <a16:creationId xmlns:a16="http://schemas.microsoft.com/office/drawing/2014/main" id="{4EB24CB3-A1E1-46A5-BDF0-3416FE29FDBF}"/>
              </a:ext>
            </a:extLst>
          </p:cNvPr>
          <p:cNvSpPr/>
          <p:nvPr/>
        </p:nvSpPr>
        <p:spPr bwMode="auto">
          <a:xfrm>
            <a:off x="5316221" y="4111830"/>
            <a:ext cx="470780" cy="270889"/>
          </a:xfrm>
          <a:prstGeom prst="ellipse">
            <a:avLst/>
          </a:prstGeom>
          <a:noFill/>
          <a:ln w="12700" cap="flat" cmpd="sng" algn="ctr">
            <a:solidFill>
              <a:srgbClr val="DD0031"/>
            </a:solid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de-DE" sz="1200" kern="0" dirty="0" err="1">
              <a:solidFill>
                <a:srgbClr val="FFFFFF"/>
              </a:solidFill>
              <a:latin typeface="Arial" charset="0"/>
            </a:endParaRPr>
          </a:p>
        </p:txBody>
      </p:sp>
      <p:sp>
        <p:nvSpPr>
          <p:cNvPr id="28" name="Rectangle 27">
            <a:extLst>
              <a:ext uri="{FF2B5EF4-FFF2-40B4-BE49-F238E27FC236}">
                <a16:creationId xmlns:a16="http://schemas.microsoft.com/office/drawing/2014/main" id="{75F63A6A-A5A0-4A4E-A2E5-CD7AE605CFE2}"/>
              </a:ext>
            </a:extLst>
          </p:cNvPr>
          <p:cNvSpPr/>
          <p:nvPr/>
        </p:nvSpPr>
        <p:spPr bwMode="auto">
          <a:xfrm>
            <a:off x="2442173" y="4099668"/>
            <a:ext cx="389299" cy="152292"/>
          </a:xfrm>
          <a:prstGeom prst="rect">
            <a:avLst/>
          </a:prstGeom>
          <a:solidFill>
            <a:schemeClr val="bg1"/>
          </a:solidFill>
          <a:ln w="6350" cap="flat" cmpd="sng" algn="ctr">
            <a:noFill/>
            <a:prstDash val="solid"/>
            <a:round/>
            <a:headEnd type="none" w="med" len="med"/>
            <a:tailEnd type="none" w="med" len="med"/>
          </a:ln>
          <a:effectLst/>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914400" fontAlgn="base">
              <a:spcBef>
                <a:spcPts val="360"/>
              </a:spcBef>
              <a:spcAft>
                <a:spcPct val="25000"/>
              </a:spcAft>
              <a:buClr>
                <a:srgbClr val="003781"/>
              </a:buClr>
            </a:pPr>
            <a:endParaRPr lang="en-US" sz="1200" kern="0" dirty="0" err="1">
              <a:solidFill>
                <a:srgbClr val="FFFFFF"/>
              </a:solidFill>
              <a:latin typeface="Arial" charset="0"/>
            </a:endParaRPr>
          </a:p>
        </p:txBody>
      </p:sp>
    </p:spTree>
    <p:extLst>
      <p:ext uri="{BB962C8B-B14F-4D97-AF65-F5344CB8AC3E}">
        <p14:creationId xmlns:p14="http://schemas.microsoft.com/office/powerpoint/2010/main" val="26146746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descr="Chart&#10;&#10;Description automatically generated">
            <a:extLst>
              <a:ext uri="{FF2B5EF4-FFF2-40B4-BE49-F238E27FC236}">
                <a16:creationId xmlns:a16="http://schemas.microsoft.com/office/drawing/2014/main" id="{ADFF9AF7-3772-4D94-BB3B-2E0886B2EA8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0904" y="1983430"/>
            <a:ext cx="7010400" cy="2523744"/>
          </a:xfrm>
          <a:prstGeom prst="rect">
            <a:avLst/>
          </a:prstGeom>
        </p:spPr>
      </p:pic>
      <p:sp>
        <p:nvSpPr>
          <p:cNvPr id="12" name="Content Placeholder 2"/>
          <p:cNvSpPr>
            <a:spLocks noGrp="1"/>
          </p:cNvSpPr>
          <p:nvPr>
            <p:ph sz="quarter" idx="21"/>
          </p:nvPr>
        </p:nvSpPr>
        <p:spPr>
          <a:xfrm>
            <a:off x="1825752" y="1390530"/>
            <a:ext cx="8392886" cy="868846"/>
          </a:xfrm>
        </p:spPr>
        <p:txBody>
          <a:bodyPr/>
          <a:lstStyle/>
          <a:p>
            <a:pPr marL="0" indent="0">
              <a:buNone/>
              <a:defRPr/>
            </a:pPr>
            <a:endParaRPr lang="en-GB" sz="1100" dirty="0"/>
          </a:p>
          <a:p>
            <a:pPr>
              <a:defRPr/>
            </a:pPr>
            <a:endParaRPr lang="en-US" sz="1100" dirty="0"/>
          </a:p>
          <a:p>
            <a:pPr marL="184150" lvl="1" indent="0">
              <a:buNone/>
              <a:defRPr/>
            </a:pPr>
            <a:endParaRPr lang="en-GB" sz="1100" dirty="0"/>
          </a:p>
          <a:p>
            <a:pPr lvl="1">
              <a:defRPr/>
            </a:pPr>
            <a:endParaRPr lang="en-GB" sz="1100" dirty="0"/>
          </a:p>
          <a:p>
            <a:endParaRPr lang="en-US" dirty="0"/>
          </a:p>
        </p:txBody>
      </p:sp>
      <p:sp>
        <p:nvSpPr>
          <p:cNvPr id="7" name="Titel 6"/>
          <p:cNvSpPr>
            <a:spLocks noGrp="1"/>
          </p:cNvSpPr>
          <p:nvPr>
            <p:ph type="title"/>
          </p:nvPr>
        </p:nvSpPr>
        <p:spPr>
          <a:xfrm>
            <a:off x="1517212" y="660011"/>
            <a:ext cx="6370621" cy="607190"/>
          </a:xfrm>
        </p:spPr>
        <p:txBody>
          <a:bodyPr/>
          <a:lstStyle/>
          <a:p>
            <a:r>
              <a:rPr lang="en-US" dirty="0">
                <a:solidFill>
                  <a:srgbClr val="003781"/>
                </a:solidFill>
              </a:rPr>
              <a:t>Summary Simulation: Projected Coverage Ratio in 2025</a:t>
            </a:r>
            <a:br>
              <a:rPr lang="en-US" dirty="0">
                <a:solidFill>
                  <a:srgbClr val="003781"/>
                </a:solidFill>
              </a:rPr>
            </a:br>
            <a:endParaRPr lang="en-US" dirty="0">
              <a:solidFill>
                <a:srgbClr val="003781"/>
              </a:solidFill>
            </a:endParaRPr>
          </a:p>
        </p:txBody>
      </p:sp>
      <p:sp>
        <p:nvSpPr>
          <p:cNvPr id="34" name="Rectangle 33"/>
          <p:cNvSpPr/>
          <p:nvPr/>
        </p:nvSpPr>
        <p:spPr bwMode="auto">
          <a:xfrm>
            <a:off x="1441764" y="1463320"/>
            <a:ext cx="9288856" cy="429818"/>
          </a:xfrm>
          <a:prstGeom prst="rect">
            <a:avLst/>
          </a:prstGeom>
          <a:solidFill>
            <a:schemeClr val="tx2"/>
          </a:solidFill>
          <a:ln w="6350" cap="flat" cmpd="sng" algn="ctr">
            <a:solidFill>
              <a:srgbClr val="326295"/>
            </a:solidFill>
            <a:prstDash val="solid"/>
            <a:roun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400" fontAlgn="base">
              <a:lnSpc>
                <a:spcPct val="110000"/>
              </a:lnSpc>
              <a:spcBef>
                <a:spcPct val="50000"/>
              </a:spcBef>
              <a:spcAft>
                <a:spcPct val="25000"/>
              </a:spcAft>
              <a:buClr>
                <a:srgbClr val="003781"/>
              </a:buClr>
              <a:tabLst>
                <a:tab pos="179388" algn="l"/>
              </a:tabLst>
            </a:pPr>
            <a:r>
              <a:rPr lang="en-US" sz="1200" b="1" kern="0" dirty="0">
                <a:solidFill>
                  <a:srgbClr val="FFFFFF"/>
                </a:solidFill>
                <a:latin typeface="Arial" panose="020B0604020202020204" pitchFamily="34" charset="0"/>
              </a:rPr>
              <a:t>Coverage Ratio Analysis in 2025</a:t>
            </a:r>
          </a:p>
        </p:txBody>
      </p:sp>
      <p:graphicFrame>
        <p:nvGraphicFramePr>
          <p:cNvPr id="15" name="Table 14"/>
          <p:cNvGraphicFramePr>
            <a:graphicFrameLocks noGrp="1"/>
          </p:cNvGraphicFramePr>
          <p:nvPr/>
        </p:nvGraphicFramePr>
        <p:xfrm>
          <a:off x="1451572" y="4441590"/>
          <a:ext cx="9288857" cy="862016"/>
        </p:xfrm>
        <a:graphic>
          <a:graphicData uri="http://schemas.openxmlformats.org/drawingml/2006/table">
            <a:tbl>
              <a:tblPr/>
              <a:tblGrid>
                <a:gridCol w="2607397">
                  <a:extLst>
                    <a:ext uri="{9D8B030D-6E8A-4147-A177-3AD203B41FA5}">
                      <a16:colId xmlns:a16="http://schemas.microsoft.com/office/drawing/2014/main" val="20000"/>
                    </a:ext>
                  </a:extLst>
                </a:gridCol>
                <a:gridCol w="614883">
                  <a:extLst>
                    <a:ext uri="{9D8B030D-6E8A-4147-A177-3AD203B41FA5}">
                      <a16:colId xmlns:a16="http://schemas.microsoft.com/office/drawing/2014/main" val="20001"/>
                    </a:ext>
                  </a:extLst>
                </a:gridCol>
                <a:gridCol w="1348967">
                  <a:extLst>
                    <a:ext uri="{9D8B030D-6E8A-4147-A177-3AD203B41FA5}">
                      <a16:colId xmlns:a16="http://schemas.microsoft.com/office/drawing/2014/main" val="20002"/>
                    </a:ext>
                  </a:extLst>
                </a:gridCol>
                <a:gridCol w="815564">
                  <a:extLst>
                    <a:ext uri="{9D8B030D-6E8A-4147-A177-3AD203B41FA5}">
                      <a16:colId xmlns:a16="http://schemas.microsoft.com/office/drawing/2014/main" val="930594285"/>
                    </a:ext>
                  </a:extLst>
                </a:gridCol>
                <a:gridCol w="1321054">
                  <a:extLst>
                    <a:ext uri="{9D8B030D-6E8A-4147-A177-3AD203B41FA5}">
                      <a16:colId xmlns:a16="http://schemas.microsoft.com/office/drawing/2014/main" val="20003"/>
                    </a:ext>
                  </a:extLst>
                </a:gridCol>
                <a:gridCol w="651492">
                  <a:extLst>
                    <a:ext uri="{9D8B030D-6E8A-4147-A177-3AD203B41FA5}">
                      <a16:colId xmlns:a16="http://schemas.microsoft.com/office/drawing/2014/main" val="633352300"/>
                    </a:ext>
                  </a:extLst>
                </a:gridCol>
                <a:gridCol w="1929500">
                  <a:extLst>
                    <a:ext uri="{9D8B030D-6E8A-4147-A177-3AD203B41FA5}">
                      <a16:colId xmlns:a16="http://schemas.microsoft.com/office/drawing/2014/main" val="4020876014"/>
                    </a:ext>
                  </a:extLst>
                </a:gridCol>
              </a:tblGrid>
              <a:tr h="215504">
                <a:tc>
                  <a:txBody>
                    <a:bodyPr/>
                    <a:lstStyle/>
                    <a:p>
                      <a:pPr algn="l"/>
                      <a:r>
                        <a:rPr lang="en-US" sz="900" b="1" dirty="0"/>
                        <a:t>5% Quantile</a:t>
                      </a:r>
                    </a:p>
                  </a:txBody>
                  <a:tcPr marL="45720" marR="0" marT="0" marB="0"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81.4%</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81.9%</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79.8%</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0"/>
                  </a:ext>
                </a:extLst>
              </a:tr>
              <a:tr h="215504">
                <a:tc>
                  <a:txBody>
                    <a:bodyPr/>
                    <a:lstStyle/>
                    <a:p>
                      <a:pPr algn="l"/>
                      <a:r>
                        <a:rPr lang="en-US" sz="900" b="1" dirty="0"/>
                        <a:t>Median</a:t>
                      </a:r>
                    </a:p>
                  </a:txBody>
                  <a:tcPr marL="45720" marR="0" marT="0" marB="0"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114.8%</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113.2%</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116.2%</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10001"/>
                  </a:ext>
                </a:extLst>
              </a:tr>
              <a:tr h="215504">
                <a:tc>
                  <a:txBody>
                    <a:bodyPr/>
                    <a:lstStyle/>
                    <a:p>
                      <a:pPr algn="l"/>
                      <a:r>
                        <a:rPr lang="en-US" sz="900" b="1" dirty="0"/>
                        <a:t>95% Quantile</a:t>
                      </a:r>
                    </a:p>
                  </a:txBody>
                  <a:tcPr marL="45720" marR="0" marT="0" marB="0"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164.7%</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161.7%</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1" dirty="0"/>
                        <a:t>171.9%</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4231834176"/>
                  </a:ext>
                </a:extLst>
              </a:tr>
              <a:tr h="215504">
                <a:tc>
                  <a:txBody>
                    <a:bodyPr/>
                    <a:lstStyle/>
                    <a:p>
                      <a:pPr algn="l"/>
                      <a:r>
                        <a:rPr lang="en-US" sz="900" b="1" dirty="0"/>
                        <a:t>Surplus shortfall if equity falls more than -30%</a:t>
                      </a:r>
                    </a:p>
                  </a:txBody>
                  <a:tcPr marL="45720" marR="0" marT="0" marB="0" anchor="ct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9.5%</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900" b="1" dirty="0"/>
                        <a:t>-5.1%</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endParaRPr lang="en-US" sz="900" b="1" dirty="0"/>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900" b="1" dirty="0"/>
                        <a:t>-7.2%</a:t>
                      </a:r>
                    </a:p>
                  </a:txBody>
                  <a:tcPr marL="0" marR="0" marT="0" marB="0"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l"/>
                      <a:endParaRPr lang="en-US" sz="900" b="1" dirty="0"/>
                    </a:p>
                  </a:txBody>
                  <a:tcPr marL="0" marR="0" marT="0" marB="0"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70932116"/>
                  </a:ext>
                </a:extLst>
              </a:tr>
            </a:tbl>
          </a:graphicData>
        </a:graphic>
      </p:graphicFrame>
      <p:grpSp>
        <p:nvGrpSpPr>
          <p:cNvPr id="11" name="Gruppieren 1">
            <a:extLst>
              <a:ext uri="{FF2B5EF4-FFF2-40B4-BE49-F238E27FC236}">
                <a16:creationId xmlns:a16="http://schemas.microsoft.com/office/drawing/2014/main" id="{810E8C05-D606-4FD4-9CD4-F92044E14D40}"/>
              </a:ext>
            </a:extLst>
          </p:cNvPr>
          <p:cNvGrpSpPr/>
          <p:nvPr/>
        </p:nvGrpSpPr>
        <p:grpSpPr bwMode="gray">
          <a:xfrm>
            <a:off x="1402514" y="5677220"/>
            <a:ext cx="9322486" cy="530261"/>
            <a:chOff x="324000" y="5630892"/>
            <a:chExt cx="9252000" cy="532308"/>
          </a:xfrm>
          <a:solidFill>
            <a:srgbClr val="326295"/>
          </a:solidFill>
        </p:grpSpPr>
        <p:sp>
          <p:nvSpPr>
            <p:cNvPr id="13" name="Freeform 6">
              <a:extLst>
                <a:ext uri="{FF2B5EF4-FFF2-40B4-BE49-F238E27FC236}">
                  <a16:creationId xmlns:a16="http://schemas.microsoft.com/office/drawing/2014/main" id="{5C87ABC6-3D3C-402A-8765-71C2391C579C}"/>
                </a:ext>
              </a:extLst>
            </p:cNvPr>
            <p:cNvSpPr>
              <a:spLocks/>
            </p:cNvSpPr>
            <p:nvPr/>
          </p:nvSpPr>
          <p:spPr bwMode="gray">
            <a:xfrm>
              <a:off x="324000"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4" name="Freeform 7">
              <a:extLst>
                <a:ext uri="{FF2B5EF4-FFF2-40B4-BE49-F238E27FC236}">
                  <a16:creationId xmlns:a16="http://schemas.microsoft.com/office/drawing/2014/main" id="{7353B762-E579-4DA4-A2B0-23DA7EE39768}"/>
                </a:ext>
              </a:extLst>
            </p:cNvPr>
            <p:cNvSpPr>
              <a:spLocks/>
            </p:cNvSpPr>
            <p:nvPr/>
          </p:nvSpPr>
          <p:spPr bwMode="gray">
            <a:xfrm>
              <a:off x="558410" y="5639981"/>
              <a:ext cx="239193" cy="523219"/>
            </a:xfrm>
            <a:custGeom>
              <a:avLst/>
              <a:gdLst>
                <a:gd name="T0" fmla="*/ 0 w 138"/>
                <a:gd name="T1" fmla="*/ 0 h 286"/>
                <a:gd name="T2" fmla="*/ 68 w 138"/>
                <a:gd name="T3" fmla="*/ 144 h 286"/>
                <a:gd name="T4" fmla="*/ 0 w 138"/>
                <a:gd name="T5" fmla="*/ 286 h 286"/>
                <a:gd name="T6" fmla="*/ 70 w 138"/>
                <a:gd name="T7" fmla="*/ 286 h 286"/>
                <a:gd name="T8" fmla="*/ 138 w 138"/>
                <a:gd name="T9" fmla="*/ 144 h 286"/>
                <a:gd name="T10" fmla="*/ 70 w 138"/>
                <a:gd name="T11" fmla="*/ 0 h 286"/>
                <a:gd name="T12" fmla="*/ 0 w 138"/>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8" h="286">
                  <a:moveTo>
                    <a:pt x="0" y="0"/>
                  </a:moveTo>
                  <a:lnTo>
                    <a:pt x="68" y="144"/>
                  </a:lnTo>
                  <a:lnTo>
                    <a:pt x="0" y="286"/>
                  </a:lnTo>
                  <a:lnTo>
                    <a:pt x="70" y="286"/>
                  </a:lnTo>
                  <a:lnTo>
                    <a:pt x="138" y="144"/>
                  </a:lnTo>
                  <a:lnTo>
                    <a:pt x="7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6" name="Freeform 8">
              <a:extLst>
                <a:ext uri="{FF2B5EF4-FFF2-40B4-BE49-F238E27FC236}">
                  <a16:creationId xmlns:a16="http://schemas.microsoft.com/office/drawing/2014/main" id="{DBC733D2-06F5-489F-890E-D202B02BAA03}"/>
                </a:ext>
              </a:extLst>
            </p:cNvPr>
            <p:cNvSpPr>
              <a:spLocks/>
            </p:cNvSpPr>
            <p:nvPr/>
          </p:nvSpPr>
          <p:spPr bwMode="gray">
            <a:xfrm>
              <a:off x="797603" y="5639981"/>
              <a:ext cx="234410" cy="523219"/>
            </a:xfrm>
            <a:custGeom>
              <a:avLst/>
              <a:gdLst>
                <a:gd name="T0" fmla="*/ 0 w 136"/>
                <a:gd name="T1" fmla="*/ 0 h 286"/>
                <a:gd name="T2" fmla="*/ 68 w 136"/>
                <a:gd name="T3" fmla="*/ 144 h 286"/>
                <a:gd name="T4" fmla="*/ 0 w 136"/>
                <a:gd name="T5" fmla="*/ 286 h 286"/>
                <a:gd name="T6" fmla="*/ 68 w 136"/>
                <a:gd name="T7" fmla="*/ 286 h 286"/>
                <a:gd name="T8" fmla="*/ 136 w 136"/>
                <a:gd name="T9" fmla="*/ 144 h 286"/>
                <a:gd name="T10" fmla="*/ 68 w 136"/>
                <a:gd name="T11" fmla="*/ 0 h 286"/>
                <a:gd name="T12" fmla="*/ 0 w 136"/>
                <a:gd name="T13" fmla="*/ 0 h 286"/>
              </a:gdLst>
              <a:ahLst/>
              <a:cxnLst>
                <a:cxn ang="0">
                  <a:pos x="T0" y="T1"/>
                </a:cxn>
                <a:cxn ang="0">
                  <a:pos x="T2" y="T3"/>
                </a:cxn>
                <a:cxn ang="0">
                  <a:pos x="T4" y="T5"/>
                </a:cxn>
                <a:cxn ang="0">
                  <a:pos x="T6" y="T7"/>
                </a:cxn>
                <a:cxn ang="0">
                  <a:pos x="T8" y="T9"/>
                </a:cxn>
                <a:cxn ang="0">
                  <a:pos x="T10" y="T11"/>
                </a:cxn>
                <a:cxn ang="0">
                  <a:pos x="T12" y="T13"/>
                </a:cxn>
              </a:cxnLst>
              <a:rect l="0" t="0" r="r" b="b"/>
              <a:pathLst>
                <a:path w="136" h="286">
                  <a:moveTo>
                    <a:pt x="0" y="0"/>
                  </a:moveTo>
                  <a:lnTo>
                    <a:pt x="68" y="144"/>
                  </a:lnTo>
                  <a:lnTo>
                    <a:pt x="0" y="286"/>
                  </a:lnTo>
                  <a:lnTo>
                    <a:pt x="68" y="286"/>
                  </a:lnTo>
                  <a:lnTo>
                    <a:pt x="136" y="144"/>
                  </a:lnTo>
                  <a:lnTo>
                    <a:pt x="68"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914400" fontAlgn="base">
                <a:spcBef>
                  <a:spcPts val="360"/>
                </a:spcBef>
                <a:spcAft>
                  <a:spcPts val="360"/>
                </a:spcAft>
                <a:buClr>
                  <a:srgbClr val="003781"/>
                </a:buClr>
                <a:tabLst>
                  <a:tab pos="179388" algn="l"/>
                </a:tabLst>
              </a:pPr>
              <a:endParaRPr lang="en-US" sz="1050" kern="0" dirty="0">
                <a:solidFill>
                  <a:srgbClr val="000000"/>
                </a:solidFill>
                <a:latin typeface="Arial" panose="020B0604020202020204" pitchFamily="34" charset="0"/>
              </a:endParaRPr>
            </a:p>
          </p:txBody>
        </p:sp>
        <p:sp>
          <p:nvSpPr>
            <p:cNvPr id="17" name="Freeform 9">
              <a:extLst>
                <a:ext uri="{FF2B5EF4-FFF2-40B4-BE49-F238E27FC236}">
                  <a16:creationId xmlns:a16="http://schemas.microsoft.com/office/drawing/2014/main" id="{EB6F428E-D6BB-4C78-9AC7-8A23C89990E2}"/>
                </a:ext>
              </a:extLst>
            </p:cNvPr>
            <p:cNvSpPr>
              <a:spLocks/>
            </p:cNvSpPr>
            <p:nvPr/>
          </p:nvSpPr>
          <p:spPr bwMode="gray">
            <a:xfrm>
              <a:off x="1035202" y="5630892"/>
              <a:ext cx="8540798" cy="523220"/>
            </a:xfrm>
            <a:custGeom>
              <a:avLst/>
              <a:gdLst>
                <a:gd name="T0" fmla="*/ 0 w 4942"/>
                <a:gd name="T1" fmla="*/ 0 h 286"/>
                <a:gd name="T2" fmla="*/ 69 w 4942"/>
                <a:gd name="T3" fmla="*/ 144 h 286"/>
                <a:gd name="T4" fmla="*/ 0 w 4942"/>
                <a:gd name="T5" fmla="*/ 286 h 286"/>
                <a:gd name="T6" fmla="*/ 4942 w 4942"/>
                <a:gd name="T7" fmla="*/ 286 h 286"/>
                <a:gd name="T8" fmla="*/ 4942 w 4942"/>
                <a:gd name="T9" fmla="*/ 0 h 286"/>
                <a:gd name="T10" fmla="*/ 0 w 4942"/>
                <a:gd name="T11" fmla="*/ 0 h 286"/>
              </a:gdLst>
              <a:ahLst/>
              <a:cxnLst>
                <a:cxn ang="0">
                  <a:pos x="T0" y="T1"/>
                </a:cxn>
                <a:cxn ang="0">
                  <a:pos x="T2" y="T3"/>
                </a:cxn>
                <a:cxn ang="0">
                  <a:pos x="T4" y="T5"/>
                </a:cxn>
                <a:cxn ang="0">
                  <a:pos x="T6" y="T7"/>
                </a:cxn>
                <a:cxn ang="0">
                  <a:pos x="T8" y="T9"/>
                </a:cxn>
                <a:cxn ang="0">
                  <a:pos x="T10" y="T11"/>
                </a:cxn>
              </a:cxnLst>
              <a:rect l="0" t="0" r="r" b="b"/>
              <a:pathLst>
                <a:path w="4942" h="286">
                  <a:moveTo>
                    <a:pt x="0" y="0"/>
                  </a:moveTo>
                  <a:lnTo>
                    <a:pt x="69" y="144"/>
                  </a:lnTo>
                  <a:lnTo>
                    <a:pt x="0" y="286"/>
                  </a:lnTo>
                  <a:lnTo>
                    <a:pt x="4942" y="286"/>
                  </a:lnTo>
                  <a:lnTo>
                    <a:pt x="4942"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lIns="216000" anchor="ctr" anchorCtr="0">
              <a:noAutofit/>
            </a:bodyPr>
            <a:lstStyle/>
            <a:p>
              <a:pPr marL="85725" defTabSz="914400" fontAlgn="base">
                <a:spcBef>
                  <a:spcPts val="200"/>
                </a:spcBef>
                <a:spcAft>
                  <a:spcPts val="300"/>
                </a:spcAft>
                <a:tabLst>
                  <a:tab pos="179388" algn="l"/>
                </a:tabLst>
              </a:pPr>
              <a:r>
                <a:rPr lang="en-US" sz="1400" kern="0" dirty="0">
                  <a:solidFill>
                    <a:srgbClr val="FFFFFF"/>
                  </a:solidFill>
                  <a:latin typeface="Arial" panose="020B0604020202020204" pitchFamily="34" charset="0"/>
                </a:rPr>
                <a:t>Addition of tail-risk management strategy gives more flexibility to customize the forward-looking outcomes and provides strong protection during equity market stress.</a:t>
              </a:r>
            </a:p>
          </p:txBody>
        </p:sp>
      </p:grpSp>
      <p:sp>
        <p:nvSpPr>
          <p:cNvPr id="20" name="Text Placeholder 2">
            <a:extLst>
              <a:ext uri="{FF2B5EF4-FFF2-40B4-BE49-F238E27FC236}">
                <a16:creationId xmlns:a16="http://schemas.microsoft.com/office/drawing/2014/main" id="{042AAC55-1A03-467F-BA7E-E7C04302370B}"/>
              </a:ext>
            </a:extLst>
          </p:cNvPr>
          <p:cNvSpPr>
            <a:spLocks noGrp="1"/>
          </p:cNvSpPr>
          <p:nvPr>
            <p:ph type="body" sz="quarter" idx="22"/>
          </p:nvPr>
        </p:nvSpPr>
        <p:spPr>
          <a:xfrm>
            <a:off x="1467001" y="6235340"/>
            <a:ext cx="8640000" cy="373805"/>
          </a:xfrm>
        </p:spPr>
        <p:txBody>
          <a:bodyPr/>
          <a:lstStyle/>
          <a:p>
            <a:r>
              <a:rPr lang="en-US" dirty="0"/>
              <a:t>Source:</a:t>
            </a:r>
            <a:r>
              <a:rPr lang="de-DE" dirty="0"/>
              <a:t> </a:t>
            </a:r>
            <a:r>
              <a:rPr lang="de-DE" dirty="0" err="1"/>
              <a:t>risklab</a:t>
            </a:r>
            <a:r>
              <a:rPr lang="de-DE" dirty="0"/>
              <a:t>,</a:t>
            </a:r>
            <a:r>
              <a:rPr lang="en-US" dirty="0"/>
              <a:t> 30.06.2021. Forward-looking simulation based on 10,000 economic scenarios for a time horizon of 5 years. </a:t>
            </a:r>
            <a:r>
              <a:rPr lang="en-US" b="1" dirty="0"/>
              <a:t>The performance is hypothetical and provided for illustrative purposes only and are not indicated of actual return likely to be achieved. Hypothetical performance results have certain inherent limitations. The results do not reflect the results of investing in actual accounts or the material economic and market factors that could impact an investment manager's decision-making process. </a:t>
            </a:r>
            <a:r>
              <a:rPr lang="en-US" dirty="0"/>
              <a:t>Please refer to the disclaimer at the end of the presentation.</a:t>
            </a:r>
          </a:p>
        </p:txBody>
      </p:sp>
    </p:spTree>
    <p:extLst>
      <p:ext uri="{BB962C8B-B14F-4D97-AF65-F5344CB8AC3E}">
        <p14:creationId xmlns:p14="http://schemas.microsoft.com/office/powerpoint/2010/main" val="359022319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5F203CD8-F571-44D8-8EC3-A34B075D8BF3}"/>
              </a:ext>
            </a:extLst>
          </p:cNvPr>
          <p:cNvGrpSpPr>
            <a:grpSpLocks noChangeAspect="1"/>
          </p:cNvGrpSpPr>
          <p:nvPr/>
        </p:nvGrpSpPr>
        <p:grpSpPr>
          <a:xfrm>
            <a:off x="1614161" y="1493591"/>
            <a:ext cx="8432374" cy="4171513"/>
            <a:chOff x="587907" y="1639641"/>
            <a:chExt cx="8484904" cy="4464546"/>
          </a:xfrm>
          <a:pattFill prst="pct25">
            <a:fgClr>
              <a:srgbClr val="B5C7CD"/>
            </a:fgClr>
            <a:bgClr>
              <a:schemeClr val="bg1"/>
            </a:bgClr>
          </a:pattFill>
        </p:grpSpPr>
        <p:grpSp>
          <p:nvGrpSpPr>
            <p:cNvPr id="7" name="Group 6">
              <a:extLst>
                <a:ext uri="{FF2B5EF4-FFF2-40B4-BE49-F238E27FC236}">
                  <a16:creationId xmlns:a16="http://schemas.microsoft.com/office/drawing/2014/main" id="{C686D820-0F54-4E94-AA5F-B4A7AE247CAF}"/>
                </a:ext>
              </a:extLst>
            </p:cNvPr>
            <p:cNvGrpSpPr/>
            <p:nvPr/>
          </p:nvGrpSpPr>
          <p:grpSpPr>
            <a:xfrm>
              <a:off x="3207375" y="1639641"/>
              <a:ext cx="5257022" cy="3784400"/>
              <a:chOff x="3207375" y="1639641"/>
              <a:chExt cx="5257022" cy="3784400"/>
            </a:xfrm>
            <a:grpFill/>
          </p:grpSpPr>
          <p:grpSp>
            <p:nvGrpSpPr>
              <p:cNvPr id="165" name="Group 164">
                <a:extLst>
                  <a:ext uri="{FF2B5EF4-FFF2-40B4-BE49-F238E27FC236}">
                    <a16:creationId xmlns:a16="http://schemas.microsoft.com/office/drawing/2014/main" id="{EBA2D656-1006-4FC2-967F-C2D3C93AA88A}"/>
                  </a:ext>
                </a:extLst>
              </p:cNvPr>
              <p:cNvGrpSpPr/>
              <p:nvPr/>
            </p:nvGrpSpPr>
            <p:grpSpPr>
              <a:xfrm>
                <a:off x="3929249" y="3005164"/>
                <a:ext cx="2129448" cy="2418877"/>
                <a:chOff x="3929249" y="3005164"/>
                <a:chExt cx="2129448" cy="2418877"/>
              </a:xfrm>
              <a:grpFill/>
            </p:grpSpPr>
            <p:sp>
              <p:nvSpPr>
                <p:cNvPr id="185" name="Freeform 158">
                  <a:extLst>
                    <a:ext uri="{FF2B5EF4-FFF2-40B4-BE49-F238E27FC236}">
                      <a16:creationId xmlns:a16="http://schemas.microsoft.com/office/drawing/2014/main" id="{936730E7-93FB-44AF-86DC-47571AB66778}"/>
                    </a:ext>
                  </a:extLst>
                </p:cNvPr>
                <p:cNvSpPr>
                  <a:spLocks noChangeAspect="1"/>
                </p:cNvSpPr>
                <p:nvPr/>
              </p:nvSpPr>
              <p:spPr bwMode="auto">
                <a:xfrm>
                  <a:off x="5333534" y="3134218"/>
                  <a:ext cx="39464" cy="136029"/>
                </a:xfrm>
                <a:custGeom>
                  <a:avLst/>
                  <a:gdLst/>
                  <a:ahLst/>
                  <a:cxnLst>
                    <a:cxn ang="0">
                      <a:pos x="4" y="52"/>
                    </a:cxn>
                    <a:cxn ang="0">
                      <a:pos x="8" y="62"/>
                    </a:cxn>
                    <a:cxn ang="0">
                      <a:pos x="10" y="70"/>
                    </a:cxn>
                    <a:cxn ang="0">
                      <a:pos x="12" y="74"/>
                    </a:cxn>
                    <a:cxn ang="0">
                      <a:pos x="12" y="74"/>
                    </a:cxn>
                    <a:cxn ang="0">
                      <a:pos x="14" y="76"/>
                    </a:cxn>
                    <a:cxn ang="0">
                      <a:pos x="14" y="78"/>
                    </a:cxn>
                    <a:cxn ang="0">
                      <a:pos x="14" y="76"/>
                    </a:cxn>
                    <a:cxn ang="0">
                      <a:pos x="16" y="70"/>
                    </a:cxn>
                    <a:cxn ang="0">
                      <a:pos x="16" y="60"/>
                    </a:cxn>
                    <a:cxn ang="0">
                      <a:pos x="16" y="58"/>
                    </a:cxn>
                    <a:cxn ang="0">
                      <a:pos x="20" y="52"/>
                    </a:cxn>
                    <a:cxn ang="0">
                      <a:pos x="22" y="46"/>
                    </a:cxn>
                    <a:cxn ang="0">
                      <a:pos x="20" y="42"/>
                    </a:cxn>
                    <a:cxn ang="0">
                      <a:pos x="18" y="40"/>
                    </a:cxn>
                    <a:cxn ang="0">
                      <a:pos x="18" y="38"/>
                    </a:cxn>
                    <a:cxn ang="0">
                      <a:pos x="16" y="38"/>
                    </a:cxn>
                    <a:cxn ang="0">
                      <a:pos x="14" y="42"/>
                    </a:cxn>
                    <a:cxn ang="0">
                      <a:pos x="12" y="40"/>
                    </a:cxn>
                    <a:cxn ang="0">
                      <a:pos x="10" y="38"/>
                    </a:cxn>
                    <a:cxn ang="0">
                      <a:pos x="12" y="34"/>
                    </a:cxn>
                    <a:cxn ang="0">
                      <a:pos x="12" y="28"/>
                    </a:cxn>
                    <a:cxn ang="0">
                      <a:pos x="12" y="26"/>
                    </a:cxn>
                    <a:cxn ang="0">
                      <a:pos x="12" y="24"/>
                    </a:cxn>
                    <a:cxn ang="0">
                      <a:pos x="14" y="20"/>
                    </a:cxn>
                    <a:cxn ang="0">
                      <a:pos x="18" y="18"/>
                    </a:cxn>
                    <a:cxn ang="0">
                      <a:pos x="20" y="18"/>
                    </a:cxn>
                    <a:cxn ang="0">
                      <a:pos x="20" y="18"/>
                    </a:cxn>
                    <a:cxn ang="0">
                      <a:pos x="22" y="14"/>
                    </a:cxn>
                    <a:cxn ang="0">
                      <a:pos x="22" y="12"/>
                    </a:cxn>
                    <a:cxn ang="0">
                      <a:pos x="20" y="6"/>
                    </a:cxn>
                    <a:cxn ang="0">
                      <a:pos x="20" y="4"/>
                    </a:cxn>
                    <a:cxn ang="0">
                      <a:pos x="22" y="2"/>
                    </a:cxn>
                    <a:cxn ang="0">
                      <a:pos x="24" y="0"/>
                    </a:cxn>
                    <a:cxn ang="0">
                      <a:pos x="20" y="2"/>
                    </a:cxn>
                    <a:cxn ang="0">
                      <a:pos x="18" y="2"/>
                    </a:cxn>
                    <a:cxn ang="0">
                      <a:pos x="18" y="2"/>
                    </a:cxn>
                    <a:cxn ang="0">
                      <a:pos x="18" y="6"/>
                    </a:cxn>
                    <a:cxn ang="0">
                      <a:pos x="16" y="10"/>
                    </a:cxn>
                    <a:cxn ang="0">
                      <a:pos x="12" y="8"/>
                    </a:cxn>
                    <a:cxn ang="0">
                      <a:pos x="12" y="10"/>
                    </a:cxn>
                    <a:cxn ang="0">
                      <a:pos x="10" y="12"/>
                    </a:cxn>
                    <a:cxn ang="0">
                      <a:pos x="8" y="14"/>
                    </a:cxn>
                    <a:cxn ang="0">
                      <a:pos x="8" y="14"/>
                    </a:cxn>
                    <a:cxn ang="0">
                      <a:pos x="8" y="22"/>
                    </a:cxn>
                    <a:cxn ang="0">
                      <a:pos x="10" y="24"/>
                    </a:cxn>
                    <a:cxn ang="0">
                      <a:pos x="6" y="30"/>
                    </a:cxn>
                    <a:cxn ang="0">
                      <a:pos x="4" y="32"/>
                    </a:cxn>
                    <a:cxn ang="0">
                      <a:pos x="4" y="36"/>
                    </a:cxn>
                    <a:cxn ang="0">
                      <a:pos x="4" y="38"/>
                    </a:cxn>
                    <a:cxn ang="0">
                      <a:pos x="0" y="40"/>
                    </a:cxn>
                  </a:cxnLst>
                  <a:rect l="0" t="0" r="r" b="b"/>
                  <a:pathLst>
                    <a:path w="24" h="78">
                      <a:moveTo>
                        <a:pt x="0" y="40"/>
                      </a:moveTo>
                      <a:lnTo>
                        <a:pt x="2" y="46"/>
                      </a:lnTo>
                      <a:lnTo>
                        <a:pt x="4" y="52"/>
                      </a:lnTo>
                      <a:lnTo>
                        <a:pt x="6" y="56"/>
                      </a:lnTo>
                      <a:lnTo>
                        <a:pt x="6" y="60"/>
                      </a:lnTo>
                      <a:lnTo>
                        <a:pt x="8" y="62"/>
                      </a:lnTo>
                      <a:lnTo>
                        <a:pt x="10" y="66"/>
                      </a:lnTo>
                      <a:lnTo>
                        <a:pt x="10" y="68"/>
                      </a:lnTo>
                      <a:lnTo>
                        <a:pt x="10" y="70"/>
                      </a:lnTo>
                      <a:lnTo>
                        <a:pt x="12" y="72"/>
                      </a:lnTo>
                      <a:lnTo>
                        <a:pt x="12" y="74"/>
                      </a:lnTo>
                      <a:lnTo>
                        <a:pt x="14" y="76"/>
                      </a:lnTo>
                      <a:lnTo>
                        <a:pt x="14" y="78"/>
                      </a:lnTo>
                      <a:lnTo>
                        <a:pt x="14" y="76"/>
                      </a:lnTo>
                      <a:lnTo>
                        <a:pt x="14" y="72"/>
                      </a:lnTo>
                      <a:lnTo>
                        <a:pt x="16" y="70"/>
                      </a:lnTo>
                      <a:lnTo>
                        <a:pt x="16" y="66"/>
                      </a:lnTo>
                      <a:lnTo>
                        <a:pt x="16" y="64"/>
                      </a:lnTo>
                      <a:lnTo>
                        <a:pt x="16" y="60"/>
                      </a:lnTo>
                      <a:lnTo>
                        <a:pt x="16" y="58"/>
                      </a:lnTo>
                      <a:lnTo>
                        <a:pt x="16" y="56"/>
                      </a:lnTo>
                      <a:lnTo>
                        <a:pt x="18" y="54"/>
                      </a:lnTo>
                      <a:lnTo>
                        <a:pt x="20" y="52"/>
                      </a:lnTo>
                      <a:lnTo>
                        <a:pt x="20" y="50"/>
                      </a:lnTo>
                      <a:lnTo>
                        <a:pt x="20" y="48"/>
                      </a:lnTo>
                      <a:lnTo>
                        <a:pt x="22" y="46"/>
                      </a:lnTo>
                      <a:lnTo>
                        <a:pt x="22" y="44"/>
                      </a:lnTo>
                      <a:lnTo>
                        <a:pt x="20" y="44"/>
                      </a:lnTo>
                      <a:lnTo>
                        <a:pt x="20" y="42"/>
                      </a:lnTo>
                      <a:lnTo>
                        <a:pt x="18" y="42"/>
                      </a:lnTo>
                      <a:lnTo>
                        <a:pt x="18" y="40"/>
                      </a:lnTo>
                      <a:lnTo>
                        <a:pt x="20" y="38"/>
                      </a:lnTo>
                      <a:lnTo>
                        <a:pt x="18" y="38"/>
                      </a:lnTo>
                      <a:lnTo>
                        <a:pt x="16" y="38"/>
                      </a:lnTo>
                      <a:lnTo>
                        <a:pt x="14" y="40"/>
                      </a:lnTo>
                      <a:lnTo>
                        <a:pt x="14" y="42"/>
                      </a:lnTo>
                      <a:lnTo>
                        <a:pt x="12" y="42"/>
                      </a:lnTo>
                      <a:lnTo>
                        <a:pt x="12" y="40"/>
                      </a:lnTo>
                      <a:lnTo>
                        <a:pt x="10" y="40"/>
                      </a:lnTo>
                      <a:lnTo>
                        <a:pt x="10" y="38"/>
                      </a:lnTo>
                      <a:lnTo>
                        <a:pt x="10" y="36"/>
                      </a:lnTo>
                      <a:lnTo>
                        <a:pt x="10" y="34"/>
                      </a:lnTo>
                      <a:lnTo>
                        <a:pt x="12" y="34"/>
                      </a:lnTo>
                      <a:lnTo>
                        <a:pt x="12" y="32"/>
                      </a:lnTo>
                      <a:lnTo>
                        <a:pt x="12" y="30"/>
                      </a:lnTo>
                      <a:lnTo>
                        <a:pt x="12" y="28"/>
                      </a:lnTo>
                      <a:lnTo>
                        <a:pt x="12" y="26"/>
                      </a:lnTo>
                      <a:lnTo>
                        <a:pt x="12" y="24"/>
                      </a:lnTo>
                      <a:lnTo>
                        <a:pt x="12" y="22"/>
                      </a:lnTo>
                      <a:lnTo>
                        <a:pt x="14" y="20"/>
                      </a:lnTo>
                      <a:lnTo>
                        <a:pt x="16" y="18"/>
                      </a:lnTo>
                      <a:lnTo>
                        <a:pt x="18" y="18"/>
                      </a:lnTo>
                      <a:lnTo>
                        <a:pt x="20" y="20"/>
                      </a:lnTo>
                      <a:lnTo>
                        <a:pt x="20" y="18"/>
                      </a:lnTo>
                      <a:lnTo>
                        <a:pt x="22" y="16"/>
                      </a:lnTo>
                      <a:lnTo>
                        <a:pt x="22" y="14"/>
                      </a:lnTo>
                      <a:lnTo>
                        <a:pt x="22" y="12"/>
                      </a:lnTo>
                      <a:lnTo>
                        <a:pt x="20" y="10"/>
                      </a:lnTo>
                      <a:lnTo>
                        <a:pt x="20" y="8"/>
                      </a:lnTo>
                      <a:lnTo>
                        <a:pt x="20" y="6"/>
                      </a:lnTo>
                      <a:lnTo>
                        <a:pt x="20" y="4"/>
                      </a:lnTo>
                      <a:lnTo>
                        <a:pt x="22" y="4"/>
                      </a:lnTo>
                      <a:lnTo>
                        <a:pt x="22" y="2"/>
                      </a:lnTo>
                      <a:lnTo>
                        <a:pt x="24" y="2"/>
                      </a:lnTo>
                      <a:lnTo>
                        <a:pt x="24" y="0"/>
                      </a:lnTo>
                      <a:lnTo>
                        <a:pt x="22" y="2"/>
                      </a:lnTo>
                      <a:lnTo>
                        <a:pt x="20" y="2"/>
                      </a:lnTo>
                      <a:lnTo>
                        <a:pt x="18" y="2"/>
                      </a:lnTo>
                      <a:lnTo>
                        <a:pt x="18" y="4"/>
                      </a:lnTo>
                      <a:lnTo>
                        <a:pt x="18" y="6"/>
                      </a:lnTo>
                      <a:lnTo>
                        <a:pt x="18" y="8"/>
                      </a:lnTo>
                      <a:lnTo>
                        <a:pt x="16" y="8"/>
                      </a:lnTo>
                      <a:lnTo>
                        <a:pt x="16" y="10"/>
                      </a:lnTo>
                      <a:lnTo>
                        <a:pt x="14" y="10"/>
                      </a:lnTo>
                      <a:lnTo>
                        <a:pt x="12" y="8"/>
                      </a:lnTo>
                      <a:lnTo>
                        <a:pt x="12" y="10"/>
                      </a:lnTo>
                      <a:lnTo>
                        <a:pt x="10" y="10"/>
                      </a:lnTo>
                      <a:lnTo>
                        <a:pt x="10" y="12"/>
                      </a:lnTo>
                      <a:lnTo>
                        <a:pt x="8" y="14"/>
                      </a:lnTo>
                      <a:lnTo>
                        <a:pt x="8" y="18"/>
                      </a:lnTo>
                      <a:lnTo>
                        <a:pt x="8" y="20"/>
                      </a:lnTo>
                      <a:lnTo>
                        <a:pt x="8" y="22"/>
                      </a:lnTo>
                      <a:lnTo>
                        <a:pt x="10" y="22"/>
                      </a:lnTo>
                      <a:lnTo>
                        <a:pt x="10" y="24"/>
                      </a:lnTo>
                      <a:lnTo>
                        <a:pt x="8" y="26"/>
                      </a:lnTo>
                      <a:lnTo>
                        <a:pt x="6" y="28"/>
                      </a:lnTo>
                      <a:lnTo>
                        <a:pt x="6" y="30"/>
                      </a:lnTo>
                      <a:lnTo>
                        <a:pt x="4" y="32"/>
                      </a:lnTo>
                      <a:lnTo>
                        <a:pt x="4" y="34"/>
                      </a:lnTo>
                      <a:lnTo>
                        <a:pt x="4" y="36"/>
                      </a:lnTo>
                      <a:lnTo>
                        <a:pt x="4" y="38"/>
                      </a:lnTo>
                      <a:lnTo>
                        <a:pt x="0" y="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6" name="Freeform 109">
                  <a:extLst>
                    <a:ext uri="{FF2B5EF4-FFF2-40B4-BE49-F238E27FC236}">
                      <a16:creationId xmlns:a16="http://schemas.microsoft.com/office/drawing/2014/main" id="{D1DFB682-5019-4E5E-A370-AE1535B9BFC2}"/>
                    </a:ext>
                  </a:extLst>
                </p:cNvPr>
                <p:cNvSpPr>
                  <a:spLocks noChangeAspect="1"/>
                </p:cNvSpPr>
                <p:nvPr/>
              </p:nvSpPr>
              <p:spPr bwMode="auto">
                <a:xfrm>
                  <a:off x="4623170" y="3005164"/>
                  <a:ext cx="108527" cy="237179"/>
                </a:xfrm>
                <a:custGeom>
                  <a:avLst/>
                  <a:gdLst/>
                  <a:ahLst/>
                  <a:cxnLst>
                    <a:cxn ang="0">
                      <a:pos x="12" y="16"/>
                    </a:cxn>
                    <a:cxn ang="0">
                      <a:pos x="12" y="18"/>
                    </a:cxn>
                    <a:cxn ang="0">
                      <a:pos x="12" y="28"/>
                    </a:cxn>
                    <a:cxn ang="0">
                      <a:pos x="14" y="40"/>
                    </a:cxn>
                    <a:cxn ang="0">
                      <a:pos x="10" y="50"/>
                    </a:cxn>
                    <a:cxn ang="0">
                      <a:pos x="6" y="56"/>
                    </a:cxn>
                    <a:cxn ang="0">
                      <a:pos x="4" y="56"/>
                    </a:cxn>
                    <a:cxn ang="0">
                      <a:pos x="0" y="62"/>
                    </a:cxn>
                    <a:cxn ang="0">
                      <a:pos x="0" y="72"/>
                    </a:cxn>
                    <a:cxn ang="0">
                      <a:pos x="2" y="72"/>
                    </a:cxn>
                    <a:cxn ang="0">
                      <a:pos x="2" y="78"/>
                    </a:cxn>
                    <a:cxn ang="0">
                      <a:pos x="4" y="80"/>
                    </a:cxn>
                    <a:cxn ang="0">
                      <a:pos x="12" y="84"/>
                    </a:cxn>
                    <a:cxn ang="0">
                      <a:pos x="12" y="90"/>
                    </a:cxn>
                    <a:cxn ang="0">
                      <a:pos x="12" y="94"/>
                    </a:cxn>
                    <a:cxn ang="0">
                      <a:pos x="22" y="98"/>
                    </a:cxn>
                    <a:cxn ang="0">
                      <a:pos x="24" y="104"/>
                    </a:cxn>
                    <a:cxn ang="0">
                      <a:pos x="28" y="124"/>
                    </a:cxn>
                    <a:cxn ang="0">
                      <a:pos x="34" y="136"/>
                    </a:cxn>
                    <a:cxn ang="0">
                      <a:pos x="38" y="134"/>
                    </a:cxn>
                    <a:cxn ang="0">
                      <a:pos x="44" y="128"/>
                    </a:cxn>
                    <a:cxn ang="0">
                      <a:pos x="42" y="118"/>
                    </a:cxn>
                    <a:cxn ang="0">
                      <a:pos x="42" y="110"/>
                    </a:cxn>
                    <a:cxn ang="0">
                      <a:pos x="46" y="108"/>
                    </a:cxn>
                    <a:cxn ang="0">
                      <a:pos x="50" y="102"/>
                    </a:cxn>
                    <a:cxn ang="0">
                      <a:pos x="58" y="98"/>
                    </a:cxn>
                    <a:cxn ang="0">
                      <a:pos x="66" y="92"/>
                    </a:cxn>
                    <a:cxn ang="0">
                      <a:pos x="62" y="90"/>
                    </a:cxn>
                    <a:cxn ang="0">
                      <a:pos x="62" y="82"/>
                    </a:cxn>
                    <a:cxn ang="0">
                      <a:pos x="62" y="80"/>
                    </a:cxn>
                    <a:cxn ang="0">
                      <a:pos x="58" y="74"/>
                    </a:cxn>
                    <a:cxn ang="0">
                      <a:pos x="56" y="72"/>
                    </a:cxn>
                    <a:cxn ang="0">
                      <a:pos x="54" y="70"/>
                    </a:cxn>
                    <a:cxn ang="0">
                      <a:pos x="52" y="74"/>
                    </a:cxn>
                    <a:cxn ang="0">
                      <a:pos x="50" y="70"/>
                    </a:cxn>
                    <a:cxn ang="0">
                      <a:pos x="50" y="70"/>
                    </a:cxn>
                    <a:cxn ang="0">
                      <a:pos x="40" y="66"/>
                    </a:cxn>
                    <a:cxn ang="0">
                      <a:pos x="40" y="60"/>
                    </a:cxn>
                    <a:cxn ang="0">
                      <a:pos x="44" y="56"/>
                    </a:cxn>
                    <a:cxn ang="0">
                      <a:pos x="54" y="46"/>
                    </a:cxn>
                    <a:cxn ang="0">
                      <a:pos x="56" y="34"/>
                    </a:cxn>
                    <a:cxn ang="0">
                      <a:pos x="48" y="28"/>
                    </a:cxn>
                    <a:cxn ang="0">
                      <a:pos x="48" y="20"/>
                    </a:cxn>
                    <a:cxn ang="0">
                      <a:pos x="52" y="16"/>
                    </a:cxn>
                    <a:cxn ang="0">
                      <a:pos x="56" y="8"/>
                    </a:cxn>
                    <a:cxn ang="0">
                      <a:pos x="52" y="6"/>
                    </a:cxn>
                    <a:cxn ang="0">
                      <a:pos x="46" y="14"/>
                    </a:cxn>
                    <a:cxn ang="0">
                      <a:pos x="42" y="12"/>
                    </a:cxn>
                    <a:cxn ang="0">
                      <a:pos x="38" y="10"/>
                    </a:cxn>
                    <a:cxn ang="0">
                      <a:pos x="42" y="4"/>
                    </a:cxn>
                    <a:cxn ang="0">
                      <a:pos x="36" y="0"/>
                    </a:cxn>
                    <a:cxn ang="0">
                      <a:pos x="24" y="4"/>
                    </a:cxn>
                    <a:cxn ang="0">
                      <a:pos x="20" y="8"/>
                    </a:cxn>
                    <a:cxn ang="0">
                      <a:pos x="20" y="10"/>
                    </a:cxn>
                  </a:cxnLst>
                  <a:rect l="0" t="0" r="r" b="b"/>
                  <a:pathLst>
                    <a:path w="66" h="136">
                      <a:moveTo>
                        <a:pt x="8" y="14"/>
                      </a:moveTo>
                      <a:lnTo>
                        <a:pt x="10" y="14"/>
                      </a:lnTo>
                      <a:lnTo>
                        <a:pt x="12" y="16"/>
                      </a:lnTo>
                      <a:lnTo>
                        <a:pt x="14" y="16"/>
                      </a:lnTo>
                      <a:lnTo>
                        <a:pt x="12" y="18"/>
                      </a:lnTo>
                      <a:lnTo>
                        <a:pt x="12" y="20"/>
                      </a:lnTo>
                      <a:lnTo>
                        <a:pt x="12" y="22"/>
                      </a:lnTo>
                      <a:lnTo>
                        <a:pt x="12" y="24"/>
                      </a:lnTo>
                      <a:lnTo>
                        <a:pt x="12" y="26"/>
                      </a:lnTo>
                      <a:lnTo>
                        <a:pt x="12" y="28"/>
                      </a:lnTo>
                      <a:lnTo>
                        <a:pt x="12" y="30"/>
                      </a:lnTo>
                      <a:lnTo>
                        <a:pt x="12" y="32"/>
                      </a:lnTo>
                      <a:lnTo>
                        <a:pt x="14" y="36"/>
                      </a:lnTo>
                      <a:lnTo>
                        <a:pt x="14" y="38"/>
                      </a:lnTo>
                      <a:lnTo>
                        <a:pt x="14" y="40"/>
                      </a:lnTo>
                      <a:lnTo>
                        <a:pt x="14" y="42"/>
                      </a:lnTo>
                      <a:lnTo>
                        <a:pt x="12" y="44"/>
                      </a:lnTo>
                      <a:lnTo>
                        <a:pt x="12" y="48"/>
                      </a:lnTo>
                      <a:lnTo>
                        <a:pt x="12" y="50"/>
                      </a:lnTo>
                      <a:lnTo>
                        <a:pt x="10" y="50"/>
                      </a:lnTo>
                      <a:lnTo>
                        <a:pt x="10" y="52"/>
                      </a:lnTo>
                      <a:lnTo>
                        <a:pt x="8" y="54"/>
                      </a:lnTo>
                      <a:lnTo>
                        <a:pt x="6" y="56"/>
                      </a:lnTo>
                      <a:lnTo>
                        <a:pt x="4" y="56"/>
                      </a:lnTo>
                      <a:lnTo>
                        <a:pt x="4" y="58"/>
                      </a:lnTo>
                      <a:lnTo>
                        <a:pt x="2" y="60"/>
                      </a:lnTo>
                      <a:lnTo>
                        <a:pt x="2" y="62"/>
                      </a:lnTo>
                      <a:lnTo>
                        <a:pt x="0" y="62"/>
                      </a:lnTo>
                      <a:lnTo>
                        <a:pt x="0" y="64"/>
                      </a:lnTo>
                      <a:lnTo>
                        <a:pt x="0" y="66"/>
                      </a:lnTo>
                      <a:lnTo>
                        <a:pt x="0" y="70"/>
                      </a:lnTo>
                      <a:lnTo>
                        <a:pt x="0" y="72"/>
                      </a:lnTo>
                      <a:lnTo>
                        <a:pt x="2" y="72"/>
                      </a:lnTo>
                      <a:lnTo>
                        <a:pt x="2" y="74"/>
                      </a:lnTo>
                      <a:lnTo>
                        <a:pt x="2" y="76"/>
                      </a:lnTo>
                      <a:lnTo>
                        <a:pt x="2" y="78"/>
                      </a:lnTo>
                      <a:lnTo>
                        <a:pt x="2" y="80"/>
                      </a:lnTo>
                      <a:lnTo>
                        <a:pt x="4" y="80"/>
                      </a:lnTo>
                      <a:lnTo>
                        <a:pt x="6" y="80"/>
                      </a:lnTo>
                      <a:lnTo>
                        <a:pt x="8" y="82"/>
                      </a:lnTo>
                      <a:lnTo>
                        <a:pt x="10" y="82"/>
                      </a:lnTo>
                      <a:lnTo>
                        <a:pt x="12" y="84"/>
                      </a:lnTo>
                      <a:lnTo>
                        <a:pt x="12" y="86"/>
                      </a:lnTo>
                      <a:lnTo>
                        <a:pt x="12" y="90"/>
                      </a:lnTo>
                      <a:lnTo>
                        <a:pt x="12" y="92"/>
                      </a:lnTo>
                      <a:lnTo>
                        <a:pt x="12" y="94"/>
                      </a:lnTo>
                      <a:lnTo>
                        <a:pt x="14" y="94"/>
                      </a:lnTo>
                      <a:lnTo>
                        <a:pt x="16" y="94"/>
                      </a:lnTo>
                      <a:lnTo>
                        <a:pt x="18" y="96"/>
                      </a:lnTo>
                      <a:lnTo>
                        <a:pt x="20" y="98"/>
                      </a:lnTo>
                      <a:lnTo>
                        <a:pt x="22" y="98"/>
                      </a:lnTo>
                      <a:lnTo>
                        <a:pt x="24" y="100"/>
                      </a:lnTo>
                      <a:lnTo>
                        <a:pt x="24" y="102"/>
                      </a:lnTo>
                      <a:lnTo>
                        <a:pt x="24" y="104"/>
                      </a:lnTo>
                      <a:lnTo>
                        <a:pt x="24" y="106"/>
                      </a:lnTo>
                      <a:lnTo>
                        <a:pt x="26" y="108"/>
                      </a:lnTo>
                      <a:lnTo>
                        <a:pt x="26" y="112"/>
                      </a:lnTo>
                      <a:lnTo>
                        <a:pt x="26" y="118"/>
                      </a:lnTo>
                      <a:lnTo>
                        <a:pt x="28" y="124"/>
                      </a:lnTo>
                      <a:lnTo>
                        <a:pt x="28" y="128"/>
                      </a:lnTo>
                      <a:lnTo>
                        <a:pt x="30" y="132"/>
                      </a:lnTo>
                      <a:lnTo>
                        <a:pt x="30" y="134"/>
                      </a:lnTo>
                      <a:lnTo>
                        <a:pt x="32" y="136"/>
                      </a:lnTo>
                      <a:lnTo>
                        <a:pt x="34" y="136"/>
                      </a:lnTo>
                      <a:lnTo>
                        <a:pt x="36" y="134"/>
                      </a:lnTo>
                      <a:lnTo>
                        <a:pt x="38" y="134"/>
                      </a:lnTo>
                      <a:lnTo>
                        <a:pt x="40" y="132"/>
                      </a:lnTo>
                      <a:lnTo>
                        <a:pt x="42" y="130"/>
                      </a:lnTo>
                      <a:lnTo>
                        <a:pt x="44" y="128"/>
                      </a:lnTo>
                      <a:lnTo>
                        <a:pt x="44" y="126"/>
                      </a:lnTo>
                      <a:lnTo>
                        <a:pt x="44" y="124"/>
                      </a:lnTo>
                      <a:lnTo>
                        <a:pt x="44" y="122"/>
                      </a:lnTo>
                      <a:lnTo>
                        <a:pt x="42" y="118"/>
                      </a:lnTo>
                      <a:lnTo>
                        <a:pt x="42" y="116"/>
                      </a:lnTo>
                      <a:lnTo>
                        <a:pt x="40" y="114"/>
                      </a:lnTo>
                      <a:lnTo>
                        <a:pt x="40" y="112"/>
                      </a:lnTo>
                      <a:lnTo>
                        <a:pt x="42" y="110"/>
                      </a:lnTo>
                      <a:lnTo>
                        <a:pt x="44" y="108"/>
                      </a:lnTo>
                      <a:lnTo>
                        <a:pt x="46" y="108"/>
                      </a:lnTo>
                      <a:lnTo>
                        <a:pt x="48" y="106"/>
                      </a:lnTo>
                      <a:lnTo>
                        <a:pt x="50" y="104"/>
                      </a:lnTo>
                      <a:lnTo>
                        <a:pt x="50" y="102"/>
                      </a:lnTo>
                      <a:lnTo>
                        <a:pt x="52" y="100"/>
                      </a:lnTo>
                      <a:lnTo>
                        <a:pt x="54" y="98"/>
                      </a:lnTo>
                      <a:lnTo>
                        <a:pt x="56" y="98"/>
                      </a:lnTo>
                      <a:lnTo>
                        <a:pt x="58" y="98"/>
                      </a:lnTo>
                      <a:lnTo>
                        <a:pt x="60" y="96"/>
                      </a:lnTo>
                      <a:lnTo>
                        <a:pt x="62" y="96"/>
                      </a:lnTo>
                      <a:lnTo>
                        <a:pt x="64" y="94"/>
                      </a:lnTo>
                      <a:lnTo>
                        <a:pt x="66" y="92"/>
                      </a:lnTo>
                      <a:lnTo>
                        <a:pt x="66" y="90"/>
                      </a:lnTo>
                      <a:lnTo>
                        <a:pt x="64" y="90"/>
                      </a:lnTo>
                      <a:lnTo>
                        <a:pt x="62" y="90"/>
                      </a:lnTo>
                      <a:lnTo>
                        <a:pt x="62" y="88"/>
                      </a:lnTo>
                      <a:lnTo>
                        <a:pt x="62" y="86"/>
                      </a:lnTo>
                      <a:lnTo>
                        <a:pt x="62" y="84"/>
                      </a:lnTo>
                      <a:lnTo>
                        <a:pt x="62" y="82"/>
                      </a:lnTo>
                      <a:lnTo>
                        <a:pt x="62" y="80"/>
                      </a:lnTo>
                      <a:lnTo>
                        <a:pt x="60" y="80"/>
                      </a:lnTo>
                      <a:lnTo>
                        <a:pt x="58" y="76"/>
                      </a:lnTo>
                      <a:lnTo>
                        <a:pt x="58" y="74"/>
                      </a:lnTo>
                      <a:lnTo>
                        <a:pt x="58" y="72"/>
                      </a:lnTo>
                      <a:lnTo>
                        <a:pt x="56" y="72"/>
                      </a:lnTo>
                      <a:lnTo>
                        <a:pt x="54" y="70"/>
                      </a:lnTo>
                      <a:lnTo>
                        <a:pt x="52" y="72"/>
                      </a:lnTo>
                      <a:lnTo>
                        <a:pt x="52" y="74"/>
                      </a:lnTo>
                      <a:lnTo>
                        <a:pt x="52" y="72"/>
                      </a:lnTo>
                      <a:lnTo>
                        <a:pt x="50" y="70"/>
                      </a:lnTo>
                      <a:lnTo>
                        <a:pt x="48" y="70"/>
                      </a:lnTo>
                      <a:lnTo>
                        <a:pt x="46" y="70"/>
                      </a:lnTo>
                      <a:lnTo>
                        <a:pt x="44" y="68"/>
                      </a:lnTo>
                      <a:lnTo>
                        <a:pt x="42" y="68"/>
                      </a:lnTo>
                      <a:lnTo>
                        <a:pt x="40" y="66"/>
                      </a:lnTo>
                      <a:lnTo>
                        <a:pt x="40" y="64"/>
                      </a:lnTo>
                      <a:lnTo>
                        <a:pt x="40" y="62"/>
                      </a:lnTo>
                      <a:lnTo>
                        <a:pt x="40" y="60"/>
                      </a:lnTo>
                      <a:lnTo>
                        <a:pt x="40" y="58"/>
                      </a:lnTo>
                      <a:lnTo>
                        <a:pt x="42" y="58"/>
                      </a:lnTo>
                      <a:lnTo>
                        <a:pt x="44" y="56"/>
                      </a:lnTo>
                      <a:lnTo>
                        <a:pt x="46" y="54"/>
                      </a:lnTo>
                      <a:lnTo>
                        <a:pt x="48" y="54"/>
                      </a:lnTo>
                      <a:lnTo>
                        <a:pt x="50" y="50"/>
                      </a:lnTo>
                      <a:lnTo>
                        <a:pt x="52" y="48"/>
                      </a:lnTo>
                      <a:lnTo>
                        <a:pt x="54" y="46"/>
                      </a:lnTo>
                      <a:lnTo>
                        <a:pt x="56" y="42"/>
                      </a:lnTo>
                      <a:lnTo>
                        <a:pt x="56" y="40"/>
                      </a:lnTo>
                      <a:lnTo>
                        <a:pt x="58" y="38"/>
                      </a:lnTo>
                      <a:lnTo>
                        <a:pt x="56" y="36"/>
                      </a:lnTo>
                      <a:lnTo>
                        <a:pt x="56" y="34"/>
                      </a:lnTo>
                      <a:lnTo>
                        <a:pt x="54" y="32"/>
                      </a:lnTo>
                      <a:lnTo>
                        <a:pt x="52" y="32"/>
                      </a:lnTo>
                      <a:lnTo>
                        <a:pt x="50" y="30"/>
                      </a:lnTo>
                      <a:lnTo>
                        <a:pt x="48" y="28"/>
                      </a:lnTo>
                      <a:lnTo>
                        <a:pt x="48" y="26"/>
                      </a:lnTo>
                      <a:lnTo>
                        <a:pt x="48" y="24"/>
                      </a:lnTo>
                      <a:lnTo>
                        <a:pt x="48" y="22"/>
                      </a:lnTo>
                      <a:lnTo>
                        <a:pt x="48" y="20"/>
                      </a:lnTo>
                      <a:lnTo>
                        <a:pt x="50" y="18"/>
                      </a:lnTo>
                      <a:lnTo>
                        <a:pt x="50" y="16"/>
                      </a:lnTo>
                      <a:lnTo>
                        <a:pt x="52" y="16"/>
                      </a:lnTo>
                      <a:lnTo>
                        <a:pt x="52" y="14"/>
                      </a:lnTo>
                      <a:lnTo>
                        <a:pt x="54" y="12"/>
                      </a:lnTo>
                      <a:lnTo>
                        <a:pt x="56" y="10"/>
                      </a:lnTo>
                      <a:lnTo>
                        <a:pt x="56" y="8"/>
                      </a:lnTo>
                      <a:lnTo>
                        <a:pt x="56" y="6"/>
                      </a:lnTo>
                      <a:lnTo>
                        <a:pt x="56" y="4"/>
                      </a:lnTo>
                      <a:lnTo>
                        <a:pt x="54" y="4"/>
                      </a:lnTo>
                      <a:lnTo>
                        <a:pt x="52" y="6"/>
                      </a:lnTo>
                      <a:lnTo>
                        <a:pt x="52" y="8"/>
                      </a:lnTo>
                      <a:lnTo>
                        <a:pt x="50" y="8"/>
                      </a:lnTo>
                      <a:lnTo>
                        <a:pt x="48" y="10"/>
                      </a:lnTo>
                      <a:lnTo>
                        <a:pt x="48" y="12"/>
                      </a:lnTo>
                      <a:lnTo>
                        <a:pt x="46" y="14"/>
                      </a:lnTo>
                      <a:lnTo>
                        <a:pt x="44" y="14"/>
                      </a:lnTo>
                      <a:lnTo>
                        <a:pt x="42" y="14"/>
                      </a:lnTo>
                      <a:lnTo>
                        <a:pt x="42" y="12"/>
                      </a:lnTo>
                      <a:lnTo>
                        <a:pt x="40" y="12"/>
                      </a:lnTo>
                      <a:lnTo>
                        <a:pt x="40" y="10"/>
                      </a:lnTo>
                      <a:lnTo>
                        <a:pt x="38" y="10"/>
                      </a:lnTo>
                      <a:lnTo>
                        <a:pt x="40" y="8"/>
                      </a:lnTo>
                      <a:lnTo>
                        <a:pt x="42" y="6"/>
                      </a:lnTo>
                      <a:lnTo>
                        <a:pt x="42" y="4"/>
                      </a:lnTo>
                      <a:lnTo>
                        <a:pt x="42" y="2"/>
                      </a:lnTo>
                      <a:lnTo>
                        <a:pt x="40" y="2"/>
                      </a:lnTo>
                      <a:lnTo>
                        <a:pt x="40" y="0"/>
                      </a:lnTo>
                      <a:lnTo>
                        <a:pt x="36" y="0"/>
                      </a:lnTo>
                      <a:lnTo>
                        <a:pt x="34" y="0"/>
                      </a:lnTo>
                      <a:lnTo>
                        <a:pt x="32" y="0"/>
                      </a:lnTo>
                      <a:lnTo>
                        <a:pt x="28" y="2"/>
                      </a:lnTo>
                      <a:lnTo>
                        <a:pt x="26" y="2"/>
                      </a:lnTo>
                      <a:lnTo>
                        <a:pt x="24" y="4"/>
                      </a:lnTo>
                      <a:lnTo>
                        <a:pt x="22" y="6"/>
                      </a:lnTo>
                      <a:lnTo>
                        <a:pt x="20" y="6"/>
                      </a:lnTo>
                      <a:lnTo>
                        <a:pt x="20" y="8"/>
                      </a:lnTo>
                      <a:lnTo>
                        <a:pt x="20" y="10"/>
                      </a:lnTo>
                      <a:lnTo>
                        <a:pt x="8"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7" name="Freeform 170">
                  <a:extLst>
                    <a:ext uri="{FF2B5EF4-FFF2-40B4-BE49-F238E27FC236}">
                      <a16:creationId xmlns:a16="http://schemas.microsoft.com/office/drawing/2014/main" id="{44FC8E4A-1BCB-46FC-8743-7F836B482225}"/>
                    </a:ext>
                  </a:extLst>
                </p:cNvPr>
                <p:cNvSpPr>
                  <a:spLocks noChangeAspect="1"/>
                </p:cNvSpPr>
                <p:nvPr/>
              </p:nvSpPr>
              <p:spPr bwMode="auto">
                <a:xfrm>
                  <a:off x="5820265" y="3364421"/>
                  <a:ext cx="129905" cy="136029"/>
                </a:xfrm>
                <a:custGeom>
                  <a:avLst/>
                  <a:gdLst/>
                  <a:ahLst/>
                  <a:cxnLst>
                    <a:cxn ang="0">
                      <a:pos x="70" y="30"/>
                    </a:cxn>
                    <a:cxn ang="0">
                      <a:pos x="72" y="34"/>
                    </a:cxn>
                    <a:cxn ang="0">
                      <a:pos x="76" y="34"/>
                    </a:cxn>
                    <a:cxn ang="0">
                      <a:pos x="78" y="32"/>
                    </a:cxn>
                    <a:cxn ang="0">
                      <a:pos x="78" y="28"/>
                    </a:cxn>
                    <a:cxn ang="0">
                      <a:pos x="76" y="20"/>
                    </a:cxn>
                    <a:cxn ang="0">
                      <a:pos x="76" y="14"/>
                    </a:cxn>
                    <a:cxn ang="0">
                      <a:pos x="76" y="2"/>
                    </a:cxn>
                    <a:cxn ang="0">
                      <a:pos x="74" y="0"/>
                    </a:cxn>
                    <a:cxn ang="0">
                      <a:pos x="72" y="2"/>
                    </a:cxn>
                    <a:cxn ang="0">
                      <a:pos x="68" y="12"/>
                    </a:cxn>
                    <a:cxn ang="0">
                      <a:pos x="66" y="18"/>
                    </a:cxn>
                    <a:cxn ang="0">
                      <a:pos x="64" y="18"/>
                    </a:cxn>
                    <a:cxn ang="0">
                      <a:pos x="64" y="20"/>
                    </a:cxn>
                    <a:cxn ang="0">
                      <a:pos x="58" y="22"/>
                    </a:cxn>
                    <a:cxn ang="0">
                      <a:pos x="54" y="28"/>
                    </a:cxn>
                    <a:cxn ang="0">
                      <a:pos x="48" y="34"/>
                    </a:cxn>
                    <a:cxn ang="0">
                      <a:pos x="46" y="36"/>
                    </a:cxn>
                    <a:cxn ang="0">
                      <a:pos x="46" y="40"/>
                    </a:cxn>
                    <a:cxn ang="0">
                      <a:pos x="44" y="46"/>
                    </a:cxn>
                    <a:cxn ang="0">
                      <a:pos x="42" y="46"/>
                    </a:cxn>
                    <a:cxn ang="0">
                      <a:pos x="36" y="46"/>
                    </a:cxn>
                    <a:cxn ang="0">
                      <a:pos x="26" y="46"/>
                    </a:cxn>
                    <a:cxn ang="0">
                      <a:pos x="22" y="46"/>
                    </a:cxn>
                    <a:cxn ang="0">
                      <a:pos x="16" y="48"/>
                    </a:cxn>
                    <a:cxn ang="0">
                      <a:pos x="10" y="50"/>
                    </a:cxn>
                    <a:cxn ang="0">
                      <a:pos x="4" y="50"/>
                    </a:cxn>
                    <a:cxn ang="0">
                      <a:pos x="0" y="46"/>
                    </a:cxn>
                    <a:cxn ang="0">
                      <a:pos x="2" y="52"/>
                    </a:cxn>
                    <a:cxn ang="0">
                      <a:pos x="4" y="54"/>
                    </a:cxn>
                    <a:cxn ang="0">
                      <a:pos x="10" y="64"/>
                    </a:cxn>
                    <a:cxn ang="0">
                      <a:pos x="16" y="70"/>
                    </a:cxn>
                    <a:cxn ang="0">
                      <a:pos x="18" y="72"/>
                    </a:cxn>
                    <a:cxn ang="0">
                      <a:pos x="22" y="72"/>
                    </a:cxn>
                    <a:cxn ang="0">
                      <a:pos x="30" y="74"/>
                    </a:cxn>
                    <a:cxn ang="0">
                      <a:pos x="42" y="74"/>
                    </a:cxn>
                    <a:cxn ang="0">
                      <a:pos x="56" y="76"/>
                    </a:cxn>
                    <a:cxn ang="0">
                      <a:pos x="62" y="74"/>
                    </a:cxn>
                    <a:cxn ang="0">
                      <a:pos x="60" y="70"/>
                    </a:cxn>
                    <a:cxn ang="0">
                      <a:pos x="62" y="64"/>
                    </a:cxn>
                    <a:cxn ang="0">
                      <a:pos x="64" y="60"/>
                    </a:cxn>
                    <a:cxn ang="0">
                      <a:pos x="64" y="58"/>
                    </a:cxn>
                    <a:cxn ang="0">
                      <a:pos x="66" y="52"/>
                    </a:cxn>
                    <a:cxn ang="0">
                      <a:pos x="66" y="48"/>
                    </a:cxn>
                    <a:cxn ang="0">
                      <a:pos x="68" y="48"/>
                    </a:cxn>
                    <a:cxn ang="0">
                      <a:pos x="70" y="48"/>
                    </a:cxn>
                    <a:cxn ang="0">
                      <a:pos x="70" y="46"/>
                    </a:cxn>
                    <a:cxn ang="0">
                      <a:pos x="66" y="42"/>
                    </a:cxn>
                    <a:cxn ang="0">
                      <a:pos x="66" y="38"/>
                    </a:cxn>
                    <a:cxn ang="0">
                      <a:pos x="68" y="32"/>
                    </a:cxn>
                    <a:cxn ang="0">
                      <a:pos x="70" y="30"/>
                    </a:cxn>
                  </a:cxnLst>
                  <a:rect l="0" t="0" r="r" b="b"/>
                  <a:pathLst>
                    <a:path w="78" h="78">
                      <a:moveTo>
                        <a:pt x="70" y="30"/>
                      </a:moveTo>
                      <a:lnTo>
                        <a:pt x="70" y="30"/>
                      </a:lnTo>
                      <a:lnTo>
                        <a:pt x="72" y="32"/>
                      </a:lnTo>
                      <a:lnTo>
                        <a:pt x="72" y="34"/>
                      </a:lnTo>
                      <a:lnTo>
                        <a:pt x="74" y="34"/>
                      </a:lnTo>
                      <a:lnTo>
                        <a:pt x="76" y="34"/>
                      </a:lnTo>
                      <a:lnTo>
                        <a:pt x="78" y="34"/>
                      </a:lnTo>
                      <a:lnTo>
                        <a:pt x="78" y="32"/>
                      </a:lnTo>
                      <a:lnTo>
                        <a:pt x="78" y="28"/>
                      </a:lnTo>
                      <a:lnTo>
                        <a:pt x="76" y="24"/>
                      </a:lnTo>
                      <a:lnTo>
                        <a:pt x="76" y="22"/>
                      </a:lnTo>
                      <a:lnTo>
                        <a:pt x="76" y="20"/>
                      </a:lnTo>
                      <a:lnTo>
                        <a:pt x="76" y="18"/>
                      </a:lnTo>
                      <a:lnTo>
                        <a:pt x="76" y="16"/>
                      </a:lnTo>
                      <a:lnTo>
                        <a:pt x="76" y="14"/>
                      </a:lnTo>
                      <a:lnTo>
                        <a:pt x="76" y="8"/>
                      </a:lnTo>
                      <a:lnTo>
                        <a:pt x="76" y="4"/>
                      </a:lnTo>
                      <a:lnTo>
                        <a:pt x="76" y="2"/>
                      </a:lnTo>
                      <a:lnTo>
                        <a:pt x="76" y="0"/>
                      </a:lnTo>
                      <a:lnTo>
                        <a:pt x="74" y="0"/>
                      </a:lnTo>
                      <a:lnTo>
                        <a:pt x="74" y="2"/>
                      </a:lnTo>
                      <a:lnTo>
                        <a:pt x="72" y="2"/>
                      </a:lnTo>
                      <a:lnTo>
                        <a:pt x="70" y="6"/>
                      </a:lnTo>
                      <a:lnTo>
                        <a:pt x="70" y="8"/>
                      </a:lnTo>
                      <a:lnTo>
                        <a:pt x="68" y="12"/>
                      </a:lnTo>
                      <a:lnTo>
                        <a:pt x="66" y="16"/>
                      </a:lnTo>
                      <a:lnTo>
                        <a:pt x="66" y="18"/>
                      </a:lnTo>
                      <a:lnTo>
                        <a:pt x="64" y="18"/>
                      </a:lnTo>
                      <a:lnTo>
                        <a:pt x="64" y="20"/>
                      </a:lnTo>
                      <a:lnTo>
                        <a:pt x="60" y="20"/>
                      </a:lnTo>
                      <a:lnTo>
                        <a:pt x="60" y="22"/>
                      </a:lnTo>
                      <a:lnTo>
                        <a:pt x="58" y="22"/>
                      </a:lnTo>
                      <a:lnTo>
                        <a:pt x="56" y="26"/>
                      </a:lnTo>
                      <a:lnTo>
                        <a:pt x="54" y="28"/>
                      </a:lnTo>
                      <a:lnTo>
                        <a:pt x="52" y="30"/>
                      </a:lnTo>
                      <a:lnTo>
                        <a:pt x="50" y="32"/>
                      </a:lnTo>
                      <a:lnTo>
                        <a:pt x="48" y="34"/>
                      </a:lnTo>
                      <a:lnTo>
                        <a:pt x="46" y="36"/>
                      </a:lnTo>
                      <a:lnTo>
                        <a:pt x="46" y="38"/>
                      </a:lnTo>
                      <a:lnTo>
                        <a:pt x="46" y="40"/>
                      </a:lnTo>
                      <a:lnTo>
                        <a:pt x="46" y="42"/>
                      </a:lnTo>
                      <a:lnTo>
                        <a:pt x="44" y="44"/>
                      </a:lnTo>
                      <a:lnTo>
                        <a:pt x="44" y="46"/>
                      </a:lnTo>
                      <a:lnTo>
                        <a:pt x="42" y="46"/>
                      </a:lnTo>
                      <a:lnTo>
                        <a:pt x="40" y="46"/>
                      </a:lnTo>
                      <a:lnTo>
                        <a:pt x="38" y="46"/>
                      </a:lnTo>
                      <a:lnTo>
                        <a:pt x="36" y="46"/>
                      </a:lnTo>
                      <a:lnTo>
                        <a:pt x="32" y="46"/>
                      </a:lnTo>
                      <a:lnTo>
                        <a:pt x="28" y="46"/>
                      </a:lnTo>
                      <a:lnTo>
                        <a:pt x="26" y="46"/>
                      </a:lnTo>
                      <a:lnTo>
                        <a:pt x="22" y="46"/>
                      </a:lnTo>
                      <a:lnTo>
                        <a:pt x="20" y="46"/>
                      </a:lnTo>
                      <a:lnTo>
                        <a:pt x="18" y="46"/>
                      </a:lnTo>
                      <a:lnTo>
                        <a:pt x="16" y="48"/>
                      </a:lnTo>
                      <a:lnTo>
                        <a:pt x="14" y="48"/>
                      </a:lnTo>
                      <a:lnTo>
                        <a:pt x="12" y="50"/>
                      </a:lnTo>
                      <a:lnTo>
                        <a:pt x="10" y="50"/>
                      </a:lnTo>
                      <a:lnTo>
                        <a:pt x="8" y="50"/>
                      </a:lnTo>
                      <a:lnTo>
                        <a:pt x="6" y="50"/>
                      </a:lnTo>
                      <a:lnTo>
                        <a:pt x="4" y="50"/>
                      </a:lnTo>
                      <a:lnTo>
                        <a:pt x="2" y="48"/>
                      </a:lnTo>
                      <a:lnTo>
                        <a:pt x="0" y="46"/>
                      </a:lnTo>
                      <a:lnTo>
                        <a:pt x="0" y="48"/>
                      </a:lnTo>
                      <a:lnTo>
                        <a:pt x="0" y="50"/>
                      </a:lnTo>
                      <a:lnTo>
                        <a:pt x="2" y="52"/>
                      </a:lnTo>
                      <a:lnTo>
                        <a:pt x="2" y="54"/>
                      </a:lnTo>
                      <a:lnTo>
                        <a:pt x="4" y="54"/>
                      </a:lnTo>
                      <a:lnTo>
                        <a:pt x="4" y="56"/>
                      </a:lnTo>
                      <a:lnTo>
                        <a:pt x="8" y="60"/>
                      </a:lnTo>
                      <a:lnTo>
                        <a:pt x="10" y="64"/>
                      </a:lnTo>
                      <a:lnTo>
                        <a:pt x="14" y="66"/>
                      </a:lnTo>
                      <a:lnTo>
                        <a:pt x="16" y="70"/>
                      </a:lnTo>
                      <a:lnTo>
                        <a:pt x="18" y="72"/>
                      </a:lnTo>
                      <a:lnTo>
                        <a:pt x="20" y="72"/>
                      </a:lnTo>
                      <a:lnTo>
                        <a:pt x="22" y="72"/>
                      </a:lnTo>
                      <a:lnTo>
                        <a:pt x="24" y="72"/>
                      </a:lnTo>
                      <a:lnTo>
                        <a:pt x="26" y="72"/>
                      </a:lnTo>
                      <a:lnTo>
                        <a:pt x="30" y="74"/>
                      </a:lnTo>
                      <a:lnTo>
                        <a:pt x="32" y="74"/>
                      </a:lnTo>
                      <a:lnTo>
                        <a:pt x="36" y="74"/>
                      </a:lnTo>
                      <a:lnTo>
                        <a:pt x="42" y="74"/>
                      </a:lnTo>
                      <a:lnTo>
                        <a:pt x="50" y="76"/>
                      </a:lnTo>
                      <a:lnTo>
                        <a:pt x="54" y="76"/>
                      </a:lnTo>
                      <a:lnTo>
                        <a:pt x="56" y="76"/>
                      </a:lnTo>
                      <a:lnTo>
                        <a:pt x="60" y="78"/>
                      </a:lnTo>
                      <a:lnTo>
                        <a:pt x="62" y="78"/>
                      </a:lnTo>
                      <a:lnTo>
                        <a:pt x="62" y="74"/>
                      </a:lnTo>
                      <a:lnTo>
                        <a:pt x="60" y="72"/>
                      </a:lnTo>
                      <a:lnTo>
                        <a:pt x="60" y="70"/>
                      </a:lnTo>
                      <a:lnTo>
                        <a:pt x="60" y="68"/>
                      </a:lnTo>
                      <a:lnTo>
                        <a:pt x="62" y="64"/>
                      </a:lnTo>
                      <a:lnTo>
                        <a:pt x="62" y="62"/>
                      </a:lnTo>
                      <a:lnTo>
                        <a:pt x="64" y="60"/>
                      </a:lnTo>
                      <a:lnTo>
                        <a:pt x="64" y="58"/>
                      </a:lnTo>
                      <a:lnTo>
                        <a:pt x="64" y="56"/>
                      </a:lnTo>
                      <a:lnTo>
                        <a:pt x="64" y="54"/>
                      </a:lnTo>
                      <a:lnTo>
                        <a:pt x="66" y="52"/>
                      </a:lnTo>
                      <a:lnTo>
                        <a:pt x="66" y="50"/>
                      </a:lnTo>
                      <a:lnTo>
                        <a:pt x="66" y="48"/>
                      </a:lnTo>
                      <a:lnTo>
                        <a:pt x="68" y="48"/>
                      </a:lnTo>
                      <a:lnTo>
                        <a:pt x="70" y="48"/>
                      </a:lnTo>
                      <a:lnTo>
                        <a:pt x="70" y="46"/>
                      </a:lnTo>
                      <a:lnTo>
                        <a:pt x="68" y="44"/>
                      </a:lnTo>
                      <a:lnTo>
                        <a:pt x="66" y="42"/>
                      </a:lnTo>
                      <a:lnTo>
                        <a:pt x="66" y="40"/>
                      </a:lnTo>
                      <a:lnTo>
                        <a:pt x="66" y="38"/>
                      </a:lnTo>
                      <a:lnTo>
                        <a:pt x="66" y="36"/>
                      </a:lnTo>
                      <a:lnTo>
                        <a:pt x="68" y="34"/>
                      </a:lnTo>
                      <a:lnTo>
                        <a:pt x="68" y="32"/>
                      </a:lnTo>
                      <a:lnTo>
                        <a:pt x="68" y="30"/>
                      </a:lnTo>
                      <a:lnTo>
                        <a:pt x="70" y="3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8" name="Freeform 54">
                  <a:extLst>
                    <a:ext uri="{FF2B5EF4-FFF2-40B4-BE49-F238E27FC236}">
                      <a16:creationId xmlns:a16="http://schemas.microsoft.com/office/drawing/2014/main" id="{80C36551-A335-4C36-8C4F-5FD61434D1CF}"/>
                    </a:ext>
                  </a:extLst>
                </p:cNvPr>
                <p:cNvSpPr>
                  <a:spLocks noChangeAspect="1"/>
                </p:cNvSpPr>
                <p:nvPr/>
              </p:nvSpPr>
              <p:spPr bwMode="auto">
                <a:xfrm>
                  <a:off x="5580188" y="4665418"/>
                  <a:ext cx="236788" cy="455175"/>
                </a:xfrm>
                <a:custGeom>
                  <a:avLst/>
                  <a:gdLst/>
                  <a:ahLst/>
                  <a:cxnLst>
                    <a:cxn ang="0">
                      <a:pos x="36" y="76"/>
                    </a:cxn>
                    <a:cxn ang="0">
                      <a:pos x="44" y="78"/>
                    </a:cxn>
                    <a:cxn ang="0">
                      <a:pos x="46" y="76"/>
                    </a:cxn>
                    <a:cxn ang="0">
                      <a:pos x="46" y="72"/>
                    </a:cxn>
                    <a:cxn ang="0">
                      <a:pos x="58" y="74"/>
                    </a:cxn>
                    <a:cxn ang="0">
                      <a:pos x="62" y="72"/>
                    </a:cxn>
                    <a:cxn ang="0">
                      <a:pos x="66" y="68"/>
                    </a:cxn>
                    <a:cxn ang="0">
                      <a:pos x="76" y="68"/>
                    </a:cxn>
                    <a:cxn ang="0">
                      <a:pos x="76" y="64"/>
                    </a:cxn>
                    <a:cxn ang="0">
                      <a:pos x="78" y="58"/>
                    </a:cxn>
                    <a:cxn ang="0">
                      <a:pos x="80" y="56"/>
                    </a:cxn>
                    <a:cxn ang="0">
                      <a:pos x="80" y="62"/>
                    </a:cxn>
                    <a:cxn ang="0">
                      <a:pos x="82" y="66"/>
                    </a:cxn>
                    <a:cxn ang="0">
                      <a:pos x="84" y="58"/>
                    </a:cxn>
                    <a:cxn ang="0">
                      <a:pos x="84" y="52"/>
                    </a:cxn>
                    <a:cxn ang="0">
                      <a:pos x="88" y="44"/>
                    </a:cxn>
                    <a:cxn ang="0">
                      <a:pos x="90" y="50"/>
                    </a:cxn>
                    <a:cxn ang="0">
                      <a:pos x="96" y="44"/>
                    </a:cxn>
                    <a:cxn ang="0">
                      <a:pos x="96" y="34"/>
                    </a:cxn>
                    <a:cxn ang="0">
                      <a:pos x="102" y="32"/>
                    </a:cxn>
                    <a:cxn ang="0">
                      <a:pos x="106" y="28"/>
                    </a:cxn>
                    <a:cxn ang="0">
                      <a:pos x="112" y="14"/>
                    </a:cxn>
                    <a:cxn ang="0">
                      <a:pos x="116" y="4"/>
                    </a:cxn>
                    <a:cxn ang="0">
                      <a:pos x="122" y="2"/>
                    </a:cxn>
                    <a:cxn ang="0">
                      <a:pos x="130" y="12"/>
                    </a:cxn>
                    <a:cxn ang="0">
                      <a:pos x="132" y="16"/>
                    </a:cxn>
                    <a:cxn ang="0">
                      <a:pos x="134" y="22"/>
                    </a:cxn>
                    <a:cxn ang="0">
                      <a:pos x="140" y="38"/>
                    </a:cxn>
                    <a:cxn ang="0">
                      <a:pos x="138" y="44"/>
                    </a:cxn>
                    <a:cxn ang="0">
                      <a:pos x="136" y="52"/>
                    </a:cxn>
                    <a:cxn ang="0">
                      <a:pos x="138" y="56"/>
                    </a:cxn>
                    <a:cxn ang="0">
                      <a:pos x="144" y="68"/>
                    </a:cxn>
                    <a:cxn ang="0">
                      <a:pos x="136" y="68"/>
                    </a:cxn>
                    <a:cxn ang="0">
                      <a:pos x="128" y="68"/>
                    </a:cxn>
                    <a:cxn ang="0">
                      <a:pos x="126" y="76"/>
                    </a:cxn>
                    <a:cxn ang="0">
                      <a:pos x="128" y="80"/>
                    </a:cxn>
                    <a:cxn ang="0">
                      <a:pos x="118" y="90"/>
                    </a:cxn>
                    <a:cxn ang="0">
                      <a:pos x="120" y="106"/>
                    </a:cxn>
                    <a:cxn ang="0">
                      <a:pos x="116" y="120"/>
                    </a:cxn>
                    <a:cxn ang="0">
                      <a:pos x="104" y="152"/>
                    </a:cxn>
                    <a:cxn ang="0">
                      <a:pos x="80" y="200"/>
                    </a:cxn>
                    <a:cxn ang="0">
                      <a:pos x="76" y="216"/>
                    </a:cxn>
                    <a:cxn ang="0">
                      <a:pos x="74" y="220"/>
                    </a:cxn>
                    <a:cxn ang="0">
                      <a:pos x="70" y="238"/>
                    </a:cxn>
                    <a:cxn ang="0">
                      <a:pos x="56" y="252"/>
                    </a:cxn>
                    <a:cxn ang="0">
                      <a:pos x="48" y="254"/>
                    </a:cxn>
                    <a:cxn ang="0">
                      <a:pos x="44" y="254"/>
                    </a:cxn>
                    <a:cxn ang="0">
                      <a:pos x="32" y="260"/>
                    </a:cxn>
                    <a:cxn ang="0">
                      <a:pos x="18" y="252"/>
                    </a:cxn>
                    <a:cxn ang="0">
                      <a:pos x="8" y="242"/>
                    </a:cxn>
                    <a:cxn ang="0">
                      <a:pos x="14" y="236"/>
                    </a:cxn>
                    <a:cxn ang="0">
                      <a:pos x="12" y="232"/>
                    </a:cxn>
                    <a:cxn ang="0">
                      <a:pos x="6" y="220"/>
                    </a:cxn>
                    <a:cxn ang="0">
                      <a:pos x="0" y="198"/>
                    </a:cxn>
                    <a:cxn ang="0">
                      <a:pos x="2" y="180"/>
                    </a:cxn>
                    <a:cxn ang="0">
                      <a:pos x="14" y="170"/>
                    </a:cxn>
                    <a:cxn ang="0">
                      <a:pos x="26" y="156"/>
                    </a:cxn>
                    <a:cxn ang="0">
                      <a:pos x="26" y="152"/>
                    </a:cxn>
                    <a:cxn ang="0">
                      <a:pos x="24" y="130"/>
                    </a:cxn>
                    <a:cxn ang="0">
                      <a:pos x="22" y="114"/>
                    </a:cxn>
                    <a:cxn ang="0">
                      <a:pos x="22" y="96"/>
                    </a:cxn>
                    <a:cxn ang="0">
                      <a:pos x="32" y="86"/>
                    </a:cxn>
                  </a:cxnLst>
                  <a:rect l="0" t="0" r="r" b="b"/>
                  <a:pathLst>
                    <a:path w="144" h="260">
                      <a:moveTo>
                        <a:pt x="30" y="78"/>
                      </a:moveTo>
                      <a:lnTo>
                        <a:pt x="32" y="78"/>
                      </a:lnTo>
                      <a:lnTo>
                        <a:pt x="34" y="78"/>
                      </a:lnTo>
                      <a:lnTo>
                        <a:pt x="36" y="78"/>
                      </a:lnTo>
                      <a:lnTo>
                        <a:pt x="36" y="76"/>
                      </a:lnTo>
                      <a:lnTo>
                        <a:pt x="38" y="78"/>
                      </a:lnTo>
                      <a:lnTo>
                        <a:pt x="40" y="78"/>
                      </a:lnTo>
                      <a:lnTo>
                        <a:pt x="42" y="78"/>
                      </a:lnTo>
                      <a:lnTo>
                        <a:pt x="44" y="78"/>
                      </a:lnTo>
                      <a:lnTo>
                        <a:pt x="46" y="78"/>
                      </a:lnTo>
                      <a:lnTo>
                        <a:pt x="46" y="76"/>
                      </a:lnTo>
                      <a:lnTo>
                        <a:pt x="46" y="74"/>
                      </a:lnTo>
                      <a:lnTo>
                        <a:pt x="46" y="72"/>
                      </a:lnTo>
                      <a:lnTo>
                        <a:pt x="50" y="72"/>
                      </a:lnTo>
                      <a:lnTo>
                        <a:pt x="52" y="72"/>
                      </a:lnTo>
                      <a:lnTo>
                        <a:pt x="54" y="74"/>
                      </a:lnTo>
                      <a:lnTo>
                        <a:pt x="56" y="74"/>
                      </a:lnTo>
                      <a:lnTo>
                        <a:pt x="58" y="74"/>
                      </a:lnTo>
                      <a:lnTo>
                        <a:pt x="60" y="74"/>
                      </a:lnTo>
                      <a:lnTo>
                        <a:pt x="62" y="74"/>
                      </a:lnTo>
                      <a:lnTo>
                        <a:pt x="62" y="72"/>
                      </a:lnTo>
                      <a:lnTo>
                        <a:pt x="64" y="70"/>
                      </a:lnTo>
                      <a:lnTo>
                        <a:pt x="64" y="68"/>
                      </a:lnTo>
                      <a:lnTo>
                        <a:pt x="66" y="68"/>
                      </a:lnTo>
                      <a:lnTo>
                        <a:pt x="68" y="68"/>
                      </a:lnTo>
                      <a:lnTo>
                        <a:pt x="72" y="68"/>
                      </a:lnTo>
                      <a:lnTo>
                        <a:pt x="74" y="68"/>
                      </a:lnTo>
                      <a:lnTo>
                        <a:pt x="76" y="68"/>
                      </a:lnTo>
                      <a:lnTo>
                        <a:pt x="76" y="70"/>
                      </a:lnTo>
                      <a:lnTo>
                        <a:pt x="76" y="66"/>
                      </a:lnTo>
                      <a:lnTo>
                        <a:pt x="76" y="64"/>
                      </a:lnTo>
                      <a:lnTo>
                        <a:pt x="76" y="62"/>
                      </a:lnTo>
                      <a:lnTo>
                        <a:pt x="76" y="60"/>
                      </a:lnTo>
                      <a:lnTo>
                        <a:pt x="78" y="58"/>
                      </a:lnTo>
                      <a:lnTo>
                        <a:pt x="78" y="56"/>
                      </a:lnTo>
                      <a:lnTo>
                        <a:pt x="78" y="54"/>
                      </a:lnTo>
                      <a:lnTo>
                        <a:pt x="80" y="56"/>
                      </a:lnTo>
                      <a:lnTo>
                        <a:pt x="80" y="58"/>
                      </a:lnTo>
                      <a:lnTo>
                        <a:pt x="80" y="60"/>
                      </a:lnTo>
                      <a:lnTo>
                        <a:pt x="80" y="62"/>
                      </a:lnTo>
                      <a:lnTo>
                        <a:pt x="80" y="64"/>
                      </a:lnTo>
                      <a:lnTo>
                        <a:pt x="82" y="66"/>
                      </a:lnTo>
                      <a:lnTo>
                        <a:pt x="82" y="64"/>
                      </a:lnTo>
                      <a:lnTo>
                        <a:pt x="84" y="60"/>
                      </a:lnTo>
                      <a:lnTo>
                        <a:pt x="84" y="58"/>
                      </a:lnTo>
                      <a:lnTo>
                        <a:pt x="84" y="56"/>
                      </a:lnTo>
                      <a:lnTo>
                        <a:pt x="84" y="54"/>
                      </a:lnTo>
                      <a:lnTo>
                        <a:pt x="84" y="52"/>
                      </a:lnTo>
                      <a:lnTo>
                        <a:pt x="86" y="50"/>
                      </a:lnTo>
                      <a:lnTo>
                        <a:pt x="86" y="48"/>
                      </a:lnTo>
                      <a:lnTo>
                        <a:pt x="86" y="46"/>
                      </a:lnTo>
                      <a:lnTo>
                        <a:pt x="86" y="44"/>
                      </a:lnTo>
                      <a:lnTo>
                        <a:pt x="88" y="44"/>
                      </a:lnTo>
                      <a:lnTo>
                        <a:pt x="90" y="46"/>
                      </a:lnTo>
                      <a:lnTo>
                        <a:pt x="90" y="48"/>
                      </a:lnTo>
                      <a:lnTo>
                        <a:pt x="90" y="50"/>
                      </a:lnTo>
                      <a:lnTo>
                        <a:pt x="92" y="48"/>
                      </a:lnTo>
                      <a:lnTo>
                        <a:pt x="94" y="46"/>
                      </a:lnTo>
                      <a:lnTo>
                        <a:pt x="96" y="46"/>
                      </a:lnTo>
                      <a:lnTo>
                        <a:pt x="96" y="44"/>
                      </a:lnTo>
                      <a:lnTo>
                        <a:pt x="96" y="42"/>
                      </a:lnTo>
                      <a:lnTo>
                        <a:pt x="96" y="40"/>
                      </a:lnTo>
                      <a:lnTo>
                        <a:pt x="96" y="38"/>
                      </a:lnTo>
                      <a:lnTo>
                        <a:pt x="96" y="36"/>
                      </a:lnTo>
                      <a:lnTo>
                        <a:pt x="96" y="34"/>
                      </a:lnTo>
                      <a:lnTo>
                        <a:pt x="96" y="32"/>
                      </a:lnTo>
                      <a:lnTo>
                        <a:pt x="98" y="30"/>
                      </a:lnTo>
                      <a:lnTo>
                        <a:pt x="100" y="30"/>
                      </a:lnTo>
                      <a:lnTo>
                        <a:pt x="100" y="32"/>
                      </a:lnTo>
                      <a:lnTo>
                        <a:pt x="102" y="32"/>
                      </a:lnTo>
                      <a:lnTo>
                        <a:pt x="104" y="32"/>
                      </a:lnTo>
                      <a:lnTo>
                        <a:pt x="104" y="30"/>
                      </a:lnTo>
                      <a:lnTo>
                        <a:pt x="106" y="28"/>
                      </a:lnTo>
                      <a:lnTo>
                        <a:pt x="108" y="26"/>
                      </a:lnTo>
                      <a:lnTo>
                        <a:pt x="110" y="24"/>
                      </a:lnTo>
                      <a:lnTo>
                        <a:pt x="112" y="22"/>
                      </a:lnTo>
                      <a:lnTo>
                        <a:pt x="112" y="20"/>
                      </a:lnTo>
                      <a:lnTo>
                        <a:pt x="112" y="18"/>
                      </a:lnTo>
                      <a:lnTo>
                        <a:pt x="112" y="14"/>
                      </a:lnTo>
                      <a:lnTo>
                        <a:pt x="112" y="12"/>
                      </a:lnTo>
                      <a:lnTo>
                        <a:pt x="112" y="10"/>
                      </a:lnTo>
                      <a:lnTo>
                        <a:pt x="114" y="6"/>
                      </a:lnTo>
                      <a:lnTo>
                        <a:pt x="116" y="4"/>
                      </a:lnTo>
                      <a:lnTo>
                        <a:pt x="118" y="2"/>
                      </a:lnTo>
                      <a:lnTo>
                        <a:pt x="118" y="0"/>
                      </a:lnTo>
                      <a:lnTo>
                        <a:pt x="120" y="0"/>
                      </a:lnTo>
                      <a:lnTo>
                        <a:pt x="122" y="2"/>
                      </a:lnTo>
                      <a:lnTo>
                        <a:pt x="124" y="6"/>
                      </a:lnTo>
                      <a:lnTo>
                        <a:pt x="126" y="8"/>
                      </a:lnTo>
                      <a:lnTo>
                        <a:pt x="126" y="10"/>
                      </a:lnTo>
                      <a:lnTo>
                        <a:pt x="128" y="10"/>
                      </a:lnTo>
                      <a:lnTo>
                        <a:pt x="130" y="12"/>
                      </a:lnTo>
                      <a:lnTo>
                        <a:pt x="132" y="14"/>
                      </a:lnTo>
                      <a:lnTo>
                        <a:pt x="132" y="16"/>
                      </a:lnTo>
                      <a:lnTo>
                        <a:pt x="132" y="18"/>
                      </a:lnTo>
                      <a:lnTo>
                        <a:pt x="132" y="20"/>
                      </a:lnTo>
                      <a:lnTo>
                        <a:pt x="134" y="22"/>
                      </a:lnTo>
                      <a:lnTo>
                        <a:pt x="134" y="24"/>
                      </a:lnTo>
                      <a:lnTo>
                        <a:pt x="136" y="28"/>
                      </a:lnTo>
                      <a:lnTo>
                        <a:pt x="136" y="30"/>
                      </a:lnTo>
                      <a:lnTo>
                        <a:pt x="138" y="34"/>
                      </a:lnTo>
                      <a:lnTo>
                        <a:pt x="138" y="36"/>
                      </a:lnTo>
                      <a:lnTo>
                        <a:pt x="140" y="38"/>
                      </a:lnTo>
                      <a:lnTo>
                        <a:pt x="140" y="40"/>
                      </a:lnTo>
                      <a:lnTo>
                        <a:pt x="140" y="42"/>
                      </a:lnTo>
                      <a:lnTo>
                        <a:pt x="138" y="44"/>
                      </a:lnTo>
                      <a:lnTo>
                        <a:pt x="138" y="46"/>
                      </a:lnTo>
                      <a:lnTo>
                        <a:pt x="138" y="48"/>
                      </a:lnTo>
                      <a:lnTo>
                        <a:pt x="138" y="50"/>
                      </a:lnTo>
                      <a:lnTo>
                        <a:pt x="136" y="50"/>
                      </a:lnTo>
                      <a:lnTo>
                        <a:pt x="136" y="52"/>
                      </a:lnTo>
                      <a:lnTo>
                        <a:pt x="138" y="52"/>
                      </a:lnTo>
                      <a:lnTo>
                        <a:pt x="138" y="54"/>
                      </a:lnTo>
                      <a:lnTo>
                        <a:pt x="138" y="56"/>
                      </a:lnTo>
                      <a:lnTo>
                        <a:pt x="140" y="60"/>
                      </a:lnTo>
                      <a:lnTo>
                        <a:pt x="142" y="62"/>
                      </a:lnTo>
                      <a:lnTo>
                        <a:pt x="142" y="66"/>
                      </a:lnTo>
                      <a:lnTo>
                        <a:pt x="144" y="66"/>
                      </a:lnTo>
                      <a:lnTo>
                        <a:pt x="144" y="68"/>
                      </a:lnTo>
                      <a:lnTo>
                        <a:pt x="142" y="70"/>
                      </a:lnTo>
                      <a:lnTo>
                        <a:pt x="140" y="70"/>
                      </a:lnTo>
                      <a:lnTo>
                        <a:pt x="138" y="70"/>
                      </a:lnTo>
                      <a:lnTo>
                        <a:pt x="138" y="68"/>
                      </a:lnTo>
                      <a:lnTo>
                        <a:pt x="136" y="68"/>
                      </a:lnTo>
                      <a:lnTo>
                        <a:pt x="134" y="68"/>
                      </a:lnTo>
                      <a:lnTo>
                        <a:pt x="132" y="68"/>
                      </a:lnTo>
                      <a:lnTo>
                        <a:pt x="130" y="68"/>
                      </a:lnTo>
                      <a:lnTo>
                        <a:pt x="128" y="68"/>
                      </a:lnTo>
                      <a:lnTo>
                        <a:pt x="126" y="68"/>
                      </a:lnTo>
                      <a:lnTo>
                        <a:pt x="126" y="70"/>
                      </a:lnTo>
                      <a:lnTo>
                        <a:pt x="126" y="72"/>
                      </a:lnTo>
                      <a:lnTo>
                        <a:pt x="126" y="76"/>
                      </a:lnTo>
                      <a:lnTo>
                        <a:pt x="128" y="76"/>
                      </a:lnTo>
                      <a:lnTo>
                        <a:pt x="128" y="78"/>
                      </a:lnTo>
                      <a:lnTo>
                        <a:pt x="128" y="80"/>
                      </a:lnTo>
                      <a:lnTo>
                        <a:pt x="126" y="80"/>
                      </a:lnTo>
                      <a:lnTo>
                        <a:pt x="124" y="82"/>
                      </a:lnTo>
                      <a:lnTo>
                        <a:pt x="124" y="84"/>
                      </a:lnTo>
                      <a:lnTo>
                        <a:pt x="122" y="86"/>
                      </a:lnTo>
                      <a:lnTo>
                        <a:pt x="120" y="88"/>
                      </a:lnTo>
                      <a:lnTo>
                        <a:pt x="118" y="90"/>
                      </a:lnTo>
                      <a:lnTo>
                        <a:pt x="118" y="92"/>
                      </a:lnTo>
                      <a:lnTo>
                        <a:pt x="118" y="94"/>
                      </a:lnTo>
                      <a:lnTo>
                        <a:pt x="118" y="96"/>
                      </a:lnTo>
                      <a:lnTo>
                        <a:pt x="120" y="100"/>
                      </a:lnTo>
                      <a:lnTo>
                        <a:pt x="120" y="104"/>
                      </a:lnTo>
                      <a:lnTo>
                        <a:pt x="120" y="106"/>
                      </a:lnTo>
                      <a:lnTo>
                        <a:pt x="120" y="108"/>
                      </a:lnTo>
                      <a:lnTo>
                        <a:pt x="120" y="112"/>
                      </a:lnTo>
                      <a:lnTo>
                        <a:pt x="120" y="114"/>
                      </a:lnTo>
                      <a:lnTo>
                        <a:pt x="118" y="116"/>
                      </a:lnTo>
                      <a:lnTo>
                        <a:pt x="118" y="118"/>
                      </a:lnTo>
                      <a:lnTo>
                        <a:pt x="116" y="120"/>
                      </a:lnTo>
                      <a:lnTo>
                        <a:pt x="116" y="124"/>
                      </a:lnTo>
                      <a:lnTo>
                        <a:pt x="114" y="128"/>
                      </a:lnTo>
                      <a:lnTo>
                        <a:pt x="114" y="132"/>
                      </a:lnTo>
                      <a:lnTo>
                        <a:pt x="112" y="134"/>
                      </a:lnTo>
                      <a:lnTo>
                        <a:pt x="108" y="144"/>
                      </a:lnTo>
                      <a:lnTo>
                        <a:pt x="104" y="152"/>
                      </a:lnTo>
                      <a:lnTo>
                        <a:pt x="100" y="162"/>
                      </a:lnTo>
                      <a:lnTo>
                        <a:pt x="94" y="170"/>
                      </a:lnTo>
                      <a:lnTo>
                        <a:pt x="90" y="180"/>
                      </a:lnTo>
                      <a:lnTo>
                        <a:pt x="86" y="188"/>
                      </a:lnTo>
                      <a:lnTo>
                        <a:pt x="82" y="196"/>
                      </a:lnTo>
                      <a:lnTo>
                        <a:pt x="80" y="200"/>
                      </a:lnTo>
                      <a:lnTo>
                        <a:pt x="80" y="202"/>
                      </a:lnTo>
                      <a:lnTo>
                        <a:pt x="78" y="206"/>
                      </a:lnTo>
                      <a:lnTo>
                        <a:pt x="78" y="208"/>
                      </a:lnTo>
                      <a:lnTo>
                        <a:pt x="76" y="212"/>
                      </a:lnTo>
                      <a:lnTo>
                        <a:pt x="76" y="214"/>
                      </a:lnTo>
                      <a:lnTo>
                        <a:pt x="76" y="216"/>
                      </a:lnTo>
                      <a:lnTo>
                        <a:pt x="74" y="216"/>
                      </a:lnTo>
                      <a:lnTo>
                        <a:pt x="74" y="218"/>
                      </a:lnTo>
                      <a:lnTo>
                        <a:pt x="74" y="220"/>
                      </a:lnTo>
                      <a:lnTo>
                        <a:pt x="74" y="224"/>
                      </a:lnTo>
                      <a:lnTo>
                        <a:pt x="74" y="226"/>
                      </a:lnTo>
                      <a:lnTo>
                        <a:pt x="72" y="230"/>
                      </a:lnTo>
                      <a:lnTo>
                        <a:pt x="72" y="234"/>
                      </a:lnTo>
                      <a:lnTo>
                        <a:pt x="70" y="238"/>
                      </a:lnTo>
                      <a:lnTo>
                        <a:pt x="66" y="242"/>
                      </a:lnTo>
                      <a:lnTo>
                        <a:pt x="64" y="244"/>
                      </a:lnTo>
                      <a:lnTo>
                        <a:pt x="62" y="246"/>
                      </a:lnTo>
                      <a:lnTo>
                        <a:pt x="60" y="248"/>
                      </a:lnTo>
                      <a:lnTo>
                        <a:pt x="58" y="250"/>
                      </a:lnTo>
                      <a:lnTo>
                        <a:pt x="56" y="252"/>
                      </a:lnTo>
                      <a:lnTo>
                        <a:pt x="54" y="252"/>
                      </a:lnTo>
                      <a:lnTo>
                        <a:pt x="54" y="254"/>
                      </a:lnTo>
                      <a:lnTo>
                        <a:pt x="52" y="254"/>
                      </a:lnTo>
                      <a:lnTo>
                        <a:pt x="50" y="254"/>
                      </a:lnTo>
                      <a:lnTo>
                        <a:pt x="48" y="254"/>
                      </a:lnTo>
                      <a:lnTo>
                        <a:pt x="46" y="254"/>
                      </a:lnTo>
                      <a:lnTo>
                        <a:pt x="44" y="254"/>
                      </a:lnTo>
                      <a:lnTo>
                        <a:pt x="42" y="256"/>
                      </a:lnTo>
                      <a:lnTo>
                        <a:pt x="38" y="258"/>
                      </a:lnTo>
                      <a:lnTo>
                        <a:pt x="34" y="260"/>
                      </a:lnTo>
                      <a:lnTo>
                        <a:pt x="32" y="260"/>
                      </a:lnTo>
                      <a:lnTo>
                        <a:pt x="28" y="260"/>
                      </a:lnTo>
                      <a:lnTo>
                        <a:pt x="26" y="260"/>
                      </a:lnTo>
                      <a:lnTo>
                        <a:pt x="24" y="258"/>
                      </a:lnTo>
                      <a:lnTo>
                        <a:pt x="22" y="258"/>
                      </a:lnTo>
                      <a:lnTo>
                        <a:pt x="20" y="256"/>
                      </a:lnTo>
                      <a:lnTo>
                        <a:pt x="18" y="252"/>
                      </a:lnTo>
                      <a:lnTo>
                        <a:pt x="14" y="250"/>
                      </a:lnTo>
                      <a:lnTo>
                        <a:pt x="12" y="248"/>
                      </a:lnTo>
                      <a:lnTo>
                        <a:pt x="10" y="244"/>
                      </a:lnTo>
                      <a:lnTo>
                        <a:pt x="10" y="242"/>
                      </a:lnTo>
                      <a:lnTo>
                        <a:pt x="8" y="242"/>
                      </a:lnTo>
                      <a:lnTo>
                        <a:pt x="10" y="240"/>
                      </a:lnTo>
                      <a:lnTo>
                        <a:pt x="12" y="238"/>
                      </a:lnTo>
                      <a:lnTo>
                        <a:pt x="12" y="236"/>
                      </a:lnTo>
                      <a:lnTo>
                        <a:pt x="14" y="236"/>
                      </a:lnTo>
                      <a:lnTo>
                        <a:pt x="14" y="234"/>
                      </a:lnTo>
                      <a:lnTo>
                        <a:pt x="12" y="234"/>
                      </a:lnTo>
                      <a:lnTo>
                        <a:pt x="12" y="232"/>
                      </a:lnTo>
                      <a:lnTo>
                        <a:pt x="10" y="230"/>
                      </a:lnTo>
                      <a:lnTo>
                        <a:pt x="8" y="228"/>
                      </a:lnTo>
                      <a:lnTo>
                        <a:pt x="8" y="226"/>
                      </a:lnTo>
                      <a:lnTo>
                        <a:pt x="6" y="224"/>
                      </a:lnTo>
                      <a:lnTo>
                        <a:pt x="6" y="220"/>
                      </a:lnTo>
                      <a:lnTo>
                        <a:pt x="4" y="218"/>
                      </a:lnTo>
                      <a:lnTo>
                        <a:pt x="4" y="214"/>
                      </a:lnTo>
                      <a:lnTo>
                        <a:pt x="2" y="210"/>
                      </a:lnTo>
                      <a:lnTo>
                        <a:pt x="2" y="206"/>
                      </a:lnTo>
                      <a:lnTo>
                        <a:pt x="0" y="202"/>
                      </a:lnTo>
                      <a:lnTo>
                        <a:pt x="0" y="198"/>
                      </a:lnTo>
                      <a:lnTo>
                        <a:pt x="0" y="194"/>
                      </a:lnTo>
                      <a:lnTo>
                        <a:pt x="0" y="190"/>
                      </a:lnTo>
                      <a:lnTo>
                        <a:pt x="0" y="188"/>
                      </a:lnTo>
                      <a:lnTo>
                        <a:pt x="0" y="184"/>
                      </a:lnTo>
                      <a:lnTo>
                        <a:pt x="2" y="182"/>
                      </a:lnTo>
                      <a:lnTo>
                        <a:pt x="2" y="180"/>
                      </a:lnTo>
                      <a:lnTo>
                        <a:pt x="4" y="178"/>
                      </a:lnTo>
                      <a:lnTo>
                        <a:pt x="6" y="176"/>
                      </a:lnTo>
                      <a:lnTo>
                        <a:pt x="8" y="174"/>
                      </a:lnTo>
                      <a:lnTo>
                        <a:pt x="10" y="172"/>
                      </a:lnTo>
                      <a:lnTo>
                        <a:pt x="14" y="170"/>
                      </a:lnTo>
                      <a:lnTo>
                        <a:pt x="16" y="166"/>
                      </a:lnTo>
                      <a:lnTo>
                        <a:pt x="18" y="164"/>
                      </a:lnTo>
                      <a:lnTo>
                        <a:pt x="20" y="162"/>
                      </a:lnTo>
                      <a:lnTo>
                        <a:pt x="22" y="160"/>
                      </a:lnTo>
                      <a:lnTo>
                        <a:pt x="24" y="158"/>
                      </a:lnTo>
                      <a:lnTo>
                        <a:pt x="26" y="156"/>
                      </a:lnTo>
                      <a:lnTo>
                        <a:pt x="28" y="156"/>
                      </a:lnTo>
                      <a:lnTo>
                        <a:pt x="26" y="156"/>
                      </a:lnTo>
                      <a:lnTo>
                        <a:pt x="26" y="154"/>
                      </a:lnTo>
                      <a:lnTo>
                        <a:pt x="26" y="152"/>
                      </a:lnTo>
                      <a:lnTo>
                        <a:pt x="26" y="150"/>
                      </a:lnTo>
                      <a:lnTo>
                        <a:pt x="26" y="148"/>
                      </a:lnTo>
                      <a:lnTo>
                        <a:pt x="26" y="144"/>
                      </a:lnTo>
                      <a:lnTo>
                        <a:pt x="26" y="138"/>
                      </a:lnTo>
                      <a:lnTo>
                        <a:pt x="24" y="132"/>
                      </a:lnTo>
                      <a:lnTo>
                        <a:pt x="24" y="130"/>
                      </a:lnTo>
                      <a:lnTo>
                        <a:pt x="24" y="128"/>
                      </a:lnTo>
                      <a:lnTo>
                        <a:pt x="24" y="126"/>
                      </a:lnTo>
                      <a:lnTo>
                        <a:pt x="24" y="124"/>
                      </a:lnTo>
                      <a:lnTo>
                        <a:pt x="24" y="122"/>
                      </a:lnTo>
                      <a:lnTo>
                        <a:pt x="22" y="118"/>
                      </a:lnTo>
                      <a:lnTo>
                        <a:pt x="22" y="114"/>
                      </a:lnTo>
                      <a:lnTo>
                        <a:pt x="22" y="110"/>
                      </a:lnTo>
                      <a:lnTo>
                        <a:pt x="20" y="106"/>
                      </a:lnTo>
                      <a:lnTo>
                        <a:pt x="20" y="102"/>
                      </a:lnTo>
                      <a:lnTo>
                        <a:pt x="22" y="100"/>
                      </a:lnTo>
                      <a:lnTo>
                        <a:pt x="22" y="98"/>
                      </a:lnTo>
                      <a:lnTo>
                        <a:pt x="22" y="96"/>
                      </a:lnTo>
                      <a:lnTo>
                        <a:pt x="24" y="96"/>
                      </a:lnTo>
                      <a:lnTo>
                        <a:pt x="26" y="94"/>
                      </a:lnTo>
                      <a:lnTo>
                        <a:pt x="30" y="90"/>
                      </a:lnTo>
                      <a:lnTo>
                        <a:pt x="30" y="88"/>
                      </a:lnTo>
                      <a:lnTo>
                        <a:pt x="32" y="86"/>
                      </a:lnTo>
                      <a:lnTo>
                        <a:pt x="30" y="7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9" name="Freeform 55">
                  <a:extLst>
                    <a:ext uri="{FF2B5EF4-FFF2-40B4-BE49-F238E27FC236}">
                      <a16:creationId xmlns:a16="http://schemas.microsoft.com/office/drawing/2014/main" id="{4C958F2D-771F-46A9-8CAC-30426E95C436}"/>
                    </a:ext>
                  </a:extLst>
                </p:cNvPr>
                <p:cNvSpPr>
                  <a:spLocks noChangeAspect="1"/>
                </p:cNvSpPr>
                <p:nvPr/>
              </p:nvSpPr>
              <p:spPr bwMode="auto">
                <a:xfrm>
                  <a:off x="4652768" y="4173620"/>
                  <a:ext cx="164436" cy="212764"/>
                </a:xfrm>
                <a:custGeom>
                  <a:avLst/>
                  <a:gdLst/>
                  <a:ahLst/>
                  <a:cxnLst>
                    <a:cxn ang="0">
                      <a:pos x="92" y="56"/>
                    </a:cxn>
                    <a:cxn ang="0">
                      <a:pos x="90" y="52"/>
                    </a:cxn>
                    <a:cxn ang="0">
                      <a:pos x="86" y="48"/>
                    </a:cxn>
                    <a:cxn ang="0">
                      <a:pos x="88" y="40"/>
                    </a:cxn>
                    <a:cxn ang="0">
                      <a:pos x="90" y="36"/>
                    </a:cxn>
                    <a:cxn ang="0">
                      <a:pos x="98" y="28"/>
                    </a:cxn>
                    <a:cxn ang="0">
                      <a:pos x="94" y="26"/>
                    </a:cxn>
                    <a:cxn ang="0">
                      <a:pos x="92" y="20"/>
                    </a:cxn>
                    <a:cxn ang="0">
                      <a:pos x="84" y="20"/>
                    </a:cxn>
                    <a:cxn ang="0">
                      <a:pos x="76" y="22"/>
                    </a:cxn>
                    <a:cxn ang="0">
                      <a:pos x="74" y="14"/>
                    </a:cxn>
                    <a:cxn ang="0">
                      <a:pos x="78" y="6"/>
                    </a:cxn>
                    <a:cxn ang="0">
                      <a:pos x="78" y="2"/>
                    </a:cxn>
                    <a:cxn ang="0">
                      <a:pos x="68" y="2"/>
                    </a:cxn>
                    <a:cxn ang="0">
                      <a:pos x="62" y="0"/>
                    </a:cxn>
                    <a:cxn ang="0">
                      <a:pos x="56" y="4"/>
                    </a:cxn>
                    <a:cxn ang="0">
                      <a:pos x="52" y="2"/>
                    </a:cxn>
                    <a:cxn ang="0">
                      <a:pos x="46" y="2"/>
                    </a:cxn>
                    <a:cxn ang="0">
                      <a:pos x="44" y="10"/>
                    </a:cxn>
                    <a:cxn ang="0">
                      <a:pos x="46" y="14"/>
                    </a:cxn>
                    <a:cxn ang="0">
                      <a:pos x="44" y="22"/>
                    </a:cxn>
                    <a:cxn ang="0">
                      <a:pos x="40" y="28"/>
                    </a:cxn>
                    <a:cxn ang="0">
                      <a:pos x="22" y="28"/>
                    </a:cxn>
                    <a:cxn ang="0">
                      <a:pos x="20" y="26"/>
                    </a:cxn>
                    <a:cxn ang="0">
                      <a:pos x="16" y="26"/>
                    </a:cxn>
                    <a:cxn ang="0">
                      <a:pos x="14" y="30"/>
                    </a:cxn>
                    <a:cxn ang="0">
                      <a:pos x="14" y="38"/>
                    </a:cxn>
                    <a:cxn ang="0">
                      <a:pos x="10" y="40"/>
                    </a:cxn>
                    <a:cxn ang="0">
                      <a:pos x="8" y="56"/>
                    </a:cxn>
                    <a:cxn ang="0">
                      <a:pos x="0" y="60"/>
                    </a:cxn>
                    <a:cxn ang="0">
                      <a:pos x="4" y="70"/>
                    </a:cxn>
                    <a:cxn ang="0">
                      <a:pos x="8" y="72"/>
                    </a:cxn>
                    <a:cxn ang="0">
                      <a:pos x="12" y="74"/>
                    </a:cxn>
                    <a:cxn ang="0">
                      <a:pos x="10" y="78"/>
                    </a:cxn>
                    <a:cxn ang="0">
                      <a:pos x="14" y="84"/>
                    </a:cxn>
                    <a:cxn ang="0">
                      <a:pos x="16" y="94"/>
                    </a:cxn>
                    <a:cxn ang="0">
                      <a:pos x="24" y="96"/>
                    </a:cxn>
                    <a:cxn ang="0">
                      <a:pos x="22" y="98"/>
                    </a:cxn>
                    <a:cxn ang="0">
                      <a:pos x="32" y="110"/>
                    </a:cxn>
                    <a:cxn ang="0">
                      <a:pos x="32" y="112"/>
                    </a:cxn>
                    <a:cxn ang="0">
                      <a:pos x="40" y="122"/>
                    </a:cxn>
                    <a:cxn ang="0">
                      <a:pos x="42" y="118"/>
                    </a:cxn>
                    <a:cxn ang="0">
                      <a:pos x="48" y="114"/>
                    </a:cxn>
                    <a:cxn ang="0">
                      <a:pos x="54" y="118"/>
                    </a:cxn>
                    <a:cxn ang="0">
                      <a:pos x="54" y="110"/>
                    </a:cxn>
                    <a:cxn ang="0">
                      <a:pos x="50" y="106"/>
                    </a:cxn>
                    <a:cxn ang="0">
                      <a:pos x="50" y="102"/>
                    </a:cxn>
                    <a:cxn ang="0">
                      <a:pos x="50" y="100"/>
                    </a:cxn>
                    <a:cxn ang="0">
                      <a:pos x="48" y="94"/>
                    </a:cxn>
                    <a:cxn ang="0">
                      <a:pos x="56" y="92"/>
                    </a:cxn>
                    <a:cxn ang="0">
                      <a:pos x="64" y="88"/>
                    </a:cxn>
                    <a:cxn ang="0">
                      <a:pos x="62" y="84"/>
                    </a:cxn>
                    <a:cxn ang="0">
                      <a:pos x="70" y="82"/>
                    </a:cxn>
                    <a:cxn ang="0">
                      <a:pos x="72" y="92"/>
                    </a:cxn>
                    <a:cxn ang="0">
                      <a:pos x="76" y="92"/>
                    </a:cxn>
                    <a:cxn ang="0">
                      <a:pos x="84" y="86"/>
                    </a:cxn>
                    <a:cxn ang="0">
                      <a:pos x="86" y="92"/>
                    </a:cxn>
                    <a:cxn ang="0">
                      <a:pos x="92" y="92"/>
                    </a:cxn>
                    <a:cxn ang="0">
                      <a:pos x="94" y="82"/>
                    </a:cxn>
                    <a:cxn ang="0">
                      <a:pos x="96" y="78"/>
                    </a:cxn>
                    <a:cxn ang="0">
                      <a:pos x="98" y="72"/>
                    </a:cxn>
                    <a:cxn ang="0">
                      <a:pos x="96" y="62"/>
                    </a:cxn>
                    <a:cxn ang="0">
                      <a:pos x="100" y="60"/>
                    </a:cxn>
                  </a:cxnLst>
                  <a:rect l="0" t="0" r="r" b="b"/>
                  <a:pathLst>
                    <a:path w="100" h="122">
                      <a:moveTo>
                        <a:pt x="100" y="58"/>
                      </a:moveTo>
                      <a:lnTo>
                        <a:pt x="98" y="56"/>
                      </a:lnTo>
                      <a:lnTo>
                        <a:pt x="96" y="56"/>
                      </a:lnTo>
                      <a:lnTo>
                        <a:pt x="94" y="56"/>
                      </a:lnTo>
                      <a:lnTo>
                        <a:pt x="92" y="56"/>
                      </a:lnTo>
                      <a:lnTo>
                        <a:pt x="92" y="54"/>
                      </a:lnTo>
                      <a:lnTo>
                        <a:pt x="92" y="52"/>
                      </a:lnTo>
                      <a:lnTo>
                        <a:pt x="90" y="52"/>
                      </a:lnTo>
                      <a:lnTo>
                        <a:pt x="88" y="52"/>
                      </a:lnTo>
                      <a:lnTo>
                        <a:pt x="86" y="52"/>
                      </a:lnTo>
                      <a:lnTo>
                        <a:pt x="86" y="48"/>
                      </a:lnTo>
                      <a:lnTo>
                        <a:pt x="86" y="46"/>
                      </a:lnTo>
                      <a:lnTo>
                        <a:pt x="86" y="44"/>
                      </a:lnTo>
                      <a:lnTo>
                        <a:pt x="86" y="42"/>
                      </a:lnTo>
                      <a:lnTo>
                        <a:pt x="88" y="40"/>
                      </a:lnTo>
                      <a:lnTo>
                        <a:pt x="88" y="38"/>
                      </a:lnTo>
                      <a:lnTo>
                        <a:pt x="90" y="38"/>
                      </a:lnTo>
                      <a:lnTo>
                        <a:pt x="90" y="36"/>
                      </a:lnTo>
                      <a:lnTo>
                        <a:pt x="92" y="36"/>
                      </a:lnTo>
                      <a:lnTo>
                        <a:pt x="94" y="36"/>
                      </a:lnTo>
                      <a:lnTo>
                        <a:pt x="94" y="34"/>
                      </a:lnTo>
                      <a:lnTo>
                        <a:pt x="96" y="32"/>
                      </a:lnTo>
                      <a:lnTo>
                        <a:pt x="96" y="30"/>
                      </a:lnTo>
                      <a:lnTo>
                        <a:pt x="98" y="28"/>
                      </a:lnTo>
                      <a:lnTo>
                        <a:pt x="96" y="26"/>
                      </a:lnTo>
                      <a:lnTo>
                        <a:pt x="94" y="26"/>
                      </a:lnTo>
                      <a:lnTo>
                        <a:pt x="94" y="24"/>
                      </a:lnTo>
                      <a:lnTo>
                        <a:pt x="94" y="22"/>
                      </a:lnTo>
                      <a:lnTo>
                        <a:pt x="94" y="20"/>
                      </a:lnTo>
                      <a:lnTo>
                        <a:pt x="92" y="20"/>
                      </a:lnTo>
                      <a:lnTo>
                        <a:pt x="90" y="18"/>
                      </a:lnTo>
                      <a:lnTo>
                        <a:pt x="88" y="18"/>
                      </a:lnTo>
                      <a:lnTo>
                        <a:pt x="86" y="18"/>
                      </a:lnTo>
                      <a:lnTo>
                        <a:pt x="84" y="18"/>
                      </a:lnTo>
                      <a:lnTo>
                        <a:pt x="84" y="20"/>
                      </a:lnTo>
                      <a:lnTo>
                        <a:pt x="82" y="22"/>
                      </a:lnTo>
                      <a:lnTo>
                        <a:pt x="80" y="22"/>
                      </a:lnTo>
                      <a:lnTo>
                        <a:pt x="78" y="22"/>
                      </a:lnTo>
                      <a:lnTo>
                        <a:pt x="76" y="22"/>
                      </a:lnTo>
                      <a:lnTo>
                        <a:pt x="76" y="20"/>
                      </a:lnTo>
                      <a:lnTo>
                        <a:pt x="76" y="18"/>
                      </a:lnTo>
                      <a:lnTo>
                        <a:pt x="76" y="16"/>
                      </a:lnTo>
                      <a:lnTo>
                        <a:pt x="74" y="14"/>
                      </a:lnTo>
                      <a:lnTo>
                        <a:pt x="76" y="10"/>
                      </a:lnTo>
                      <a:lnTo>
                        <a:pt x="78" y="8"/>
                      </a:lnTo>
                      <a:lnTo>
                        <a:pt x="78" y="6"/>
                      </a:lnTo>
                      <a:lnTo>
                        <a:pt x="78" y="4"/>
                      </a:lnTo>
                      <a:lnTo>
                        <a:pt x="78" y="2"/>
                      </a:lnTo>
                      <a:lnTo>
                        <a:pt x="76" y="2"/>
                      </a:lnTo>
                      <a:lnTo>
                        <a:pt x="74" y="2"/>
                      </a:lnTo>
                      <a:lnTo>
                        <a:pt x="72" y="2"/>
                      </a:lnTo>
                      <a:lnTo>
                        <a:pt x="70" y="2"/>
                      </a:lnTo>
                      <a:lnTo>
                        <a:pt x="68" y="2"/>
                      </a:lnTo>
                      <a:lnTo>
                        <a:pt x="66" y="2"/>
                      </a:lnTo>
                      <a:lnTo>
                        <a:pt x="64" y="2"/>
                      </a:lnTo>
                      <a:lnTo>
                        <a:pt x="62" y="0"/>
                      </a:lnTo>
                      <a:lnTo>
                        <a:pt x="62" y="2"/>
                      </a:lnTo>
                      <a:lnTo>
                        <a:pt x="60" y="2"/>
                      </a:lnTo>
                      <a:lnTo>
                        <a:pt x="60" y="4"/>
                      </a:lnTo>
                      <a:lnTo>
                        <a:pt x="56" y="4"/>
                      </a:lnTo>
                      <a:lnTo>
                        <a:pt x="54" y="4"/>
                      </a:lnTo>
                      <a:lnTo>
                        <a:pt x="52" y="4"/>
                      </a:lnTo>
                      <a:lnTo>
                        <a:pt x="52" y="2"/>
                      </a:lnTo>
                      <a:lnTo>
                        <a:pt x="50" y="2"/>
                      </a:lnTo>
                      <a:lnTo>
                        <a:pt x="50" y="0"/>
                      </a:lnTo>
                      <a:lnTo>
                        <a:pt x="48" y="0"/>
                      </a:lnTo>
                      <a:lnTo>
                        <a:pt x="48" y="2"/>
                      </a:lnTo>
                      <a:lnTo>
                        <a:pt x="46" y="2"/>
                      </a:lnTo>
                      <a:lnTo>
                        <a:pt x="46" y="4"/>
                      </a:lnTo>
                      <a:lnTo>
                        <a:pt x="44" y="4"/>
                      </a:lnTo>
                      <a:lnTo>
                        <a:pt x="44" y="8"/>
                      </a:lnTo>
                      <a:lnTo>
                        <a:pt x="44" y="10"/>
                      </a:lnTo>
                      <a:lnTo>
                        <a:pt x="44" y="12"/>
                      </a:lnTo>
                      <a:lnTo>
                        <a:pt x="46" y="14"/>
                      </a:lnTo>
                      <a:lnTo>
                        <a:pt x="46" y="16"/>
                      </a:lnTo>
                      <a:lnTo>
                        <a:pt x="46" y="18"/>
                      </a:lnTo>
                      <a:lnTo>
                        <a:pt x="46" y="20"/>
                      </a:lnTo>
                      <a:lnTo>
                        <a:pt x="44" y="22"/>
                      </a:lnTo>
                      <a:lnTo>
                        <a:pt x="44" y="24"/>
                      </a:lnTo>
                      <a:lnTo>
                        <a:pt x="44" y="26"/>
                      </a:lnTo>
                      <a:lnTo>
                        <a:pt x="42" y="26"/>
                      </a:lnTo>
                      <a:lnTo>
                        <a:pt x="42" y="28"/>
                      </a:lnTo>
                      <a:lnTo>
                        <a:pt x="40" y="28"/>
                      </a:lnTo>
                      <a:lnTo>
                        <a:pt x="38" y="28"/>
                      </a:lnTo>
                      <a:lnTo>
                        <a:pt x="34" y="28"/>
                      </a:lnTo>
                      <a:lnTo>
                        <a:pt x="32" y="28"/>
                      </a:lnTo>
                      <a:lnTo>
                        <a:pt x="28" y="28"/>
                      </a:lnTo>
                      <a:lnTo>
                        <a:pt x="26" y="28"/>
                      </a:lnTo>
                      <a:lnTo>
                        <a:pt x="24" y="28"/>
                      </a:lnTo>
                      <a:lnTo>
                        <a:pt x="22" y="28"/>
                      </a:lnTo>
                      <a:lnTo>
                        <a:pt x="20" y="28"/>
                      </a:lnTo>
                      <a:lnTo>
                        <a:pt x="20" y="26"/>
                      </a:lnTo>
                      <a:lnTo>
                        <a:pt x="18" y="26"/>
                      </a:lnTo>
                      <a:lnTo>
                        <a:pt x="16" y="26"/>
                      </a:lnTo>
                      <a:lnTo>
                        <a:pt x="16" y="28"/>
                      </a:lnTo>
                      <a:lnTo>
                        <a:pt x="14" y="28"/>
                      </a:lnTo>
                      <a:lnTo>
                        <a:pt x="14" y="30"/>
                      </a:lnTo>
                      <a:lnTo>
                        <a:pt x="14" y="32"/>
                      </a:lnTo>
                      <a:lnTo>
                        <a:pt x="16" y="34"/>
                      </a:lnTo>
                      <a:lnTo>
                        <a:pt x="16" y="36"/>
                      </a:lnTo>
                      <a:lnTo>
                        <a:pt x="16" y="38"/>
                      </a:lnTo>
                      <a:lnTo>
                        <a:pt x="14" y="38"/>
                      </a:lnTo>
                      <a:lnTo>
                        <a:pt x="12" y="38"/>
                      </a:lnTo>
                      <a:lnTo>
                        <a:pt x="10" y="38"/>
                      </a:lnTo>
                      <a:lnTo>
                        <a:pt x="10" y="40"/>
                      </a:lnTo>
                      <a:lnTo>
                        <a:pt x="10" y="42"/>
                      </a:lnTo>
                      <a:lnTo>
                        <a:pt x="10" y="44"/>
                      </a:lnTo>
                      <a:lnTo>
                        <a:pt x="10" y="46"/>
                      </a:lnTo>
                      <a:lnTo>
                        <a:pt x="10" y="50"/>
                      </a:lnTo>
                      <a:lnTo>
                        <a:pt x="10" y="54"/>
                      </a:lnTo>
                      <a:lnTo>
                        <a:pt x="8" y="56"/>
                      </a:lnTo>
                      <a:lnTo>
                        <a:pt x="8" y="58"/>
                      </a:lnTo>
                      <a:lnTo>
                        <a:pt x="6" y="60"/>
                      </a:lnTo>
                      <a:lnTo>
                        <a:pt x="4" y="60"/>
                      </a:lnTo>
                      <a:lnTo>
                        <a:pt x="2" y="60"/>
                      </a:lnTo>
                      <a:lnTo>
                        <a:pt x="0" y="60"/>
                      </a:lnTo>
                      <a:lnTo>
                        <a:pt x="2" y="62"/>
                      </a:lnTo>
                      <a:lnTo>
                        <a:pt x="2" y="64"/>
                      </a:lnTo>
                      <a:lnTo>
                        <a:pt x="2" y="66"/>
                      </a:lnTo>
                      <a:lnTo>
                        <a:pt x="4" y="68"/>
                      </a:lnTo>
                      <a:lnTo>
                        <a:pt x="4" y="70"/>
                      </a:lnTo>
                      <a:lnTo>
                        <a:pt x="6" y="72"/>
                      </a:lnTo>
                      <a:lnTo>
                        <a:pt x="6" y="74"/>
                      </a:lnTo>
                      <a:lnTo>
                        <a:pt x="8" y="72"/>
                      </a:lnTo>
                      <a:lnTo>
                        <a:pt x="10" y="70"/>
                      </a:lnTo>
                      <a:lnTo>
                        <a:pt x="10" y="72"/>
                      </a:lnTo>
                      <a:lnTo>
                        <a:pt x="10" y="74"/>
                      </a:lnTo>
                      <a:lnTo>
                        <a:pt x="12" y="74"/>
                      </a:lnTo>
                      <a:lnTo>
                        <a:pt x="12" y="76"/>
                      </a:lnTo>
                      <a:lnTo>
                        <a:pt x="10" y="78"/>
                      </a:lnTo>
                      <a:lnTo>
                        <a:pt x="10" y="80"/>
                      </a:lnTo>
                      <a:lnTo>
                        <a:pt x="8" y="80"/>
                      </a:lnTo>
                      <a:lnTo>
                        <a:pt x="10" y="82"/>
                      </a:lnTo>
                      <a:lnTo>
                        <a:pt x="10" y="84"/>
                      </a:lnTo>
                      <a:lnTo>
                        <a:pt x="12" y="84"/>
                      </a:lnTo>
                      <a:lnTo>
                        <a:pt x="14" y="84"/>
                      </a:lnTo>
                      <a:lnTo>
                        <a:pt x="16" y="86"/>
                      </a:lnTo>
                      <a:lnTo>
                        <a:pt x="16" y="90"/>
                      </a:lnTo>
                      <a:lnTo>
                        <a:pt x="16" y="92"/>
                      </a:lnTo>
                      <a:lnTo>
                        <a:pt x="16" y="94"/>
                      </a:lnTo>
                      <a:lnTo>
                        <a:pt x="18" y="94"/>
                      </a:lnTo>
                      <a:lnTo>
                        <a:pt x="20" y="94"/>
                      </a:lnTo>
                      <a:lnTo>
                        <a:pt x="22" y="94"/>
                      </a:lnTo>
                      <a:lnTo>
                        <a:pt x="24" y="96"/>
                      </a:lnTo>
                      <a:lnTo>
                        <a:pt x="22" y="96"/>
                      </a:lnTo>
                      <a:lnTo>
                        <a:pt x="22" y="98"/>
                      </a:lnTo>
                      <a:lnTo>
                        <a:pt x="24" y="100"/>
                      </a:lnTo>
                      <a:lnTo>
                        <a:pt x="26" y="102"/>
                      </a:lnTo>
                      <a:lnTo>
                        <a:pt x="28" y="104"/>
                      </a:lnTo>
                      <a:lnTo>
                        <a:pt x="30" y="108"/>
                      </a:lnTo>
                      <a:lnTo>
                        <a:pt x="32" y="108"/>
                      </a:lnTo>
                      <a:lnTo>
                        <a:pt x="32" y="110"/>
                      </a:lnTo>
                      <a:lnTo>
                        <a:pt x="32" y="112"/>
                      </a:lnTo>
                      <a:lnTo>
                        <a:pt x="34" y="116"/>
                      </a:lnTo>
                      <a:lnTo>
                        <a:pt x="36" y="118"/>
                      </a:lnTo>
                      <a:lnTo>
                        <a:pt x="38" y="120"/>
                      </a:lnTo>
                      <a:lnTo>
                        <a:pt x="38" y="122"/>
                      </a:lnTo>
                      <a:lnTo>
                        <a:pt x="40" y="122"/>
                      </a:lnTo>
                      <a:lnTo>
                        <a:pt x="42" y="120"/>
                      </a:lnTo>
                      <a:lnTo>
                        <a:pt x="42" y="118"/>
                      </a:lnTo>
                      <a:lnTo>
                        <a:pt x="44" y="116"/>
                      </a:lnTo>
                      <a:lnTo>
                        <a:pt x="46" y="116"/>
                      </a:lnTo>
                      <a:lnTo>
                        <a:pt x="46" y="114"/>
                      </a:lnTo>
                      <a:lnTo>
                        <a:pt x="48" y="114"/>
                      </a:lnTo>
                      <a:lnTo>
                        <a:pt x="48" y="116"/>
                      </a:lnTo>
                      <a:lnTo>
                        <a:pt x="50" y="116"/>
                      </a:lnTo>
                      <a:lnTo>
                        <a:pt x="50" y="118"/>
                      </a:lnTo>
                      <a:lnTo>
                        <a:pt x="52" y="118"/>
                      </a:lnTo>
                      <a:lnTo>
                        <a:pt x="54" y="118"/>
                      </a:lnTo>
                      <a:lnTo>
                        <a:pt x="54" y="116"/>
                      </a:lnTo>
                      <a:lnTo>
                        <a:pt x="54" y="112"/>
                      </a:lnTo>
                      <a:lnTo>
                        <a:pt x="54" y="110"/>
                      </a:lnTo>
                      <a:lnTo>
                        <a:pt x="52" y="108"/>
                      </a:lnTo>
                      <a:lnTo>
                        <a:pt x="50" y="108"/>
                      </a:lnTo>
                      <a:lnTo>
                        <a:pt x="50" y="106"/>
                      </a:lnTo>
                      <a:lnTo>
                        <a:pt x="52" y="104"/>
                      </a:lnTo>
                      <a:lnTo>
                        <a:pt x="54" y="104"/>
                      </a:lnTo>
                      <a:lnTo>
                        <a:pt x="52" y="102"/>
                      </a:lnTo>
                      <a:lnTo>
                        <a:pt x="50" y="102"/>
                      </a:lnTo>
                      <a:lnTo>
                        <a:pt x="48" y="100"/>
                      </a:lnTo>
                      <a:lnTo>
                        <a:pt x="46" y="100"/>
                      </a:lnTo>
                      <a:lnTo>
                        <a:pt x="48" y="100"/>
                      </a:lnTo>
                      <a:lnTo>
                        <a:pt x="50" y="100"/>
                      </a:lnTo>
                      <a:lnTo>
                        <a:pt x="50" y="98"/>
                      </a:lnTo>
                      <a:lnTo>
                        <a:pt x="48" y="96"/>
                      </a:lnTo>
                      <a:lnTo>
                        <a:pt x="48" y="94"/>
                      </a:lnTo>
                      <a:lnTo>
                        <a:pt x="48" y="92"/>
                      </a:lnTo>
                      <a:lnTo>
                        <a:pt x="48" y="90"/>
                      </a:lnTo>
                      <a:lnTo>
                        <a:pt x="50" y="90"/>
                      </a:lnTo>
                      <a:lnTo>
                        <a:pt x="50" y="92"/>
                      </a:lnTo>
                      <a:lnTo>
                        <a:pt x="52" y="92"/>
                      </a:lnTo>
                      <a:lnTo>
                        <a:pt x="54" y="92"/>
                      </a:lnTo>
                      <a:lnTo>
                        <a:pt x="56" y="92"/>
                      </a:lnTo>
                      <a:lnTo>
                        <a:pt x="56" y="94"/>
                      </a:lnTo>
                      <a:lnTo>
                        <a:pt x="58" y="94"/>
                      </a:lnTo>
                      <a:lnTo>
                        <a:pt x="60" y="94"/>
                      </a:lnTo>
                      <a:lnTo>
                        <a:pt x="60" y="92"/>
                      </a:lnTo>
                      <a:lnTo>
                        <a:pt x="62" y="92"/>
                      </a:lnTo>
                      <a:lnTo>
                        <a:pt x="64" y="90"/>
                      </a:lnTo>
                      <a:lnTo>
                        <a:pt x="64" y="88"/>
                      </a:lnTo>
                      <a:lnTo>
                        <a:pt x="66" y="88"/>
                      </a:lnTo>
                      <a:lnTo>
                        <a:pt x="64" y="86"/>
                      </a:lnTo>
                      <a:lnTo>
                        <a:pt x="64" y="84"/>
                      </a:lnTo>
                      <a:lnTo>
                        <a:pt x="62" y="84"/>
                      </a:lnTo>
                      <a:lnTo>
                        <a:pt x="62" y="82"/>
                      </a:lnTo>
                      <a:lnTo>
                        <a:pt x="62" y="80"/>
                      </a:lnTo>
                      <a:lnTo>
                        <a:pt x="64" y="80"/>
                      </a:lnTo>
                      <a:lnTo>
                        <a:pt x="66" y="80"/>
                      </a:lnTo>
                      <a:lnTo>
                        <a:pt x="68" y="82"/>
                      </a:lnTo>
                      <a:lnTo>
                        <a:pt x="70" y="82"/>
                      </a:lnTo>
                      <a:lnTo>
                        <a:pt x="70" y="84"/>
                      </a:lnTo>
                      <a:lnTo>
                        <a:pt x="72" y="88"/>
                      </a:lnTo>
                      <a:lnTo>
                        <a:pt x="72" y="90"/>
                      </a:lnTo>
                      <a:lnTo>
                        <a:pt x="72" y="92"/>
                      </a:lnTo>
                      <a:lnTo>
                        <a:pt x="74" y="92"/>
                      </a:lnTo>
                      <a:lnTo>
                        <a:pt x="76" y="92"/>
                      </a:lnTo>
                      <a:lnTo>
                        <a:pt x="78" y="92"/>
                      </a:lnTo>
                      <a:lnTo>
                        <a:pt x="80" y="92"/>
                      </a:lnTo>
                      <a:lnTo>
                        <a:pt x="82" y="90"/>
                      </a:lnTo>
                      <a:lnTo>
                        <a:pt x="84" y="88"/>
                      </a:lnTo>
                      <a:lnTo>
                        <a:pt x="84" y="86"/>
                      </a:lnTo>
                      <a:lnTo>
                        <a:pt x="86" y="86"/>
                      </a:lnTo>
                      <a:lnTo>
                        <a:pt x="86" y="88"/>
                      </a:lnTo>
                      <a:lnTo>
                        <a:pt x="86" y="90"/>
                      </a:lnTo>
                      <a:lnTo>
                        <a:pt x="86" y="92"/>
                      </a:lnTo>
                      <a:lnTo>
                        <a:pt x="86" y="94"/>
                      </a:lnTo>
                      <a:lnTo>
                        <a:pt x="86" y="96"/>
                      </a:lnTo>
                      <a:lnTo>
                        <a:pt x="88" y="96"/>
                      </a:lnTo>
                      <a:lnTo>
                        <a:pt x="90" y="96"/>
                      </a:lnTo>
                      <a:lnTo>
                        <a:pt x="92" y="94"/>
                      </a:lnTo>
                      <a:lnTo>
                        <a:pt x="92" y="92"/>
                      </a:lnTo>
                      <a:lnTo>
                        <a:pt x="92" y="90"/>
                      </a:lnTo>
                      <a:lnTo>
                        <a:pt x="92" y="88"/>
                      </a:lnTo>
                      <a:lnTo>
                        <a:pt x="92" y="86"/>
                      </a:lnTo>
                      <a:lnTo>
                        <a:pt x="94" y="84"/>
                      </a:lnTo>
                      <a:lnTo>
                        <a:pt x="94" y="82"/>
                      </a:lnTo>
                      <a:lnTo>
                        <a:pt x="96" y="82"/>
                      </a:lnTo>
                      <a:lnTo>
                        <a:pt x="98" y="82"/>
                      </a:lnTo>
                      <a:lnTo>
                        <a:pt x="96" y="80"/>
                      </a:lnTo>
                      <a:lnTo>
                        <a:pt x="96" y="78"/>
                      </a:lnTo>
                      <a:lnTo>
                        <a:pt x="96" y="76"/>
                      </a:lnTo>
                      <a:lnTo>
                        <a:pt x="96" y="74"/>
                      </a:lnTo>
                      <a:lnTo>
                        <a:pt x="98" y="72"/>
                      </a:lnTo>
                      <a:lnTo>
                        <a:pt x="98" y="70"/>
                      </a:lnTo>
                      <a:lnTo>
                        <a:pt x="96" y="66"/>
                      </a:lnTo>
                      <a:lnTo>
                        <a:pt x="96" y="64"/>
                      </a:lnTo>
                      <a:lnTo>
                        <a:pt x="96" y="62"/>
                      </a:lnTo>
                      <a:lnTo>
                        <a:pt x="98" y="62"/>
                      </a:lnTo>
                      <a:lnTo>
                        <a:pt x="98" y="60"/>
                      </a:lnTo>
                      <a:lnTo>
                        <a:pt x="100" y="60"/>
                      </a:lnTo>
                      <a:lnTo>
                        <a:pt x="100" y="5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0" name="Freeform 56">
                  <a:extLst>
                    <a:ext uri="{FF2B5EF4-FFF2-40B4-BE49-F238E27FC236}">
                      <a16:creationId xmlns:a16="http://schemas.microsoft.com/office/drawing/2014/main" id="{7FB1AB13-2E78-44D4-B63B-58EAC0BCE752}"/>
                    </a:ext>
                  </a:extLst>
                </p:cNvPr>
                <p:cNvSpPr>
                  <a:spLocks noChangeAspect="1"/>
                </p:cNvSpPr>
                <p:nvPr/>
              </p:nvSpPr>
              <p:spPr bwMode="auto">
                <a:xfrm>
                  <a:off x="4734986" y="4825862"/>
                  <a:ext cx="371625" cy="402855"/>
                </a:xfrm>
                <a:custGeom>
                  <a:avLst/>
                  <a:gdLst/>
                  <a:ahLst/>
                  <a:cxnLst>
                    <a:cxn ang="0">
                      <a:pos x="90" y="218"/>
                    </a:cxn>
                    <a:cxn ang="0">
                      <a:pos x="96" y="226"/>
                    </a:cxn>
                    <a:cxn ang="0">
                      <a:pos x="104" y="230"/>
                    </a:cxn>
                    <a:cxn ang="0">
                      <a:pos x="110" y="228"/>
                    </a:cxn>
                    <a:cxn ang="0">
                      <a:pos x="120" y="230"/>
                    </a:cxn>
                    <a:cxn ang="0">
                      <a:pos x="124" y="224"/>
                    </a:cxn>
                    <a:cxn ang="0">
                      <a:pos x="128" y="220"/>
                    </a:cxn>
                    <a:cxn ang="0">
                      <a:pos x="134" y="180"/>
                    </a:cxn>
                    <a:cxn ang="0">
                      <a:pos x="136" y="122"/>
                    </a:cxn>
                    <a:cxn ang="0">
                      <a:pos x="136" y="100"/>
                    </a:cxn>
                    <a:cxn ang="0">
                      <a:pos x="146" y="96"/>
                    </a:cxn>
                    <a:cxn ang="0">
                      <a:pos x="152" y="92"/>
                    </a:cxn>
                    <a:cxn ang="0">
                      <a:pos x="152" y="68"/>
                    </a:cxn>
                    <a:cxn ang="0">
                      <a:pos x="154" y="62"/>
                    </a:cxn>
                    <a:cxn ang="0">
                      <a:pos x="154" y="28"/>
                    </a:cxn>
                    <a:cxn ang="0">
                      <a:pos x="156" y="24"/>
                    </a:cxn>
                    <a:cxn ang="0">
                      <a:pos x="186" y="20"/>
                    </a:cxn>
                    <a:cxn ang="0">
                      <a:pos x="196" y="22"/>
                    </a:cxn>
                    <a:cxn ang="0">
                      <a:pos x="198" y="26"/>
                    </a:cxn>
                    <a:cxn ang="0">
                      <a:pos x="204" y="22"/>
                    </a:cxn>
                    <a:cxn ang="0">
                      <a:pos x="214" y="18"/>
                    </a:cxn>
                    <a:cxn ang="0">
                      <a:pos x="220" y="16"/>
                    </a:cxn>
                    <a:cxn ang="0">
                      <a:pos x="222" y="12"/>
                    </a:cxn>
                    <a:cxn ang="0">
                      <a:pos x="214" y="12"/>
                    </a:cxn>
                    <a:cxn ang="0">
                      <a:pos x="206" y="10"/>
                    </a:cxn>
                    <a:cxn ang="0">
                      <a:pos x="198" y="14"/>
                    </a:cxn>
                    <a:cxn ang="0">
                      <a:pos x="192" y="12"/>
                    </a:cxn>
                    <a:cxn ang="0">
                      <a:pos x="164" y="18"/>
                    </a:cxn>
                    <a:cxn ang="0">
                      <a:pos x="146" y="18"/>
                    </a:cxn>
                    <a:cxn ang="0">
                      <a:pos x="132" y="16"/>
                    </a:cxn>
                    <a:cxn ang="0">
                      <a:pos x="126" y="16"/>
                    </a:cxn>
                    <a:cxn ang="0">
                      <a:pos x="118" y="14"/>
                    </a:cxn>
                    <a:cxn ang="0">
                      <a:pos x="100" y="8"/>
                    </a:cxn>
                    <a:cxn ang="0">
                      <a:pos x="60" y="8"/>
                    </a:cxn>
                    <a:cxn ang="0">
                      <a:pos x="40" y="8"/>
                    </a:cxn>
                    <a:cxn ang="0">
                      <a:pos x="30" y="2"/>
                    </a:cxn>
                    <a:cxn ang="0">
                      <a:pos x="20" y="0"/>
                    </a:cxn>
                    <a:cxn ang="0">
                      <a:pos x="16" y="4"/>
                    </a:cxn>
                    <a:cxn ang="0">
                      <a:pos x="6" y="4"/>
                    </a:cxn>
                    <a:cxn ang="0">
                      <a:pos x="0" y="4"/>
                    </a:cxn>
                    <a:cxn ang="0">
                      <a:pos x="0" y="16"/>
                    </a:cxn>
                    <a:cxn ang="0">
                      <a:pos x="2" y="22"/>
                    </a:cxn>
                    <a:cxn ang="0">
                      <a:pos x="16" y="46"/>
                    </a:cxn>
                    <a:cxn ang="0">
                      <a:pos x="28" y="72"/>
                    </a:cxn>
                    <a:cxn ang="0">
                      <a:pos x="36" y="88"/>
                    </a:cxn>
                    <a:cxn ang="0">
                      <a:pos x="36" y="92"/>
                    </a:cxn>
                    <a:cxn ang="0">
                      <a:pos x="46" y="108"/>
                    </a:cxn>
                    <a:cxn ang="0">
                      <a:pos x="46" y="136"/>
                    </a:cxn>
                    <a:cxn ang="0">
                      <a:pos x="50" y="150"/>
                    </a:cxn>
                    <a:cxn ang="0">
                      <a:pos x="50" y="160"/>
                    </a:cxn>
                    <a:cxn ang="0">
                      <a:pos x="52" y="172"/>
                    </a:cxn>
                    <a:cxn ang="0">
                      <a:pos x="54" y="180"/>
                    </a:cxn>
                    <a:cxn ang="0">
                      <a:pos x="54" y="186"/>
                    </a:cxn>
                    <a:cxn ang="0">
                      <a:pos x="58" y="196"/>
                    </a:cxn>
                    <a:cxn ang="0">
                      <a:pos x="60" y="202"/>
                    </a:cxn>
                    <a:cxn ang="0">
                      <a:pos x="72" y="220"/>
                    </a:cxn>
                    <a:cxn ang="0">
                      <a:pos x="78" y="220"/>
                    </a:cxn>
                    <a:cxn ang="0">
                      <a:pos x="84" y="212"/>
                    </a:cxn>
                  </a:cxnLst>
                  <a:rect l="0" t="0" r="r" b="b"/>
                  <a:pathLst>
                    <a:path w="226" h="230">
                      <a:moveTo>
                        <a:pt x="86" y="212"/>
                      </a:moveTo>
                      <a:lnTo>
                        <a:pt x="86" y="212"/>
                      </a:lnTo>
                      <a:lnTo>
                        <a:pt x="88" y="214"/>
                      </a:lnTo>
                      <a:lnTo>
                        <a:pt x="90" y="216"/>
                      </a:lnTo>
                      <a:lnTo>
                        <a:pt x="90" y="218"/>
                      </a:lnTo>
                      <a:lnTo>
                        <a:pt x="90" y="220"/>
                      </a:lnTo>
                      <a:lnTo>
                        <a:pt x="92" y="222"/>
                      </a:lnTo>
                      <a:lnTo>
                        <a:pt x="92" y="224"/>
                      </a:lnTo>
                      <a:lnTo>
                        <a:pt x="92" y="226"/>
                      </a:lnTo>
                      <a:lnTo>
                        <a:pt x="94" y="226"/>
                      </a:lnTo>
                      <a:lnTo>
                        <a:pt x="96" y="226"/>
                      </a:lnTo>
                      <a:lnTo>
                        <a:pt x="98" y="226"/>
                      </a:lnTo>
                      <a:lnTo>
                        <a:pt x="100" y="226"/>
                      </a:lnTo>
                      <a:lnTo>
                        <a:pt x="102" y="228"/>
                      </a:lnTo>
                      <a:lnTo>
                        <a:pt x="102" y="230"/>
                      </a:lnTo>
                      <a:lnTo>
                        <a:pt x="104" y="230"/>
                      </a:lnTo>
                      <a:lnTo>
                        <a:pt x="106" y="230"/>
                      </a:lnTo>
                      <a:lnTo>
                        <a:pt x="108" y="230"/>
                      </a:lnTo>
                      <a:lnTo>
                        <a:pt x="110" y="228"/>
                      </a:lnTo>
                      <a:lnTo>
                        <a:pt x="112" y="228"/>
                      </a:lnTo>
                      <a:lnTo>
                        <a:pt x="114" y="228"/>
                      </a:lnTo>
                      <a:lnTo>
                        <a:pt x="116" y="228"/>
                      </a:lnTo>
                      <a:lnTo>
                        <a:pt x="116" y="230"/>
                      </a:lnTo>
                      <a:lnTo>
                        <a:pt x="118" y="230"/>
                      </a:lnTo>
                      <a:lnTo>
                        <a:pt x="120" y="230"/>
                      </a:lnTo>
                      <a:lnTo>
                        <a:pt x="122" y="230"/>
                      </a:lnTo>
                      <a:lnTo>
                        <a:pt x="122" y="228"/>
                      </a:lnTo>
                      <a:lnTo>
                        <a:pt x="122" y="226"/>
                      </a:lnTo>
                      <a:lnTo>
                        <a:pt x="122" y="224"/>
                      </a:lnTo>
                      <a:lnTo>
                        <a:pt x="124" y="224"/>
                      </a:lnTo>
                      <a:lnTo>
                        <a:pt x="126" y="224"/>
                      </a:lnTo>
                      <a:lnTo>
                        <a:pt x="126" y="222"/>
                      </a:lnTo>
                      <a:lnTo>
                        <a:pt x="128" y="220"/>
                      </a:lnTo>
                      <a:lnTo>
                        <a:pt x="132" y="220"/>
                      </a:lnTo>
                      <a:lnTo>
                        <a:pt x="134" y="220"/>
                      </a:lnTo>
                      <a:lnTo>
                        <a:pt x="134" y="208"/>
                      </a:lnTo>
                      <a:lnTo>
                        <a:pt x="134" y="198"/>
                      </a:lnTo>
                      <a:lnTo>
                        <a:pt x="134" y="188"/>
                      </a:lnTo>
                      <a:lnTo>
                        <a:pt x="134" y="180"/>
                      </a:lnTo>
                      <a:lnTo>
                        <a:pt x="134" y="170"/>
                      </a:lnTo>
                      <a:lnTo>
                        <a:pt x="136" y="162"/>
                      </a:lnTo>
                      <a:lnTo>
                        <a:pt x="136" y="156"/>
                      </a:lnTo>
                      <a:lnTo>
                        <a:pt x="136" y="148"/>
                      </a:lnTo>
                      <a:lnTo>
                        <a:pt x="136" y="142"/>
                      </a:lnTo>
                      <a:lnTo>
                        <a:pt x="136" y="136"/>
                      </a:lnTo>
                      <a:lnTo>
                        <a:pt x="136" y="132"/>
                      </a:lnTo>
                      <a:lnTo>
                        <a:pt x="136" y="126"/>
                      </a:lnTo>
                      <a:lnTo>
                        <a:pt x="136" y="122"/>
                      </a:lnTo>
                      <a:lnTo>
                        <a:pt x="136" y="118"/>
                      </a:lnTo>
                      <a:lnTo>
                        <a:pt x="136" y="114"/>
                      </a:lnTo>
                      <a:lnTo>
                        <a:pt x="136" y="112"/>
                      </a:lnTo>
                      <a:lnTo>
                        <a:pt x="136" y="110"/>
                      </a:lnTo>
                      <a:lnTo>
                        <a:pt x="136" y="108"/>
                      </a:lnTo>
                      <a:lnTo>
                        <a:pt x="136" y="104"/>
                      </a:lnTo>
                      <a:lnTo>
                        <a:pt x="136" y="102"/>
                      </a:lnTo>
                      <a:lnTo>
                        <a:pt x="136" y="100"/>
                      </a:lnTo>
                      <a:lnTo>
                        <a:pt x="136" y="98"/>
                      </a:lnTo>
                      <a:lnTo>
                        <a:pt x="136" y="96"/>
                      </a:lnTo>
                      <a:lnTo>
                        <a:pt x="140" y="96"/>
                      </a:lnTo>
                      <a:lnTo>
                        <a:pt x="142" y="96"/>
                      </a:lnTo>
                      <a:lnTo>
                        <a:pt x="144" y="96"/>
                      </a:lnTo>
                      <a:lnTo>
                        <a:pt x="146" y="96"/>
                      </a:lnTo>
                      <a:lnTo>
                        <a:pt x="148" y="96"/>
                      </a:lnTo>
                      <a:lnTo>
                        <a:pt x="150" y="96"/>
                      </a:lnTo>
                      <a:lnTo>
                        <a:pt x="152" y="96"/>
                      </a:lnTo>
                      <a:lnTo>
                        <a:pt x="152" y="92"/>
                      </a:lnTo>
                      <a:lnTo>
                        <a:pt x="152" y="88"/>
                      </a:lnTo>
                      <a:lnTo>
                        <a:pt x="152" y="84"/>
                      </a:lnTo>
                      <a:lnTo>
                        <a:pt x="152" y="80"/>
                      </a:lnTo>
                      <a:lnTo>
                        <a:pt x="152" y="78"/>
                      </a:lnTo>
                      <a:lnTo>
                        <a:pt x="152" y="74"/>
                      </a:lnTo>
                      <a:lnTo>
                        <a:pt x="152" y="72"/>
                      </a:lnTo>
                      <a:lnTo>
                        <a:pt x="152" y="70"/>
                      </a:lnTo>
                      <a:lnTo>
                        <a:pt x="152" y="68"/>
                      </a:lnTo>
                      <a:lnTo>
                        <a:pt x="154" y="66"/>
                      </a:lnTo>
                      <a:lnTo>
                        <a:pt x="154" y="62"/>
                      </a:lnTo>
                      <a:lnTo>
                        <a:pt x="154" y="60"/>
                      </a:lnTo>
                      <a:lnTo>
                        <a:pt x="154" y="52"/>
                      </a:lnTo>
                      <a:lnTo>
                        <a:pt x="154" y="46"/>
                      </a:lnTo>
                      <a:lnTo>
                        <a:pt x="154" y="42"/>
                      </a:lnTo>
                      <a:lnTo>
                        <a:pt x="154" y="38"/>
                      </a:lnTo>
                      <a:lnTo>
                        <a:pt x="154" y="36"/>
                      </a:lnTo>
                      <a:lnTo>
                        <a:pt x="154" y="32"/>
                      </a:lnTo>
                      <a:lnTo>
                        <a:pt x="154" y="30"/>
                      </a:lnTo>
                      <a:lnTo>
                        <a:pt x="154" y="28"/>
                      </a:lnTo>
                      <a:lnTo>
                        <a:pt x="154" y="26"/>
                      </a:lnTo>
                      <a:lnTo>
                        <a:pt x="154" y="24"/>
                      </a:lnTo>
                      <a:lnTo>
                        <a:pt x="156" y="24"/>
                      </a:lnTo>
                      <a:lnTo>
                        <a:pt x="160" y="24"/>
                      </a:lnTo>
                      <a:lnTo>
                        <a:pt x="162" y="24"/>
                      </a:lnTo>
                      <a:lnTo>
                        <a:pt x="166" y="24"/>
                      </a:lnTo>
                      <a:lnTo>
                        <a:pt x="170" y="24"/>
                      </a:lnTo>
                      <a:lnTo>
                        <a:pt x="174" y="22"/>
                      </a:lnTo>
                      <a:lnTo>
                        <a:pt x="176" y="22"/>
                      </a:lnTo>
                      <a:lnTo>
                        <a:pt x="182" y="22"/>
                      </a:lnTo>
                      <a:lnTo>
                        <a:pt x="186" y="20"/>
                      </a:lnTo>
                      <a:lnTo>
                        <a:pt x="188" y="20"/>
                      </a:lnTo>
                      <a:lnTo>
                        <a:pt x="190" y="20"/>
                      </a:lnTo>
                      <a:lnTo>
                        <a:pt x="192" y="18"/>
                      </a:lnTo>
                      <a:lnTo>
                        <a:pt x="194" y="18"/>
                      </a:lnTo>
                      <a:lnTo>
                        <a:pt x="194" y="20"/>
                      </a:lnTo>
                      <a:lnTo>
                        <a:pt x="194" y="22"/>
                      </a:lnTo>
                      <a:lnTo>
                        <a:pt x="196" y="22"/>
                      </a:lnTo>
                      <a:lnTo>
                        <a:pt x="196" y="24"/>
                      </a:lnTo>
                      <a:lnTo>
                        <a:pt x="198" y="24"/>
                      </a:lnTo>
                      <a:lnTo>
                        <a:pt x="198" y="26"/>
                      </a:lnTo>
                      <a:lnTo>
                        <a:pt x="198" y="28"/>
                      </a:lnTo>
                      <a:lnTo>
                        <a:pt x="200" y="28"/>
                      </a:lnTo>
                      <a:lnTo>
                        <a:pt x="202" y="26"/>
                      </a:lnTo>
                      <a:lnTo>
                        <a:pt x="204" y="24"/>
                      </a:lnTo>
                      <a:lnTo>
                        <a:pt x="204" y="22"/>
                      </a:lnTo>
                      <a:lnTo>
                        <a:pt x="206" y="20"/>
                      </a:lnTo>
                      <a:lnTo>
                        <a:pt x="208" y="20"/>
                      </a:lnTo>
                      <a:lnTo>
                        <a:pt x="210" y="18"/>
                      </a:lnTo>
                      <a:lnTo>
                        <a:pt x="212" y="18"/>
                      </a:lnTo>
                      <a:lnTo>
                        <a:pt x="214" y="18"/>
                      </a:lnTo>
                      <a:lnTo>
                        <a:pt x="216" y="18"/>
                      </a:lnTo>
                      <a:lnTo>
                        <a:pt x="216" y="16"/>
                      </a:lnTo>
                      <a:lnTo>
                        <a:pt x="218" y="16"/>
                      </a:lnTo>
                      <a:lnTo>
                        <a:pt x="220" y="16"/>
                      </a:lnTo>
                      <a:lnTo>
                        <a:pt x="222" y="16"/>
                      </a:lnTo>
                      <a:lnTo>
                        <a:pt x="224" y="16"/>
                      </a:lnTo>
                      <a:lnTo>
                        <a:pt x="226" y="16"/>
                      </a:lnTo>
                      <a:lnTo>
                        <a:pt x="224" y="14"/>
                      </a:lnTo>
                      <a:lnTo>
                        <a:pt x="222" y="14"/>
                      </a:lnTo>
                      <a:lnTo>
                        <a:pt x="222" y="12"/>
                      </a:lnTo>
                      <a:lnTo>
                        <a:pt x="220" y="12"/>
                      </a:lnTo>
                      <a:lnTo>
                        <a:pt x="218" y="12"/>
                      </a:lnTo>
                      <a:lnTo>
                        <a:pt x="216" y="12"/>
                      </a:lnTo>
                      <a:lnTo>
                        <a:pt x="214" y="12"/>
                      </a:lnTo>
                      <a:lnTo>
                        <a:pt x="214" y="10"/>
                      </a:lnTo>
                      <a:lnTo>
                        <a:pt x="212" y="10"/>
                      </a:lnTo>
                      <a:lnTo>
                        <a:pt x="212" y="8"/>
                      </a:lnTo>
                      <a:lnTo>
                        <a:pt x="210" y="8"/>
                      </a:lnTo>
                      <a:lnTo>
                        <a:pt x="208" y="10"/>
                      </a:lnTo>
                      <a:lnTo>
                        <a:pt x="206" y="10"/>
                      </a:lnTo>
                      <a:lnTo>
                        <a:pt x="204" y="10"/>
                      </a:lnTo>
                      <a:lnTo>
                        <a:pt x="202" y="12"/>
                      </a:lnTo>
                      <a:lnTo>
                        <a:pt x="200" y="12"/>
                      </a:lnTo>
                      <a:lnTo>
                        <a:pt x="200" y="14"/>
                      </a:lnTo>
                      <a:lnTo>
                        <a:pt x="198" y="14"/>
                      </a:lnTo>
                      <a:lnTo>
                        <a:pt x="198" y="12"/>
                      </a:lnTo>
                      <a:lnTo>
                        <a:pt x="196" y="12"/>
                      </a:lnTo>
                      <a:lnTo>
                        <a:pt x="194" y="12"/>
                      </a:lnTo>
                      <a:lnTo>
                        <a:pt x="192" y="12"/>
                      </a:lnTo>
                      <a:lnTo>
                        <a:pt x="192" y="14"/>
                      </a:lnTo>
                      <a:lnTo>
                        <a:pt x="190" y="14"/>
                      </a:lnTo>
                      <a:lnTo>
                        <a:pt x="188" y="14"/>
                      </a:lnTo>
                      <a:lnTo>
                        <a:pt x="182" y="16"/>
                      </a:lnTo>
                      <a:lnTo>
                        <a:pt x="178" y="16"/>
                      </a:lnTo>
                      <a:lnTo>
                        <a:pt x="172" y="18"/>
                      </a:lnTo>
                      <a:lnTo>
                        <a:pt x="168" y="18"/>
                      </a:lnTo>
                      <a:lnTo>
                        <a:pt x="166" y="18"/>
                      </a:lnTo>
                      <a:lnTo>
                        <a:pt x="164" y="18"/>
                      </a:lnTo>
                      <a:lnTo>
                        <a:pt x="160" y="18"/>
                      </a:lnTo>
                      <a:lnTo>
                        <a:pt x="156" y="18"/>
                      </a:lnTo>
                      <a:lnTo>
                        <a:pt x="154" y="18"/>
                      </a:lnTo>
                      <a:lnTo>
                        <a:pt x="150" y="18"/>
                      </a:lnTo>
                      <a:lnTo>
                        <a:pt x="148" y="18"/>
                      </a:lnTo>
                      <a:lnTo>
                        <a:pt x="146" y="18"/>
                      </a:lnTo>
                      <a:lnTo>
                        <a:pt x="146" y="16"/>
                      </a:lnTo>
                      <a:lnTo>
                        <a:pt x="144" y="16"/>
                      </a:lnTo>
                      <a:lnTo>
                        <a:pt x="142" y="16"/>
                      </a:lnTo>
                      <a:lnTo>
                        <a:pt x="140" y="16"/>
                      </a:lnTo>
                      <a:lnTo>
                        <a:pt x="136" y="16"/>
                      </a:lnTo>
                      <a:lnTo>
                        <a:pt x="134" y="16"/>
                      </a:lnTo>
                      <a:lnTo>
                        <a:pt x="132" y="16"/>
                      </a:lnTo>
                      <a:lnTo>
                        <a:pt x="130" y="16"/>
                      </a:lnTo>
                      <a:lnTo>
                        <a:pt x="128" y="16"/>
                      </a:lnTo>
                      <a:lnTo>
                        <a:pt x="126" y="16"/>
                      </a:lnTo>
                      <a:lnTo>
                        <a:pt x="124" y="16"/>
                      </a:lnTo>
                      <a:lnTo>
                        <a:pt x="122" y="16"/>
                      </a:lnTo>
                      <a:lnTo>
                        <a:pt x="120" y="16"/>
                      </a:lnTo>
                      <a:lnTo>
                        <a:pt x="118" y="16"/>
                      </a:lnTo>
                      <a:lnTo>
                        <a:pt x="118" y="14"/>
                      </a:lnTo>
                      <a:lnTo>
                        <a:pt x="116" y="14"/>
                      </a:lnTo>
                      <a:lnTo>
                        <a:pt x="116" y="12"/>
                      </a:lnTo>
                      <a:lnTo>
                        <a:pt x="114" y="12"/>
                      </a:lnTo>
                      <a:lnTo>
                        <a:pt x="114" y="10"/>
                      </a:lnTo>
                      <a:lnTo>
                        <a:pt x="114" y="8"/>
                      </a:lnTo>
                      <a:lnTo>
                        <a:pt x="112" y="8"/>
                      </a:lnTo>
                      <a:lnTo>
                        <a:pt x="106" y="8"/>
                      </a:lnTo>
                      <a:lnTo>
                        <a:pt x="100" y="8"/>
                      </a:lnTo>
                      <a:lnTo>
                        <a:pt x="94" y="8"/>
                      </a:lnTo>
                      <a:lnTo>
                        <a:pt x="88" y="8"/>
                      </a:lnTo>
                      <a:lnTo>
                        <a:pt x="84" y="8"/>
                      </a:lnTo>
                      <a:lnTo>
                        <a:pt x="78" y="8"/>
                      </a:lnTo>
                      <a:lnTo>
                        <a:pt x="76" y="8"/>
                      </a:lnTo>
                      <a:lnTo>
                        <a:pt x="72" y="8"/>
                      </a:lnTo>
                      <a:lnTo>
                        <a:pt x="68" y="8"/>
                      </a:lnTo>
                      <a:lnTo>
                        <a:pt x="64" y="8"/>
                      </a:lnTo>
                      <a:lnTo>
                        <a:pt x="60" y="8"/>
                      </a:lnTo>
                      <a:lnTo>
                        <a:pt x="58" y="8"/>
                      </a:lnTo>
                      <a:lnTo>
                        <a:pt x="54" y="8"/>
                      </a:lnTo>
                      <a:lnTo>
                        <a:pt x="50" y="8"/>
                      </a:lnTo>
                      <a:lnTo>
                        <a:pt x="46" y="8"/>
                      </a:lnTo>
                      <a:lnTo>
                        <a:pt x="44" y="8"/>
                      </a:lnTo>
                      <a:lnTo>
                        <a:pt x="42" y="8"/>
                      </a:lnTo>
                      <a:lnTo>
                        <a:pt x="40" y="8"/>
                      </a:lnTo>
                      <a:lnTo>
                        <a:pt x="38" y="8"/>
                      </a:lnTo>
                      <a:lnTo>
                        <a:pt x="36" y="6"/>
                      </a:lnTo>
                      <a:lnTo>
                        <a:pt x="34" y="6"/>
                      </a:lnTo>
                      <a:lnTo>
                        <a:pt x="32" y="4"/>
                      </a:lnTo>
                      <a:lnTo>
                        <a:pt x="30" y="2"/>
                      </a:lnTo>
                      <a:lnTo>
                        <a:pt x="28" y="0"/>
                      </a:lnTo>
                      <a:lnTo>
                        <a:pt x="26" y="0"/>
                      </a:lnTo>
                      <a:lnTo>
                        <a:pt x="24" y="0"/>
                      </a:lnTo>
                      <a:lnTo>
                        <a:pt x="22" y="0"/>
                      </a:lnTo>
                      <a:lnTo>
                        <a:pt x="20" y="0"/>
                      </a:lnTo>
                      <a:lnTo>
                        <a:pt x="18" y="2"/>
                      </a:lnTo>
                      <a:lnTo>
                        <a:pt x="18" y="4"/>
                      </a:lnTo>
                      <a:lnTo>
                        <a:pt x="16" y="4"/>
                      </a:lnTo>
                      <a:lnTo>
                        <a:pt x="14" y="4"/>
                      </a:lnTo>
                      <a:lnTo>
                        <a:pt x="10" y="4"/>
                      </a:lnTo>
                      <a:lnTo>
                        <a:pt x="10" y="6"/>
                      </a:lnTo>
                      <a:lnTo>
                        <a:pt x="8" y="6"/>
                      </a:lnTo>
                      <a:lnTo>
                        <a:pt x="6" y="4"/>
                      </a:lnTo>
                      <a:lnTo>
                        <a:pt x="4" y="4"/>
                      </a:lnTo>
                      <a:lnTo>
                        <a:pt x="2" y="4"/>
                      </a:lnTo>
                      <a:lnTo>
                        <a:pt x="0" y="4"/>
                      </a:lnTo>
                      <a:lnTo>
                        <a:pt x="0" y="6"/>
                      </a:lnTo>
                      <a:lnTo>
                        <a:pt x="0" y="8"/>
                      </a:lnTo>
                      <a:lnTo>
                        <a:pt x="0" y="10"/>
                      </a:lnTo>
                      <a:lnTo>
                        <a:pt x="0" y="12"/>
                      </a:lnTo>
                      <a:lnTo>
                        <a:pt x="0" y="14"/>
                      </a:lnTo>
                      <a:lnTo>
                        <a:pt x="0" y="16"/>
                      </a:lnTo>
                      <a:lnTo>
                        <a:pt x="0" y="18"/>
                      </a:lnTo>
                      <a:lnTo>
                        <a:pt x="0" y="20"/>
                      </a:lnTo>
                      <a:lnTo>
                        <a:pt x="0" y="22"/>
                      </a:lnTo>
                      <a:lnTo>
                        <a:pt x="2" y="22"/>
                      </a:lnTo>
                      <a:lnTo>
                        <a:pt x="2" y="24"/>
                      </a:lnTo>
                      <a:lnTo>
                        <a:pt x="4" y="28"/>
                      </a:lnTo>
                      <a:lnTo>
                        <a:pt x="6" y="32"/>
                      </a:lnTo>
                      <a:lnTo>
                        <a:pt x="6" y="34"/>
                      </a:lnTo>
                      <a:lnTo>
                        <a:pt x="8" y="34"/>
                      </a:lnTo>
                      <a:lnTo>
                        <a:pt x="10" y="38"/>
                      </a:lnTo>
                      <a:lnTo>
                        <a:pt x="12" y="40"/>
                      </a:lnTo>
                      <a:lnTo>
                        <a:pt x="16" y="46"/>
                      </a:lnTo>
                      <a:lnTo>
                        <a:pt x="18" y="50"/>
                      </a:lnTo>
                      <a:lnTo>
                        <a:pt x="20" y="54"/>
                      </a:lnTo>
                      <a:lnTo>
                        <a:pt x="22" y="58"/>
                      </a:lnTo>
                      <a:lnTo>
                        <a:pt x="22" y="60"/>
                      </a:lnTo>
                      <a:lnTo>
                        <a:pt x="22" y="62"/>
                      </a:lnTo>
                      <a:lnTo>
                        <a:pt x="24" y="64"/>
                      </a:lnTo>
                      <a:lnTo>
                        <a:pt x="26" y="68"/>
                      </a:lnTo>
                      <a:lnTo>
                        <a:pt x="28" y="72"/>
                      </a:lnTo>
                      <a:lnTo>
                        <a:pt x="28" y="74"/>
                      </a:lnTo>
                      <a:lnTo>
                        <a:pt x="28" y="76"/>
                      </a:lnTo>
                      <a:lnTo>
                        <a:pt x="30" y="78"/>
                      </a:lnTo>
                      <a:lnTo>
                        <a:pt x="30" y="80"/>
                      </a:lnTo>
                      <a:lnTo>
                        <a:pt x="32" y="84"/>
                      </a:lnTo>
                      <a:lnTo>
                        <a:pt x="34" y="86"/>
                      </a:lnTo>
                      <a:lnTo>
                        <a:pt x="36" y="88"/>
                      </a:lnTo>
                      <a:lnTo>
                        <a:pt x="36" y="90"/>
                      </a:lnTo>
                      <a:lnTo>
                        <a:pt x="36" y="92"/>
                      </a:lnTo>
                      <a:lnTo>
                        <a:pt x="38" y="94"/>
                      </a:lnTo>
                      <a:lnTo>
                        <a:pt x="40" y="96"/>
                      </a:lnTo>
                      <a:lnTo>
                        <a:pt x="42" y="98"/>
                      </a:lnTo>
                      <a:lnTo>
                        <a:pt x="44" y="100"/>
                      </a:lnTo>
                      <a:lnTo>
                        <a:pt x="46" y="102"/>
                      </a:lnTo>
                      <a:lnTo>
                        <a:pt x="46" y="104"/>
                      </a:lnTo>
                      <a:lnTo>
                        <a:pt x="46" y="106"/>
                      </a:lnTo>
                      <a:lnTo>
                        <a:pt x="46" y="108"/>
                      </a:lnTo>
                      <a:lnTo>
                        <a:pt x="46" y="110"/>
                      </a:lnTo>
                      <a:lnTo>
                        <a:pt x="46" y="112"/>
                      </a:lnTo>
                      <a:lnTo>
                        <a:pt x="46" y="118"/>
                      </a:lnTo>
                      <a:lnTo>
                        <a:pt x="46" y="122"/>
                      </a:lnTo>
                      <a:lnTo>
                        <a:pt x="46" y="128"/>
                      </a:lnTo>
                      <a:lnTo>
                        <a:pt x="46" y="130"/>
                      </a:lnTo>
                      <a:lnTo>
                        <a:pt x="46" y="134"/>
                      </a:lnTo>
                      <a:lnTo>
                        <a:pt x="46" y="136"/>
                      </a:lnTo>
                      <a:lnTo>
                        <a:pt x="46" y="138"/>
                      </a:lnTo>
                      <a:lnTo>
                        <a:pt x="46" y="140"/>
                      </a:lnTo>
                      <a:lnTo>
                        <a:pt x="48" y="142"/>
                      </a:lnTo>
                      <a:lnTo>
                        <a:pt x="50" y="144"/>
                      </a:lnTo>
                      <a:lnTo>
                        <a:pt x="50" y="148"/>
                      </a:lnTo>
                      <a:lnTo>
                        <a:pt x="50" y="150"/>
                      </a:lnTo>
                      <a:lnTo>
                        <a:pt x="52" y="154"/>
                      </a:lnTo>
                      <a:lnTo>
                        <a:pt x="52" y="156"/>
                      </a:lnTo>
                      <a:lnTo>
                        <a:pt x="52" y="158"/>
                      </a:lnTo>
                      <a:lnTo>
                        <a:pt x="50" y="158"/>
                      </a:lnTo>
                      <a:lnTo>
                        <a:pt x="50" y="160"/>
                      </a:lnTo>
                      <a:lnTo>
                        <a:pt x="50" y="162"/>
                      </a:lnTo>
                      <a:lnTo>
                        <a:pt x="50" y="164"/>
                      </a:lnTo>
                      <a:lnTo>
                        <a:pt x="50" y="166"/>
                      </a:lnTo>
                      <a:lnTo>
                        <a:pt x="52" y="166"/>
                      </a:lnTo>
                      <a:lnTo>
                        <a:pt x="52" y="168"/>
                      </a:lnTo>
                      <a:lnTo>
                        <a:pt x="52" y="170"/>
                      </a:lnTo>
                      <a:lnTo>
                        <a:pt x="52" y="172"/>
                      </a:lnTo>
                      <a:lnTo>
                        <a:pt x="52" y="174"/>
                      </a:lnTo>
                      <a:lnTo>
                        <a:pt x="52" y="176"/>
                      </a:lnTo>
                      <a:lnTo>
                        <a:pt x="54" y="178"/>
                      </a:lnTo>
                      <a:lnTo>
                        <a:pt x="54" y="180"/>
                      </a:lnTo>
                      <a:lnTo>
                        <a:pt x="56" y="180"/>
                      </a:lnTo>
                      <a:lnTo>
                        <a:pt x="56" y="182"/>
                      </a:lnTo>
                      <a:lnTo>
                        <a:pt x="54" y="182"/>
                      </a:lnTo>
                      <a:lnTo>
                        <a:pt x="54" y="184"/>
                      </a:lnTo>
                      <a:lnTo>
                        <a:pt x="54" y="186"/>
                      </a:lnTo>
                      <a:lnTo>
                        <a:pt x="54" y="188"/>
                      </a:lnTo>
                      <a:lnTo>
                        <a:pt x="54" y="190"/>
                      </a:lnTo>
                      <a:lnTo>
                        <a:pt x="56" y="190"/>
                      </a:lnTo>
                      <a:lnTo>
                        <a:pt x="56" y="192"/>
                      </a:lnTo>
                      <a:lnTo>
                        <a:pt x="58" y="192"/>
                      </a:lnTo>
                      <a:lnTo>
                        <a:pt x="58" y="194"/>
                      </a:lnTo>
                      <a:lnTo>
                        <a:pt x="58" y="196"/>
                      </a:lnTo>
                      <a:lnTo>
                        <a:pt x="58" y="198"/>
                      </a:lnTo>
                      <a:lnTo>
                        <a:pt x="58" y="200"/>
                      </a:lnTo>
                      <a:lnTo>
                        <a:pt x="60" y="200"/>
                      </a:lnTo>
                      <a:lnTo>
                        <a:pt x="60" y="202"/>
                      </a:lnTo>
                      <a:lnTo>
                        <a:pt x="60" y="204"/>
                      </a:lnTo>
                      <a:lnTo>
                        <a:pt x="62" y="206"/>
                      </a:lnTo>
                      <a:lnTo>
                        <a:pt x="64" y="208"/>
                      </a:lnTo>
                      <a:lnTo>
                        <a:pt x="64" y="210"/>
                      </a:lnTo>
                      <a:lnTo>
                        <a:pt x="66" y="214"/>
                      </a:lnTo>
                      <a:lnTo>
                        <a:pt x="66" y="216"/>
                      </a:lnTo>
                      <a:lnTo>
                        <a:pt x="68" y="216"/>
                      </a:lnTo>
                      <a:lnTo>
                        <a:pt x="70" y="218"/>
                      </a:lnTo>
                      <a:lnTo>
                        <a:pt x="72" y="220"/>
                      </a:lnTo>
                      <a:lnTo>
                        <a:pt x="74" y="220"/>
                      </a:lnTo>
                      <a:lnTo>
                        <a:pt x="76" y="222"/>
                      </a:lnTo>
                      <a:lnTo>
                        <a:pt x="78" y="222"/>
                      </a:lnTo>
                      <a:lnTo>
                        <a:pt x="78" y="220"/>
                      </a:lnTo>
                      <a:lnTo>
                        <a:pt x="80" y="220"/>
                      </a:lnTo>
                      <a:lnTo>
                        <a:pt x="80" y="218"/>
                      </a:lnTo>
                      <a:lnTo>
                        <a:pt x="82" y="218"/>
                      </a:lnTo>
                      <a:lnTo>
                        <a:pt x="82" y="216"/>
                      </a:lnTo>
                      <a:lnTo>
                        <a:pt x="84" y="214"/>
                      </a:lnTo>
                      <a:lnTo>
                        <a:pt x="84" y="212"/>
                      </a:lnTo>
                      <a:lnTo>
                        <a:pt x="86" y="21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1" name="Freeform 57">
                  <a:extLst>
                    <a:ext uri="{FF2B5EF4-FFF2-40B4-BE49-F238E27FC236}">
                      <a16:creationId xmlns:a16="http://schemas.microsoft.com/office/drawing/2014/main" id="{D5C24ED5-0B5E-4491-BE19-BA965CB9A5B4}"/>
                    </a:ext>
                  </a:extLst>
                </p:cNvPr>
                <p:cNvSpPr>
                  <a:spLocks noChangeAspect="1"/>
                </p:cNvSpPr>
                <p:nvPr/>
              </p:nvSpPr>
              <p:spPr bwMode="auto">
                <a:xfrm>
                  <a:off x="5106612" y="4780519"/>
                  <a:ext cx="217056" cy="228459"/>
                </a:xfrm>
                <a:custGeom>
                  <a:avLst/>
                  <a:gdLst/>
                  <a:ahLst/>
                  <a:cxnLst>
                    <a:cxn ang="0">
                      <a:pos x="4" y="54"/>
                    </a:cxn>
                    <a:cxn ang="0">
                      <a:pos x="8" y="56"/>
                    </a:cxn>
                    <a:cxn ang="0">
                      <a:pos x="12" y="64"/>
                    </a:cxn>
                    <a:cxn ang="0">
                      <a:pos x="16" y="74"/>
                    </a:cxn>
                    <a:cxn ang="0">
                      <a:pos x="24" y="82"/>
                    </a:cxn>
                    <a:cxn ang="0">
                      <a:pos x="32" y="84"/>
                    </a:cxn>
                    <a:cxn ang="0">
                      <a:pos x="32" y="90"/>
                    </a:cxn>
                    <a:cxn ang="0">
                      <a:pos x="40" y="92"/>
                    </a:cxn>
                    <a:cxn ang="0">
                      <a:pos x="42" y="98"/>
                    </a:cxn>
                    <a:cxn ang="0">
                      <a:pos x="40" y="102"/>
                    </a:cxn>
                    <a:cxn ang="0">
                      <a:pos x="40" y="106"/>
                    </a:cxn>
                    <a:cxn ang="0">
                      <a:pos x="44" y="112"/>
                    </a:cxn>
                    <a:cxn ang="0">
                      <a:pos x="54" y="114"/>
                    </a:cxn>
                    <a:cxn ang="0">
                      <a:pos x="66" y="124"/>
                    </a:cxn>
                    <a:cxn ang="0">
                      <a:pos x="62" y="124"/>
                    </a:cxn>
                    <a:cxn ang="0">
                      <a:pos x="72" y="124"/>
                    </a:cxn>
                    <a:cxn ang="0">
                      <a:pos x="78" y="126"/>
                    </a:cxn>
                    <a:cxn ang="0">
                      <a:pos x="90" y="126"/>
                    </a:cxn>
                    <a:cxn ang="0">
                      <a:pos x="98" y="128"/>
                    </a:cxn>
                    <a:cxn ang="0">
                      <a:pos x="110" y="118"/>
                    </a:cxn>
                    <a:cxn ang="0">
                      <a:pos x="116" y="110"/>
                    </a:cxn>
                    <a:cxn ang="0">
                      <a:pos x="120" y="108"/>
                    </a:cxn>
                    <a:cxn ang="0">
                      <a:pos x="118" y="104"/>
                    </a:cxn>
                    <a:cxn ang="0">
                      <a:pos x="120" y="96"/>
                    </a:cxn>
                    <a:cxn ang="0">
                      <a:pos x="122" y="94"/>
                    </a:cxn>
                    <a:cxn ang="0">
                      <a:pos x="128" y="86"/>
                    </a:cxn>
                    <a:cxn ang="0">
                      <a:pos x="132" y="80"/>
                    </a:cxn>
                    <a:cxn ang="0">
                      <a:pos x="124" y="72"/>
                    </a:cxn>
                    <a:cxn ang="0">
                      <a:pos x="128" y="66"/>
                    </a:cxn>
                    <a:cxn ang="0">
                      <a:pos x="126" y="60"/>
                    </a:cxn>
                    <a:cxn ang="0">
                      <a:pos x="130" y="56"/>
                    </a:cxn>
                    <a:cxn ang="0">
                      <a:pos x="132" y="54"/>
                    </a:cxn>
                    <a:cxn ang="0">
                      <a:pos x="128" y="42"/>
                    </a:cxn>
                    <a:cxn ang="0">
                      <a:pos x="132" y="36"/>
                    </a:cxn>
                    <a:cxn ang="0">
                      <a:pos x="132" y="32"/>
                    </a:cxn>
                    <a:cxn ang="0">
                      <a:pos x="128" y="28"/>
                    </a:cxn>
                    <a:cxn ang="0">
                      <a:pos x="132" y="22"/>
                    </a:cxn>
                    <a:cxn ang="0">
                      <a:pos x="126" y="18"/>
                    </a:cxn>
                    <a:cxn ang="0">
                      <a:pos x="118" y="16"/>
                    </a:cxn>
                    <a:cxn ang="0">
                      <a:pos x="112" y="12"/>
                    </a:cxn>
                    <a:cxn ang="0">
                      <a:pos x="106" y="10"/>
                    </a:cxn>
                    <a:cxn ang="0">
                      <a:pos x="104" y="8"/>
                    </a:cxn>
                    <a:cxn ang="0">
                      <a:pos x="94" y="6"/>
                    </a:cxn>
                    <a:cxn ang="0">
                      <a:pos x="88" y="6"/>
                    </a:cxn>
                    <a:cxn ang="0">
                      <a:pos x="88" y="0"/>
                    </a:cxn>
                    <a:cxn ang="0">
                      <a:pos x="68" y="2"/>
                    </a:cxn>
                    <a:cxn ang="0">
                      <a:pos x="62" y="8"/>
                    </a:cxn>
                    <a:cxn ang="0">
                      <a:pos x="62" y="18"/>
                    </a:cxn>
                    <a:cxn ang="0">
                      <a:pos x="52" y="20"/>
                    </a:cxn>
                    <a:cxn ang="0">
                      <a:pos x="42" y="28"/>
                    </a:cxn>
                    <a:cxn ang="0">
                      <a:pos x="40" y="34"/>
                    </a:cxn>
                    <a:cxn ang="0">
                      <a:pos x="24" y="46"/>
                    </a:cxn>
                    <a:cxn ang="0">
                      <a:pos x="16" y="42"/>
                    </a:cxn>
                    <a:cxn ang="0">
                      <a:pos x="12" y="42"/>
                    </a:cxn>
                    <a:cxn ang="0">
                      <a:pos x="2" y="40"/>
                    </a:cxn>
                    <a:cxn ang="0">
                      <a:pos x="0" y="44"/>
                    </a:cxn>
                  </a:cxnLst>
                  <a:rect l="0" t="0" r="r" b="b"/>
                  <a:pathLst>
                    <a:path w="132" h="130">
                      <a:moveTo>
                        <a:pt x="4" y="48"/>
                      </a:moveTo>
                      <a:lnTo>
                        <a:pt x="4" y="50"/>
                      </a:lnTo>
                      <a:lnTo>
                        <a:pt x="4" y="52"/>
                      </a:lnTo>
                      <a:lnTo>
                        <a:pt x="4" y="54"/>
                      </a:lnTo>
                      <a:lnTo>
                        <a:pt x="6" y="54"/>
                      </a:lnTo>
                      <a:lnTo>
                        <a:pt x="8" y="56"/>
                      </a:lnTo>
                      <a:lnTo>
                        <a:pt x="10" y="58"/>
                      </a:lnTo>
                      <a:lnTo>
                        <a:pt x="10" y="62"/>
                      </a:lnTo>
                      <a:lnTo>
                        <a:pt x="12" y="62"/>
                      </a:lnTo>
                      <a:lnTo>
                        <a:pt x="12" y="64"/>
                      </a:lnTo>
                      <a:lnTo>
                        <a:pt x="12" y="66"/>
                      </a:lnTo>
                      <a:lnTo>
                        <a:pt x="12" y="68"/>
                      </a:lnTo>
                      <a:lnTo>
                        <a:pt x="14" y="72"/>
                      </a:lnTo>
                      <a:lnTo>
                        <a:pt x="14" y="74"/>
                      </a:lnTo>
                      <a:lnTo>
                        <a:pt x="16" y="74"/>
                      </a:lnTo>
                      <a:lnTo>
                        <a:pt x="16" y="76"/>
                      </a:lnTo>
                      <a:lnTo>
                        <a:pt x="18" y="78"/>
                      </a:lnTo>
                      <a:lnTo>
                        <a:pt x="20" y="80"/>
                      </a:lnTo>
                      <a:lnTo>
                        <a:pt x="22" y="80"/>
                      </a:lnTo>
                      <a:lnTo>
                        <a:pt x="24" y="82"/>
                      </a:lnTo>
                      <a:lnTo>
                        <a:pt x="26" y="82"/>
                      </a:lnTo>
                      <a:lnTo>
                        <a:pt x="28" y="82"/>
                      </a:lnTo>
                      <a:lnTo>
                        <a:pt x="30" y="82"/>
                      </a:lnTo>
                      <a:lnTo>
                        <a:pt x="32" y="84"/>
                      </a:lnTo>
                      <a:lnTo>
                        <a:pt x="32" y="86"/>
                      </a:lnTo>
                      <a:lnTo>
                        <a:pt x="32" y="90"/>
                      </a:lnTo>
                      <a:lnTo>
                        <a:pt x="32" y="92"/>
                      </a:lnTo>
                      <a:lnTo>
                        <a:pt x="36" y="92"/>
                      </a:lnTo>
                      <a:lnTo>
                        <a:pt x="38" y="92"/>
                      </a:lnTo>
                      <a:lnTo>
                        <a:pt x="40" y="92"/>
                      </a:lnTo>
                      <a:lnTo>
                        <a:pt x="40" y="94"/>
                      </a:lnTo>
                      <a:lnTo>
                        <a:pt x="42" y="96"/>
                      </a:lnTo>
                      <a:lnTo>
                        <a:pt x="42" y="98"/>
                      </a:lnTo>
                      <a:lnTo>
                        <a:pt x="40" y="98"/>
                      </a:lnTo>
                      <a:lnTo>
                        <a:pt x="40" y="100"/>
                      </a:lnTo>
                      <a:lnTo>
                        <a:pt x="40" y="102"/>
                      </a:lnTo>
                      <a:lnTo>
                        <a:pt x="40" y="104"/>
                      </a:lnTo>
                      <a:lnTo>
                        <a:pt x="40" y="106"/>
                      </a:lnTo>
                      <a:lnTo>
                        <a:pt x="42" y="106"/>
                      </a:lnTo>
                      <a:lnTo>
                        <a:pt x="44" y="106"/>
                      </a:lnTo>
                      <a:lnTo>
                        <a:pt x="44" y="108"/>
                      </a:lnTo>
                      <a:lnTo>
                        <a:pt x="44" y="110"/>
                      </a:lnTo>
                      <a:lnTo>
                        <a:pt x="44" y="112"/>
                      </a:lnTo>
                      <a:lnTo>
                        <a:pt x="44" y="114"/>
                      </a:lnTo>
                      <a:lnTo>
                        <a:pt x="46" y="114"/>
                      </a:lnTo>
                      <a:lnTo>
                        <a:pt x="48" y="114"/>
                      </a:lnTo>
                      <a:lnTo>
                        <a:pt x="54" y="114"/>
                      </a:lnTo>
                      <a:lnTo>
                        <a:pt x="56" y="114"/>
                      </a:lnTo>
                      <a:lnTo>
                        <a:pt x="58" y="116"/>
                      </a:lnTo>
                      <a:lnTo>
                        <a:pt x="60" y="116"/>
                      </a:lnTo>
                      <a:lnTo>
                        <a:pt x="62" y="120"/>
                      </a:lnTo>
                      <a:lnTo>
                        <a:pt x="64" y="122"/>
                      </a:lnTo>
                      <a:lnTo>
                        <a:pt x="66" y="124"/>
                      </a:lnTo>
                      <a:lnTo>
                        <a:pt x="64" y="124"/>
                      </a:lnTo>
                      <a:lnTo>
                        <a:pt x="62" y="124"/>
                      </a:lnTo>
                      <a:lnTo>
                        <a:pt x="60" y="124"/>
                      </a:lnTo>
                      <a:lnTo>
                        <a:pt x="62" y="124"/>
                      </a:lnTo>
                      <a:lnTo>
                        <a:pt x="64" y="124"/>
                      </a:lnTo>
                      <a:lnTo>
                        <a:pt x="66" y="124"/>
                      </a:lnTo>
                      <a:lnTo>
                        <a:pt x="68" y="124"/>
                      </a:lnTo>
                      <a:lnTo>
                        <a:pt x="70" y="124"/>
                      </a:lnTo>
                      <a:lnTo>
                        <a:pt x="72" y="124"/>
                      </a:lnTo>
                      <a:lnTo>
                        <a:pt x="74" y="124"/>
                      </a:lnTo>
                      <a:lnTo>
                        <a:pt x="76" y="124"/>
                      </a:lnTo>
                      <a:lnTo>
                        <a:pt x="78" y="126"/>
                      </a:lnTo>
                      <a:lnTo>
                        <a:pt x="80" y="126"/>
                      </a:lnTo>
                      <a:lnTo>
                        <a:pt x="82" y="126"/>
                      </a:lnTo>
                      <a:lnTo>
                        <a:pt x="84" y="126"/>
                      </a:lnTo>
                      <a:lnTo>
                        <a:pt x="86" y="126"/>
                      </a:lnTo>
                      <a:lnTo>
                        <a:pt x="88" y="126"/>
                      </a:lnTo>
                      <a:lnTo>
                        <a:pt x="90" y="126"/>
                      </a:lnTo>
                      <a:lnTo>
                        <a:pt x="92" y="126"/>
                      </a:lnTo>
                      <a:lnTo>
                        <a:pt x="94" y="126"/>
                      </a:lnTo>
                      <a:lnTo>
                        <a:pt x="96" y="128"/>
                      </a:lnTo>
                      <a:lnTo>
                        <a:pt x="98" y="128"/>
                      </a:lnTo>
                      <a:lnTo>
                        <a:pt x="98" y="130"/>
                      </a:lnTo>
                      <a:lnTo>
                        <a:pt x="100" y="130"/>
                      </a:lnTo>
                      <a:lnTo>
                        <a:pt x="102" y="126"/>
                      </a:lnTo>
                      <a:lnTo>
                        <a:pt x="106" y="122"/>
                      </a:lnTo>
                      <a:lnTo>
                        <a:pt x="108" y="120"/>
                      </a:lnTo>
                      <a:lnTo>
                        <a:pt x="110" y="118"/>
                      </a:lnTo>
                      <a:lnTo>
                        <a:pt x="112" y="116"/>
                      </a:lnTo>
                      <a:lnTo>
                        <a:pt x="112" y="114"/>
                      </a:lnTo>
                      <a:lnTo>
                        <a:pt x="114" y="114"/>
                      </a:lnTo>
                      <a:lnTo>
                        <a:pt x="114" y="112"/>
                      </a:lnTo>
                      <a:lnTo>
                        <a:pt x="116" y="110"/>
                      </a:lnTo>
                      <a:lnTo>
                        <a:pt x="118" y="110"/>
                      </a:lnTo>
                      <a:lnTo>
                        <a:pt x="118" y="108"/>
                      </a:lnTo>
                      <a:lnTo>
                        <a:pt x="120" y="108"/>
                      </a:lnTo>
                      <a:lnTo>
                        <a:pt x="118" y="108"/>
                      </a:lnTo>
                      <a:lnTo>
                        <a:pt x="118" y="106"/>
                      </a:lnTo>
                      <a:lnTo>
                        <a:pt x="118" y="104"/>
                      </a:lnTo>
                      <a:lnTo>
                        <a:pt x="116" y="104"/>
                      </a:lnTo>
                      <a:lnTo>
                        <a:pt x="118" y="104"/>
                      </a:lnTo>
                      <a:lnTo>
                        <a:pt x="118" y="102"/>
                      </a:lnTo>
                      <a:lnTo>
                        <a:pt x="120" y="102"/>
                      </a:lnTo>
                      <a:lnTo>
                        <a:pt x="120" y="100"/>
                      </a:lnTo>
                      <a:lnTo>
                        <a:pt x="120" y="96"/>
                      </a:lnTo>
                      <a:lnTo>
                        <a:pt x="120" y="94"/>
                      </a:lnTo>
                      <a:lnTo>
                        <a:pt x="122" y="94"/>
                      </a:lnTo>
                      <a:lnTo>
                        <a:pt x="122" y="92"/>
                      </a:lnTo>
                      <a:lnTo>
                        <a:pt x="124" y="92"/>
                      </a:lnTo>
                      <a:lnTo>
                        <a:pt x="126" y="92"/>
                      </a:lnTo>
                      <a:lnTo>
                        <a:pt x="126" y="90"/>
                      </a:lnTo>
                      <a:lnTo>
                        <a:pt x="126" y="88"/>
                      </a:lnTo>
                      <a:lnTo>
                        <a:pt x="128" y="86"/>
                      </a:lnTo>
                      <a:lnTo>
                        <a:pt x="130" y="84"/>
                      </a:lnTo>
                      <a:lnTo>
                        <a:pt x="130" y="82"/>
                      </a:lnTo>
                      <a:lnTo>
                        <a:pt x="132" y="80"/>
                      </a:lnTo>
                      <a:lnTo>
                        <a:pt x="130" y="80"/>
                      </a:lnTo>
                      <a:lnTo>
                        <a:pt x="130" y="78"/>
                      </a:lnTo>
                      <a:lnTo>
                        <a:pt x="128" y="76"/>
                      </a:lnTo>
                      <a:lnTo>
                        <a:pt x="126" y="76"/>
                      </a:lnTo>
                      <a:lnTo>
                        <a:pt x="126" y="74"/>
                      </a:lnTo>
                      <a:lnTo>
                        <a:pt x="124" y="74"/>
                      </a:lnTo>
                      <a:lnTo>
                        <a:pt x="124" y="72"/>
                      </a:lnTo>
                      <a:lnTo>
                        <a:pt x="126" y="70"/>
                      </a:lnTo>
                      <a:lnTo>
                        <a:pt x="128" y="68"/>
                      </a:lnTo>
                      <a:lnTo>
                        <a:pt x="128" y="66"/>
                      </a:lnTo>
                      <a:lnTo>
                        <a:pt x="130" y="66"/>
                      </a:lnTo>
                      <a:lnTo>
                        <a:pt x="128" y="66"/>
                      </a:lnTo>
                      <a:lnTo>
                        <a:pt x="126" y="64"/>
                      </a:lnTo>
                      <a:lnTo>
                        <a:pt x="126" y="62"/>
                      </a:lnTo>
                      <a:lnTo>
                        <a:pt x="124" y="62"/>
                      </a:lnTo>
                      <a:lnTo>
                        <a:pt x="126" y="60"/>
                      </a:lnTo>
                      <a:lnTo>
                        <a:pt x="128" y="60"/>
                      </a:lnTo>
                      <a:lnTo>
                        <a:pt x="130" y="58"/>
                      </a:lnTo>
                      <a:lnTo>
                        <a:pt x="130" y="56"/>
                      </a:lnTo>
                      <a:lnTo>
                        <a:pt x="132" y="54"/>
                      </a:lnTo>
                      <a:lnTo>
                        <a:pt x="132" y="52"/>
                      </a:lnTo>
                      <a:lnTo>
                        <a:pt x="132" y="50"/>
                      </a:lnTo>
                      <a:lnTo>
                        <a:pt x="132" y="48"/>
                      </a:lnTo>
                      <a:lnTo>
                        <a:pt x="130" y="48"/>
                      </a:lnTo>
                      <a:lnTo>
                        <a:pt x="130" y="44"/>
                      </a:lnTo>
                      <a:lnTo>
                        <a:pt x="128" y="42"/>
                      </a:lnTo>
                      <a:lnTo>
                        <a:pt x="130" y="40"/>
                      </a:lnTo>
                      <a:lnTo>
                        <a:pt x="132" y="38"/>
                      </a:lnTo>
                      <a:lnTo>
                        <a:pt x="132" y="36"/>
                      </a:lnTo>
                      <a:lnTo>
                        <a:pt x="130" y="36"/>
                      </a:lnTo>
                      <a:lnTo>
                        <a:pt x="130" y="34"/>
                      </a:lnTo>
                      <a:lnTo>
                        <a:pt x="130" y="32"/>
                      </a:lnTo>
                      <a:lnTo>
                        <a:pt x="132" y="32"/>
                      </a:lnTo>
                      <a:lnTo>
                        <a:pt x="130" y="30"/>
                      </a:lnTo>
                      <a:lnTo>
                        <a:pt x="130" y="28"/>
                      </a:lnTo>
                      <a:lnTo>
                        <a:pt x="128" y="28"/>
                      </a:lnTo>
                      <a:lnTo>
                        <a:pt x="130" y="28"/>
                      </a:lnTo>
                      <a:lnTo>
                        <a:pt x="132" y="26"/>
                      </a:lnTo>
                      <a:lnTo>
                        <a:pt x="132" y="24"/>
                      </a:lnTo>
                      <a:lnTo>
                        <a:pt x="132" y="22"/>
                      </a:lnTo>
                      <a:lnTo>
                        <a:pt x="132" y="20"/>
                      </a:lnTo>
                      <a:lnTo>
                        <a:pt x="130" y="20"/>
                      </a:lnTo>
                      <a:lnTo>
                        <a:pt x="128" y="18"/>
                      </a:lnTo>
                      <a:lnTo>
                        <a:pt x="126" y="18"/>
                      </a:lnTo>
                      <a:lnTo>
                        <a:pt x="124" y="18"/>
                      </a:lnTo>
                      <a:lnTo>
                        <a:pt x="122" y="16"/>
                      </a:lnTo>
                      <a:lnTo>
                        <a:pt x="120" y="14"/>
                      </a:lnTo>
                      <a:lnTo>
                        <a:pt x="118" y="16"/>
                      </a:lnTo>
                      <a:lnTo>
                        <a:pt x="116" y="16"/>
                      </a:lnTo>
                      <a:lnTo>
                        <a:pt x="114" y="16"/>
                      </a:lnTo>
                      <a:lnTo>
                        <a:pt x="114" y="14"/>
                      </a:lnTo>
                      <a:lnTo>
                        <a:pt x="112" y="12"/>
                      </a:lnTo>
                      <a:lnTo>
                        <a:pt x="112" y="10"/>
                      </a:lnTo>
                      <a:lnTo>
                        <a:pt x="110" y="10"/>
                      </a:lnTo>
                      <a:lnTo>
                        <a:pt x="108" y="10"/>
                      </a:lnTo>
                      <a:lnTo>
                        <a:pt x="106" y="10"/>
                      </a:lnTo>
                      <a:lnTo>
                        <a:pt x="106" y="12"/>
                      </a:lnTo>
                      <a:lnTo>
                        <a:pt x="104" y="10"/>
                      </a:lnTo>
                      <a:lnTo>
                        <a:pt x="104" y="8"/>
                      </a:lnTo>
                      <a:lnTo>
                        <a:pt x="102" y="8"/>
                      </a:lnTo>
                      <a:lnTo>
                        <a:pt x="102" y="6"/>
                      </a:lnTo>
                      <a:lnTo>
                        <a:pt x="100" y="6"/>
                      </a:lnTo>
                      <a:lnTo>
                        <a:pt x="98" y="6"/>
                      </a:lnTo>
                      <a:lnTo>
                        <a:pt x="96" y="6"/>
                      </a:lnTo>
                      <a:lnTo>
                        <a:pt x="94" y="6"/>
                      </a:lnTo>
                      <a:lnTo>
                        <a:pt x="92" y="6"/>
                      </a:lnTo>
                      <a:lnTo>
                        <a:pt x="90" y="6"/>
                      </a:lnTo>
                      <a:lnTo>
                        <a:pt x="88" y="6"/>
                      </a:lnTo>
                      <a:lnTo>
                        <a:pt x="88" y="4"/>
                      </a:lnTo>
                      <a:lnTo>
                        <a:pt x="88" y="2"/>
                      </a:lnTo>
                      <a:lnTo>
                        <a:pt x="88" y="0"/>
                      </a:lnTo>
                      <a:lnTo>
                        <a:pt x="86" y="0"/>
                      </a:lnTo>
                      <a:lnTo>
                        <a:pt x="82" y="0"/>
                      </a:lnTo>
                      <a:lnTo>
                        <a:pt x="78" y="0"/>
                      </a:lnTo>
                      <a:lnTo>
                        <a:pt x="74" y="0"/>
                      </a:lnTo>
                      <a:lnTo>
                        <a:pt x="72" y="2"/>
                      </a:lnTo>
                      <a:lnTo>
                        <a:pt x="68" y="2"/>
                      </a:lnTo>
                      <a:lnTo>
                        <a:pt x="66" y="4"/>
                      </a:lnTo>
                      <a:lnTo>
                        <a:pt x="66" y="6"/>
                      </a:lnTo>
                      <a:lnTo>
                        <a:pt x="64" y="6"/>
                      </a:lnTo>
                      <a:lnTo>
                        <a:pt x="62" y="8"/>
                      </a:lnTo>
                      <a:lnTo>
                        <a:pt x="62" y="10"/>
                      </a:lnTo>
                      <a:lnTo>
                        <a:pt x="62" y="12"/>
                      </a:lnTo>
                      <a:lnTo>
                        <a:pt x="62" y="14"/>
                      </a:lnTo>
                      <a:lnTo>
                        <a:pt x="62" y="16"/>
                      </a:lnTo>
                      <a:lnTo>
                        <a:pt x="62" y="18"/>
                      </a:lnTo>
                      <a:lnTo>
                        <a:pt x="60" y="18"/>
                      </a:lnTo>
                      <a:lnTo>
                        <a:pt x="56" y="18"/>
                      </a:lnTo>
                      <a:lnTo>
                        <a:pt x="54" y="18"/>
                      </a:lnTo>
                      <a:lnTo>
                        <a:pt x="52" y="20"/>
                      </a:lnTo>
                      <a:lnTo>
                        <a:pt x="48" y="20"/>
                      </a:lnTo>
                      <a:lnTo>
                        <a:pt x="46" y="22"/>
                      </a:lnTo>
                      <a:lnTo>
                        <a:pt x="44" y="24"/>
                      </a:lnTo>
                      <a:lnTo>
                        <a:pt x="42" y="26"/>
                      </a:lnTo>
                      <a:lnTo>
                        <a:pt x="42" y="28"/>
                      </a:lnTo>
                      <a:lnTo>
                        <a:pt x="42" y="30"/>
                      </a:lnTo>
                      <a:lnTo>
                        <a:pt x="42" y="32"/>
                      </a:lnTo>
                      <a:lnTo>
                        <a:pt x="40" y="34"/>
                      </a:lnTo>
                      <a:lnTo>
                        <a:pt x="38" y="38"/>
                      </a:lnTo>
                      <a:lnTo>
                        <a:pt x="34" y="40"/>
                      </a:lnTo>
                      <a:lnTo>
                        <a:pt x="32" y="42"/>
                      </a:lnTo>
                      <a:lnTo>
                        <a:pt x="30" y="42"/>
                      </a:lnTo>
                      <a:lnTo>
                        <a:pt x="28" y="44"/>
                      </a:lnTo>
                      <a:lnTo>
                        <a:pt x="26" y="44"/>
                      </a:lnTo>
                      <a:lnTo>
                        <a:pt x="24" y="46"/>
                      </a:lnTo>
                      <a:lnTo>
                        <a:pt x="22" y="46"/>
                      </a:lnTo>
                      <a:lnTo>
                        <a:pt x="20" y="44"/>
                      </a:lnTo>
                      <a:lnTo>
                        <a:pt x="18" y="42"/>
                      </a:lnTo>
                      <a:lnTo>
                        <a:pt x="16" y="42"/>
                      </a:lnTo>
                      <a:lnTo>
                        <a:pt x="14" y="44"/>
                      </a:lnTo>
                      <a:lnTo>
                        <a:pt x="12" y="44"/>
                      </a:lnTo>
                      <a:lnTo>
                        <a:pt x="12" y="42"/>
                      </a:lnTo>
                      <a:lnTo>
                        <a:pt x="10" y="42"/>
                      </a:lnTo>
                      <a:lnTo>
                        <a:pt x="8" y="40"/>
                      </a:lnTo>
                      <a:lnTo>
                        <a:pt x="6" y="40"/>
                      </a:lnTo>
                      <a:lnTo>
                        <a:pt x="4" y="40"/>
                      </a:lnTo>
                      <a:lnTo>
                        <a:pt x="2" y="40"/>
                      </a:lnTo>
                      <a:lnTo>
                        <a:pt x="0" y="42"/>
                      </a:lnTo>
                      <a:lnTo>
                        <a:pt x="0" y="44"/>
                      </a:lnTo>
                      <a:lnTo>
                        <a:pt x="4" y="4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2" name="Freeform 58">
                  <a:extLst>
                    <a:ext uri="{FF2B5EF4-FFF2-40B4-BE49-F238E27FC236}">
                      <a16:creationId xmlns:a16="http://schemas.microsoft.com/office/drawing/2014/main" id="{BD989951-41BC-4887-BAA3-CDC17184784D}"/>
                    </a:ext>
                  </a:extLst>
                </p:cNvPr>
                <p:cNvSpPr>
                  <a:spLocks noChangeAspect="1"/>
                </p:cNvSpPr>
                <p:nvPr/>
              </p:nvSpPr>
              <p:spPr bwMode="auto">
                <a:xfrm>
                  <a:off x="4955331" y="4850277"/>
                  <a:ext cx="256520" cy="308681"/>
                </a:xfrm>
                <a:custGeom>
                  <a:avLst/>
                  <a:gdLst/>
                  <a:ahLst/>
                  <a:cxnLst>
                    <a:cxn ang="0">
                      <a:pos x="10" y="146"/>
                    </a:cxn>
                    <a:cxn ang="0">
                      <a:pos x="12" y="152"/>
                    </a:cxn>
                    <a:cxn ang="0">
                      <a:pos x="14" y="162"/>
                    </a:cxn>
                    <a:cxn ang="0">
                      <a:pos x="10" y="168"/>
                    </a:cxn>
                    <a:cxn ang="0">
                      <a:pos x="12" y="176"/>
                    </a:cxn>
                    <a:cxn ang="0">
                      <a:pos x="26" y="174"/>
                    </a:cxn>
                    <a:cxn ang="0">
                      <a:pos x="30" y="172"/>
                    </a:cxn>
                    <a:cxn ang="0">
                      <a:pos x="36" y="170"/>
                    </a:cxn>
                    <a:cxn ang="0">
                      <a:pos x="38" y="164"/>
                    </a:cxn>
                    <a:cxn ang="0">
                      <a:pos x="44" y="160"/>
                    </a:cxn>
                    <a:cxn ang="0">
                      <a:pos x="48" y="146"/>
                    </a:cxn>
                    <a:cxn ang="0">
                      <a:pos x="58" y="146"/>
                    </a:cxn>
                    <a:cxn ang="0">
                      <a:pos x="64" y="152"/>
                    </a:cxn>
                    <a:cxn ang="0">
                      <a:pos x="70" y="152"/>
                    </a:cxn>
                    <a:cxn ang="0">
                      <a:pos x="74" y="154"/>
                    </a:cxn>
                    <a:cxn ang="0">
                      <a:pos x="86" y="154"/>
                    </a:cxn>
                    <a:cxn ang="0">
                      <a:pos x="92" y="154"/>
                    </a:cxn>
                    <a:cxn ang="0">
                      <a:pos x="98" y="140"/>
                    </a:cxn>
                    <a:cxn ang="0">
                      <a:pos x="102" y="134"/>
                    </a:cxn>
                    <a:cxn ang="0">
                      <a:pos x="106" y="134"/>
                    </a:cxn>
                    <a:cxn ang="0">
                      <a:pos x="114" y="126"/>
                    </a:cxn>
                    <a:cxn ang="0">
                      <a:pos x="116" y="114"/>
                    </a:cxn>
                    <a:cxn ang="0">
                      <a:pos x="126" y="108"/>
                    </a:cxn>
                    <a:cxn ang="0">
                      <a:pos x="136" y="96"/>
                    </a:cxn>
                    <a:cxn ang="0">
                      <a:pos x="146" y="92"/>
                    </a:cxn>
                    <a:cxn ang="0">
                      <a:pos x="150" y="86"/>
                    </a:cxn>
                    <a:cxn ang="0">
                      <a:pos x="156" y="84"/>
                    </a:cxn>
                    <a:cxn ang="0">
                      <a:pos x="150" y="76"/>
                    </a:cxn>
                    <a:cxn ang="0">
                      <a:pos x="134" y="74"/>
                    </a:cxn>
                    <a:cxn ang="0">
                      <a:pos x="134" y="66"/>
                    </a:cxn>
                    <a:cxn ang="0">
                      <a:pos x="132" y="60"/>
                    </a:cxn>
                    <a:cxn ang="0">
                      <a:pos x="132" y="58"/>
                    </a:cxn>
                    <a:cxn ang="0">
                      <a:pos x="132" y="52"/>
                    </a:cxn>
                    <a:cxn ang="0">
                      <a:pos x="124" y="52"/>
                    </a:cxn>
                    <a:cxn ang="0">
                      <a:pos x="124" y="46"/>
                    </a:cxn>
                    <a:cxn ang="0">
                      <a:pos x="118" y="42"/>
                    </a:cxn>
                    <a:cxn ang="0">
                      <a:pos x="110" y="38"/>
                    </a:cxn>
                    <a:cxn ang="0">
                      <a:pos x="104" y="26"/>
                    </a:cxn>
                    <a:cxn ang="0">
                      <a:pos x="100" y="18"/>
                    </a:cxn>
                    <a:cxn ang="0">
                      <a:pos x="96" y="14"/>
                    </a:cxn>
                    <a:cxn ang="0">
                      <a:pos x="96" y="6"/>
                    </a:cxn>
                    <a:cxn ang="0">
                      <a:pos x="92" y="2"/>
                    </a:cxn>
                    <a:cxn ang="0">
                      <a:pos x="88" y="2"/>
                    </a:cxn>
                    <a:cxn ang="0">
                      <a:pos x="82" y="2"/>
                    </a:cxn>
                    <a:cxn ang="0">
                      <a:pos x="76" y="4"/>
                    </a:cxn>
                    <a:cxn ang="0">
                      <a:pos x="70" y="6"/>
                    </a:cxn>
                    <a:cxn ang="0">
                      <a:pos x="64" y="14"/>
                    </a:cxn>
                    <a:cxn ang="0">
                      <a:pos x="62" y="8"/>
                    </a:cxn>
                    <a:cxn ang="0">
                      <a:pos x="60" y="6"/>
                    </a:cxn>
                    <a:cxn ang="0">
                      <a:pos x="52" y="4"/>
                    </a:cxn>
                    <a:cxn ang="0">
                      <a:pos x="24" y="8"/>
                    </a:cxn>
                    <a:cxn ang="0">
                      <a:pos x="20" y="18"/>
                    </a:cxn>
                    <a:cxn ang="0">
                      <a:pos x="20" y="46"/>
                    </a:cxn>
                    <a:cxn ang="0">
                      <a:pos x="20" y="52"/>
                    </a:cxn>
                    <a:cxn ang="0">
                      <a:pos x="18" y="66"/>
                    </a:cxn>
                    <a:cxn ang="0">
                      <a:pos x="18" y="80"/>
                    </a:cxn>
                    <a:cxn ang="0">
                      <a:pos x="10" y="82"/>
                    </a:cxn>
                    <a:cxn ang="0">
                      <a:pos x="2" y="82"/>
                    </a:cxn>
                  </a:cxnLst>
                  <a:rect l="0" t="0" r="r" b="b"/>
                  <a:pathLst>
                    <a:path w="156" h="176">
                      <a:moveTo>
                        <a:pt x="0" y="136"/>
                      </a:moveTo>
                      <a:lnTo>
                        <a:pt x="4" y="136"/>
                      </a:lnTo>
                      <a:lnTo>
                        <a:pt x="6" y="138"/>
                      </a:lnTo>
                      <a:lnTo>
                        <a:pt x="8" y="140"/>
                      </a:lnTo>
                      <a:lnTo>
                        <a:pt x="8" y="142"/>
                      </a:lnTo>
                      <a:lnTo>
                        <a:pt x="10" y="144"/>
                      </a:lnTo>
                      <a:lnTo>
                        <a:pt x="10" y="146"/>
                      </a:lnTo>
                      <a:lnTo>
                        <a:pt x="12" y="148"/>
                      </a:lnTo>
                      <a:lnTo>
                        <a:pt x="12" y="150"/>
                      </a:lnTo>
                      <a:lnTo>
                        <a:pt x="12" y="152"/>
                      </a:lnTo>
                      <a:lnTo>
                        <a:pt x="12" y="154"/>
                      </a:lnTo>
                      <a:lnTo>
                        <a:pt x="14" y="154"/>
                      </a:lnTo>
                      <a:lnTo>
                        <a:pt x="14" y="156"/>
                      </a:lnTo>
                      <a:lnTo>
                        <a:pt x="14" y="158"/>
                      </a:lnTo>
                      <a:lnTo>
                        <a:pt x="14" y="160"/>
                      </a:lnTo>
                      <a:lnTo>
                        <a:pt x="14" y="162"/>
                      </a:lnTo>
                      <a:lnTo>
                        <a:pt x="12" y="164"/>
                      </a:lnTo>
                      <a:lnTo>
                        <a:pt x="12" y="166"/>
                      </a:lnTo>
                      <a:lnTo>
                        <a:pt x="10" y="168"/>
                      </a:lnTo>
                      <a:lnTo>
                        <a:pt x="10" y="170"/>
                      </a:lnTo>
                      <a:lnTo>
                        <a:pt x="10" y="172"/>
                      </a:lnTo>
                      <a:lnTo>
                        <a:pt x="10" y="174"/>
                      </a:lnTo>
                      <a:lnTo>
                        <a:pt x="12" y="176"/>
                      </a:lnTo>
                      <a:lnTo>
                        <a:pt x="14" y="176"/>
                      </a:lnTo>
                      <a:lnTo>
                        <a:pt x="16" y="176"/>
                      </a:lnTo>
                      <a:lnTo>
                        <a:pt x="20" y="174"/>
                      </a:lnTo>
                      <a:lnTo>
                        <a:pt x="24" y="174"/>
                      </a:lnTo>
                      <a:lnTo>
                        <a:pt x="26" y="174"/>
                      </a:lnTo>
                      <a:lnTo>
                        <a:pt x="28" y="174"/>
                      </a:lnTo>
                      <a:lnTo>
                        <a:pt x="30" y="172"/>
                      </a:lnTo>
                      <a:lnTo>
                        <a:pt x="30" y="170"/>
                      </a:lnTo>
                      <a:lnTo>
                        <a:pt x="32" y="170"/>
                      </a:lnTo>
                      <a:lnTo>
                        <a:pt x="34" y="170"/>
                      </a:lnTo>
                      <a:lnTo>
                        <a:pt x="36" y="170"/>
                      </a:lnTo>
                      <a:lnTo>
                        <a:pt x="36" y="168"/>
                      </a:lnTo>
                      <a:lnTo>
                        <a:pt x="38" y="166"/>
                      </a:lnTo>
                      <a:lnTo>
                        <a:pt x="38" y="164"/>
                      </a:lnTo>
                      <a:lnTo>
                        <a:pt x="40" y="164"/>
                      </a:lnTo>
                      <a:lnTo>
                        <a:pt x="40" y="162"/>
                      </a:lnTo>
                      <a:lnTo>
                        <a:pt x="42" y="162"/>
                      </a:lnTo>
                      <a:lnTo>
                        <a:pt x="44" y="162"/>
                      </a:lnTo>
                      <a:lnTo>
                        <a:pt x="44" y="160"/>
                      </a:lnTo>
                      <a:lnTo>
                        <a:pt x="46" y="156"/>
                      </a:lnTo>
                      <a:lnTo>
                        <a:pt x="46" y="154"/>
                      </a:lnTo>
                      <a:lnTo>
                        <a:pt x="46" y="152"/>
                      </a:lnTo>
                      <a:lnTo>
                        <a:pt x="48" y="148"/>
                      </a:lnTo>
                      <a:lnTo>
                        <a:pt x="48" y="146"/>
                      </a:lnTo>
                      <a:lnTo>
                        <a:pt x="50" y="146"/>
                      </a:lnTo>
                      <a:lnTo>
                        <a:pt x="50" y="144"/>
                      </a:lnTo>
                      <a:lnTo>
                        <a:pt x="52" y="144"/>
                      </a:lnTo>
                      <a:lnTo>
                        <a:pt x="54" y="144"/>
                      </a:lnTo>
                      <a:lnTo>
                        <a:pt x="56" y="144"/>
                      </a:lnTo>
                      <a:lnTo>
                        <a:pt x="58" y="146"/>
                      </a:lnTo>
                      <a:lnTo>
                        <a:pt x="60" y="146"/>
                      </a:lnTo>
                      <a:lnTo>
                        <a:pt x="62" y="148"/>
                      </a:lnTo>
                      <a:lnTo>
                        <a:pt x="64" y="150"/>
                      </a:lnTo>
                      <a:lnTo>
                        <a:pt x="64" y="152"/>
                      </a:lnTo>
                      <a:lnTo>
                        <a:pt x="66" y="152"/>
                      </a:lnTo>
                      <a:lnTo>
                        <a:pt x="68" y="152"/>
                      </a:lnTo>
                      <a:lnTo>
                        <a:pt x="70" y="152"/>
                      </a:lnTo>
                      <a:lnTo>
                        <a:pt x="72" y="152"/>
                      </a:lnTo>
                      <a:lnTo>
                        <a:pt x="72" y="154"/>
                      </a:lnTo>
                      <a:lnTo>
                        <a:pt x="74" y="154"/>
                      </a:lnTo>
                      <a:lnTo>
                        <a:pt x="78" y="156"/>
                      </a:lnTo>
                      <a:lnTo>
                        <a:pt x="80" y="156"/>
                      </a:lnTo>
                      <a:lnTo>
                        <a:pt x="84" y="156"/>
                      </a:lnTo>
                      <a:lnTo>
                        <a:pt x="84" y="154"/>
                      </a:lnTo>
                      <a:lnTo>
                        <a:pt x="86" y="154"/>
                      </a:lnTo>
                      <a:lnTo>
                        <a:pt x="88" y="154"/>
                      </a:lnTo>
                      <a:lnTo>
                        <a:pt x="90" y="154"/>
                      </a:lnTo>
                      <a:lnTo>
                        <a:pt x="92" y="154"/>
                      </a:lnTo>
                      <a:lnTo>
                        <a:pt x="94" y="152"/>
                      </a:lnTo>
                      <a:lnTo>
                        <a:pt x="94" y="150"/>
                      </a:lnTo>
                      <a:lnTo>
                        <a:pt x="96" y="148"/>
                      </a:lnTo>
                      <a:lnTo>
                        <a:pt x="96" y="144"/>
                      </a:lnTo>
                      <a:lnTo>
                        <a:pt x="98" y="142"/>
                      </a:lnTo>
                      <a:lnTo>
                        <a:pt x="98" y="140"/>
                      </a:lnTo>
                      <a:lnTo>
                        <a:pt x="100" y="138"/>
                      </a:lnTo>
                      <a:lnTo>
                        <a:pt x="100" y="136"/>
                      </a:lnTo>
                      <a:lnTo>
                        <a:pt x="102" y="136"/>
                      </a:lnTo>
                      <a:lnTo>
                        <a:pt x="102" y="134"/>
                      </a:lnTo>
                      <a:lnTo>
                        <a:pt x="104" y="134"/>
                      </a:lnTo>
                      <a:lnTo>
                        <a:pt x="106" y="134"/>
                      </a:lnTo>
                      <a:lnTo>
                        <a:pt x="108" y="134"/>
                      </a:lnTo>
                      <a:lnTo>
                        <a:pt x="108" y="132"/>
                      </a:lnTo>
                      <a:lnTo>
                        <a:pt x="110" y="132"/>
                      </a:lnTo>
                      <a:lnTo>
                        <a:pt x="110" y="130"/>
                      </a:lnTo>
                      <a:lnTo>
                        <a:pt x="112" y="128"/>
                      </a:lnTo>
                      <a:lnTo>
                        <a:pt x="112" y="126"/>
                      </a:lnTo>
                      <a:lnTo>
                        <a:pt x="114" y="126"/>
                      </a:lnTo>
                      <a:lnTo>
                        <a:pt x="114" y="124"/>
                      </a:lnTo>
                      <a:lnTo>
                        <a:pt x="114" y="122"/>
                      </a:lnTo>
                      <a:lnTo>
                        <a:pt x="114" y="120"/>
                      </a:lnTo>
                      <a:lnTo>
                        <a:pt x="114" y="118"/>
                      </a:lnTo>
                      <a:lnTo>
                        <a:pt x="116" y="116"/>
                      </a:lnTo>
                      <a:lnTo>
                        <a:pt x="116" y="114"/>
                      </a:lnTo>
                      <a:lnTo>
                        <a:pt x="118" y="114"/>
                      </a:lnTo>
                      <a:lnTo>
                        <a:pt x="118" y="112"/>
                      </a:lnTo>
                      <a:lnTo>
                        <a:pt x="120" y="112"/>
                      </a:lnTo>
                      <a:lnTo>
                        <a:pt x="120" y="110"/>
                      </a:lnTo>
                      <a:lnTo>
                        <a:pt x="122" y="110"/>
                      </a:lnTo>
                      <a:lnTo>
                        <a:pt x="124" y="108"/>
                      </a:lnTo>
                      <a:lnTo>
                        <a:pt x="126" y="108"/>
                      </a:lnTo>
                      <a:lnTo>
                        <a:pt x="128" y="108"/>
                      </a:lnTo>
                      <a:lnTo>
                        <a:pt x="128" y="106"/>
                      </a:lnTo>
                      <a:lnTo>
                        <a:pt x="130" y="104"/>
                      </a:lnTo>
                      <a:lnTo>
                        <a:pt x="132" y="102"/>
                      </a:lnTo>
                      <a:lnTo>
                        <a:pt x="134" y="100"/>
                      </a:lnTo>
                      <a:lnTo>
                        <a:pt x="134" y="98"/>
                      </a:lnTo>
                      <a:lnTo>
                        <a:pt x="136" y="96"/>
                      </a:lnTo>
                      <a:lnTo>
                        <a:pt x="136" y="94"/>
                      </a:lnTo>
                      <a:lnTo>
                        <a:pt x="138" y="94"/>
                      </a:lnTo>
                      <a:lnTo>
                        <a:pt x="138" y="92"/>
                      </a:lnTo>
                      <a:lnTo>
                        <a:pt x="140" y="92"/>
                      </a:lnTo>
                      <a:lnTo>
                        <a:pt x="142" y="92"/>
                      </a:lnTo>
                      <a:lnTo>
                        <a:pt x="144" y="92"/>
                      </a:lnTo>
                      <a:lnTo>
                        <a:pt x="146" y="92"/>
                      </a:lnTo>
                      <a:lnTo>
                        <a:pt x="148" y="92"/>
                      </a:lnTo>
                      <a:lnTo>
                        <a:pt x="150" y="90"/>
                      </a:lnTo>
                      <a:lnTo>
                        <a:pt x="150" y="88"/>
                      </a:lnTo>
                      <a:lnTo>
                        <a:pt x="150" y="86"/>
                      </a:lnTo>
                      <a:lnTo>
                        <a:pt x="152" y="86"/>
                      </a:lnTo>
                      <a:lnTo>
                        <a:pt x="152" y="84"/>
                      </a:lnTo>
                      <a:lnTo>
                        <a:pt x="154" y="84"/>
                      </a:lnTo>
                      <a:lnTo>
                        <a:pt x="156" y="84"/>
                      </a:lnTo>
                      <a:lnTo>
                        <a:pt x="156" y="82"/>
                      </a:lnTo>
                      <a:lnTo>
                        <a:pt x="154" y="80"/>
                      </a:lnTo>
                      <a:lnTo>
                        <a:pt x="152" y="76"/>
                      </a:lnTo>
                      <a:lnTo>
                        <a:pt x="150" y="76"/>
                      </a:lnTo>
                      <a:lnTo>
                        <a:pt x="146" y="74"/>
                      </a:lnTo>
                      <a:lnTo>
                        <a:pt x="144" y="74"/>
                      </a:lnTo>
                      <a:lnTo>
                        <a:pt x="140" y="74"/>
                      </a:lnTo>
                      <a:lnTo>
                        <a:pt x="138" y="74"/>
                      </a:lnTo>
                      <a:lnTo>
                        <a:pt x="136" y="74"/>
                      </a:lnTo>
                      <a:lnTo>
                        <a:pt x="134" y="74"/>
                      </a:lnTo>
                      <a:lnTo>
                        <a:pt x="134" y="72"/>
                      </a:lnTo>
                      <a:lnTo>
                        <a:pt x="134" y="70"/>
                      </a:lnTo>
                      <a:lnTo>
                        <a:pt x="134" y="68"/>
                      </a:lnTo>
                      <a:lnTo>
                        <a:pt x="134" y="66"/>
                      </a:lnTo>
                      <a:lnTo>
                        <a:pt x="132" y="66"/>
                      </a:lnTo>
                      <a:lnTo>
                        <a:pt x="132" y="64"/>
                      </a:lnTo>
                      <a:lnTo>
                        <a:pt x="132" y="62"/>
                      </a:lnTo>
                      <a:lnTo>
                        <a:pt x="132" y="60"/>
                      </a:lnTo>
                      <a:lnTo>
                        <a:pt x="132" y="58"/>
                      </a:lnTo>
                      <a:lnTo>
                        <a:pt x="132" y="56"/>
                      </a:lnTo>
                      <a:lnTo>
                        <a:pt x="132" y="54"/>
                      </a:lnTo>
                      <a:lnTo>
                        <a:pt x="132" y="52"/>
                      </a:lnTo>
                      <a:lnTo>
                        <a:pt x="130" y="52"/>
                      </a:lnTo>
                      <a:lnTo>
                        <a:pt x="128" y="52"/>
                      </a:lnTo>
                      <a:lnTo>
                        <a:pt x="126" y="52"/>
                      </a:lnTo>
                      <a:lnTo>
                        <a:pt x="124" y="52"/>
                      </a:lnTo>
                      <a:lnTo>
                        <a:pt x="124" y="50"/>
                      </a:lnTo>
                      <a:lnTo>
                        <a:pt x="124" y="46"/>
                      </a:lnTo>
                      <a:lnTo>
                        <a:pt x="124" y="44"/>
                      </a:lnTo>
                      <a:lnTo>
                        <a:pt x="122" y="44"/>
                      </a:lnTo>
                      <a:lnTo>
                        <a:pt x="122" y="42"/>
                      </a:lnTo>
                      <a:lnTo>
                        <a:pt x="120" y="42"/>
                      </a:lnTo>
                      <a:lnTo>
                        <a:pt x="118" y="42"/>
                      </a:lnTo>
                      <a:lnTo>
                        <a:pt x="116" y="42"/>
                      </a:lnTo>
                      <a:lnTo>
                        <a:pt x="114" y="42"/>
                      </a:lnTo>
                      <a:lnTo>
                        <a:pt x="114" y="40"/>
                      </a:lnTo>
                      <a:lnTo>
                        <a:pt x="112" y="40"/>
                      </a:lnTo>
                      <a:lnTo>
                        <a:pt x="110" y="38"/>
                      </a:lnTo>
                      <a:lnTo>
                        <a:pt x="108" y="36"/>
                      </a:lnTo>
                      <a:lnTo>
                        <a:pt x="106" y="34"/>
                      </a:lnTo>
                      <a:lnTo>
                        <a:pt x="106" y="32"/>
                      </a:lnTo>
                      <a:lnTo>
                        <a:pt x="104" y="28"/>
                      </a:lnTo>
                      <a:lnTo>
                        <a:pt x="104" y="26"/>
                      </a:lnTo>
                      <a:lnTo>
                        <a:pt x="104" y="24"/>
                      </a:lnTo>
                      <a:lnTo>
                        <a:pt x="102" y="22"/>
                      </a:lnTo>
                      <a:lnTo>
                        <a:pt x="100" y="18"/>
                      </a:lnTo>
                      <a:lnTo>
                        <a:pt x="100" y="16"/>
                      </a:lnTo>
                      <a:lnTo>
                        <a:pt x="98" y="14"/>
                      </a:lnTo>
                      <a:lnTo>
                        <a:pt x="96" y="14"/>
                      </a:lnTo>
                      <a:lnTo>
                        <a:pt x="96" y="12"/>
                      </a:lnTo>
                      <a:lnTo>
                        <a:pt x="96" y="10"/>
                      </a:lnTo>
                      <a:lnTo>
                        <a:pt x="96" y="8"/>
                      </a:lnTo>
                      <a:lnTo>
                        <a:pt x="96" y="6"/>
                      </a:lnTo>
                      <a:lnTo>
                        <a:pt x="94" y="6"/>
                      </a:lnTo>
                      <a:lnTo>
                        <a:pt x="94" y="4"/>
                      </a:lnTo>
                      <a:lnTo>
                        <a:pt x="92" y="4"/>
                      </a:lnTo>
                      <a:lnTo>
                        <a:pt x="92" y="2"/>
                      </a:lnTo>
                      <a:lnTo>
                        <a:pt x="92" y="0"/>
                      </a:lnTo>
                      <a:lnTo>
                        <a:pt x="88" y="0"/>
                      </a:lnTo>
                      <a:lnTo>
                        <a:pt x="88" y="2"/>
                      </a:lnTo>
                      <a:lnTo>
                        <a:pt x="86" y="2"/>
                      </a:lnTo>
                      <a:lnTo>
                        <a:pt x="84" y="2"/>
                      </a:lnTo>
                      <a:lnTo>
                        <a:pt x="82" y="2"/>
                      </a:lnTo>
                      <a:lnTo>
                        <a:pt x="80" y="2"/>
                      </a:lnTo>
                      <a:lnTo>
                        <a:pt x="80" y="4"/>
                      </a:lnTo>
                      <a:lnTo>
                        <a:pt x="78" y="4"/>
                      </a:lnTo>
                      <a:lnTo>
                        <a:pt x="76" y="4"/>
                      </a:lnTo>
                      <a:lnTo>
                        <a:pt x="74" y="4"/>
                      </a:lnTo>
                      <a:lnTo>
                        <a:pt x="72" y="4"/>
                      </a:lnTo>
                      <a:lnTo>
                        <a:pt x="70" y="6"/>
                      </a:lnTo>
                      <a:lnTo>
                        <a:pt x="70" y="8"/>
                      </a:lnTo>
                      <a:lnTo>
                        <a:pt x="68" y="8"/>
                      </a:lnTo>
                      <a:lnTo>
                        <a:pt x="66" y="10"/>
                      </a:lnTo>
                      <a:lnTo>
                        <a:pt x="64" y="12"/>
                      </a:lnTo>
                      <a:lnTo>
                        <a:pt x="64" y="14"/>
                      </a:lnTo>
                      <a:lnTo>
                        <a:pt x="64" y="12"/>
                      </a:lnTo>
                      <a:lnTo>
                        <a:pt x="62" y="10"/>
                      </a:lnTo>
                      <a:lnTo>
                        <a:pt x="62" y="8"/>
                      </a:lnTo>
                      <a:lnTo>
                        <a:pt x="60" y="8"/>
                      </a:lnTo>
                      <a:lnTo>
                        <a:pt x="60" y="6"/>
                      </a:lnTo>
                      <a:lnTo>
                        <a:pt x="60" y="4"/>
                      </a:lnTo>
                      <a:lnTo>
                        <a:pt x="58" y="4"/>
                      </a:lnTo>
                      <a:lnTo>
                        <a:pt x="56" y="4"/>
                      </a:lnTo>
                      <a:lnTo>
                        <a:pt x="54" y="4"/>
                      </a:lnTo>
                      <a:lnTo>
                        <a:pt x="52" y="4"/>
                      </a:lnTo>
                      <a:lnTo>
                        <a:pt x="46" y="6"/>
                      </a:lnTo>
                      <a:lnTo>
                        <a:pt x="42" y="8"/>
                      </a:lnTo>
                      <a:lnTo>
                        <a:pt x="38" y="8"/>
                      </a:lnTo>
                      <a:lnTo>
                        <a:pt x="36" y="8"/>
                      </a:lnTo>
                      <a:lnTo>
                        <a:pt x="32" y="8"/>
                      </a:lnTo>
                      <a:lnTo>
                        <a:pt x="28" y="8"/>
                      </a:lnTo>
                      <a:lnTo>
                        <a:pt x="24" y="8"/>
                      </a:lnTo>
                      <a:lnTo>
                        <a:pt x="22" y="10"/>
                      </a:lnTo>
                      <a:lnTo>
                        <a:pt x="20" y="10"/>
                      </a:lnTo>
                      <a:lnTo>
                        <a:pt x="20" y="14"/>
                      </a:lnTo>
                      <a:lnTo>
                        <a:pt x="20" y="18"/>
                      </a:lnTo>
                      <a:lnTo>
                        <a:pt x="20" y="24"/>
                      </a:lnTo>
                      <a:lnTo>
                        <a:pt x="20" y="28"/>
                      </a:lnTo>
                      <a:lnTo>
                        <a:pt x="20" y="34"/>
                      </a:lnTo>
                      <a:lnTo>
                        <a:pt x="20" y="38"/>
                      </a:lnTo>
                      <a:lnTo>
                        <a:pt x="20" y="42"/>
                      </a:lnTo>
                      <a:lnTo>
                        <a:pt x="20" y="44"/>
                      </a:lnTo>
                      <a:lnTo>
                        <a:pt x="20" y="46"/>
                      </a:lnTo>
                      <a:lnTo>
                        <a:pt x="20" y="48"/>
                      </a:lnTo>
                      <a:lnTo>
                        <a:pt x="20" y="50"/>
                      </a:lnTo>
                      <a:lnTo>
                        <a:pt x="20" y="52"/>
                      </a:lnTo>
                      <a:lnTo>
                        <a:pt x="18" y="52"/>
                      </a:lnTo>
                      <a:lnTo>
                        <a:pt x="18" y="58"/>
                      </a:lnTo>
                      <a:lnTo>
                        <a:pt x="18" y="62"/>
                      </a:lnTo>
                      <a:lnTo>
                        <a:pt x="18" y="66"/>
                      </a:lnTo>
                      <a:lnTo>
                        <a:pt x="18" y="70"/>
                      </a:lnTo>
                      <a:lnTo>
                        <a:pt x="18" y="74"/>
                      </a:lnTo>
                      <a:lnTo>
                        <a:pt x="18" y="76"/>
                      </a:lnTo>
                      <a:lnTo>
                        <a:pt x="18" y="78"/>
                      </a:lnTo>
                      <a:lnTo>
                        <a:pt x="18" y="80"/>
                      </a:lnTo>
                      <a:lnTo>
                        <a:pt x="18" y="82"/>
                      </a:lnTo>
                      <a:lnTo>
                        <a:pt x="16" y="82"/>
                      </a:lnTo>
                      <a:lnTo>
                        <a:pt x="14" y="82"/>
                      </a:lnTo>
                      <a:lnTo>
                        <a:pt x="10" y="82"/>
                      </a:lnTo>
                      <a:lnTo>
                        <a:pt x="8" y="82"/>
                      </a:lnTo>
                      <a:lnTo>
                        <a:pt x="6" y="82"/>
                      </a:lnTo>
                      <a:lnTo>
                        <a:pt x="4" y="82"/>
                      </a:lnTo>
                      <a:lnTo>
                        <a:pt x="2" y="82"/>
                      </a:lnTo>
                      <a:lnTo>
                        <a:pt x="0" y="13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3" name="Freeform 59">
                  <a:extLst>
                    <a:ext uri="{FF2B5EF4-FFF2-40B4-BE49-F238E27FC236}">
                      <a16:creationId xmlns:a16="http://schemas.microsoft.com/office/drawing/2014/main" id="{A31AB3AD-BE2F-426D-88E4-2F6B99637684}"/>
                    </a:ext>
                  </a:extLst>
                </p:cNvPr>
                <p:cNvSpPr>
                  <a:spLocks noChangeAspect="1"/>
                </p:cNvSpPr>
                <p:nvPr/>
              </p:nvSpPr>
              <p:spPr bwMode="auto">
                <a:xfrm>
                  <a:off x="5553878" y="3852730"/>
                  <a:ext cx="279541" cy="460406"/>
                </a:xfrm>
                <a:custGeom>
                  <a:avLst/>
                  <a:gdLst/>
                  <a:ahLst/>
                  <a:cxnLst>
                    <a:cxn ang="0">
                      <a:pos x="28" y="30"/>
                    </a:cxn>
                    <a:cxn ang="0">
                      <a:pos x="30" y="34"/>
                    </a:cxn>
                    <a:cxn ang="0">
                      <a:pos x="36" y="48"/>
                    </a:cxn>
                    <a:cxn ang="0">
                      <a:pos x="42" y="50"/>
                    </a:cxn>
                    <a:cxn ang="0">
                      <a:pos x="44" y="52"/>
                    </a:cxn>
                    <a:cxn ang="0">
                      <a:pos x="54" y="62"/>
                    </a:cxn>
                    <a:cxn ang="0">
                      <a:pos x="78" y="68"/>
                    </a:cxn>
                    <a:cxn ang="0">
                      <a:pos x="96" y="76"/>
                    </a:cxn>
                    <a:cxn ang="0">
                      <a:pos x="108" y="78"/>
                    </a:cxn>
                    <a:cxn ang="0">
                      <a:pos x="116" y="76"/>
                    </a:cxn>
                    <a:cxn ang="0">
                      <a:pos x="92" y="104"/>
                    </a:cxn>
                    <a:cxn ang="0">
                      <a:pos x="72" y="128"/>
                    </a:cxn>
                    <a:cxn ang="0">
                      <a:pos x="66" y="136"/>
                    </a:cxn>
                    <a:cxn ang="0">
                      <a:pos x="54" y="136"/>
                    </a:cxn>
                    <a:cxn ang="0">
                      <a:pos x="42" y="138"/>
                    </a:cxn>
                    <a:cxn ang="0">
                      <a:pos x="34" y="142"/>
                    </a:cxn>
                    <a:cxn ang="0">
                      <a:pos x="28" y="150"/>
                    </a:cxn>
                    <a:cxn ang="0">
                      <a:pos x="16" y="152"/>
                    </a:cxn>
                    <a:cxn ang="0">
                      <a:pos x="12" y="158"/>
                    </a:cxn>
                    <a:cxn ang="0">
                      <a:pos x="6" y="170"/>
                    </a:cxn>
                    <a:cxn ang="0">
                      <a:pos x="0" y="188"/>
                    </a:cxn>
                    <a:cxn ang="0">
                      <a:pos x="0" y="222"/>
                    </a:cxn>
                    <a:cxn ang="0">
                      <a:pos x="0" y="242"/>
                    </a:cxn>
                    <a:cxn ang="0">
                      <a:pos x="2" y="252"/>
                    </a:cxn>
                    <a:cxn ang="0">
                      <a:pos x="10" y="262"/>
                    </a:cxn>
                    <a:cxn ang="0">
                      <a:pos x="10" y="262"/>
                    </a:cxn>
                    <a:cxn ang="0">
                      <a:pos x="22" y="242"/>
                    </a:cxn>
                    <a:cxn ang="0">
                      <a:pos x="34" y="230"/>
                    </a:cxn>
                    <a:cxn ang="0">
                      <a:pos x="44" y="216"/>
                    </a:cxn>
                    <a:cxn ang="0">
                      <a:pos x="60" y="200"/>
                    </a:cxn>
                    <a:cxn ang="0">
                      <a:pos x="76" y="192"/>
                    </a:cxn>
                    <a:cxn ang="0">
                      <a:pos x="96" y="174"/>
                    </a:cxn>
                    <a:cxn ang="0">
                      <a:pos x="102" y="166"/>
                    </a:cxn>
                    <a:cxn ang="0">
                      <a:pos x="118" y="146"/>
                    </a:cxn>
                    <a:cxn ang="0">
                      <a:pos x="126" y="130"/>
                    </a:cxn>
                    <a:cxn ang="0">
                      <a:pos x="132" y="118"/>
                    </a:cxn>
                    <a:cxn ang="0">
                      <a:pos x="136" y="106"/>
                    </a:cxn>
                    <a:cxn ang="0">
                      <a:pos x="144" y="90"/>
                    </a:cxn>
                    <a:cxn ang="0">
                      <a:pos x="150" y="78"/>
                    </a:cxn>
                    <a:cxn ang="0">
                      <a:pos x="154" y="68"/>
                    </a:cxn>
                    <a:cxn ang="0">
                      <a:pos x="156" y="60"/>
                    </a:cxn>
                    <a:cxn ang="0">
                      <a:pos x="162" y="58"/>
                    </a:cxn>
                    <a:cxn ang="0">
                      <a:pos x="162" y="36"/>
                    </a:cxn>
                    <a:cxn ang="0">
                      <a:pos x="166" y="30"/>
                    </a:cxn>
                    <a:cxn ang="0">
                      <a:pos x="166" y="18"/>
                    </a:cxn>
                    <a:cxn ang="0">
                      <a:pos x="166" y="14"/>
                    </a:cxn>
                    <a:cxn ang="0">
                      <a:pos x="170" y="4"/>
                    </a:cxn>
                    <a:cxn ang="0">
                      <a:pos x="158" y="0"/>
                    </a:cxn>
                    <a:cxn ang="0">
                      <a:pos x="154" y="6"/>
                    </a:cxn>
                    <a:cxn ang="0">
                      <a:pos x="140" y="12"/>
                    </a:cxn>
                    <a:cxn ang="0">
                      <a:pos x="130" y="12"/>
                    </a:cxn>
                    <a:cxn ang="0">
                      <a:pos x="116" y="18"/>
                    </a:cxn>
                    <a:cxn ang="0">
                      <a:pos x="106" y="16"/>
                    </a:cxn>
                    <a:cxn ang="0">
                      <a:pos x="96" y="22"/>
                    </a:cxn>
                    <a:cxn ang="0">
                      <a:pos x="84" y="24"/>
                    </a:cxn>
                    <a:cxn ang="0">
                      <a:pos x="70" y="26"/>
                    </a:cxn>
                    <a:cxn ang="0">
                      <a:pos x="58" y="30"/>
                    </a:cxn>
                    <a:cxn ang="0">
                      <a:pos x="50" y="30"/>
                    </a:cxn>
                    <a:cxn ang="0">
                      <a:pos x="40" y="18"/>
                    </a:cxn>
                    <a:cxn ang="0">
                      <a:pos x="34" y="12"/>
                    </a:cxn>
                    <a:cxn ang="0">
                      <a:pos x="30" y="20"/>
                    </a:cxn>
                  </a:cxnLst>
                  <a:rect l="0" t="0" r="r" b="b"/>
                  <a:pathLst>
                    <a:path w="170" h="264">
                      <a:moveTo>
                        <a:pt x="24" y="26"/>
                      </a:moveTo>
                      <a:lnTo>
                        <a:pt x="26" y="28"/>
                      </a:lnTo>
                      <a:lnTo>
                        <a:pt x="28" y="30"/>
                      </a:lnTo>
                      <a:lnTo>
                        <a:pt x="28" y="32"/>
                      </a:lnTo>
                      <a:lnTo>
                        <a:pt x="28" y="34"/>
                      </a:lnTo>
                      <a:lnTo>
                        <a:pt x="30" y="34"/>
                      </a:lnTo>
                      <a:lnTo>
                        <a:pt x="30" y="36"/>
                      </a:lnTo>
                      <a:lnTo>
                        <a:pt x="32" y="38"/>
                      </a:lnTo>
                      <a:lnTo>
                        <a:pt x="34" y="40"/>
                      </a:lnTo>
                      <a:lnTo>
                        <a:pt x="34" y="42"/>
                      </a:lnTo>
                      <a:lnTo>
                        <a:pt x="36" y="44"/>
                      </a:lnTo>
                      <a:lnTo>
                        <a:pt x="36" y="48"/>
                      </a:lnTo>
                      <a:lnTo>
                        <a:pt x="38" y="50"/>
                      </a:lnTo>
                      <a:lnTo>
                        <a:pt x="40" y="50"/>
                      </a:lnTo>
                      <a:lnTo>
                        <a:pt x="42" y="50"/>
                      </a:lnTo>
                      <a:lnTo>
                        <a:pt x="44" y="50"/>
                      </a:lnTo>
                      <a:lnTo>
                        <a:pt x="44" y="52"/>
                      </a:lnTo>
                      <a:lnTo>
                        <a:pt x="46" y="54"/>
                      </a:lnTo>
                      <a:lnTo>
                        <a:pt x="48" y="56"/>
                      </a:lnTo>
                      <a:lnTo>
                        <a:pt x="50" y="58"/>
                      </a:lnTo>
                      <a:lnTo>
                        <a:pt x="50" y="60"/>
                      </a:lnTo>
                      <a:lnTo>
                        <a:pt x="52" y="60"/>
                      </a:lnTo>
                      <a:lnTo>
                        <a:pt x="54" y="60"/>
                      </a:lnTo>
                      <a:lnTo>
                        <a:pt x="54" y="62"/>
                      </a:lnTo>
                      <a:lnTo>
                        <a:pt x="56" y="62"/>
                      </a:lnTo>
                      <a:lnTo>
                        <a:pt x="60" y="64"/>
                      </a:lnTo>
                      <a:lnTo>
                        <a:pt x="64" y="64"/>
                      </a:lnTo>
                      <a:lnTo>
                        <a:pt x="68" y="66"/>
                      </a:lnTo>
                      <a:lnTo>
                        <a:pt x="74" y="68"/>
                      </a:lnTo>
                      <a:lnTo>
                        <a:pt x="78" y="68"/>
                      </a:lnTo>
                      <a:lnTo>
                        <a:pt x="80" y="70"/>
                      </a:lnTo>
                      <a:lnTo>
                        <a:pt x="82" y="70"/>
                      </a:lnTo>
                      <a:lnTo>
                        <a:pt x="86" y="72"/>
                      </a:lnTo>
                      <a:lnTo>
                        <a:pt x="88" y="74"/>
                      </a:lnTo>
                      <a:lnTo>
                        <a:pt x="92" y="74"/>
                      </a:lnTo>
                      <a:lnTo>
                        <a:pt x="94" y="76"/>
                      </a:lnTo>
                      <a:lnTo>
                        <a:pt x="96" y="76"/>
                      </a:lnTo>
                      <a:lnTo>
                        <a:pt x="98" y="78"/>
                      </a:lnTo>
                      <a:lnTo>
                        <a:pt x="102" y="78"/>
                      </a:lnTo>
                      <a:lnTo>
                        <a:pt x="104" y="78"/>
                      </a:lnTo>
                      <a:lnTo>
                        <a:pt x="106" y="78"/>
                      </a:lnTo>
                      <a:lnTo>
                        <a:pt x="108" y="78"/>
                      </a:lnTo>
                      <a:lnTo>
                        <a:pt x="110" y="78"/>
                      </a:lnTo>
                      <a:lnTo>
                        <a:pt x="112" y="78"/>
                      </a:lnTo>
                      <a:lnTo>
                        <a:pt x="114" y="78"/>
                      </a:lnTo>
                      <a:lnTo>
                        <a:pt x="114" y="76"/>
                      </a:lnTo>
                      <a:lnTo>
                        <a:pt x="116" y="76"/>
                      </a:lnTo>
                      <a:lnTo>
                        <a:pt x="110" y="82"/>
                      </a:lnTo>
                      <a:lnTo>
                        <a:pt x="106" y="88"/>
                      </a:lnTo>
                      <a:lnTo>
                        <a:pt x="104" y="92"/>
                      </a:lnTo>
                      <a:lnTo>
                        <a:pt x="100" y="98"/>
                      </a:lnTo>
                      <a:lnTo>
                        <a:pt x="96" y="100"/>
                      </a:lnTo>
                      <a:lnTo>
                        <a:pt x="92" y="104"/>
                      </a:lnTo>
                      <a:lnTo>
                        <a:pt x="90" y="108"/>
                      </a:lnTo>
                      <a:lnTo>
                        <a:pt x="86" y="112"/>
                      </a:lnTo>
                      <a:lnTo>
                        <a:pt x="84" y="114"/>
                      </a:lnTo>
                      <a:lnTo>
                        <a:pt x="82" y="118"/>
                      </a:lnTo>
                      <a:lnTo>
                        <a:pt x="78" y="122"/>
                      </a:lnTo>
                      <a:lnTo>
                        <a:pt x="74" y="126"/>
                      </a:lnTo>
                      <a:lnTo>
                        <a:pt x="72" y="128"/>
                      </a:lnTo>
                      <a:lnTo>
                        <a:pt x="70" y="132"/>
                      </a:lnTo>
                      <a:lnTo>
                        <a:pt x="68" y="134"/>
                      </a:lnTo>
                      <a:lnTo>
                        <a:pt x="66" y="134"/>
                      </a:lnTo>
                      <a:lnTo>
                        <a:pt x="66" y="136"/>
                      </a:lnTo>
                      <a:lnTo>
                        <a:pt x="64" y="136"/>
                      </a:lnTo>
                      <a:lnTo>
                        <a:pt x="62" y="136"/>
                      </a:lnTo>
                      <a:lnTo>
                        <a:pt x="60" y="136"/>
                      </a:lnTo>
                      <a:lnTo>
                        <a:pt x="58" y="136"/>
                      </a:lnTo>
                      <a:lnTo>
                        <a:pt x="54" y="136"/>
                      </a:lnTo>
                      <a:lnTo>
                        <a:pt x="50" y="136"/>
                      </a:lnTo>
                      <a:lnTo>
                        <a:pt x="48" y="136"/>
                      </a:lnTo>
                      <a:lnTo>
                        <a:pt x="46" y="136"/>
                      </a:lnTo>
                      <a:lnTo>
                        <a:pt x="44" y="136"/>
                      </a:lnTo>
                      <a:lnTo>
                        <a:pt x="42" y="138"/>
                      </a:lnTo>
                      <a:lnTo>
                        <a:pt x="38" y="140"/>
                      </a:lnTo>
                      <a:lnTo>
                        <a:pt x="36" y="140"/>
                      </a:lnTo>
                      <a:lnTo>
                        <a:pt x="34" y="142"/>
                      </a:lnTo>
                      <a:lnTo>
                        <a:pt x="34" y="144"/>
                      </a:lnTo>
                      <a:lnTo>
                        <a:pt x="34" y="146"/>
                      </a:lnTo>
                      <a:lnTo>
                        <a:pt x="32" y="148"/>
                      </a:lnTo>
                      <a:lnTo>
                        <a:pt x="30" y="148"/>
                      </a:lnTo>
                      <a:lnTo>
                        <a:pt x="28" y="150"/>
                      </a:lnTo>
                      <a:lnTo>
                        <a:pt x="24" y="150"/>
                      </a:lnTo>
                      <a:lnTo>
                        <a:pt x="22" y="150"/>
                      </a:lnTo>
                      <a:lnTo>
                        <a:pt x="20" y="150"/>
                      </a:lnTo>
                      <a:lnTo>
                        <a:pt x="18" y="150"/>
                      </a:lnTo>
                      <a:lnTo>
                        <a:pt x="16" y="150"/>
                      </a:lnTo>
                      <a:lnTo>
                        <a:pt x="16" y="152"/>
                      </a:lnTo>
                      <a:lnTo>
                        <a:pt x="14" y="154"/>
                      </a:lnTo>
                      <a:lnTo>
                        <a:pt x="14" y="156"/>
                      </a:lnTo>
                      <a:lnTo>
                        <a:pt x="12" y="158"/>
                      </a:lnTo>
                      <a:lnTo>
                        <a:pt x="12" y="160"/>
                      </a:lnTo>
                      <a:lnTo>
                        <a:pt x="10" y="164"/>
                      </a:lnTo>
                      <a:lnTo>
                        <a:pt x="10" y="166"/>
                      </a:lnTo>
                      <a:lnTo>
                        <a:pt x="8" y="168"/>
                      </a:lnTo>
                      <a:lnTo>
                        <a:pt x="6" y="170"/>
                      </a:lnTo>
                      <a:lnTo>
                        <a:pt x="4" y="172"/>
                      </a:lnTo>
                      <a:lnTo>
                        <a:pt x="2" y="174"/>
                      </a:lnTo>
                      <a:lnTo>
                        <a:pt x="0" y="176"/>
                      </a:lnTo>
                      <a:lnTo>
                        <a:pt x="0" y="182"/>
                      </a:lnTo>
                      <a:lnTo>
                        <a:pt x="0" y="188"/>
                      </a:lnTo>
                      <a:lnTo>
                        <a:pt x="0" y="194"/>
                      </a:lnTo>
                      <a:lnTo>
                        <a:pt x="0" y="200"/>
                      </a:lnTo>
                      <a:lnTo>
                        <a:pt x="0" y="204"/>
                      </a:lnTo>
                      <a:lnTo>
                        <a:pt x="0" y="210"/>
                      </a:lnTo>
                      <a:lnTo>
                        <a:pt x="0" y="214"/>
                      </a:lnTo>
                      <a:lnTo>
                        <a:pt x="0" y="218"/>
                      </a:lnTo>
                      <a:lnTo>
                        <a:pt x="0" y="222"/>
                      </a:lnTo>
                      <a:lnTo>
                        <a:pt x="0" y="224"/>
                      </a:lnTo>
                      <a:lnTo>
                        <a:pt x="0" y="228"/>
                      </a:lnTo>
                      <a:lnTo>
                        <a:pt x="0" y="230"/>
                      </a:lnTo>
                      <a:lnTo>
                        <a:pt x="0" y="234"/>
                      </a:lnTo>
                      <a:lnTo>
                        <a:pt x="0" y="236"/>
                      </a:lnTo>
                      <a:lnTo>
                        <a:pt x="0" y="240"/>
                      </a:lnTo>
                      <a:lnTo>
                        <a:pt x="0" y="242"/>
                      </a:lnTo>
                      <a:lnTo>
                        <a:pt x="0" y="244"/>
                      </a:lnTo>
                      <a:lnTo>
                        <a:pt x="0" y="246"/>
                      </a:lnTo>
                      <a:lnTo>
                        <a:pt x="0" y="248"/>
                      </a:lnTo>
                      <a:lnTo>
                        <a:pt x="2" y="252"/>
                      </a:lnTo>
                      <a:lnTo>
                        <a:pt x="4" y="254"/>
                      </a:lnTo>
                      <a:lnTo>
                        <a:pt x="4" y="256"/>
                      </a:lnTo>
                      <a:lnTo>
                        <a:pt x="6" y="258"/>
                      </a:lnTo>
                      <a:lnTo>
                        <a:pt x="8" y="260"/>
                      </a:lnTo>
                      <a:lnTo>
                        <a:pt x="8" y="262"/>
                      </a:lnTo>
                      <a:lnTo>
                        <a:pt x="10" y="262"/>
                      </a:lnTo>
                      <a:lnTo>
                        <a:pt x="10" y="264"/>
                      </a:lnTo>
                      <a:lnTo>
                        <a:pt x="10" y="262"/>
                      </a:lnTo>
                      <a:lnTo>
                        <a:pt x="12" y="260"/>
                      </a:lnTo>
                      <a:lnTo>
                        <a:pt x="14" y="252"/>
                      </a:lnTo>
                      <a:lnTo>
                        <a:pt x="16" y="250"/>
                      </a:lnTo>
                      <a:lnTo>
                        <a:pt x="18" y="246"/>
                      </a:lnTo>
                      <a:lnTo>
                        <a:pt x="20" y="244"/>
                      </a:lnTo>
                      <a:lnTo>
                        <a:pt x="20" y="242"/>
                      </a:lnTo>
                      <a:lnTo>
                        <a:pt x="22" y="242"/>
                      </a:lnTo>
                      <a:lnTo>
                        <a:pt x="24" y="240"/>
                      </a:lnTo>
                      <a:lnTo>
                        <a:pt x="26" y="238"/>
                      </a:lnTo>
                      <a:lnTo>
                        <a:pt x="28" y="236"/>
                      </a:lnTo>
                      <a:lnTo>
                        <a:pt x="32" y="234"/>
                      </a:lnTo>
                      <a:lnTo>
                        <a:pt x="34" y="232"/>
                      </a:lnTo>
                      <a:lnTo>
                        <a:pt x="34" y="230"/>
                      </a:lnTo>
                      <a:lnTo>
                        <a:pt x="34" y="228"/>
                      </a:lnTo>
                      <a:lnTo>
                        <a:pt x="36" y="228"/>
                      </a:lnTo>
                      <a:lnTo>
                        <a:pt x="36" y="226"/>
                      </a:lnTo>
                      <a:lnTo>
                        <a:pt x="36" y="224"/>
                      </a:lnTo>
                      <a:lnTo>
                        <a:pt x="38" y="222"/>
                      </a:lnTo>
                      <a:lnTo>
                        <a:pt x="42" y="220"/>
                      </a:lnTo>
                      <a:lnTo>
                        <a:pt x="44" y="216"/>
                      </a:lnTo>
                      <a:lnTo>
                        <a:pt x="48" y="214"/>
                      </a:lnTo>
                      <a:lnTo>
                        <a:pt x="52" y="210"/>
                      </a:lnTo>
                      <a:lnTo>
                        <a:pt x="54" y="208"/>
                      </a:lnTo>
                      <a:lnTo>
                        <a:pt x="56" y="206"/>
                      </a:lnTo>
                      <a:lnTo>
                        <a:pt x="56" y="204"/>
                      </a:lnTo>
                      <a:lnTo>
                        <a:pt x="58" y="202"/>
                      </a:lnTo>
                      <a:lnTo>
                        <a:pt x="60" y="200"/>
                      </a:lnTo>
                      <a:lnTo>
                        <a:pt x="62" y="198"/>
                      </a:lnTo>
                      <a:lnTo>
                        <a:pt x="66" y="196"/>
                      </a:lnTo>
                      <a:lnTo>
                        <a:pt x="68" y="194"/>
                      </a:lnTo>
                      <a:lnTo>
                        <a:pt x="70" y="194"/>
                      </a:lnTo>
                      <a:lnTo>
                        <a:pt x="74" y="192"/>
                      </a:lnTo>
                      <a:lnTo>
                        <a:pt x="76" y="192"/>
                      </a:lnTo>
                      <a:lnTo>
                        <a:pt x="76" y="190"/>
                      </a:lnTo>
                      <a:lnTo>
                        <a:pt x="78" y="190"/>
                      </a:lnTo>
                      <a:lnTo>
                        <a:pt x="80" y="188"/>
                      </a:lnTo>
                      <a:lnTo>
                        <a:pt x="82" y="184"/>
                      </a:lnTo>
                      <a:lnTo>
                        <a:pt x="88" y="182"/>
                      </a:lnTo>
                      <a:lnTo>
                        <a:pt x="92" y="178"/>
                      </a:lnTo>
                      <a:lnTo>
                        <a:pt x="96" y="174"/>
                      </a:lnTo>
                      <a:lnTo>
                        <a:pt x="98" y="172"/>
                      </a:lnTo>
                      <a:lnTo>
                        <a:pt x="98" y="170"/>
                      </a:lnTo>
                      <a:lnTo>
                        <a:pt x="100" y="170"/>
                      </a:lnTo>
                      <a:lnTo>
                        <a:pt x="100" y="168"/>
                      </a:lnTo>
                      <a:lnTo>
                        <a:pt x="102" y="168"/>
                      </a:lnTo>
                      <a:lnTo>
                        <a:pt x="102" y="166"/>
                      </a:lnTo>
                      <a:lnTo>
                        <a:pt x="104" y="164"/>
                      </a:lnTo>
                      <a:lnTo>
                        <a:pt x="106" y="160"/>
                      </a:lnTo>
                      <a:lnTo>
                        <a:pt x="110" y="156"/>
                      </a:lnTo>
                      <a:lnTo>
                        <a:pt x="112" y="152"/>
                      </a:lnTo>
                      <a:lnTo>
                        <a:pt x="116" y="148"/>
                      </a:lnTo>
                      <a:lnTo>
                        <a:pt x="116" y="146"/>
                      </a:lnTo>
                      <a:lnTo>
                        <a:pt x="118" y="146"/>
                      </a:lnTo>
                      <a:lnTo>
                        <a:pt x="118" y="144"/>
                      </a:lnTo>
                      <a:lnTo>
                        <a:pt x="120" y="142"/>
                      </a:lnTo>
                      <a:lnTo>
                        <a:pt x="120" y="140"/>
                      </a:lnTo>
                      <a:lnTo>
                        <a:pt x="122" y="138"/>
                      </a:lnTo>
                      <a:lnTo>
                        <a:pt x="124" y="134"/>
                      </a:lnTo>
                      <a:lnTo>
                        <a:pt x="126" y="130"/>
                      </a:lnTo>
                      <a:lnTo>
                        <a:pt x="128" y="126"/>
                      </a:lnTo>
                      <a:lnTo>
                        <a:pt x="130" y="122"/>
                      </a:lnTo>
                      <a:lnTo>
                        <a:pt x="130" y="120"/>
                      </a:lnTo>
                      <a:lnTo>
                        <a:pt x="132" y="120"/>
                      </a:lnTo>
                      <a:lnTo>
                        <a:pt x="132" y="118"/>
                      </a:lnTo>
                      <a:lnTo>
                        <a:pt x="134" y="116"/>
                      </a:lnTo>
                      <a:lnTo>
                        <a:pt x="136" y="112"/>
                      </a:lnTo>
                      <a:lnTo>
                        <a:pt x="136" y="110"/>
                      </a:lnTo>
                      <a:lnTo>
                        <a:pt x="136" y="108"/>
                      </a:lnTo>
                      <a:lnTo>
                        <a:pt x="136" y="106"/>
                      </a:lnTo>
                      <a:lnTo>
                        <a:pt x="138" y="104"/>
                      </a:lnTo>
                      <a:lnTo>
                        <a:pt x="138" y="102"/>
                      </a:lnTo>
                      <a:lnTo>
                        <a:pt x="138" y="98"/>
                      </a:lnTo>
                      <a:lnTo>
                        <a:pt x="140" y="98"/>
                      </a:lnTo>
                      <a:lnTo>
                        <a:pt x="140" y="96"/>
                      </a:lnTo>
                      <a:lnTo>
                        <a:pt x="142" y="94"/>
                      </a:lnTo>
                      <a:lnTo>
                        <a:pt x="144" y="90"/>
                      </a:lnTo>
                      <a:lnTo>
                        <a:pt x="146" y="88"/>
                      </a:lnTo>
                      <a:lnTo>
                        <a:pt x="146" y="86"/>
                      </a:lnTo>
                      <a:lnTo>
                        <a:pt x="148" y="84"/>
                      </a:lnTo>
                      <a:lnTo>
                        <a:pt x="148" y="82"/>
                      </a:lnTo>
                      <a:lnTo>
                        <a:pt x="148" y="80"/>
                      </a:lnTo>
                      <a:lnTo>
                        <a:pt x="150" y="78"/>
                      </a:lnTo>
                      <a:lnTo>
                        <a:pt x="150" y="74"/>
                      </a:lnTo>
                      <a:lnTo>
                        <a:pt x="152" y="74"/>
                      </a:lnTo>
                      <a:lnTo>
                        <a:pt x="154" y="72"/>
                      </a:lnTo>
                      <a:lnTo>
                        <a:pt x="154" y="68"/>
                      </a:lnTo>
                      <a:lnTo>
                        <a:pt x="154" y="66"/>
                      </a:lnTo>
                      <a:lnTo>
                        <a:pt x="154" y="64"/>
                      </a:lnTo>
                      <a:lnTo>
                        <a:pt x="156" y="62"/>
                      </a:lnTo>
                      <a:lnTo>
                        <a:pt x="156" y="60"/>
                      </a:lnTo>
                      <a:lnTo>
                        <a:pt x="158" y="60"/>
                      </a:lnTo>
                      <a:lnTo>
                        <a:pt x="160" y="60"/>
                      </a:lnTo>
                      <a:lnTo>
                        <a:pt x="160" y="58"/>
                      </a:lnTo>
                      <a:lnTo>
                        <a:pt x="162" y="58"/>
                      </a:lnTo>
                      <a:lnTo>
                        <a:pt x="162" y="54"/>
                      </a:lnTo>
                      <a:lnTo>
                        <a:pt x="162" y="52"/>
                      </a:lnTo>
                      <a:lnTo>
                        <a:pt x="162" y="46"/>
                      </a:lnTo>
                      <a:lnTo>
                        <a:pt x="162" y="42"/>
                      </a:lnTo>
                      <a:lnTo>
                        <a:pt x="162" y="38"/>
                      </a:lnTo>
                      <a:lnTo>
                        <a:pt x="162" y="36"/>
                      </a:lnTo>
                      <a:lnTo>
                        <a:pt x="162" y="34"/>
                      </a:lnTo>
                      <a:lnTo>
                        <a:pt x="162" y="32"/>
                      </a:lnTo>
                      <a:lnTo>
                        <a:pt x="164" y="32"/>
                      </a:lnTo>
                      <a:lnTo>
                        <a:pt x="166" y="30"/>
                      </a:lnTo>
                      <a:lnTo>
                        <a:pt x="168" y="30"/>
                      </a:lnTo>
                      <a:lnTo>
                        <a:pt x="168" y="26"/>
                      </a:lnTo>
                      <a:lnTo>
                        <a:pt x="168" y="24"/>
                      </a:lnTo>
                      <a:lnTo>
                        <a:pt x="166" y="22"/>
                      </a:lnTo>
                      <a:lnTo>
                        <a:pt x="166" y="20"/>
                      </a:lnTo>
                      <a:lnTo>
                        <a:pt x="166" y="18"/>
                      </a:lnTo>
                      <a:lnTo>
                        <a:pt x="166" y="16"/>
                      </a:lnTo>
                      <a:lnTo>
                        <a:pt x="166" y="14"/>
                      </a:lnTo>
                      <a:lnTo>
                        <a:pt x="166" y="12"/>
                      </a:lnTo>
                      <a:lnTo>
                        <a:pt x="168" y="10"/>
                      </a:lnTo>
                      <a:lnTo>
                        <a:pt x="168" y="8"/>
                      </a:lnTo>
                      <a:lnTo>
                        <a:pt x="168" y="6"/>
                      </a:lnTo>
                      <a:lnTo>
                        <a:pt x="170" y="4"/>
                      </a:lnTo>
                      <a:lnTo>
                        <a:pt x="168" y="2"/>
                      </a:lnTo>
                      <a:lnTo>
                        <a:pt x="166" y="2"/>
                      </a:lnTo>
                      <a:lnTo>
                        <a:pt x="162" y="0"/>
                      </a:lnTo>
                      <a:lnTo>
                        <a:pt x="160" y="0"/>
                      </a:lnTo>
                      <a:lnTo>
                        <a:pt x="158" y="0"/>
                      </a:lnTo>
                      <a:lnTo>
                        <a:pt x="158" y="2"/>
                      </a:lnTo>
                      <a:lnTo>
                        <a:pt x="156" y="2"/>
                      </a:lnTo>
                      <a:lnTo>
                        <a:pt x="156" y="4"/>
                      </a:lnTo>
                      <a:lnTo>
                        <a:pt x="154" y="6"/>
                      </a:lnTo>
                      <a:lnTo>
                        <a:pt x="154" y="8"/>
                      </a:lnTo>
                      <a:lnTo>
                        <a:pt x="152" y="8"/>
                      </a:lnTo>
                      <a:lnTo>
                        <a:pt x="150" y="8"/>
                      </a:lnTo>
                      <a:lnTo>
                        <a:pt x="148" y="10"/>
                      </a:lnTo>
                      <a:lnTo>
                        <a:pt x="144" y="10"/>
                      </a:lnTo>
                      <a:lnTo>
                        <a:pt x="142" y="12"/>
                      </a:lnTo>
                      <a:lnTo>
                        <a:pt x="140" y="12"/>
                      </a:lnTo>
                      <a:lnTo>
                        <a:pt x="136" y="12"/>
                      </a:lnTo>
                      <a:lnTo>
                        <a:pt x="134" y="12"/>
                      </a:lnTo>
                      <a:lnTo>
                        <a:pt x="132" y="12"/>
                      </a:lnTo>
                      <a:lnTo>
                        <a:pt x="130" y="12"/>
                      </a:lnTo>
                      <a:lnTo>
                        <a:pt x="126" y="12"/>
                      </a:lnTo>
                      <a:lnTo>
                        <a:pt x="124" y="12"/>
                      </a:lnTo>
                      <a:lnTo>
                        <a:pt x="122" y="12"/>
                      </a:lnTo>
                      <a:lnTo>
                        <a:pt x="120" y="14"/>
                      </a:lnTo>
                      <a:lnTo>
                        <a:pt x="116" y="16"/>
                      </a:lnTo>
                      <a:lnTo>
                        <a:pt x="116" y="18"/>
                      </a:lnTo>
                      <a:lnTo>
                        <a:pt x="114" y="18"/>
                      </a:lnTo>
                      <a:lnTo>
                        <a:pt x="112" y="20"/>
                      </a:lnTo>
                      <a:lnTo>
                        <a:pt x="112" y="18"/>
                      </a:lnTo>
                      <a:lnTo>
                        <a:pt x="110" y="16"/>
                      </a:lnTo>
                      <a:lnTo>
                        <a:pt x="106" y="16"/>
                      </a:lnTo>
                      <a:lnTo>
                        <a:pt x="106" y="14"/>
                      </a:lnTo>
                      <a:lnTo>
                        <a:pt x="104" y="16"/>
                      </a:lnTo>
                      <a:lnTo>
                        <a:pt x="102" y="16"/>
                      </a:lnTo>
                      <a:lnTo>
                        <a:pt x="100" y="18"/>
                      </a:lnTo>
                      <a:lnTo>
                        <a:pt x="98" y="20"/>
                      </a:lnTo>
                      <a:lnTo>
                        <a:pt x="96" y="22"/>
                      </a:lnTo>
                      <a:lnTo>
                        <a:pt x="92" y="24"/>
                      </a:lnTo>
                      <a:lnTo>
                        <a:pt x="90" y="26"/>
                      </a:lnTo>
                      <a:lnTo>
                        <a:pt x="88" y="26"/>
                      </a:lnTo>
                      <a:lnTo>
                        <a:pt x="86" y="26"/>
                      </a:lnTo>
                      <a:lnTo>
                        <a:pt x="86" y="24"/>
                      </a:lnTo>
                      <a:lnTo>
                        <a:pt x="84" y="24"/>
                      </a:lnTo>
                      <a:lnTo>
                        <a:pt x="82" y="22"/>
                      </a:lnTo>
                      <a:lnTo>
                        <a:pt x="80" y="22"/>
                      </a:lnTo>
                      <a:lnTo>
                        <a:pt x="78" y="22"/>
                      </a:lnTo>
                      <a:lnTo>
                        <a:pt x="76" y="22"/>
                      </a:lnTo>
                      <a:lnTo>
                        <a:pt x="74" y="24"/>
                      </a:lnTo>
                      <a:lnTo>
                        <a:pt x="70" y="26"/>
                      </a:lnTo>
                      <a:lnTo>
                        <a:pt x="68" y="26"/>
                      </a:lnTo>
                      <a:lnTo>
                        <a:pt x="66" y="28"/>
                      </a:lnTo>
                      <a:lnTo>
                        <a:pt x="64" y="30"/>
                      </a:lnTo>
                      <a:lnTo>
                        <a:pt x="62" y="30"/>
                      </a:lnTo>
                      <a:lnTo>
                        <a:pt x="60" y="30"/>
                      </a:lnTo>
                      <a:lnTo>
                        <a:pt x="58" y="30"/>
                      </a:lnTo>
                      <a:lnTo>
                        <a:pt x="56" y="30"/>
                      </a:lnTo>
                      <a:lnTo>
                        <a:pt x="54" y="30"/>
                      </a:lnTo>
                      <a:lnTo>
                        <a:pt x="52" y="30"/>
                      </a:lnTo>
                      <a:lnTo>
                        <a:pt x="50" y="30"/>
                      </a:lnTo>
                      <a:lnTo>
                        <a:pt x="48" y="28"/>
                      </a:lnTo>
                      <a:lnTo>
                        <a:pt x="46" y="26"/>
                      </a:lnTo>
                      <a:lnTo>
                        <a:pt x="44" y="26"/>
                      </a:lnTo>
                      <a:lnTo>
                        <a:pt x="42" y="22"/>
                      </a:lnTo>
                      <a:lnTo>
                        <a:pt x="40" y="20"/>
                      </a:lnTo>
                      <a:lnTo>
                        <a:pt x="40" y="18"/>
                      </a:lnTo>
                      <a:lnTo>
                        <a:pt x="40" y="16"/>
                      </a:lnTo>
                      <a:lnTo>
                        <a:pt x="38" y="16"/>
                      </a:lnTo>
                      <a:lnTo>
                        <a:pt x="38" y="14"/>
                      </a:lnTo>
                      <a:lnTo>
                        <a:pt x="36" y="12"/>
                      </a:lnTo>
                      <a:lnTo>
                        <a:pt x="34" y="12"/>
                      </a:lnTo>
                      <a:lnTo>
                        <a:pt x="34" y="14"/>
                      </a:lnTo>
                      <a:lnTo>
                        <a:pt x="32" y="16"/>
                      </a:lnTo>
                      <a:lnTo>
                        <a:pt x="32" y="18"/>
                      </a:lnTo>
                      <a:lnTo>
                        <a:pt x="30" y="18"/>
                      </a:lnTo>
                      <a:lnTo>
                        <a:pt x="30" y="20"/>
                      </a:lnTo>
                      <a:lnTo>
                        <a:pt x="24"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4" name="Freeform 60">
                  <a:extLst>
                    <a:ext uri="{FF2B5EF4-FFF2-40B4-BE49-F238E27FC236}">
                      <a16:creationId xmlns:a16="http://schemas.microsoft.com/office/drawing/2014/main" id="{1E74C4EE-E2B0-49E7-90BA-29D886254FB0}"/>
                    </a:ext>
                  </a:extLst>
                </p:cNvPr>
                <p:cNvSpPr>
                  <a:spLocks noChangeAspect="1"/>
                </p:cNvSpPr>
                <p:nvPr/>
              </p:nvSpPr>
              <p:spPr bwMode="auto">
                <a:xfrm>
                  <a:off x="5326956" y="3758557"/>
                  <a:ext cx="417668" cy="383672"/>
                </a:xfrm>
                <a:custGeom>
                  <a:avLst/>
                  <a:gdLst/>
                  <a:ahLst/>
                  <a:cxnLst>
                    <a:cxn ang="0">
                      <a:pos x="28" y="156"/>
                    </a:cxn>
                    <a:cxn ang="0">
                      <a:pos x="32" y="164"/>
                    </a:cxn>
                    <a:cxn ang="0">
                      <a:pos x="34" y="170"/>
                    </a:cxn>
                    <a:cxn ang="0">
                      <a:pos x="44" y="182"/>
                    </a:cxn>
                    <a:cxn ang="0">
                      <a:pos x="50" y="190"/>
                    </a:cxn>
                    <a:cxn ang="0">
                      <a:pos x="52" y="200"/>
                    </a:cxn>
                    <a:cxn ang="0">
                      <a:pos x="66" y="200"/>
                    </a:cxn>
                    <a:cxn ang="0">
                      <a:pos x="80" y="210"/>
                    </a:cxn>
                    <a:cxn ang="0">
                      <a:pos x="90" y="216"/>
                    </a:cxn>
                    <a:cxn ang="0">
                      <a:pos x="112" y="220"/>
                    </a:cxn>
                    <a:cxn ang="0">
                      <a:pos x="118" y="212"/>
                    </a:cxn>
                    <a:cxn ang="0">
                      <a:pos x="130" y="204"/>
                    </a:cxn>
                    <a:cxn ang="0">
                      <a:pos x="138" y="208"/>
                    </a:cxn>
                    <a:cxn ang="0">
                      <a:pos x="146" y="208"/>
                    </a:cxn>
                    <a:cxn ang="0">
                      <a:pos x="152" y="210"/>
                    </a:cxn>
                    <a:cxn ang="0">
                      <a:pos x="164" y="204"/>
                    </a:cxn>
                    <a:cxn ang="0">
                      <a:pos x="172" y="196"/>
                    </a:cxn>
                    <a:cxn ang="0">
                      <a:pos x="188" y="190"/>
                    </a:cxn>
                    <a:cxn ang="0">
                      <a:pos x="212" y="180"/>
                    </a:cxn>
                    <a:cxn ang="0">
                      <a:pos x="244" y="142"/>
                    </a:cxn>
                    <a:cxn ang="0">
                      <a:pos x="248" y="132"/>
                    </a:cxn>
                    <a:cxn ang="0">
                      <a:pos x="236" y="132"/>
                    </a:cxn>
                    <a:cxn ang="0">
                      <a:pos x="216" y="124"/>
                    </a:cxn>
                    <a:cxn ang="0">
                      <a:pos x="188" y="114"/>
                    </a:cxn>
                    <a:cxn ang="0">
                      <a:pos x="176" y="104"/>
                    </a:cxn>
                    <a:cxn ang="0">
                      <a:pos x="172" y="98"/>
                    </a:cxn>
                    <a:cxn ang="0">
                      <a:pos x="166" y="86"/>
                    </a:cxn>
                    <a:cxn ang="0">
                      <a:pos x="166" y="78"/>
                    </a:cxn>
                    <a:cxn ang="0">
                      <a:pos x="160" y="72"/>
                    </a:cxn>
                    <a:cxn ang="0">
                      <a:pos x="150" y="76"/>
                    </a:cxn>
                    <a:cxn ang="0">
                      <a:pos x="146" y="62"/>
                    </a:cxn>
                    <a:cxn ang="0">
                      <a:pos x="154" y="52"/>
                    </a:cxn>
                    <a:cxn ang="0">
                      <a:pos x="156" y="42"/>
                    </a:cxn>
                    <a:cxn ang="0">
                      <a:pos x="148" y="38"/>
                    </a:cxn>
                    <a:cxn ang="0">
                      <a:pos x="138" y="28"/>
                    </a:cxn>
                    <a:cxn ang="0">
                      <a:pos x="124" y="12"/>
                    </a:cxn>
                    <a:cxn ang="0">
                      <a:pos x="116" y="8"/>
                    </a:cxn>
                    <a:cxn ang="0">
                      <a:pos x="108" y="6"/>
                    </a:cxn>
                    <a:cxn ang="0">
                      <a:pos x="100" y="4"/>
                    </a:cxn>
                    <a:cxn ang="0">
                      <a:pos x="90" y="8"/>
                    </a:cxn>
                    <a:cxn ang="0">
                      <a:pos x="84" y="2"/>
                    </a:cxn>
                    <a:cxn ang="0">
                      <a:pos x="78" y="4"/>
                    </a:cxn>
                    <a:cxn ang="0">
                      <a:pos x="72" y="12"/>
                    </a:cxn>
                    <a:cxn ang="0">
                      <a:pos x="64" y="10"/>
                    </a:cxn>
                    <a:cxn ang="0">
                      <a:pos x="56" y="14"/>
                    </a:cxn>
                    <a:cxn ang="0">
                      <a:pos x="54" y="24"/>
                    </a:cxn>
                    <a:cxn ang="0">
                      <a:pos x="52" y="38"/>
                    </a:cxn>
                    <a:cxn ang="0">
                      <a:pos x="44" y="42"/>
                    </a:cxn>
                    <a:cxn ang="0">
                      <a:pos x="40" y="54"/>
                    </a:cxn>
                    <a:cxn ang="0">
                      <a:pos x="34" y="62"/>
                    </a:cxn>
                    <a:cxn ang="0">
                      <a:pos x="32" y="68"/>
                    </a:cxn>
                    <a:cxn ang="0">
                      <a:pos x="30" y="80"/>
                    </a:cxn>
                    <a:cxn ang="0">
                      <a:pos x="24" y="76"/>
                    </a:cxn>
                    <a:cxn ang="0">
                      <a:pos x="24" y="92"/>
                    </a:cxn>
                    <a:cxn ang="0">
                      <a:pos x="18" y="106"/>
                    </a:cxn>
                    <a:cxn ang="0">
                      <a:pos x="18" y="118"/>
                    </a:cxn>
                    <a:cxn ang="0">
                      <a:pos x="10" y="124"/>
                    </a:cxn>
                    <a:cxn ang="0">
                      <a:pos x="4" y="128"/>
                    </a:cxn>
                    <a:cxn ang="0">
                      <a:pos x="2" y="134"/>
                    </a:cxn>
                    <a:cxn ang="0">
                      <a:pos x="12" y="138"/>
                    </a:cxn>
                    <a:cxn ang="0">
                      <a:pos x="20" y="148"/>
                    </a:cxn>
                  </a:cxnLst>
                  <a:rect l="0" t="0" r="r" b="b"/>
                  <a:pathLst>
                    <a:path w="254" h="220">
                      <a:moveTo>
                        <a:pt x="22" y="152"/>
                      </a:moveTo>
                      <a:lnTo>
                        <a:pt x="22" y="152"/>
                      </a:lnTo>
                      <a:lnTo>
                        <a:pt x="24" y="152"/>
                      </a:lnTo>
                      <a:lnTo>
                        <a:pt x="26" y="152"/>
                      </a:lnTo>
                      <a:lnTo>
                        <a:pt x="28" y="152"/>
                      </a:lnTo>
                      <a:lnTo>
                        <a:pt x="28" y="154"/>
                      </a:lnTo>
                      <a:lnTo>
                        <a:pt x="28" y="156"/>
                      </a:lnTo>
                      <a:lnTo>
                        <a:pt x="28" y="158"/>
                      </a:lnTo>
                      <a:lnTo>
                        <a:pt x="30" y="158"/>
                      </a:lnTo>
                      <a:lnTo>
                        <a:pt x="30" y="160"/>
                      </a:lnTo>
                      <a:lnTo>
                        <a:pt x="30" y="162"/>
                      </a:lnTo>
                      <a:lnTo>
                        <a:pt x="32" y="164"/>
                      </a:lnTo>
                      <a:lnTo>
                        <a:pt x="32" y="166"/>
                      </a:lnTo>
                      <a:lnTo>
                        <a:pt x="32" y="168"/>
                      </a:lnTo>
                      <a:lnTo>
                        <a:pt x="34" y="168"/>
                      </a:lnTo>
                      <a:lnTo>
                        <a:pt x="34" y="170"/>
                      </a:lnTo>
                      <a:lnTo>
                        <a:pt x="34" y="172"/>
                      </a:lnTo>
                      <a:lnTo>
                        <a:pt x="34" y="174"/>
                      </a:lnTo>
                      <a:lnTo>
                        <a:pt x="36" y="176"/>
                      </a:lnTo>
                      <a:lnTo>
                        <a:pt x="38" y="178"/>
                      </a:lnTo>
                      <a:lnTo>
                        <a:pt x="38" y="180"/>
                      </a:lnTo>
                      <a:lnTo>
                        <a:pt x="40" y="180"/>
                      </a:lnTo>
                      <a:lnTo>
                        <a:pt x="42" y="182"/>
                      </a:lnTo>
                      <a:lnTo>
                        <a:pt x="44" y="182"/>
                      </a:lnTo>
                      <a:lnTo>
                        <a:pt x="46" y="182"/>
                      </a:lnTo>
                      <a:lnTo>
                        <a:pt x="48" y="182"/>
                      </a:lnTo>
                      <a:lnTo>
                        <a:pt x="48" y="186"/>
                      </a:lnTo>
                      <a:lnTo>
                        <a:pt x="50" y="188"/>
                      </a:lnTo>
                      <a:lnTo>
                        <a:pt x="50" y="190"/>
                      </a:lnTo>
                      <a:lnTo>
                        <a:pt x="50" y="192"/>
                      </a:lnTo>
                      <a:lnTo>
                        <a:pt x="50" y="194"/>
                      </a:lnTo>
                      <a:lnTo>
                        <a:pt x="50" y="196"/>
                      </a:lnTo>
                      <a:lnTo>
                        <a:pt x="50" y="198"/>
                      </a:lnTo>
                      <a:lnTo>
                        <a:pt x="52" y="198"/>
                      </a:lnTo>
                      <a:lnTo>
                        <a:pt x="52" y="200"/>
                      </a:lnTo>
                      <a:lnTo>
                        <a:pt x="54" y="200"/>
                      </a:lnTo>
                      <a:lnTo>
                        <a:pt x="56" y="200"/>
                      </a:lnTo>
                      <a:lnTo>
                        <a:pt x="58" y="200"/>
                      </a:lnTo>
                      <a:lnTo>
                        <a:pt x="60" y="200"/>
                      </a:lnTo>
                      <a:lnTo>
                        <a:pt x="62" y="200"/>
                      </a:lnTo>
                      <a:lnTo>
                        <a:pt x="64" y="200"/>
                      </a:lnTo>
                      <a:lnTo>
                        <a:pt x="66" y="200"/>
                      </a:lnTo>
                      <a:lnTo>
                        <a:pt x="68" y="200"/>
                      </a:lnTo>
                      <a:lnTo>
                        <a:pt x="72" y="202"/>
                      </a:lnTo>
                      <a:lnTo>
                        <a:pt x="74" y="204"/>
                      </a:lnTo>
                      <a:lnTo>
                        <a:pt x="76" y="206"/>
                      </a:lnTo>
                      <a:lnTo>
                        <a:pt x="78" y="208"/>
                      </a:lnTo>
                      <a:lnTo>
                        <a:pt x="80" y="210"/>
                      </a:lnTo>
                      <a:lnTo>
                        <a:pt x="82" y="212"/>
                      </a:lnTo>
                      <a:lnTo>
                        <a:pt x="84" y="214"/>
                      </a:lnTo>
                      <a:lnTo>
                        <a:pt x="86" y="214"/>
                      </a:lnTo>
                      <a:lnTo>
                        <a:pt x="88" y="216"/>
                      </a:lnTo>
                      <a:lnTo>
                        <a:pt x="90" y="216"/>
                      </a:lnTo>
                      <a:lnTo>
                        <a:pt x="92" y="216"/>
                      </a:lnTo>
                      <a:lnTo>
                        <a:pt x="96" y="216"/>
                      </a:lnTo>
                      <a:lnTo>
                        <a:pt x="100" y="216"/>
                      </a:lnTo>
                      <a:lnTo>
                        <a:pt x="104" y="218"/>
                      </a:lnTo>
                      <a:lnTo>
                        <a:pt x="108" y="218"/>
                      </a:lnTo>
                      <a:lnTo>
                        <a:pt x="110" y="218"/>
                      </a:lnTo>
                      <a:lnTo>
                        <a:pt x="110" y="220"/>
                      </a:lnTo>
                      <a:lnTo>
                        <a:pt x="112" y="220"/>
                      </a:lnTo>
                      <a:lnTo>
                        <a:pt x="114" y="218"/>
                      </a:lnTo>
                      <a:lnTo>
                        <a:pt x="114" y="216"/>
                      </a:lnTo>
                      <a:lnTo>
                        <a:pt x="116" y="216"/>
                      </a:lnTo>
                      <a:lnTo>
                        <a:pt x="116" y="214"/>
                      </a:lnTo>
                      <a:lnTo>
                        <a:pt x="118" y="212"/>
                      </a:lnTo>
                      <a:lnTo>
                        <a:pt x="118" y="210"/>
                      </a:lnTo>
                      <a:lnTo>
                        <a:pt x="120" y="210"/>
                      </a:lnTo>
                      <a:lnTo>
                        <a:pt x="122" y="210"/>
                      </a:lnTo>
                      <a:lnTo>
                        <a:pt x="124" y="208"/>
                      </a:lnTo>
                      <a:lnTo>
                        <a:pt x="126" y="206"/>
                      </a:lnTo>
                      <a:lnTo>
                        <a:pt x="128" y="206"/>
                      </a:lnTo>
                      <a:lnTo>
                        <a:pt x="130" y="204"/>
                      </a:lnTo>
                      <a:lnTo>
                        <a:pt x="132" y="204"/>
                      </a:lnTo>
                      <a:lnTo>
                        <a:pt x="132" y="202"/>
                      </a:lnTo>
                      <a:lnTo>
                        <a:pt x="134" y="204"/>
                      </a:lnTo>
                      <a:lnTo>
                        <a:pt x="136" y="206"/>
                      </a:lnTo>
                      <a:lnTo>
                        <a:pt x="138" y="206"/>
                      </a:lnTo>
                      <a:lnTo>
                        <a:pt x="138" y="208"/>
                      </a:lnTo>
                      <a:lnTo>
                        <a:pt x="140" y="208"/>
                      </a:lnTo>
                      <a:lnTo>
                        <a:pt x="142" y="208"/>
                      </a:lnTo>
                      <a:lnTo>
                        <a:pt x="144" y="208"/>
                      </a:lnTo>
                      <a:lnTo>
                        <a:pt x="146" y="208"/>
                      </a:lnTo>
                      <a:lnTo>
                        <a:pt x="148" y="208"/>
                      </a:lnTo>
                      <a:lnTo>
                        <a:pt x="150" y="208"/>
                      </a:lnTo>
                      <a:lnTo>
                        <a:pt x="150" y="210"/>
                      </a:lnTo>
                      <a:lnTo>
                        <a:pt x="152" y="210"/>
                      </a:lnTo>
                      <a:lnTo>
                        <a:pt x="152" y="208"/>
                      </a:lnTo>
                      <a:lnTo>
                        <a:pt x="154" y="206"/>
                      </a:lnTo>
                      <a:lnTo>
                        <a:pt x="156" y="204"/>
                      </a:lnTo>
                      <a:lnTo>
                        <a:pt x="158" y="204"/>
                      </a:lnTo>
                      <a:lnTo>
                        <a:pt x="160" y="204"/>
                      </a:lnTo>
                      <a:lnTo>
                        <a:pt x="162" y="204"/>
                      </a:lnTo>
                      <a:lnTo>
                        <a:pt x="164" y="204"/>
                      </a:lnTo>
                      <a:lnTo>
                        <a:pt x="166" y="204"/>
                      </a:lnTo>
                      <a:lnTo>
                        <a:pt x="168" y="202"/>
                      </a:lnTo>
                      <a:lnTo>
                        <a:pt x="170" y="202"/>
                      </a:lnTo>
                      <a:lnTo>
                        <a:pt x="170" y="200"/>
                      </a:lnTo>
                      <a:lnTo>
                        <a:pt x="172" y="198"/>
                      </a:lnTo>
                      <a:lnTo>
                        <a:pt x="172" y="196"/>
                      </a:lnTo>
                      <a:lnTo>
                        <a:pt x="174" y="194"/>
                      </a:lnTo>
                      <a:lnTo>
                        <a:pt x="176" y="194"/>
                      </a:lnTo>
                      <a:lnTo>
                        <a:pt x="180" y="192"/>
                      </a:lnTo>
                      <a:lnTo>
                        <a:pt x="182" y="192"/>
                      </a:lnTo>
                      <a:lnTo>
                        <a:pt x="184" y="190"/>
                      </a:lnTo>
                      <a:lnTo>
                        <a:pt x="186" y="190"/>
                      </a:lnTo>
                      <a:lnTo>
                        <a:pt x="188" y="190"/>
                      </a:lnTo>
                      <a:lnTo>
                        <a:pt x="192" y="190"/>
                      </a:lnTo>
                      <a:lnTo>
                        <a:pt x="196" y="190"/>
                      </a:lnTo>
                      <a:lnTo>
                        <a:pt x="198" y="190"/>
                      </a:lnTo>
                      <a:lnTo>
                        <a:pt x="200" y="190"/>
                      </a:lnTo>
                      <a:lnTo>
                        <a:pt x="202" y="190"/>
                      </a:lnTo>
                      <a:lnTo>
                        <a:pt x="204" y="190"/>
                      </a:lnTo>
                      <a:lnTo>
                        <a:pt x="208" y="186"/>
                      </a:lnTo>
                      <a:lnTo>
                        <a:pt x="212" y="180"/>
                      </a:lnTo>
                      <a:lnTo>
                        <a:pt x="216" y="176"/>
                      </a:lnTo>
                      <a:lnTo>
                        <a:pt x="220" y="172"/>
                      </a:lnTo>
                      <a:lnTo>
                        <a:pt x="224" y="168"/>
                      </a:lnTo>
                      <a:lnTo>
                        <a:pt x="226" y="164"/>
                      </a:lnTo>
                      <a:lnTo>
                        <a:pt x="230" y="160"/>
                      </a:lnTo>
                      <a:lnTo>
                        <a:pt x="232" y="156"/>
                      </a:lnTo>
                      <a:lnTo>
                        <a:pt x="236" y="154"/>
                      </a:lnTo>
                      <a:lnTo>
                        <a:pt x="238" y="152"/>
                      </a:lnTo>
                      <a:lnTo>
                        <a:pt x="242" y="146"/>
                      </a:lnTo>
                      <a:lnTo>
                        <a:pt x="244" y="142"/>
                      </a:lnTo>
                      <a:lnTo>
                        <a:pt x="248" y="140"/>
                      </a:lnTo>
                      <a:lnTo>
                        <a:pt x="250" y="136"/>
                      </a:lnTo>
                      <a:lnTo>
                        <a:pt x="250" y="134"/>
                      </a:lnTo>
                      <a:lnTo>
                        <a:pt x="252" y="134"/>
                      </a:lnTo>
                      <a:lnTo>
                        <a:pt x="252" y="132"/>
                      </a:lnTo>
                      <a:lnTo>
                        <a:pt x="254" y="132"/>
                      </a:lnTo>
                      <a:lnTo>
                        <a:pt x="250" y="132"/>
                      </a:lnTo>
                      <a:lnTo>
                        <a:pt x="248" y="132"/>
                      </a:lnTo>
                      <a:lnTo>
                        <a:pt x="246" y="132"/>
                      </a:lnTo>
                      <a:lnTo>
                        <a:pt x="244" y="132"/>
                      </a:lnTo>
                      <a:lnTo>
                        <a:pt x="242" y="132"/>
                      </a:lnTo>
                      <a:lnTo>
                        <a:pt x="240" y="132"/>
                      </a:lnTo>
                      <a:lnTo>
                        <a:pt x="238" y="132"/>
                      </a:lnTo>
                      <a:lnTo>
                        <a:pt x="236" y="132"/>
                      </a:lnTo>
                      <a:lnTo>
                        <a:pt x="234" y="132"/>
                      </a:lnTo>
                      <a:lnTo>
                        <a:pt x="232" y="130"/>
                      </a:lnTo>
                      <a:lnTo>
                        <a:pt x="230" y="128"/>
                      </a:lnTo>
                      <a:lnTo>
                        <a:pt x="226" y="128"/>
                      </a:lnTo>
                      <a:lnTo>
                        <a:pt x="224" y="126"/>
                      </a:lnTo>
                      <a:lnTo>
                        <a:pt x="220" y="124"/>
                      </a:lnTo>
                      <a:lnTo>
                        <a:pt x="218" y="124"/>
                      </a:lnTo>
                      <a:lnTo>
                        <a:pt x="216" y="124"/>
                      </a:lnTo>
                      <a:lnTo>
                        <a:pt x="216" y="122"/>
                      </a:lnTo>
                      <a:lnTo>
                        <a:pt x="212" y="122"/>
                      </a:lnTo>
                      <a:lnTo>
                        <a:pt x="206" y="120"/>
                      </a:lnTo>
                      <a:lnTo>
                        <a:pt x="202" y="120"/>
                      </a:lnTo>
                      <a:lnTo>
                        <a:pt x="198" y="118"/>
                      </a:lnTo>
                      <a:lnTo>
                        <a:pt x="194" y="116"/>
                      </a:lnTo>
                      <a:lnTo>
                        <a:pt x="192" y="116"/>
                      </a:lnTo>
                      <a:lnTo>
                        <a:pt x="190" y="114"/>
                      </a:lnTo>
                      <a:lnTo>
                        <a:pt x="188" y="114"/>
                      </a:lnTo>
                      <a:lnTo>
                        <a:pt x="188" y="112"/>
                      </a:lnTo>
                      <a:lnTo>
                        <a:pt x="186" y="112"/>
                      </a:lnTo>
                      <a:lnTo>
                        <a:pt x="184" y="108"/>
                      </a:lnTo>
                      <a:lnTo>
                        <a:pt x="182" y="106"/>
                      </a:lnTo>
                      <a:lnTo>
                        <a:pt x="182" y="104"/>
                      </a:lnTo>
                      <a:lnTo>
                        <a:pt x="180" y="104"/>
                      </a:lnTo>
                      <a:lnTo>
                        <a:pt x="178" y="104"/>
                      </a:lnTo>
                      <a:lnTo>
                        <a:pt x="176" y="104"/>
                      </a:lnTo>
                      <a:lnTo>
                        <a:pt x="174" y="104"/>
                      </a:lnTo>
                      <a:lnTo>
                        <a:pt x="174" y="102"/>
                      </a:lnTo>
                      <a:lnTo>
                        <a:pt x="174" y="98"/>
                      </a:lnTo>
                      <a:lnTo>
                        <a:pt x="172" y="98"/>
                      </a:lnTo>
                      <a:lnTo>
                        <a:pt x="172" y="96"/>
                      </a:lnTo>
                      <a:lnTo>
                        <a:pt x="172" y="94"/>
                      </a:lnTo>
                      <a:lnTo>
                        <a:pt x="170" y="94"/>
                      </a:lnTo>
                      <a:lnTo>
                        <a:pt x="168" y="90"/>
                      </a:lnTo>
                      <a:lnTo>
                        <a:pt x="166" y="88"/>
                      </a:lnTo>
                      <a:lnTo>
                        <a:pt x="166" y="86"/>
                      </a:lnTo>
                      <a:lnTo>
                        <a:pt x="166" y="84"/>
                      </a:lnTo>
                      <a:lnTo>
                        <a:pt x="164" y="84"/>
                      </a:lnTo>
                      <a:lnTo>
                        <a:pt x="164" y="82"/>
                      </a:lnTo>
                      <a:lnTo>
                        <a:pt x="162" y="82"/>
                      </a:lnTo>
                      <a:lnTo>
                        <a:pt x="164" y="80"/>
                      </a:lnTo>
                      <a:lnTo>
                        <a:pt x="166" y="78"/>
                      </a:lnTo>
                      <a:lnTo>
                        <a:pt x="166" y="76"/>
                      </a:lnTo>
                      <a:lnTo>
                        <a:pt x="168" y="76"/>
                      </a:lnTo>
                      <a:lnTo>
                        <a:pt x="168" y="74"/>
                      </a:lnTo>
                      <a:lnTo>
                        <a:pt x="164" y="72"/>
                      </a:lnTo>
                      <a:lnTo>
                        <a:pt x="162" y="72"/>
                      </a:lnTo>
                      <a:lnTo>
                        <a:pt x="160" y="72"/>
                      </a:lnTo>
                      <a:lnTo>
                        <a:pt x="158" y="74"/>
                      </a:lnTo>
                      <a:lnTo>
                        <a:pt x="156" y="74"/>
                      </a:lnTo>
                      <a:lnTo>
                        <a:pt x="152" y="76"/>
                      </a:lnTo>
                      <a:lnTo>
                        <a:pt x="150" y="76"/>
                      </a:lnTo>
                      <a:lnTo>
                        <a:pt x="148" y="74"/>
                      </a:lnTo>
                      <a:lnTo>
                        <a:pt x="148" y="72"/>
                      </a:lnTo>
                      <a:lnTo>
                        <a:pt x="148" y="70"/>
                      </a:lnTo>
                      <a:lnTo>
                        <a:pt x="148" y="68"/>
                      </a:lnTo>
                      <a:lnTo>
                        <a:pt x="146" y="66"/>
                      </a:lnTo>
                      <a:lnTo>
                        <a:pt x="146" y="64"/>
                      </a:lnTo>
                      <a:lnTo>
                        <a:pt x="146" y="62"/>
                      </a:lnTo>
                      <a:lnTo>
                        <a:pt x="148" y="60"/>
                      </a:lnTo>
                      <a:lnTo>
                        <a:pt x="148" y="58"/>
                      </a:lnTo>
                      <a:lnTo>
                        <a:pt x="150" y="58"/>
                      </a:lnTo>
                      <a:lnTo>
                        <a:pt x="152" y="56"/>
                      </a:lnTo>
                      <a:lnTo>
                        <a:pt x="152" y="54"/>
                      </a:lnTo>
                      <a:lnTo>
                        <a:pt x="154" y="52"/>
                      </a:lnTo>
                      <a:lnTo>
                        <a:pt x="154" y="50"/>
                      </a:lnTo>
                      <a:lnTo>
                        <a:pt x="154" y="48"/>
                      </a:lnTo>
                      <a:lnTo>
                        <a:pt x="156" y="48"/>
                      </a:lnTo>
                      <a:lnTo>
                        <a:pt x="156" y="46"/>
                      </a:lnTo>
                      <a:lnTo>
                        <a:pt x="156" y="44"/>
                      </a:lnTo>
                      <a:lnTo>
                        <a:pt x="156" y="42"/>
                      </a:lnTo>
                      <a:lnTo>
                        <a:pt x="154" y="40"/>
                      </a:lnTo>
                      <a:lnTo>
                        <a:pt x="152" y="40"/>
                      </a:lnTo>
                      <a:lnTo>
                        <a:pt x="150" y="40"/>
                      </a:lnTo>
                      <a:lnTo>
                        <a:pt x="148" y="38"/>
                      </a:lnTo>
                      <a:lnTo>
                        <a:pt x="148" y="36"/>
                      </a:lnTo>
                      <a:lnTo>
                        <a:pt x="148" y="34"/>
                      </a:lnTo>
                      <a:lnTo>
                        <a:pt x="148" y="32"/>
                      </a:lnTo>
                      <a:lnTo>
                        <a:pt x="146" y="32"/>
                      </a:lnTo>
                      <a:lnTo>
                        <a:pt x="146" y="30"/>
                      </a:lnTo>
                      <a:lnTo>
                        <a:pt x="144" y="30"/>
                      </a:lnTo>
                      <a:lnTo>
                        <a:pt x="142" y="28"/>
                      </a:lnTo>
                      <a:lnTo>
                        <a:pt x="138" y="28"/>
                      </a:lnTo>
                      <a:lnTo>
                        <a:pt x="138" y="26"/>
                      </a:lnTo>
                      <a:lnTo>
                        <a:pt x="136" y="26"/>
                      </a:lnTo>
                      <a:lnTo>
                        <a:pt x="136" y="24"/>
                      </a:lnTo>
                      <a:lnTo>
                        <a:pt x="134" y="20"/>
                      </a:lnTo>
                      <a:lnTo>
                        <a:pt x="132" y="18"/>
                      </a:lnTo>
                      <a:lnTo>
                        <a:pt x="132" y="16"/>
                      </a:lnTo>
                      <a:lnTo>
                        <a:pt x="128" y="14"/>
                      </a:lnTo>
                      <a:lnTo>
                        <a:pt x="126" y="12"/>
                      </a:lnTo>
                      <a:lnTo>
                        <a:pt x="124" y="12"/>
                      </a:lnTo>
                      <a:lnTo>
                        <a:pt x="124" y="10"/>
                      </a:lnTo>
                      <a:lnTo>
                        <a:pt x="122" y="10"/>
                      </a:lnTo>
                      <a:lnTo>
                        <a:pt x="120" y="8"/>
                      </a:lnTo>
                      <a:lnTo>
                        <a:pt x="118" y="8"/>
                      </a:lnTo>
                      <a:lnTo>
                        <a:pt x="116" y="8"/>
                      </a:lnTo>
                      <a:lnTo>
                        <a:pt x="114" y="8"/>
                      </a:lnTo>
                      <a:lnTo>
                        <a:pt x="112" y="8"/>
                      </a:lnTo>
                      <a:lnTo>
                        <a:pt x="112" y="6"/>
                      </a:lnTo>
                      <a:lnTo>
                        <a:pt x="110" y="6"/>
                      </a:lnTo>
                      <a:lnTo>
                        <a:pt x="108" y="6"/>
                      </a:lnTo>
                      <a:lnTo>
                        <a:pt x="106" y="8"/>
                      </a:lnTo>
                      <a:lnTo>
                        <a:pt x="104" y="8"/>
                      </a:lnTo>
                      <a:lnTo>
                        <a:pt x="102" y="8"/>
                      </a:lnTo>
                      <a:lnTo>
                        <a:pt x="100" y="6"/>
                      </a:lnTo>
                      <a:lnTo>
                        <a:pt x="100" y="4"/>
                      </a:lnTo>
                      <a:lnTo>
                        <a:pt x="98" y="6"/>
                      </a:lnTo>
                      <a:lnTo>
                        <a:pt x="96" y="8"/>
                      </a:lnTo>
                      <a:lnTo>
                        <a:pt x="94" y="8"/>
                      </a:lnTo>
                      <a:lnTo>
                        <a:pt x="92" y="8"/>
                      </a:lnTo>
                      <a:lnTo>
                        <a:pt x="90" y="8"/>
                      </a:lnTo>
                      <a:lnTo>
                        <a:pt x="88" y="8"/>
                      </a:lnTo>
                      <a:lnTo>
                        <a:pt x="88" y="6"/>
                      </a:lnTo>
                      <a:lnTo>
                        <a:pt x="86" y="4"/>
                      </a:lnTo>
                      <a:lnTo>
                        <a:pt x="86" y="2"/>
                      </a:lnTo>
                      <a:lnTo>
                        <a:pt x="84" y="2"/>
                      </a:lnTo>
                      <a:lnTo>
                        <a:pt x="82" y="0"/>
                      </a:lnTo>
                      <a:lnTo>
                        <a:pt x="80" y="0"/>
                      </a:lnTo>
                      <a:lnTo>
                        <a:pt x="80" y="2"/>
                      </a:lnTo>
                      <a:lnTo>
                        <a:pt x="78" y="4"/>
                      </a:lnTo>
                      <a:lnTo>
                        <a:pt x="78" y="8"/>
                      </a:lnTo>
                      <a:lnTo>
                        <a:pt x="76" y="10"/>
                      </a:lnTo>
                      <a:lnTo>
                        <a:pt x="76" y="12"/>
                      </a:lnTo>
                      <a:lnTo>
                        <a:pt x="76" y="14"/>
                      </a:lnTo>
                      <a:lnTo>
                        <a:pt x="74" y="14"/>
                      </a:lnTo>
                      <a:lnTo>
                        <a:pt x="72" y="12"/>
                      </a:lnTo>
                      <a:lnTo>
                        <a:pt x="72" y="10"/>
                      </a:lnTo>
                      <a:lnTo>
                        <a:pt x="70" y="10"/>
                      </a:lnTo>
                      <a:lnTo>
                        <a:pt x="70" y="8"/>
                      </a:lnTo>
                      <a:lnTo>
                        <a:pt x="68" y="8"/>
                      </a:lnTo>
                      <a:lnTo>
                        <a:pt x="66" y="10"/>
                      </a:lnTo>
                      <a:lnTo>
                        <a:pt x="64" y="10"/>
                      </a:lnTo>
                      <a:lnTo>
                        <a:pt x="62" y="10"/>
                      </a:lnTo>
                      <a:lnTo>
                        <a:pt x="60" y="10"/>
                      </a:lnTo>
                      <a:lnTo>
                        <a:pt x="58" y="10"/>
                      </a:lnTo>
                      <a:lnTo>
                        <a:pt x="56" y="10"/>
                      </a:lnTo>
                      <a:lnTo>
                        <a:pt x="56" y="12"/>
                      </a:lnTo>
                      <a:lnTo>
                        <a:pt x="56" y="14"/>
                      </a:lnTo>
                      <a:lnTo>
                        <a:pt x="56" y="16"/>
                      </a:lnTo>
                      <a:lnTo>
                        <a:pt x="56" y="18"/>
                      </a:lnTo>
                      <a:lnTo>
                        <a:pt x="56" y="20"/>
                      </a:lnTo>
                      <a:lnTo>
                        <a:pt x="56" y="22"/>
                      </a:lnTo>
                      <a:lnTo>
                        <a:pt x="54" y="24"/>
                      </a:lnTo>
                      <a:lnTo>
                        <a:pt x="54" y="26"/>
                      </a:lnTo>
                      <a:lnTo>
                        <a:pt x="52" y="26"/>
                      </a:lnTo>
                      <a:lnTo>
                        <a:pt x="52" y="28"/>
                      </a:lnTo>
                      <a:lnTo>
                        <a:pt x="52" y="30"/>
                      </a:lnTo>
                      <a:lnTo>
                        <a:pt x="52" y="32"/>
                      </a:lnTo>
                      <a:lnTo>
                        <a:pt x="52" y="34"/>
                      </a:lnTo>
                      <a:lnTo>
                        <a:pt x="52" y="36"/>
                      </a:lnTo>
                      <a:lnTo>
                        <a:pt x="52" y="38"/>
                      </a:lnTo>
                      <a:lnTo>
                        <a:pt x="52" y="40"/>
                      </a:lnTo>
                      <a:lnTo>
                        <a:pt x="50" y="40"/>
                      </a:lnTo>
                      <a:lnTo>
                        <a:pt x="48" y="40"/>
                      </a:lnTo>
                      <a:lnTo>
                        <a:pt x="46" y="40"/>
                      </a:lnTo>
                      <a:lnTo>
                        <a:pt x="44" y="40"/>
                      </a:lnTo>
                      <a:lnTo>
                        <a:pt x="44" y="42"/>
                      </a:lnTo>
                      <a:lnTo>
                        <a:pt x="42" y="42"/>
                      </a:lnTo>
                      <a:lnTo>
                        <a:pt x="42" y="44"/>
                      </a:lnTo>
                      <a:lnTo>
                        <a:pt x="40" y="46"/>
                      </a:lnTo>
                      <a:lnTo>
                        <a:pt x="40" y="48"/>
                      </a:lnTo>
                      <a:lnTo>
                        <a:pt x="40" y="50"/>
                      </a:lnTo>
                      <a:lnTo>
                        <a:pt x="40" y="52"/>
                      </a:lnTo>
                      <a:lnTo>
                        <a:pt x="40" y="54"/>
                      </a:lnTo>
                      <a:lnTo>
                        <a:pt x="40" y="56"/>
                      </a:lnTo>
                      <a:lnTo>
                        <a:pt x="38" y="56"/>
                      </a:lnTo>
                      <a:lnTo>
                        <a:pt x="36" y="58"/>
                      </a:lnTo>
                      <a:lnTo>
                        <a:pt x="34" y="58"/>
                      </a:lnTo>
                      <a:lnTo>
                        <a:pt x="34" y="60"/>
                      </a:lnTo>
                      <a:lnTo>
                        <a:pt x="34" y="62"/>
                      </a:lnTo>
                      <a:lnTo>
                        <a:pt x="34" y="64"/>
                      </a:lnTo>
                      <a:lnTo>
                        <a:pt x="32" y="66"/>
                      </a:lnTo>
                      <a:lnTo>
                        <a:pt x="32" y="68"/>
                      </a:lnTo>
                      <a:lnTo>
                        <a:pt x="32" y="70"/>
                      </a:lnTo>
                      <a:lnTo>
                        <a:pt x="32" y="72"/>
                      </a:lnTo>
                      <a:lnTo>
                        <a:pt x="32" y="74"/>
                      </a:lnTo>
                      <a:lnTo>
                        <a:pt x="32" y="76"/>
                      </a:lnTo>
                      <a:lnTo>
                        <a:pt x="32" y="78"/>
                      </a:lnTo>
                      <a:lnTo>
                        <a:pt x="30" y="80"/>
                      </a:lnTo>
                      <a:lnTo>
                        <a:pt x="28" y="80"/>
                      </a:lnTo>
                      <a:lnTo>
                        <a:pt x="28" y="78"/>
                      </a:lnTo>
                      <a:lnTo>
                        <a:pt x="26" y="78"/>
                      </a:lnTo>
                      <a:lnTo>
                        <a:pt x="26" y="76"/>
                      </a:lnTo>
                      <a:lnTo>
                        <a:pt x="24" y="76"/>
                      </a:lnTo>
                      <a:lnTo>
                        <a:pt x="24" y="78"/>
                      </a:lnTo>
                      <a:lnTo>
                        <a:pt x="22" y="80"/>
                      </a:lnTo>
                      <a:lnTo>
                        <a:pt x="22" y="84"/>
                      </a:lnTo>
                      <a:lnTo>
                        <a:pt x="22" y="86"/>
                      </a:lnTo>
                      <a:lnTo>
                        <a:pt x="22" y="88"/>
                      </a:lnTo>
                      <a:lnTo>
                        <a:pt x="24" y="90"/>
                      </a:lnTo>
                      <a:lnTo>
                        <a:pt x="24" y="92"/>
                      </a:lnTo>
                      <a:lnTo>
                        <a:pt x="22" y="92"/>
                      </a:lnTo>
                      <a:lnTo>
                        <a:pt x="20" y="94"/>
                      </a:lnTo>
                      <a:lnTo>
                        <a:pt x="18" y="96"/>
                      </a:lnTo>
                      <a:lnTo>
                        <a:pt x="18" y="98"/>
                      </a:lnTo>
                      <a:lnTo>
                        <a:pt x="16" y="100"/>
                      </a:lnTo>
                      <a:lnTo>
                        <a:pt x="18" y="102"/>
                      </a:lnTo>
                      <a:lnTo>
                        <a:pt x="18" y="104"/>
                      </a:lnTo>
                      <a:lnTo>
                        <a:pt x="18" y="106"/>
                      </a:lnTo>
                      <a:lnTo>
                        <a:pt x="18" y="108"/>
                      </a:lnTo>
                      <a:lnTo>
                        <a:pt x="20" y="108"/>
                      </a:lnTo>
                      <a:lnTo>
                        <a:pt x="20" y="110"/>
                      </a:lnTo>
                      <a:lnTo>
                        <a:pt x="20" y="112"/>
                      </a:lnTo>
                      <a:lnTo>
                        <a:pt x="20" y="114"/>
                      </a:lnTo>
                      <a:lnTo>
                        <a:pt x="20" y="116"/>
                      </a:lnTo>
                      <a:lnTo>
                        <a:pt x="18" y="118"/>
                      </a:lnTo>
                      <a:lnTo>
                        <a:pt x="18" y="120"/>
                      </a:lnTo>
                      <a:lnTo>
                        <a:pt x="18" y="122"/>
                      </a:lnTo>
                      <a:lnTo>
                        <a:pt x="16" y="124"/>
                      </a:lnTo>
                      <a:lnTo>
                        <a:pt x="14" y="124"/>
                      </a:lnTo>
                      <a:lnTo>
                        <a:pt x="12" y="126"/>
                      </a:lnTo>
                      <a:lnTo>
                        <a:pt x="12" y="124"/>
                      </a:lnTo>
                      <a:lnTo>
                        <a:pt x="10" y="124"/>
                      </a:lnTo>
                      <a:lnTo>
                        <a:pt x="8" y="124"/>
                      </a:lnTo>
                      <a:lnTo>
                        <a:pt x="6" y="124"/>
                      </a:lnTo>
                      <a:lnTo>
                        <a:pt x="4" y="124"/>
                      </a:lnTo>
                      <a:lnTo>
                        <a:pt x="4" y="126"/>
                      </a:lnTo>
                      <a:lnTo>
                        <a:pt x="4" y="128"/>
                      </a:lnTo>
                      <a:lnTo>
                        <a:pt x="4" y="130"/>
                      </a:lnTo>
                      <a:lnTo>
                        <a:pt x="2" y="130"/>
                      </a:lnTo>
                      <a:lnTo>
                        <a:pt x="2" y="132"/>
                      </a:lnTo>
                      <a:lnTo>
                        <a:pt x="2" y="134"/>
                      </a:lnTo>
                      <a:lnTo>
                        <a:pt x="0" y="136"/>
                      </a:lnTo>
                      <a:lnTo>
                        <a:pt x="2" y="136"/>
                      </a:lnTo>
                      <a:lnTo>
                        <a:pt x="2" y="138"/>
                      </a:lnTo>
                      <a:lnTo>
                        <a:pt x="4" y="138"/>
                      </a:lnTo>
                      <a:lnTo>
                        <a:pt x="4" y="136"/>
                      </a:lnTo>
                      <a:lnTo>
                        <a:pt x="8" y="136"/>
                      </a:lnTo>
                      <a:lnTo>
                        <a:pt x="10" y="136"/>
                      </a:lnTo>
                      <a:lnTo>
                        <a:pt x="10" y="138"/>
                      </a:lnTo>
                      <a:lnTo>
                        <a:pt x="12" y="138"/>
                      </a:lnTo>
                      <a:lnTo>
                        <a:pt x="12" y="140"/>
                      </a:lnTo>
                      <a:lnTo>
                        <a:pt x="16" y="142"/>
                      </a:lnTo>
                      <a:lnTo>
                        <a:pt x="18" y="142"/>
                      </a:lnTo>
                      <a:lnTo>
                        <a:pt x="18" y="144"/>
                      </a:lnTo>
                      <a:lnTo>
                        <a:pt x="20" y="144"/>
                      </a:lnTo>
                      <a:lnTo>
                        <a:pt x="20" y="146"/>
                      </a:lnTo>
                      <a:lnTo>
                        <a:pt x="20" y="148"/>
                      </a:lnTo>
                      <a:lnTo>
                        <a:pt x="20" y="150"/>
                      </a:lnTo>
                      <a:lnTo>
                        <a:pt x="20" y="152"/>
                      </a:lnTo>
                      <a:lnTo>
                        <a:pt x="22" y="15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5" name="Freeform 61">
                  <a:extLst>
                    <a:ext uri="{FF2B5EF4-FFF2-40B4-BE49-F238E27FC236}">
                      <a16:creationId xmlns:a16="http://schemas.microsoft.com/office/drawing/2014/main" id="{42C2167F-E059-4304-8225-D18AE9226082}"/>
                    </a:ext>
                  </a:extLst>
                </p:cNvPr>
                <p:cNvSpPr>
                  <a:spLocks noChangeAspect="1"/>
                </p:cNvSpPr>
                <p:nvPr/>
              </p:nvSpPr>
              <p:spPr bwMode="auto">
                <a:xfrm>
                  <a:off x="5077014" y="3193512"/>
                  <a:ext cx="312428" cy="338329"/>
                </a:xfrm>
                <a:custGeom>
                  <a:avLst/>
                  <a:gdLst/>
                  <a:ahLst/>
                  <a:cxnLst>
                    <a:cxn ang="0">
                      <a:pos x="2" y="12"/>
                    </a:cxn>
                    <a:cxn ang="0">
                      <a:pos x="6" y="20"/>
                    </a:cxn>
                    <a:cxn ang="0">
                      <a:pos x="0" y="28"/>
                    </a:cxn>
                    <a:cxn ang="0">
                      <a:pos x="8" y="42"/>
                    </a:cxn>
                    <a:cxn ang="0">
                      <a:pos x="8" y="62"/>
                    </a:cxn>
                    <a:cxn ang="0">
                      <a:pos x="10" y="116"/>
                    </a:cxn>
                    <a:cxn ang="0">
                      <a:pos x="12" y="168"/>
                    </a:cxn>
                    <a:cxn ang="0">
                      <a:pos x="12" y="186"/>
                    </a:cxn>
                    <a:cxn ang="0">
                      <a:pos x="66" y="186"/>
                    </a:cxn>
                    <a:cxn ang="0">
                      <a:pos x="96" y="188"/>
                    </a:cxn>
                    <a:cxn ang="0">
                      <a:pos x="110" y="188"/>
                    </a:cxn>
                    <a:cxn ang="0">
                      <a:pos x="114" y="186"/>
                    </a:cxn>
                    <a:cxn ang="0">
                      <a:pos x="120" y="184"/>
                    </a:cxn>
                    <a:cxn ang="0">
                      <a:pos x="136" y="186"/>
                    </a:cxn>
                    <a:cxn ang="0">
                      <a:pos x="146" y="186"/>
                    </a:cxn>
                    <a:cxn ang="0">
                      <a:pos x="150" y="190"/>
                    </a:cxn>
                    <a:cxn ang="0">
                      <a:pos x="160" y="190"/>
                    </a:cxn>
                    <a:cxn ang="0">
                      <a:pos x="166" y="182"/>
                    </a:cxn>
                    <a:cxn ang="0">
                      <a:pos x="174" y="178"/>
                    </a:cxn>
                    <a:cxn ang="0">
                      <a:pos x="178" y="170"/>
                    </a:cxn>
                    <a:cxn ang="0">
                      <a:pos x="184" y="168"/>
                    </a:cxn>
                    <a:cxn ang="0">
                      <a:pos x="186" y="162"/>
                    </a:cxn>
                    <a:cxn ang="0">
                      <a:pos x="186" y="150"/>
                    </a:cxn>
                    <a:cxn ang="0">
                      <a:pos x="190" y="148"/>
                    </a:cxn>
                    <a:cxn ang="0">
                      <a:pos x="180" y="140"/>
                    </a:cxn>
                    <a:cxn ang="0">
                      <a:pos x="170" y="118"/>
                    </a:cxn>
                    <a:cxn ang="0">
                      <a:pos x="162" y="106"/>
                    </a:cxn>
                    <a:cxn ang="0">
                      <a:pos x="158" y="92"/>
                    </a:cxn>
                    <a:cxn ang="0">
                      <a:pos x="150" y="80"/>
                    </a:cxn>
                    <a:cxn ang="0">
                      <a:pos x="148" y="76"/>
                    </a:cxn>
                    <a:cxn ang="0">
                      <a:pos x="138" y="62"/>
                    </a:cxn>
                    <a:cxn ang="0">
                      <a:pos x="132" y="52"/>
                    </a:cxn>
                    <a:cxn ang="0">
                      <a:pos x="132" y="48"/>
                    </a:cxn>
                    <a:cxn ang="0">
                      <a:pos x="126" y="40"/>
                    </a:cxn>
                    <a:cxn ang="0">
                      <a:pos x="130" y="36"/>
                    </a:cxn>
                    <a:cxn ang="0">
                      <a:pos x="134" y="38"/>
                    </a:cxn>
                    <a:cxn ang="0">
                      <a:pos x="136" y="46"/>
                    </a:cxn>
                    <a:cxn ang="0">
                      <a:pos x="142" y="54"/>
                    </a:cxn>
                    <a:cxn ang="0">
                      <a:pos x="142" y="58"/>
                    </a:cxn>
                    <a:cxn ang="0">
                      <a:pos x="152" y="72"/>
                    </a:cxn>
                    <a:cxn ang="0">
                      <a:pos x="162" y="70"/>
                    </a:cxn>
                    <a:cxn ang="0">
                      <a:pos x="160" y="66"/>
                    </a:cxn>
                    <a:cxn ang="0">
                      <a:pos x="166" y="50"/>
                    </a:cxn>
                    <a:cxn ang="0">
                      <a:pos x="168" y="40"/>
                    </a:cxn>
                    <a:cxn ang="0">
                      <a:pos x="158" y="12"/>
                    </a:cxn>
                    <a:cxn ang="0">
                      <a:pos x="156" y="6"/>
                    </a:cxn>
                    <a:cxn ang="0">
                      <a:pos x="146" y="10"/>
                    </a:cxn>
                    <a:cxn ang="0">
                      <a:pos x="134" y="8"/>
                    </a:cxn>
                    <a:cxn ang="0">
                      <a:pos x="128" y="10"/>
                    </a:cxn>
                    <a:cxn ang="0">
                      <a:pos x="120" y="4"/>
                    </a:cxn>
                    <a:cxn ang="0">
                      <a:pos x="108" y="2"/>
                    </a:cxn>
                    <a:cxn ang="0">
                      <a:pos x="102" y="4"/>
                    </a:cxn>
                    <a:cxn ang="0">
                      <a:pos x="88" y="8"/>
                    </a:cxn>
                    <a:cxn ang="0">
                      <a:pos x="84" y="10"/>
                    </a:cxn>
                    <a:cxn ang="0">
                      <a:pos x="76" y="14"/>
                    </a:cxn>
                    <a:cxn ang="0">
                      <a:pos x="70" y="14"/>
                    </a:cxn>
                    <a:cxn ang="0">
                      <a:pos x="56" y="10"/>
                    </a:cxn>
                    <a:cxn ang="0">
                      <a:pos x="42" y="4"/>
                    </a:cxn>
                    <a:cxn ang="0">
                      <a:pos x="32" y="4"/>
                    </a:cxn>
                    <a:cxn ang="0">
                      <a:pos x="22" y="0"/>
                    </a:cxn>
                    <a:cxn ang="0">
                      <a:pos x="12" y="2"/>
                    </a:cxn>
                    <a:cxn ang="0">
                      <a:pos x="4" y="4"/>
                    </a:cxn>
                  </a:cxnLst>
                  <a:rect l="0" t="0" r="r" b="b"/>
                  <a:pathLst>
                    <a:path w="190" h="194">
                      <a:moveTo>
                        <a:pt x="4" y="4"/>
                      </a:moveTo>
                      <a:lnTo>
                        <a:pt x="4" y="4"/>
                      </a:lnTo>
                      <a:lnTo>
                        <a:pt x="2" y="6"/>
                      </a:lnTo>
                      <a:lnTo>
                        <a:pt x="2" y="8"/>
                      </a:lnTo>
                      <a:lnTo>
                        <a:pt x="2" y="10"/>
                      </a:lnTo>
                      <a:lnTo>
                        <a:pt x="2" y="12"/>
                      </a:lnTo>
                      <a:lnTo>
                        <a:pt x="4" y="14"/>
                      </a:lnTo>
                      <a:lnTo>
                        <a:pt x="6" y="16"/>
                      </a:lnTo>
                      <a:lnTo>
                        <a:pt x="6" y="18"/>
                      </a:lnTo>
                      <a:lnTo>
                        <a:pt x="6" y="20"/>
                      </a:lnTo>
                      <a:lnTo>
                        <a:pt x="4" y="22"/>
                      </a:lnTo>
                      <a:lnTo>
                        <a:pt x="2" y="24"/>
                      </a:lnTo>
                      <a:lnTo>
                        <a:pt x="2" y="26"/>
                      </a:lnTo>
                      <a:lnTo>
                        <a:pt x="0" y="26"/>
                      </a:lnTo>
                      <a:lnTo>
                        <a:pt x="0" y="28"/>
                      </a:lnTo>
                      <a:lnTo>
                        <a:pt x="2" y="30"/>
                      </a:lnTo>
                      <a:lnTo>
                        <a:pt x="2" y="32"/>
                      </a:lnTo>
                      <a:lnTo>
                        <a:pt x="4" y="36"/>
                      </a:lnTo>
                      <a:lnTo>
                        <a:pt x="6" y="38"/>
                      </a:lnTo>
                      <a:lnTo>
                        <a:pt x="6" y="40"/>
                      </a:lnTo>
                      <a:lnTo>
                        <a:pt x="8" y="42"/>
                      </a:lnTo>
                      <a:lnTo>
                        <a:pt x="8" y="44"/>
                      </a:lnTo>
                      <a:lnTo>
                        <a:pt x="8" y="46"/>
                      </a:lnTo>
                      <a:lnTo>
                        <a:pt x="8" y="48"/>
                      </a:lnTo>
                      <a:lnTo>
                        <a:pt x="8" y="50"/>
                      </a:lnTo>
                      <a:lnTo>
                        <a:pt x="8" y="54"/>
                      </a:lnTo>
                      <a:lnTo>
                        <a:pt x="8" y="58"/>
                      </a:lnTo>
                      <a:lnTo>
                        <a:pt x="8" y="62"/>
                      </a:lnTo>
                      <a:lnTo>
                        <a:pt x="8" y="68"/>
                      </a:lnTo>
                      <a:lnTo>
                        <a:pt x="8" y="72"/>
                      </a:lnTo>
                      <a:lnTo>
                        <a:pt x="8" y="78"/>
                      </a:lnTo>
                      <a:lnTo>
                        <a:pt x="8" y="84"/>
                      </a:lnTo>
                      <a:lnTo>
                        <a:pt x="10" y="90"/>
                      </a:lnTo>
                      <a:lnTo>
                        <a:pt x="10" y="102"/>
                      </a:lnTo>
                      <a:lnTo>
                        <a:pt x="10" y="116"/>
                      </a:lnTo>
                      <a:lnTo>
                        <a:pt x="10" y="128"/>
                      </a:lnTo>
                      <a:lnTo>
                        <a:pt x="10" y="142"/>
                      </a:lnTo>
                      <a:lnTo>
                        <a:pt x="12" y="148"/>
                      </a:lnTo>
                      <a:lnTo>
                        <a:pt x="12" y="154"/>
                      </a:lnTo>
                      <a:lnTo>
                        <a:pt x="12" y="158"/>
                      </a:lnTo>
                      <a:lnTo>
                        <a:pt x="12" y="164"/>
                      </a:lnTo>
                      <a:lnTo>
                        <a:pt x="12" y="168"/>
                      </a:lnTo>
                      <a:lnTo>
                        <a:pt x="12" y="172"/>
                      </a:lnTo>
                      <a:lnTo>
                        <a:pt x="12" y="176"/>
                      </a:lnTo>
                      <a:lnTo>
                        <a:pt x="12" y="180"/>
                      </a:lnTo>
                      <a:lnTo>
                        <a:pt x="12" y="182"/>
                      </a:lnTo>
                      <a:lnTo>
                        <a:pt x="12" y="184"/>
                      </a:lnTo>
                      <a:lnTo>
                        <a:pt x="12" y="186"/>
                      </a:lnTo>
                      <a:lnTo>
                        <a:pt x="22" y="186"/>
                      </a:lnTo>
                      <a:lnTo>
                        <a:pt x="30" y="186"/>
                      </a:lnTo>
                      <a:lnTo>
                        <a:pt x="38" y="186"/>
                      </a:lnTo>
                      <a:lnTo>
                        <a:pt x="46" y="186"/>
                      </a:lnTo>
                      <a:lnTo>
                        <a:pt x="54" y="186"/>
                      </a:lnTo>
                      <a:lnTo>
                        <a:pt x="60" y="186"/>
                      </a:lnTo>
                      <a:lnTo>
                        <a:pt x="66" y="186"/>
                      </a:lnTo>
                      <a:lnTo>
                        <a:pt x="72" y="186"/>
                      </a:lnTo>
                      <a:lnTo>
                        <a:pt x="76" y="186"/>
                      </a:lnTo>
                      <a:lnTo>
                        <a:pt x="82" y="186"/>
                      </a:lnTo>
                      <a:lnTo>
                        <a:pt x="84" y="186"/>
                      </a:lnTo>
                      <a:lnTo>
                        <a:pt x="90" y="186"/>
                      </a:lnTo>
                      <a:lnTo>
                        <a:pt x="92" y="186"/>
                      </a:lnTo>
                      <a:lnTo>
                        <a:pt x="96" y="188"/>
                      </a:lnTo>
                      <a:lnTo>
                        <a:pt x="100" y="188"/>
                      </a:lnTo>
                      <a:lnTo>
                        <a:pt x="102" y="188"/>
                      </a:lnTo>
                      <a:lnTo>
                        <a:pt x="104" y="188"/>
                      </a:lnTo>
                      <a:lnTo>
                        <a:pt x="106" y="188"/>
                      </a:lnTo>
                      <a:lnTo>
                        <a:pt x="108" y="188"/>
                      </a:lnTo>
                      <a:lnTo>
                        <a:pt x="110" y="188"/>
                      </a:lnTo>
                      <a:lnTo>
                        <a:pt x="112" y="188"/>
                      </a:lnTo>
                      <a:lnTo>
                        <a:pt x="114" y="188"/>
                      </a:lnTo>
                      <a:lnTo>
                        <a:pt x="114" y="186"/>
                      </a:lnTo>
                      <a:lnTo>
                        <a:pt x="116" y="184"/>
                      </a:lnTo>
                      <a:lnTo>
                        <a:pt x="118" y="182"/>
                      </a:lnTo>
                      <a:lnTo>
                        <a:pt x="120" y="184"/>
                      </a:lnTo>
                      <a:lnTo>
                        <a:pt x="120" y="186"/>
                      </a:lnTo>
                      <a:lnTo>
                        <a:pt x="124" y="186"/>
                      </a:lnTo>
                      <a:lnTo>
                        <a:pt x="130" y="186"/>
                      </a:lnTo>
                      <a:lnTo>
                        <a:pt x="132" y="186"/>
                      </a:lnTo>
                      <a:lnTo>
                        <a:pt x="136" y="186"/>
                      </a:lnTo>
                      <a:lnTo>
                        <a:pt x="138" y="186"/>
                      </a:lnTo>
                      <a:lnTo>
                        <a:pt x="140" y="186"/>
                      </a:lnTo>
                      <a:lnTo>
                        <a:pt x="142" y="186"/>
                      </a:lnTo>
                      <a:lnTo>
                        <a:pt x="144" y="186"/>
                      </a:lnTo>
                      <a:lnTo>
                        <a:pt x="146" y="186"/>
                      </a:lnTo>
                      <a:lnTo>
                        <a:pt x="148" y="186"/>
                      </a:lnTo>
                      <a:lnTo>
                        <a:pt x="148" y="188"/>
                      </a:lnTo>
                      <a:lnTo>
                        <a:pt x="150" y="190"/>
                      </a:lnTo>
                      <a:lnTo>
                        <a:pt x="152" y="192"/>
                      </a:lnTo>
                      <a:lnTo>
                        <a:pt x="154" y="192"/>
                      </a:lnTo>
                      <a:lnTo>
                        <a:pt x="156" y="194"/>
                      </a:lnTo>
                      <a:lnTo>
                        <a:pt x="156" y="192"/>
                      </a:lnTo>
                      <a:lnTo>
                        <a:pt x="158" y="192"/>
                      </a:lnTo>
                      <a:lnTo>
                        <a:pt x="160" y="190"/>
                      </a:lnTo>
                      <a:lnTo>
                        <a:pt x="160" y="188"/>
                      </a:lnTo>
                      <a:lnTo>
                        <a:pt x="162" y="186"/>
                      </a:lnTo>
                      <a:lnTo>
                        <a:pt x="162" y="184"/>
                      </a:lnTo>
                      <a:lnTo>
                        <a:pt x="164" y="182"/>
                      </a:lnTo>
                      <a:lnTo>
                        <a:pt x="166" y="182"/>
                      </a:lnTo>
                      <a:lnTo>
                        <a:pt x="168" y="182"/>
                      </a:lnTo>
                      <a:lnTo>
                        <a:pt x="170" y="182"/>
                      </a:lnTo>
                      <a:lnTo>
                        <a:pt x="172" y="182"/>
                      </a:lnTo>
                      <a:lnTo>
                        <a:pt x="172" y="180"/>
                      </a:lnTo>
                      <a:lnTo>
                        <a:pt x="174" y="180"/>
                      </a:lnTo>
                      <a:lnTo>
                        <a:pt x="174" y="178"/>
                      </a:lnTo>
                      <a:lnTo>
                        <a:pt x="176" y="178"/>
                      </a:lnTo>
                      <a:lnTo>
                        <a:pt x="176" y="176"/>
                      </a:lnTo>
                      <a:lnTo>
                        <a:pt x="176" y="174"/>
                      </a:lnTo>
                      <a:lnTo>
                        <a:pt x="176" y="172"/>
                      </a:lnTo>
                      <a:lnTo>
                        <a:pt x="176" y="170"/>
                      </a:lnTo>
                      <a:lnTo>
                        <a:pt x="178" y="170"/>
                      </a:lnTo>
                      <a:lnTo>
                        <a:pt x="180" y="170"/>
                      </a:lnTo>
                      <a:lnTo>
                        <a:pt x="182" y="170"/>
                      </a:lnTo>
                      <a:lnTo>
                        <a:pt x="184" y="168"/>
                      </a:lnTo>
                      <a:lnTo>
                        <a:pt x="186" y="168"/>
                      </a:lnTo>
                      <a:lnTo>
                        <a:pt x="188" y="166"/>
                      </a:lnTo>
                      <a:lnTo>
                        <a:pt x="186" y="162"/>
                      </a:lnTo>
                      <a:lnTo>
                        <a:pt x="186" y="160"/>
                      </a:lnTo>
                      <a:lnTo>
                        <a:pt x="186" y="156"/>
                      </a:lnTo>
                      <a:lnTo>
                        <a:pt x="186" y="154"/>
                      </a:lnTo>
                      <a:lnTo>
                        <a:pt x="186" y="152"/>
                      </a:lnTo>
                      <a:lnTo>
                        <a:pt x="186" y="150"/>
                      </a:lnTo>
                      <a:lnTo>
                        <a:pt x="186" y="148"/>
                      </a:lnTo>
                      <a:lnTo>
                        <a:pt x="188" y="148"/>
                      </a:lnTo>
                      <a:lnTo>
                        <a:pt x="190" y="148"/>
                      </a:lnTo>
                      <a:lnTo>
                        <a:pt x="188" y="148"/>
                      </a:lnTo>
                      <a:lnTo>
                        <a:pt x="186" y="146"/>
                      </a:lnTo>
                      <a:lnTo>
                        <a:pt x="184" y="144"/>
                      </a:lnTo>
                      <a:lnTo>
                        <a:pt x="182" y="142"/>
                      </a:lnTo>
                      <a:lnTo>
                        <a:pt x="180" y="140"/>
                      </a:lnTo>
                      <a:lnTo>
                        <a:pt x="178" y="136"/>
                      </a:lnTo>
                      <a:lnTo>
                        <a:pt x="176" y="132"/>
                      </a:lnTo>
                      <a:lnTo>
                        <a:pt x="174" y="128"/>
                      </a:lnTo>
                      <a:lnTo>
                        <a:pt x="172" y="126"/>
                      </a:lnTo>
                      <a:lnTo>
                        <a:pt x="172" y="122"/>
                      </a:lnTo>
                      <a:lnTo>
                        <a:pt x="172" y="120"/>
                      </a:lnTo>
                      <a:lnTo>
                        <a:pt x="170" y="118"/>
                      </a:lnTo>
                      <a:lnTo>
                        <a:pt x="170" y="116"/>
                      </a:lnTo>
                      <a:lnTo>
                        <a:pt x="168" y="114"/>
                      </a:lnTo>
                      <a:lnTo>
                        <a:pt x="168" y="112"/>
                      </a:lnTo>
                      <a:lnTo>
                        <a:pt x="166" y="112"/>
                      </a:lnTo>
                      <a:lnTo>
                        <a:pt x="166" y="110"/>
                      </a:lnTo>
                      <a:lnTo>
                        <a:pt x="164" y="108"/>
                      </a:lnTo>
                      <a:lnTo>
                        <a:pt x="162" y="106"/>
                      </a:lnTo>
                      <a:lnTo>
                        <a:pt x="162" y="104"/>
                      </a:lnTo>
                      <a:lnTo>
                        <a:pt x="160" y="102"/>
                      </a:lnTo>
                      <a:lnTo>
                        <a:pt x="160" y="100"/>
                      </a:lnTo>
                      <a:lnTo>
                        <a:pt x="158" y="98"/>
                      </a:lnTo>
                      <a:lnTo>
                        <a:pt x="158" y="96"/>
                      </a:lnTo>
                      <a:lnTo>
                        <a:pt x="158" y="94"/>
                      </a:lnTo>
                      <a:lnTo>
                        <a:pt x="158" y="92"/>
                      </a:lnTo>
                      <a:lnTo>
                        <a:pt x="158" y="90"/>
                      </a:lnTo>
                      <a:lnTo>
                        <a:pt x="154" y="86"/>
                      </a:lnTo>
                      <a:lnTo>
                        <a:pt x="152" y="84"/>
                      </a:lnTo>
                      <a:lnTo>
                        <a:pt x="150" y="82"/>
                      </a:lnTo>
                      <a:lnTo>
                        <a:pt x="150" y="80"/>
                      </a:lnTo>
                      <a:lnTo>
                        <a:pt x="148" y="80"/>
                      </a:lnTo>
                      <a:lnTo>
                        <a:pt x="148" y="78"/>
                      </a:lnTo>
                      <a:lnTo>
                        <a:pt x="148" y="76"/>
                      </a:lnTo>
                      <a:lnTo>
                        <a:pt x="148" y="74"/>
                      </a:lnTo>
                      <a:lnTo>
                        <a:pt x="148" y="72"/>
                      </a:lnTo>
                      <a:lnTo>
                        <a:pt x="146" y="72"/>
                      </a:lnTo>
                      <a:lnTo>
                        <a:pt x="144" y="70"/>
                      </a:lnTo>
                      <a:lnTo>
                        <a:pt x="142" y="68"/>
                      </a:lnTo>
                      <a:lnTo>
                        <a:pt x="140" y="64"/>
                      </a:lnTo>
                      <a:lnTo>
                        <a:pt x="138" y="62"/>
                      </a:lnTo>
                      <a:lnTo>
                        <a:pt x="136" y="60"/>
                      </a:lnTo>
                      <a:lnTo>
                        <a:pt x="136" y="58"/>
                      </a:lnTo>
                      <a:lnTo>
                        <a:pt x="134" y="58"/>
                      </a:lnTo>
                      <a:lnTo>
                        <a:pt x="134" y="56"/>
                      </a:lnTo>
                      <a:lnTo>
                        <a:pt x="132" y="54"/>
                      </a:lnTo>
                      <a:lnTo>
                        <a:pt x="132" y="52"/>
                      </a:lnTo>
                      <a:lnTo>
                        <a:pt x="132" y="50"/>
                      </a:lnTo>
                      <a:lnTo>
                        <a:pt x="132" y="48"/>
                      </a:lnTo>
                      <a:lnTo>
                        <a:pt x="132" y="46"/>
                      </a:lnTo>
                      <a:lnTo>
                        <a:pt x="130" y="44"/>
                      </a:lnTo>
                      <a:lnTo>
                        <a:pt x="130" y="42"/>
                      </a:lnTo>
                      <a:lnTo>
                        <a:pt x="128" y="42"/>
                      </a:lnTo>
                      <a:lnTo>
                        <a:pt x="126" y="40"/>
                      </a:lnTo>
                      <a:lnTo>
                        <a:pt x="126" y="38"/>
                      </a:lnTo>
                      <a:lnTo>
                        <a:pt x="128" y="38"/>
                      </a:lnTo>
                      <a:lnTo>
                        <a:pt x="128" y="36"/>
                      </a:lnTo>
                      <a:lnTo>
                        <a:pt x="130" y="36"/>
                      </a:lnTo>
                      <a:lnTo>
                        <a:pt x="132" y="36"/>
                      </a:lnTo>
                      <a:lnTo>
                        <a:pt x="132" y="38"/>
                      </a:lnTo>
                      <a:lnTo>
                        <a:pt x="134" y="38"/>
                      </a:lnTo>
                      <a:lnTo>
                        <a:pt x="134" y="40"/>
                      </a:lnTo>
                      <a:lnTo>
                        <a:pt x="134" y="42"/>
                      </a:lnTo>
                      <a:lnTo>
                        <a:pt x="134" y="44"/>
                      </a:lnTo>
                      <a:lnTo>
                        <a:pt x="134" y="46"/>
                      </a:lnTo>
                      <a:lnTo>
                        <a:pt x="136" y="46"/>
                      </a:lnTo>
                      <a:lnTo>
                        <a:pt x="138" y="48"/>
                      </a:lnTo>
                      <a:lnTo>
                        <a:pt x="140" y="50"/>
                      </a:lnTo>
                      <a:lnTo>
                        <a:pt x="142" y="52"/>
                      </a:lnTo>
                      <a:lnTo>
                        <a:pt x="142" y="54"/>
                      </a:lnTo>
                      <a:lnTo>
                        <a:pt x="140" y="56"/>
                      </a:lnTo>
                      <a:lnTo>
                        <a:pt x="140" y="58"/>
                      </a:lnTo>
                      <a:lnTo>
                        <a:pt x="142" y="58"/>
                      </a:lnTo>
                      <a:lnTo>
                        <a:pt x="142" y="60"/>
                      </a:lnTo>
                      <a:lnTo>
                        <a:pt x="144" y="64"/>
                      </a:lnTo>
                      <a:lnTo>
                        <a:pt x="148" y="68"/>
                      </a:lnTo>
                      <a:lnTo>
                        <a:pt x="150" y="70"/>
                      </a:lnTo>
                      <a:lnTo>
                        <a:pt x="152" y="72"/>
                      </a:lnTo>
                      <a:lnTo>
                        <a:pt x="154" y="72"/>
                      </a:lnTo>
                      <a:lnTo>
                        <a:pt x="156" y="74"/>
                      </a:lnTo>
                      <a:lnTo>
                        <a:pt x="160" y="72"/>
                      </a:lnTo>
                      <a:lnTo>
                        <a:pt x="162" y="72"/>
                      </a:lnTo>
                      <a:lnTo>
                        <a:pt x="162" y="70"/>
                      </a:lnTo>
                      <a:lnTo>
                        <a:pt x="164" y="70"/>
                      </a:lnTo>
                      <a:lnTo>
                        <a:pt x="162" y="68"/>
                      </a:lnTo>
                      <a:lnTo>
                        <a:pt x="162" y="66"/>
                      </a:lnTo>
                      <a:lnTo>
                        <a:pt x="160" y="66"/>
                      </a:lnTo>
                      <a:lnTo>
                        <a:pt x="162" y="64"/>
                      </a:lnTo>
                      <a:lnTo>
                        <a:pt x="162" y="62"/>
                      </a:lnTo>
                      <a:lnTo>
                        <a:pt x="162" y="60"/>
                      </a:lnTo>
                      <a:lnTo>
                        <a:pt x="164" y="56"/>
                      </a:lnTo>
                      <a:lnTo>
                        <a:pt x="166" y="52"/>
                      </a:lnTo>
                      <a:lnTo>
                        <a:pt x="166" y="50"/>
                      </a:lnTo>
                      <a:lnTo>
                        <a:pt x="166" y="48"/>
                      </a:lnTo>
                      <a:lnTo>
                        <a:pt x="166" y="44"/>
                      </a:lnTo>
                      <a:lnTo>
                        <a:pt x="168" y="42"/>
                      </a:lnTo>
                      <a:lnTo>
                        <a:pt x="168" y="40"/>
                      </a:lnTo>
                      <a:lnTo>
                        <a:pt x="166" y="34"/>
                      </a:lnTo>
                      <a:lnTo>
                        <a:pt x="164" y="28"/>
                      </a:lnTo>
                      <a:lnTo>
                        <a:pt x="162" y="24"/>
                      </a:lnTo>
                      <a:lnTo>
                        <a:pt x="160" y="20"/>
                      </a:lnTo>
                      <a:lnTo>
                        <a:pt x="160" y="18"/>
                      </a:lnTo>
                      <a:lnTo>
                        <a:pt x="158" y="14"/>
                      </a:lnTo>
                      <a:lnTo>
                        <a:pt x="158" y="12"/>
                      </a:lnTo>
                      <a:lnTo>
                        <a:pt x="156" y="10"/>
                      </a:lnTo>
                      <a:lnTo>
                        <a:pt x="156" y="8"/>
                      </a:lnTo>
                      <a:lnTo>
                        <a:pt x="156" y="6"/>
                      </a:lnTo>
                      <a:lnTo>
                        <a:pt x="154" y="6"/>
                      </a:lnTo>
                      <a:lnTo>
                        <a:pt x="154" y="8"/>
                      </a:lnTo>
                      <a:lnTo>
                        <a:pt x="152" y="8"/>
                      </a:lnTo>
                      <a:lnTo>
                        <a:pt x="148" y="8"/>
                      </a:lnTo>
                      <a:lnTo>
                        <a:pt x="146" y="10"/>
                      </a:lnTo>
                      <a:lnTo>
                        <a:pt x="142" y="10"/>
                      </a:lnTo>
                      <a:lnTo>
                        <a:pt x="140" y="10"/>
                      </a:lnTo>
                      <a:lnTo>
                        <a:pt x="138" y="10"/>
                      </a:lnTo>
                      <a:lnTo>
                        <a:pt x="136" y="10"/>
                      </a:lnTo>
                      <a:lnTo>
                        <a:pt x="134" y="8"/>
                      </a:lnTo>
                      <a:lnTo>
                        <a:pt x="132" y="8"/>
                      </a:lnTo>
                      <a:lnTo>
                        <a:pt x="132" y="10"/>
                      </a:lnTo>
                      <a:lnTo>
                        <a:pt x="130" y="10"/>
                      </a:lnTo>
                      <a:lnTo>
                        <a:pt x="128" y="10"/>
                      </a:lnTo>
                      <a:lnTo>
                        <a:pt x="126" y="8"/>
                      </a:lnTo>
                      <a:lnTo>
                        <a:pt x="124" y="8"/>
                      </a:lnTo>
                      <a:lnTo>
                        <a:pt x="122" y="6"/>
                      </a:lnTo>
                      <a:lnTo>
                        <a:pt x="120" y="4"/>
                      </a:lnTo>
                      <a:lnTo>
                        <a:pt x="120" y="2"/>
                      </a:lnTo>
                      <a:lnTo>
                        <a:pt x="118" y="2"/>
                      </a:lnTo>
                      <a:lnTo>
                        <a:pt x="116" y="2"/>
                      </a:lnTo>
                      <a:lnTo>
                        <a:pt x="114" y="2"/>
                      </a:lnTo>
                      <a:lnTo>
                        <a:pt x="112" y="2"/>
                      </a:lnTo>
                      <a:lnTo>
                        <a:pt x="110" y="2"/>
                      </a:lnTo>
                      <a:lnTo>
                        <a:pt x="108" y="2"/>
                      </a:lnTo>
                      <a:lnTo>
                        <a:pt x="106" y="4"/>
                      </a:lnTo>
                      <a:lnTo>
                        <a:pt x="104" y="4"/>
                      </a:lnTo>
                      <a:lnTo>
                        <a:pt x="102" y="4"/>
                      </a:lnTo>
                      <a:lnTo>
                        <a:pt x="100" y="4"/>
                      </a:lnTo>
                      <a:lnTo>
                        <a:pt x="96" y="2"/>
                      </a:lnTo>
                      <a:lnTo>
                        <a:pt x="94" y="4"/>
                      </a:lnTo>
                      <a:lnTo>
                        <a:pt x="92" y="4"/>
                      </a:lnTo>
                      <a:lnTo>
                        <a:pt x="90" y="4"/>
                      </a:lnTo>
                      <a:lnTo>
                        <a:pt x="88" y="8"/>
                      </a:lnTo>
                      <a:lnTo>
                        <a:pt x="86" y="10"/>
                      </a:lnTo>
                      <a:lnTo>
                        <a:pt x="84" y="10"/>
                      </a:lnTo>
                      <a:lnTo>
                        <a:pt x="82" y="10"/>
                      </a:lnTo>
                      <a:lnTo>
                        <a:pt x="80" y="10"/>
                      </a:lnTo>
                      <a:lnTo>
                        <a:pt x="80" y="12"/>
                      </a:lnTo>
                      <a:lnTo>
                        <a:pt x="78" y="12"/>
                      </a:lnTo>
                      <a:lnTo>
                        <a:pt x="76" y="14"/>
                      </a:lnTo>
                      <a:lnTo>
                        <a:pt x="76" y="16"/>
                      </a:lnTo>
                      <a:lnTo>
                        <a:pt x="74" y="14"/>
                      </a:lnTo>
                      <a:lnTo>
                        <a:pt x="70" y="14"/>
                      </a:lnTo>
                      <a:lnTo>
                        <a:pt x="68" y="12"/>
                      </a:lnTo>
                      <a:lnTo>
                        <a:pt x="66" y="12"/>
                      </a:lnTo>
                      <a:lnTo>
                        <a:pt x="64" y="10"/>
                      </a:lnTo>
                      <a:lnTo>
                        <a:pt x="62" y="10"/>
                      </a:lnTo>
                      <a:lnTo>
                        <a:pt x="60" y="10"/>
                      </a:lnTo>
                      <a:lnTo>
                        <a:pt x="56" y="10"/>
                      </a:lnTo>
                      <a:lnTo>
                        <a:pt x="54" y="10"/>
                      </a:lnTo>
                      <a:lnTo>
                        <a:pt x="50" y="10"/>
                      </a:lnTo>
                      <a:lnTo>
                        <a:pt x="48" y="10"/>
                      </a:lnTo>
                      <a:lnTo>
                        <a:pt x="48" y="8"/>
                      </a:lnTo>
                      <a:lnTo>
                        <a:pt x="44" y="6"/>
                      </a:lnTo>
                      <a:lnTo>
                        <a:pt x="42" y="4"/>
                      </a:lnTo>
                      <a:lnTo>
                        <a:pt x="40" y="4"/>
                      </a:lnTo>
                      <a:lnTo>
                        <a:pt x="36" y="4"/>
                      </a:lnTo>
                      <a:lnTo>
                        <a:pt x="34" y="4"/>
                      </a:lnTo>
                      <a:lnTo>
                        <a:pt x="32" y="4"/>
                      </a:lnTo>
                      <a:lnTo>
                        <a:pt x="30" y="2"/>
                      </a:lnTo>
                      <a:lnTo>
                        <a:pt x="28" y="2"/>
                      </a:lnTo>
                      <a:lnTo>
                        <a:pt x="24" y="0"/>
                      </a:lnTo>
                      <a:lnTo>
                        <a:pt x="22" y="0"/>
                      </a:lnTo>
                      <a:lnTo>
                        <a:pt x="20" y="0"/>
                      </a:lnTo>
                      <a:lnTo>
                        <a:pt x="18" y="0"/>
                      </a:lnTo>
                      <a:lnTo>
                        <a:pt x="16" y="2"/>
                      </a:lnTo>
                      <a:lnTo>
                        <a:pt x="14" y="2"/>
                      </a:lnTo>
                      <a:lnTo>
                        <a:pt x="12" y="2"/>
                      </a:lnTo>
                      <a:lnTo>
                        <a:pt x="10" y="0"/>
                      </a:lnTo>
                      <a:lnTo>
                        <a:pt x="8" y="0"/>
                      </a:lnTo>
                      <a:lnTo>
                        <a:pt x="6" y="2"/>
                      </a:lnTo>
                      <a:lnTo>
                        <a:pt x="6" y="4"/>
                      </a:lnTo>
                      <a:lnTo>
                        <a:pt x="4"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6" name="Freeform 62">
                  <a:extLst>
                    <a:ext uri="{FF2B5EF4-FFF2-40B4-BE49-F238E27FC236}">
                      <a16:creationId xmlns:a16="http://schemas.microsoft.com/office/drawing/2014/main" id="{9B0F5908-3D3D-48C4-9DF2-69574FC35373}"/>
                    </a:ext>
                  </a:extLst>
                </p:cNvPr>
                <p:cNvSpPr>
                  <a:spLocks noChangeAspect="1"/>
                </p:cNvSpPr>
                <p:nvPr/>
              </p:nvSpPr>
              <p:spPr bwMode="auto">
                <a:xfrm>
                  <a:off x="4646191" y="3817852"/>
                  <a:ext cx="213767" cy="383672"/>
                </a:xfrm>
                <a:custGeom>
                  <a:avLst/>
                  <a:gdLst/>
                  <a:ahLst/>
                  <a:cxnLst>
                    <a:cxn ang="0">
                      <a:pos x="96" y="0"/>
                    </a:cxn>
                    <a:cxn ang="0">
                      <a:pos x="94" y="8"/>
                    </a:cxn>
                    <a:cxn ang="0">
                      <a:pos x="100" y="14"/>
                    </a:cxn>
                    <a:cxn ang="0">
                      <a:pos x="102" y="24"/>
                    </a:cxn>
                    <a:cxn ang="0">
                      <a:pos x="94" y="34"/>
                    </a:cxn>
                    <a:cxn ang="0">
                      <a:pos x="88" y="42"/>
                    </a:cxn>
                    <a:cxn ang="0">
                      <a:pos x="84" y="48"/>
                    </a:cxn>
                    <a:cxn ang="0">
                      <a:pos x="82" y="56"/>
                    </a:cxn>
                    <a:cxn ang="0">
                      <a:pos x="80" y="68"/>
                    </a:cxn>
                    <a:cxn ang="0">
                      <a:pos x="74" y="72"/>
                    </a:cxn>
                    <a:cxn ang="0">
                      <a:pos x="66" y="88"/>
                    </a:cxn>
                    <a:cxn ang="0">
                      <a:pos x="62" y="100"/>
                    </a:cxn>
                    <a:cxn ang="0">
                      <a:pos x="56" y="108"/>
                    </a:cxn>
                    <a:cxn ang="0">
                      <a:pos x="52" y="118"/>
                    </a:cxn>
                    <a:cxn ang="0">
                      <a:pos x="48" y="126"/>
                    </a:cxn>
                    <a:cxn ang="0">
                      <a:pos x="42" y="122"/>
                    </a:cxn>
                    <a:cxn ang="0">
                      <a:pos x="36" y="114"/>
                    </a:cxn>
                    <a:cxn ang="0">
                      <a:pos x="34" y="118"/>
                    </a:cxn>
                    <a:cxn ang="0">
                      <a:pos x="22" y="122"/>
                    </a:cxn>
                    <a:cxn ang="0">
                      <a:pos x="10" y="136"/>
                    </a:cxn>
                    <a:cxn ang="0">
                      <a:pos x="6" y="142"/>
                    </a:cxn>
                    <a:cxn ang="0">
                      <a:pos x="4" y="158"/>
                    </a:cxn>
                    <a:cxn ang="0">
                      <a:pos x="0" y="164"/>
                    </a:cxn>
                    <a:cxn ang="0">
                      <a:pos x="8" y="164"/>
                    </a:cxn>
                    <a:cxn ang="0">
                      <a:pos x="14" y="176"/>
                    </a:cxn>
                    <a:cxn ang="0">
                      <a:pos x="20" y="176"/>
                    </a:cxn>
                    <a:cxn ang="0">
                      <a:pos x="20" y="186"/>
                    </a:cxn>
                    <a:cxn ang="0">
                      <a:pos x="26" y="188"/>
                    </a:cxn>
                    <a:cxn ang="0">
                      <a:pos x="26" y="198"/>
                    </a:cxn>
                    <a:cxn ang="0">
                      <a:pos x="22" y="206"/>
                    </a:cxn>
                    <a:cxn ang="0">
                      <a:pos x="32" y="210"/>
                    </a:cxn>
                    <a:cxn ang="0">
                      <a:pos x="48" y="210"/>
                    </a:cxn>
                    <a:cxn ang="0">
                      <a:pos x="54" y="208"/>
                    </a:cxn>
                    <a:cxn ang="0">
                      <a:pos x="62" y="210"/>
                    </a:cxn>
                    <a:cxn ang="0">
                      <a:pos x="66" y="206"/>
                    </a:cxn>
                    <a:cxn ang="0">
                      <a:pos x="80" y="208"/>
                    </a:cxn>
                    <a:cxn ang="0">
                      <a:pos x="82" y="212"/>
                    </a:cxn>
                    <a:cxn ang="0">
                      <a:pos x="98" y="210"/>
                    </a:cxn>
                    <a:cxn ang="0">
                      <a:pos x="110" y="214"/>
                    </a:cxn>
                    <a:cxn ang="0">
                      <a:pos x="122" y="214"/>
                    </a:cxn>
                    <a:cxn ang="0">
                      <a:pos x="128" y="216"/>
                    </a:cxn>
                    <a:cxn ang="0">
                      <a:pos x="130" y="208"/>
                    </a:cxn>
                    <a:cxn ang="0">
                      <a:pos x="128" y="200"/>
                    </a:cxn>
                    <a:cxn ang="0">
                      <a:pos x="126" y="194"/>
                    </a:cxn>
                    <a:cxn ang="0">
                      <a:pos x="114" y="182"/>
                    </a:cxn>
                    <a:cxn ang="0">
                      <a:pos x="112" y="172"/>
                    </a:cxn>
                    <a:cxn ang="0">
                      <a:pos x="106" y="164"/>
                    </a:cxn>
                    <a:cxn ang="0">
                      <a:pos x="106" y="152"/>
                    </a:cxn>
                    <a:cxn ang="0">
                      <a:pos x="102" y="148"/>
                    </a:cxn>
                    <a:cxn ang="0">
                      <a:pos x="104" y="138"/>
                    </a:cxn>
                    <a:cxn ang="0">
                      <a:pos x="100" y="134"/>
                    </a:cxn>
                    <a:cxn ang="0">
                      <a:pos x="108" y="124"/>
                    </a:cxn>
                    <a:cxn ang="0">
                      <a:pos x="110" y="120"/>
                    </a:cxn>
                    <a:cxn ang="0">
                      <a:pos x="114" y="110"/>
                    </a:cxn>
                    <a:cxn ang="0">
                      <a:pos x="118" y="104"/>
                    </a:cxn>
                    <a:cxn ang="0">
                      <a:pos x="110" y="84"/>
                    </a:cxn>
                    <a:cxn ang="0">
                      <a:pos x="94" y="68"/>
                    </a:cxn>
                    <a:cxn ang="0">
                      <a:pos x="106" y="60"/>
                    </a:cxn>
                    <a:cxn ang="0">
                      <a:pos x="120" y="58"/>
                    </a:cxn>
                    <a:cxn ang="0">
                      <a:pos x="110" y="46"/>
                    </a:cxn>
                    <a:cxn ang="0">
                      <a:pos x="110" y="30"/>
                    </a:cxn>
                    <a:cxn ang="0">
                      <a:pos x="106" y="18"/>
                    </a:cxn>
                    <a:cxn ang="0">
                      <a:pos x="106" y="8"/>
                    </a:cxn>
                  </a:cxnLst>
                  <a:rect l="0" t="0" r="r" b="b"/>
                  <a:pathLst>
                    <a:path w="130" h="220">
                      <a:moveTo>
                        <a:pt x="100" y="6"/>
                      </a:moveTo>
                      <a:lnTo>
                        <a:pt x="100" y="4"/>
                      </a:lnTo>
                      <a:lnTo>
                        <a:pt x="100" y="2"/>
                      </a:lnTo>
                      <a:lnTo>
                        <a:pt x="98" y="0"/>
                      </a:lnTo>
                      <a:lnTo>
                        <a:pt x="96" y="0"/>
                      </a:lnTo>
                      <a:lnTo>
                        <a:pt x="94" y="0"/>
                      </a:lnTo>
                      <a:lnTo>
                        <a:pt x="92" y="0"/>
                      </a:lnTo>
                      <a:lnTo>
                        <a:pt x="92" y="2"/>
                      </a:lnTo>
                      <a:lnTo>
                        <a:pt x="92" y="4"/>
                      </a:lnTo>
                      <a:lnTo>
                        <a:pt x="94" y="6"/>
                      </a:lnTo>
                      <a:lnTo>
                        <a:pt x="94" y="8"/>
                      </a:lnTo>
                      <a:lnTo>
                        <a:pt x="94" y="10"/>
                      </a:lnTo>
                      <a:lnTo>
                        <a:pt x="94" y="12"/>
                      </a:lnTo>
                      <a:lnTo>
                        <a:pt x="94" y="14"/>
                      </a:lnTo>
                      <a:lnTo>
                        <a:pt x="94" y="16"/>
                      </a:lnTo>
                      <a:lnTo>
                        <a:pt x="96" y="16"/>
                      </a:lnTo>
                      <a:lnTo>
                        <a:pt x="96" y="14"/>
                      </a:lnTo>
                      <a:lnTo>
                        <a:pt x="98" y="14"/>
                      </a:lnTo>
                      <a:lnTo>
                        <a:pt x="100" y="14"/>
                      </a:lnTo>
                      <a:lnTo>
                        <a:pt x="102" y="14"/>
                      </a:lnTo>
                      <a:lnTo>
                        <a:pt x="102" y="16"/>
                      </a:lnTo>
                      <a:lnTo>
                        <a:pt x="102" y="20"/>
                      </a:lnTo>
                      <a:lnTo>
                        <a:pt x="102" y="22"/>
                      </a:lnTo>
                      <a:lnTo>
                        <a:pt x="102" y="24"/>
                      </a:lnTo>
                      <a:lnTo>
                        <a:pt x="102" y="26"/>
                      </a:lnTo>
                      <a:lnTo>
                        <a:pt x="102" y="28"/>
                      </a:lnTo>
                      <a:lnTo>
                        <a:pt x="102" y="30"/>
                      </a:lnTo>
                      <a:lnTo>
                        <a:pt x="100" y="30"/>
                      </a:lnTo>
                      <a:lnTo>
                        <a:pt x="98" y="32"/>
                      </a:lnTo>
                      <a:lnTo>
                        <a:pt x="94" y="34"/>
                      </a:lnTo>
                      <a:lnTo>
                        <a:pt x="92" y="36"/>
                      </a:lnTo>
                      <a:lnTo>
                        <a:pt x="90" y="38"/>
                      </a:lnTo>
                      <a:lnTo>
                        <a:pt x="88" y="42"/>
                      </a:lnTo>
                      <a:lnTo>
                        <a:pt x="88" y="44"/>
                      </a:lnTo>
                      <a:lnTo>
                        <a:pt x="86" y="46"/>
                      </a:lnTo>
                      <a:lnTo>
                        <a:pt x="84" y="46"/>
                      </a:lnTo>
                      <a:lnTo>
                        <a:pt x="84" y="48"/>
                      </a:lnTo>
                      <a:lnTo>
                        <a:pt x="84" y="50"/>
                      </a:lnTo>
                      <a:lnTo>
                        <a:pt x="84" y="52"/>
                      </a:lnTo>
                      <a:lnTo>
                        <a:pt x="84" y="54"/>
                      </a:lnTo>
                      <a:lnTo>
                        <a:pt x="82" y="56"/>
                      </a:lnTo>
                      <a:lnTo>
                        <a:pt x="82" y="58"/>
                      </a:lnTo>
                      <a:lnTo>
                        <a:pt x="82" y="60"/>
                      </a:lnTo>
                      <a:lnTo>
                        <a:pt x="82" y="64"/>
                      </a:lnTo>
                      <a:lnTo>
                        <a:pt x="82" y="66"/>
                      </a:lnTo>
                      <a:lnTo>
                        <a:pt x="80" y="68"/>
                      </a:lnTo>
                      <a:lnTo>
                        <a:pt x="80" y="70"/>
                      </a:lnTo>
                      <a:lnTo>
                        <a:pt x="78" y="70"/>
                      </a:lnTo>
                      <a:lnTo>
                        <a:pt x="76" y="70"/>
                      </a:lnTo>
                      <a:lnTo>
                        <a:pt x="74" y="70"/>
                      </a:lnTo>
                      <a:lnTo>
                        <a:pt x="74" y="72"/>
                      </a:lnTo>
                      <a:lnTo>
                        <a:pt x="74" y="76"/>
                      </a:lnTo>
                      <a:lnTo>
                        <a:pt x="74" y="80"/>
                      </a:lnTo>
                      <a:lnTo>
                        <a:pt x="74" y="82"/>
                      </a:lnTo>
                      <a:lnTo>
                        <a:pt x="74" y="84"/>
                      </a:lnTo>
                      <a:lnTo>
                        <a:pt x="72" y="84"/>
                      </a:lnTo>
                      <a:lnTo>
                        <a:pt x="72" y="86"/>
                      </a:lnTo>
                      <a:lnTo>
                        <a:pt x="68" y="88"/>
                      </a:lnTo>
                      <a:lnTo>
                        <a:pt x="66" y="88"/>
                      </a:lnTo>
                      <a:lnTo>
                        <a:pt x="66" y="90"/>
                      </a:lnTo>
                      <a:lnTo>
                        <a:pt x="64" y="90"/>
                      </a:lnTo>
                      <a:lnTo>
                        <a:pt x="64" y="92"/>
                      </a:lnTo>
                      <a:lnTo>
                        <a:pt x="64" y="94"/>
                      </a:lnTo>
                      <a:lnTo>
                        <a:pt x="64" y="96"/>
                      </a:lnTo>
                      <a:lnTo>
                        <a:pt x="62" y="98"/>
                      </a:lnTo>
                      <a:lnTo>
                        <a:pt x="62" y="100"/>
                      </a:lnTo>
                      <a:lnTo>
                        <a:pt x="60" y="102"/>
                      </a:lnTo>
                      <a:lnTo>
                        <a:pt x="60" y="104"/>
                      </a:lnTo>
                      <a:lnTo>
                        <a:pt x="58" y="106"/>
                      </a:lnTo>
                      <a:lnTo>
                        <a:pt x="58" y="108"/>
                      </a:lnTo>
                      <a:lnTo>
                        <a:pt x="56" y="108"/>
                      </a:lnTo>
                      <a:lnTo>
                        <a:pt x="58" y="108"/>
                      </a:lnTo>
                      <a:lnTo>
                        <a:pt x="58" y="110"/>
                      </a:lnTo>
                      <a:lnTo>
                        <a:pt x="58" y="114"/>
                      </a:lnTo>
                      <a:lnTo>
                        <a:pt x="56" y="116"/>
                      </a:lnTo>
                      <a:lnTo>
                        <a:pt x="54" y="116"/>
                      </a:lnTo>
                      <a:lnTo>
                        <a:pt x="52" y="118"/>
                      </a:lnTo>
                      <a:lnTo>
                        <a:pt x="52" y="120"/>
                      </a:lnTo>
                      <a:lnTo>
                        <a:pt x="50" y="120"/>
                      </a:lnTo>
                      <a:lnTo>
                        <a:pt x="50" y="122"/>
                      </a:lnTo>
                      <a:lnTo>
                        <a:pt x="50" y="124"/>
                      </a:lnTo>
                      <a:lnTo>
                        <a:pt x="50" y="126"/>
                      </a:lnTo>
                      <a:lnTo>
                        <a:pt x="48" y="126"/>
                      </a:lnTo>
                      <a:lnTo>
                        <a:pt x="48" y="128"/>
                      </a:lnTo>
                      <a:lnTo>
                        <a:pt x="46" y="128"/>
                      </a:lnTo>
                      <a:lnTo>
                        <a:pt x="44" y="128"/>
                      </a:lnTo>
                      <a:lnTo>
                        <a:pt x="44" y="126"/>
                      </a:lnTo>
                      <a:lnTo>
                        <a:pt x="42" y="124"/>
                      </a:lnTo>
                      <a:lnTo>
                        <a:pt x="42" y="122"/>
                      </a:lnTo>
                      <a:lnTo>
                        <a:pt x="42" y="120"/>
                      </a:lnTo>
                      <a:lnTo>
                        <a:pt x="42" y="118"/>
                      </a:lnTo>
                      <a:lnTo>
                        <a:pt x="40" y="118"/>
                      </a:lnTo>
                      <a:lnTo>
                        <a:pt x="38" y="116"/>
                      </a:lnTo>
                      <a:lnTo>
                        <a:pt x="36" y="114"/>
                      </a:lnTo>
                      <a:lnTo>
                        <a:pt x="36" y="116"/>
                      </a:lnTo>
                      <a:lnTo>
                        <a:pt x="36" y="118"/>
                      </a:lnTo>
                      <a:lnTo>
                        <a:pt x="34" y="118"/>
                      </a:lnTo>
                      <a:lnTo>
                        <a:pt x="32" y="118"/>
                      </a:lnTo>
                      <a:lnTo>
                        <a:pt x="30" y="118"/>
                      </a:lnTo>
                      <a:lnTo>
                        <a:pt x="28" y="118"/>
                      </a:lnTo>
                      <a:lnTo>
                        <a:pt x="28" y="116"/>
                      </a:lnTo>
                      <a:lnTo>
                        <a:pt x="26" y="118"/>
                      </a:lnTo>
                      <a:lnTo>
                        <a:pt x="24" y="118"/>
                      </a:lnTo>
                      <a:lnTo>
                        <a:pt x="22" y="122"/>
                      </a:lnTo>
                      <a:lnTo>
                        <a:pt x="22" y="124"/>
                      </a:lnTo>
                      <a:lnTo>
                        <a:pt x="20" y="126"/>
                      </a:lnTo>
                      <a:lnTo>
                        <a:pt x="18" y="128"/>
                      </a:lnTo>
                      <a:lnTo>
                        <a:pt x="16" y="130"/>
                      </a:lnTo>
                      <a:lnTo>
                        <a:pt x="14" y="132"/>
                      </a:lnTo>
                      <a:lnTo>
                        <a:pt x="12" y="134"/>
                      </a:lnTo>
                      <a:lnTo>
                        <a:pt x="10" y="136"/>
                      </a:lnTo>
                      <a:lnTo>
                        <a:pt x="8" y="138"/>
                      </a:lnTo>
                      <a:lnTo>
                        <a:pt x="6" y="138"/>
                      </a:lnTo>
                      <a:lnTo>
                        <a:pt x="6" y="140"/>
                      </a:lnTo>
                      <a:lnTo>
                        <a:pt x="6" y="142"/>
                      </a:lnTo>
                      <a:lnTo>
                        <a:pt x="6" y="144"/>
                      </a:lnTo>
                      <a:lnTo>
                        <a:pt x="6" y="148"/>
                      </a:lnTo>
                      <a:lnTo>
                        <a:pt x="6" y="150"/>
                      </a:lnTo>
                      <a:lnTo>
                        <a:pt x="6" y="152"/>
                      </a:lnTo>
                      <a:lnTo>
                        <a:pt x="6" y="154"/>
                      </a:lnTo>
                      <a:lnTo>
                        <a:pt x="4" y="154"/>
                      </a:lnTo>
                      <a:lnTo>
                        <a:pt x="4" y="158"/>
                      </a:lnTo>
                      <a:lnTo>
                        <a:pt x="2" y="160"/>
                      </a:lnTo>
                      <a:lnTo>
                        <a:pt x="2" y="162"/>
                      </a:lnTo>
                      <a:lnTo>
                        <a:pt x="0" y="164"/>
                      </a:lnTo>
                      <a:lnTo>
                        <a:pt x="2" y="164"/>
                      </a:lnTo>
                      <a:lnTo>
                        <a:pt x="4" y="164"/>
                      </a:lnTo>
                      <a:lnTo>
                        <a:pt x="6" y="164"/>
                      </a:lnTo>
                      <a:lnTo>
                        <a:pt x="6" y="162"/>
                      </a:lnTo>
                      <a:lnTo>
                        <a:pt x="8" y="162"/>
                      </a:lnTo>
                      <a:lnTo>
                        <a:pt x="8" y="164"/>
                      </a:lnTo>
                      <a:lnTo>
                        <a:pt x="8" y="166"/>
                      </a:lnTo>
                      <a:lnTo>
                        <a:pt x="8" y="168"/>
                      </a:lnTo>
                      <a:lnTo>
                        <a:pt x="8" y="170"/>
                      </a:lnTo>
                      <a:lnTo>
                        <a:pt x="10" y="172"/>
                      </a:lnTo>
                      <a:lnTo>
                        <a:pt x="10" y="174"/>
                      </a:lnTo>
                      <a:lnTo>
                        <a:pt x="12" y="176"/>
                      </a:lnTo>
                      <a:lnTo>
                        <a:pt x="14" y="176"/>
                      </a:lnTo>
                      <a:lnTo>
                        <a:pt x="16" y="178"/>
                      </a:lnTo>
                      <a:lnTo>
                        <a:pt x="18" y="176"/>
                      </a:lnTo>
                      <a:lnTo>
                        <a:pt x="20" y="174"/>
                      </a:lnTo>
                      <a:lnTo>
                        <a:pt x="22" y="172"/>
                      </a:lnTo>
                      <a:lnTo>
                        <a:pt x="20" y="176"/>
                      </a:lnTo>
                      <a:lnTo>
                        <a:pt x="18" y="176"/>
                      </a:lnTo>
                      <a:lnTo>
                        <a:pt x="18" y="178"/>
                      </a:lnTo>
                      <a:lnTo>
                        <a:pt x="18" y="180"/>
                      </a:lnTo>
                      <a:lnTo>
                        <a:pt x="16" y="180"/>
                      </a:lnTo>
                      <a:lnTo>
                        <a:pt x="18" y="182"/>
                      </a:lnTo>
                      <a:lnTo>
                        <a:pt x="20" y="184"/>
                      </a:lnTo>
                      <a:lnTo>
                        <a:pt x="20" y="186"/>
                      </a:lnTo>
                      <a:lnTo>
                        <a:pt x="22" y="188"/>
                      </a:lnTo>
                      <a:lnTo>
                        <a:pt x="24" y="188"/>
                      </a:lnTo>
                      <a:lnTo>
                        <a:pt x="26" y="188"/>
                      </a:lnTo>
                      <a:lnTo>
                        <a:pt x="26" y="190"/>
                      </a:lnTo>
                      <a:lnTo>
                        <a:pt x="26" y="192"/>
                      </a:lnTo>
                      <a:lnTo>
                        <a:pt x="26" y="194"/>
                      </a:lnTo>
                      <a:lnTo>
                        <a:pt x="26" y="196"/>
                      </a:lnTo>
                      <a:lnTo>
                        <a:pt x="26" y="198"/>
                      </a:lnTo>
                      <a:lnTo>
                        <a:pt x="24" y="200"/>
                      </a:lnTo>
                      <a:lnTo>
                        <a:pt x="22" y="200"/>
                      </a:lnTo>
                      <a:lnTo>
                        <a:pt x="22" y="202"/>
                      </a:lnTo>
                      <a:lnTo>
                        <a:pt x="22" y="204"/>
                      </a:lnTo>
                      <a:lnTo>
                        <a:pt x="22" y="206"/>
                      </a:lnTo>
                      <a:lnTo>
                        <a:pt x="22" y="208"/>
                      </a:lnTo>
                      <a:lnTo>
                        <a:pt x="24" y="208"/>
                      </a:lnTo>
                      <a:lnTo>
                        <a:pt x="24" y="210"/>
                      </a:lnTo>
                      <a:lnTo>
                        <a:pt x="26" y="210"/>
                      </a:lnTo>
                      <a:lnTo>
                        <a:pt x="30" y="210"/>
                      </a:lnTo>
                      <a:lnTo>
                        <a:pt x="32" y="210"/>
                      </a:lnTo>
                      <a:lnTo>
                        <a:pt x="36" y="210"/>
                      </a:lnTo>
                      <a:lnTo>
                        <a:pt x="38" y="210"/>
                      </a:lnTo>
                      <a:lnTo>
                        <a:pt x="40" y="210"/>
                      </a:lnTo>
                      <a:lnTo>
                        <a:pt x="42" y="210"/>
                      </a:lnTo>
                      <a:lnTo>
                        <a:pt x="44" y="210"/>
                      </a:lnTo>
                      <a:lnTo>
                        <a:pt x="46" y="210"/>
                      </a:lnTo>
                      <a:lnTo>
                        <a:pt x="48" y="210"/>
                      </a:lnTo>
                      <a:lnTo>
                        <a:pt x="50" y="208"/>
                      </a:lnTo>
                      <a:lnTo>
                        <a:pt x="52" y="206"/>
                      </a:lnTo>
                      <a:lnTo>
                        <a:pt x="54" y="208"/>
                      </a:lnTo>
                      <a:lnTo>
                        <a:pt x="56" y="208"/>
                      </a:lnTo>
                      <a:lnTo>
                        <a:pt x="56" y="210"/>
                      </a:lnTo>
                      <a:lnTo>
                        <a:pt x="58" y="210"/>
                      </a:lnTo>
                      <a:lnTo>
                        <a:pt x="60" y="210"/>
                      </a:lnTo>
                      <a:lnTo>
                        <a:pt x="62" y="210"/>
                      </a:lnTo>
                      <a:lnTo>
                        <a:pt x="62" y="208"/>
                      </a:lnTo>
                      <a:lnTo>
                        <a:pt x="64" y="208"/>
                      </a:lnTo>
                      <a:lnTo>
                        <a:pt x="64" y="206"/>
                      </a:lnTo>
                      <a:lnTo>
                        <a:pt x="66" y="206"/>
                      </a:lnTo>
                      <a:lnTo>
                        <a:pt x="68" y="206"/>
                      </a:lnTo>
                      <a:lnTo>
                        <a:pt x="68" y="208"/>
                      </a:lnTo>
                      <a:lnTo>
                        <a:pt x="70" y="208"/>
                      </a:lnTo>
                      <a:lnTo>
                        <a:pt x="72" y="208"/>
                      </a:lnTo>
                      <a:lnTo>
                        <a:pt x="74" y="208"/>
                      </a:lnTo>
                      <a:lnTo>
                        <a:pt x="76" y="208"/>
                      </a:lnTo>
                      <a:lnTo>
                        <a:pt x="78" y="208"/>
                      </a:lnTo>
                      <a:lnTo>
                        <a:pt x="80" y="208"/>
                      </a:lnTo>
                      <a:lnTo>
                        <a:pt x="82" y="208"/>
                      </a:lnTo>
                      <a:lnTo>
                        <a:pt x="82" y="210"/>
                      </a:lnTo>
                      <a:lnTo>
                        <a:pt x="82" y="212"/>
                      </a:lnTo>
                      <a:lnTo>
                        <a:pt x="84" y="212"/>
                      </a:lnTo>
                      <a:lnTo>
                        <a:pt x="84" y="210"/>
                      </a:lnTo>
                      <a:lnTo>
                        <a:pt x="88" y="210"/>
                      </a:lnTo>
                      <a:lnTo>
                        <a:pt x="92" y="210"/>
                      </a:lnTo>
                      <a:lnTo>
                        <a:pt x="96" y="210"/>
                      </a:lnTo>
                      <a:lnTo>
                        <a:pt x="98" y="210"/>
                      </a:lnTo>
                      <a:lnTo>
                        <a:pt x="100" y="210"/>
                      </a:lnTo>
                      <a:lnTo>
                        <a:pt x="102" y="210"/>
                      </a:lnTo>
                      <a:lnTo>
                        <a:pt x="104" y="210"/>
                      </a:lnTo>
                      <a:lnTo>
                        <a:pt x="106" y="210"/>
                      </a:lnTo>
                      <a:lnTo>
                        <a:pt x="108" y="212"/>
                      </a:lnTo>
                      <a:lnTo>
                        <a:pt x="110" y="214"/>
                      </a:lnTo>
                      <a:lnTo>
                        <a:pt x="112" y="214"/>
                      </a:lnTo>
                      <a:lnTo>
                        <a:pt x="114" y="214"/>
                      </a:lnTo>
                      <a:lnTo>
                        <a:pt x="116" y="214"/>
                      </a:lnTo>
                      <a:lnTo>
                        <a:pt x="118" y="214"/>
                      </a:lnTo>
                      <a:lnTo>
                        <a:pt x="120" y="214"/>
                      </a:lnTo>
                      <a:lnTo>
                        <a:pt x="122" y="214"/>
                      </a:lnTo>
                      <a:lnTo>
                        <a:pt x="124" y="216"/>
                      </a:lnTo>
                      <a:lnTo>
                        <a:pt x="126" y="216"/>
                      </a:lnTo>
                      <a:lnTo>
                        <a:pt x="126" y="218"/>
                      </a:lnTo>
                      <a:lnTo>
                        <a:pt x="128" y="218"/>
                      </a:lnTo>
                      <a:lnTo>
                        <a:pt x="128" y="220"/>
                      </a:lnTo>
                      <a:lnTo>
                        <a:pt x="128" y="216"/>
                      </a:lnTo>
                      <a:lnTo>
                        <a:pt x="128" y="214"/>
                      </a:lnTo>
                      <a:lnTo>
                        <a:pt x="128" y="212"/>
                      </a:lnTo>
                      <a:lnTo>
                        <a:pt x="128" y="210"/>
                      </a:lnTo>
                      <a:lnTo>
                        <a:pt x="130" y="208"/>
                      </a:lnTo>
                      <a:lnTo>
                        <a:pt x="130" y="206"/>
                      </a:lnTo>
                      <a:lnTo>
                        <a:pt x="128" y="206"/>
                      </a:lnTo>
                      <a:lnTo>
                        <a:pt x="128" y="204"/>
                      </a:lnTo>
                      <a:lnTo>
                        <a:pt x="128" y="202"/>
                      </a:lnTo>
                      <a:lnTo>
                        <a:pt x="128" y="200"/>
                      </a:lnTo>
                      <a:lnTo>
                        <a:pt x="128" y="198"/>
                      </a:lnTo>
                      <a:lnTo>
                        <a:pt x="128" y="196"/>
                      </a:lnTo>
                      <a:lnTo>
                        <a:pt x="128" y="194"/>
                      </a:lnTo>
                      <a:lnTo>
                        <a:pt x="126" y="194"/>
                      </a:lnTo>
                      <a:lnTo>
                        <a:pt x="126" y="192"/>
                      </a:lnTo>
                      <a:lnTo>
                        <a:pt x="124" y="192"/>
                      </a:lnTo>
                      <a:lnTo>
                        <a:pt x="122" y="190"/>
                      </a:lnTo>
                      <a:lnTo>
                        <a:pt x="118" y="188"/>
                      </a:lnTo>
                      <a:lnTo>
                        <a:pt x="118" y="186"/>
                      </a:lnTo>
                      <a:lnTo>
                        <a:pt x="116" y="186"/>
                      </a:lnTo>
                      <a:lnTo>
                        <a:pt x="114" y="182"/>
                      </a:lnTo>
                      <a:lnTo>
                        <a:pt x="112" y="180"/>
                      </a:lnTo>
                      <a:lnTo>
                        <a:pt x="112" y="178"/>
                      </a:lnTo>
                      <a:lnTo>
                        <a:pt x="110" y="176"/>
                      </a:lnTo>
                      <a:lnTo>
                        <a:pt x="112" y="176"/>
                      </a:lnTo>
                      <a:lnTo>
                        <a:pt x="112" y="174"/>
                      </a:lnTo>
                      <a:lnTo>
                        <a:pt x="112" y="172"/>
                      </a:lnTo>
                      <a:lnTo>
                        <a:pt x="112" y="170"/>
                      </a:lnTo>
                      <a:lnTo>
                        <a:pt x="112" y="168"/>
                      </a:lnTo>
                      <a:lnTo>
                        <a:pt x="110" y="166"/>
                      </a:lnTo>
                      <a:lnTo>
                        <a:pt x="108" y="166"/>
                      </a:lnTo>
                      <a:lnTo>
                        <a:pt x="106" y="164"/>
                      </a:lnTo>
                      <a:lnTo>
                        <a:pt x="106" y="162"/>
                      </a:lnTo>
                      <a:lnTo>
                        <a:pt x="106" y="160"/>
                      </a:lnTo>
                      <a:lnTo>
                        <a:pt x="106" y="158"/>
                      </a:lnTo>
                      <a:lnTo>
                        <a:pt x="106" y="156"/>
                      </a:lnTo>
                      <a:lnTo>
                        <a:pt x="106" y="154"/>
                      </a:lnTo>
                      <a:lnTo>
                        <a:pt x="106" y="152"/>
                      </a:lnTo>
                      <a:lnTo>
                        <a:pt x="104" y="152"/>
                      </a:lnTo>
                      <a:lnTo>
                        <a:pt x="104" y="150"/>
                      </a:lnTo>
                      <a:lnTo>
                        <a:pt x="102" y="150"/>
                      </a:lnTo>
                      <a:lnTo>
                        <a:pt x="102" y="148"/>
                      </a:lnTo>
                      <a:lnTo>
                        <a:pt x="104" y="148"/>
                      </a:lnTo>
                      <a:lnTo>
                        <a:pt x="104" y="146"/>
                      </a:lnTo>
                      <a:lnTo>
                        <a:pt x="104" y="144"/>
                      </a:lnTo>
                      <a:lnTo>
                        <a:pt x="104" y="142"/>
                      </a:lnTo>
                      <a:lnTo>
                        <a:pt x="104" y="140"/>
                      </a:lnTo>
                      <a:lnTo>
                        <a:pt x="104" y="138"/>
                      </a:lnTo>
                      <a:lnTo>
                        <a:pt x="102" y="138"/>
                      </a:lnTo>
                      <a:lnTo>
                        <a:pt x="100" y="138"/>
                      </a:lnTo>
                      <a:lnTo>
                        <a:pt x="100" y="136"/>
                      </a:lnTo>
                      <a:lnTo>
                        <a:pt x="100" y="134"/>
                      </a:lnTo>
                      <a:lnTo>
                        <a:pt x="100" y="132"/>
                      </a:lnTo>
                      <a:lnTo>
                        <a:pt x="102" y="132"/>
                      </a:lnTo>
                      <a:lnTo>
                        <a:pt x="104" y="132"/>
                      </a:lnTo>
                      <a:lnTo>
                        <a:pt x="104" y="130"/>
                      </a:lnTo>
                      <a:lnTo>
                        <a:pt x="106" y="130"/>
                      </a:lnTo>
                      <a:lnTo>
                        <a:pt x="108" y="130"/>
                      </a:lnTo>
                      <a:lnTo>
                        <a:pt x="108" y="126"/>
                      </a:lnTo>
                      <a:lnTo>
                        <a:pt x="108" y="124"/>
                      </a:lnTo>
                      <a:lnTo>
                        <a:pt x="108" y="122"/>
                      </a:lnTo>
                      <a:lnTo>
                        <a:pt x="108" y="120"/>
                      </a:lnTo>
                      <a:lnTo>
                        <a:pt x="110" y="120"/>
                      </a:lnTo>
                      <a:lnTo>
                        <a:pt x="110" y="118"/>
                      </a:lnTo>
                      <a:lnTo>
                        <a:pt x="112" y="116"/>
                      </a:lnTo>
                      <a:lnTo>
                        <a:pt x="112" y="114"/>
                      </a:lnTo>
                      <a:lnTo>
                        <a:pt x="112" y="112"/>
                      </a:lnTo>
                      <a:lnTo>
                        <a:pt x="114" y="110"/>
                      </a:lnTo>
                      <a:lnTo>
                        <a:pt x="116" y="108"/>
                      </a:lnTo>
                      <a:lnTo>
                        <a:pt x="118" y="108"/>
                      </a:lnTo>
                      <a:lnTo>
                        <a:pt x="118" y="106"/>
                      </a:lnTo>
                      <a:lnTo>
                        <a:pt x="118" y="104"/>
                      </a:lnTo>
                      <a:lnTo>
                        <a:pt x="118" y="102"/>
                      </a:lnTo>
                      <a:lnTo>
                        <a:pt x="118" y="98"/>
                      </a:lnTo>
                      <a:lnTo>
                        <a:pt x="116" y="94"/>
                      </a:lnTo>
                      <a:lnTo>
                        <a:pt x="116" y="92"/>
                      </a:lnTo>
                      <a:lnTo>
                        <a:pt x="114" y="88"/>
                      </a:lnTo>
                      <a:lnTo>
                        <a:pt x="114" y="86"/>
                      </a:lnTo>
                      <a:lnTo>
                        <a:pt x="112" y="86"/>
                      </a:lnTo>
                      <a:lnTo>
                        <a:pt x="110" y="84"/>
                      </a:lnTo>
                      <a:lnTo>
                        <a:pt x="108" y="82"/>
                      </a:lnTo>
                      <a:lnTo>
                        <a:pt x="104" y="78"/>
                      </a:lnTo>
                      <a:lnTo>
                        <a:pt x="102" y="78"/>
                      </a:lnTo>
                      <a:lnTo>
                        <a:pt x="100" y="76"/>
                      </a:lnTo>
                      <a:lnTo>
                        <a:pt x="98" y="76"/>
                      </a:lnTo>
                      <a:lnTo>
                        <a:pt x="98" y="74"/>
                      </a:lnTo>
                      <a:lnTo>
                        <a:pt x="96" y="72"/>
                      </a:lnTo>
                      <a:lnTo>
                        <a:pt x="94" y="70"/>
                      </a:lnTo>
                      <a:lnTo>
                        <a:pt x="94" y="68"/>
                      </a:lnTo>
                      <a:lnTo>
                        <a:pt x="94" y="66"/>
                      </a:lnTo>
                      <a:lnTo>
                        <a:pt x="94" y="64"/>
                      </a:lnTo>
                      <a:lnTo>
                        <a:pt x="94" y="62"/>
                      </a:lnTo>
                      <a:lnTo>
                        <a:pt x="94" y="60"/>
                      </a:lnTo>
                      <a:lnTo>
                        <a:pt x="96" y="60"/>
                      </a:lnTo>
                      <a:lnTo>
                        <a:pt x="100" y="60"/>
                      </a:lnTo>
                      <a:lnTo>
                        <a:pt x="102" y="58"/>
                      </a:lnTo>
                      <a:lnTo>
                        <a:pt x="106" y="60"/>
                      </a:lnTo>
                      <a:lnTo>
                        <a:pt x="108" y="60"/>
                      </a:lnTo>
                      <a:lnTo>
                        <a:pt x="110" y="60"/>
                      </a:lnTo>
                      <a:lnTo>
                        <a:pt x="112" y="60"/>
                      </a:lnTo>
                      <a:lnTo>
                        <a:pt x="114" y="58"/>
                      </a:lnTo>
                      <a:lnTo>
                        <a:pt x="118" y="58"/>
                      </a:lnTo>
                      <a:lnTo>
                        <a:pt x="120" y="58"/>
                      </a:lnTo>
                      <a:lnTo>
                        <a:pt x="118" y="56"/>
                      </a:lnTo>
                      <a:lnTo>
                        <a:pt x="116" y="54"/>
                      </a:lnTo>
                      <a:lnTo>
                        <a:pt x="112" y="50"/>
                      </a:lnTo>
                      <a:lnTo>
                        <a:pt x="112" y="48"/>
                      </a:lnTo>
                      <a:lnTo>
                        <a:pt x="110" y="46"/>
                      </a:lnTo>
                      <a:lnTo>
                        <a:pt x="110" y="42"/>
                      </a:lnTo>
                      <a:lnTo>
                        <a:pt x="108" y="38"/>
                      </a:lnTo>
                      <a:lnTo>
                        <a:pt x="108" y="36"/>
                      </a:lnTo>
                      <a:lnTo>
                        <a:pt x="108" y="34"/>
                      </a:lnTo>
                      <a:lnTo>
                        <a:pt x="108" y="32"/>
                      </a:lnTo>
                      <a:lnTo>
                        <a:pt x="110" y="30"/>
                      </a:lnTo>
                      <a:lnTo>
                        <a:pt x="110" y="28"/>
                      </a:lnTo>
                      <a:lnTo>
                        <a:pt x="110" y="24"/>
                      </a:lnTo>
                      <a:lnTo>
                        <a:pt x="110" y="22"/>
                      </a:lnTo>
                      <a:lnTo>
                        <a:pt x="108" y="20"/>
                      </a:lnTo>
                      <a:lnTo>
                        <a:pt x="108" y="18"/>
                      </a:lnTo>
                      <a:lnTo>
                        <a:pt x="106" y="18"/>
                      </a:lnTo>
                      <a:lnTo>
                        <a:pt x="106" y="16"/>
                      </a:lnTo>
                      <a:lnTo>
                        <a:pt x="108" y="12"/>
                      </a:lnTo>
                      <a:lnTo>
                        <a:pt x="108" y="10"/>
                      </a:lnTo>
                      <a:lnTo>
                        <a:pt x="108" y="8"/>
                      </a:lnTo>
                      <a:lnTo>
                        <a:pt x="106" y="8"/>
                      </a:lnTo>
                      <a:lnTo>
                        <a:pt x="104" y="8"/>
                      </a:lnTo>
                      <a:lnTo>
                        <a:pt x="102" y="6"/>
                      </a:lnTo>
                      <a:lnTo>
                        <a:pt x="10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7" name="Freeform 63">
                  <a:extLst>
                    <a:ext uri="{FF2B5EF4-FFF2-40B4-BE49-F238E27FC236}">
                      <a16:creationId xmlns:a16="http://schemas.microsoft.com/office/drawing/2014/main" id="{1CB584C4-EC8E-438F-A073-19851CB93267}"/>
                    </a:ext>
                  </a:extLst>
                </p:cNvPr>
                <p:cNvSpPr>
                  <a:spLocks noChangeAspect="1"/>
                </p:cNvSpPr>
                <p:nvPr/>
              </p:nvSpPr>
              <p:spPr bwMode="auto">
                <a:xfrm>
                  <a:off x="4064087" y="3053995"/>
                  <a:ext cx="328872" cy="272058"/>
                </a:xfrm>
                <a:custGeom>
                  <a:avLst/>
                  <a:gdLst/>
                  <a:ahLst/>
                  <a:cxnLst>
                    <a:cxn ang="0">
                      <a:pos x="196" y="52"/>
                    </a:cxn>
                    <a:cxn ang="0">
                      <a:pos x="190" y="52"/>
                    </a:cxn>
                    <a:cxn ang="0">
                      <a:pos x="194" y="44"/>
                    </a:cxn>
                    <a:cxn ang="0">
                      <a:pos x="192" y="38"/>
                    </a:cxn>
                    <a:cxn ang="0">
                      <a:pos x="192" y="26"/>
                    </a:cxn>
                    <a:cxn ang="0">
                      <a:pos x="190" y="26"/>
                    </a:cxn>
                    <a:cxn ang="0">
                      <a:pos x="190" y="20"/>
                    </a:cxn>
                    <a:cxn ang="0">
                      <a:pos x="176" y="10"/>
                    </a:cxn>
                    <a:cxn ang="0">
                      <a:pos x="168" y="12"/>
                    </a:cxn>
                    <a:cxn ang="0">
                      <a:pos x="156" y="10"/>
                    </a:cxn>
                    <a:cxn ang="0">
                      <a:pos x="146" y="12"/>
                    </a:cxn>
                    <a:cxn ang="0">
                      <a:pos x="134" y="4"/>
                    </a:cxn>
                    <a:cxn ang="0">
                      <a:pos x="126" y="0"/>
                    </a:cxn>
                    <a:cxn ang="0">
                      <a:pos x="124" y="8"/>
                    </a:cxn>
                    <a:cxn ang="0">
                      <a:pos x="116" y="26"/>
                    </a:cxn>
                    <a:cxn ang="0">
                      <a:pos x="102" y="40"/>
                    </a:cxn>
                    <a:cxn ang="0">
                      <a:pos x="92" y="44"/>
                    </a:cxn>
                    <a:cxn ang="0">
                      <a:pos x="86" y="46"/>
                    </a:cxn>
                    <a:cxn ang="0">
                      <a:pos x="80" y="50"/>
                    </a:cxn>
                    <a:cxn ang="0">
                      <a:pos x="78" y="52"/>
                    </a:cxn>
                    <a:cxn ang="0">
                      <a:pos x="70" y="60"/>
                    </a:cxn>
                    <a:cxn ang="0">
                      <a:pos x="68" y="68"/>
                    </a:cxn>
                    <a:cxn ang="0">
                      <a:pos x="60" y="80"/>
                    </a:cxn>
                    <a:cxn ang="0">
                      <a:pos x="58" y="96"/>
                    </a:cxn>
                    <a:cxn ang="0">
                      <a:pos x="56" y="98"/>
                    </a:cxn>
                    <a:cxn ang="0">
                      <a:pos x="60" y="102"/>
                    </a:cxn>
                    <a:cxn ang="0">
                      <a:pos x="58" y="112"/>
                    </a:cxn>
                    <a:cxn ang="0">
                      <a:pos x="56" y="114"/>
                    </a:cxn>
                    <a:cxn ang="0">
                      <a:pos x="42" y="130"/>
                    </a:cxn>
                    <a:cxn ang="0">
                      <a:pos x="32" y="140"/>
                    </a:cxn>
                    <a:cxn ang="0">
                      <a:pos x="18" y="148"/>
                    </a:cxn>
                    <a:cxn ang="0">
                      <a:pos x="8" y="152"/>
                    </a:cxn>
                    <a:cxn ang="0">
                      <a:pos x="2" y="152"/>
                    </a:cxn>
                    <a:cxn ang="0">
                      <a:pos x="28" y="156"/>
                    </a:cxn>
                    <a:cxn ang="0">
                      <a:pos x="56" y="156"/>
                    </a:cxn>
                    <a:cxn ang="0">
                      <a:pos x="70" y="156"/>
                    </a:cxn>
                    <a:cxn ang="0">
                      <a:pos x="74" y="150"/>
                    </a:cxn>
                    <a:cxn ang="0">
                      <a:pos x="74" y="142"/>
                    </a:cxn>
                    <a:cxn ang="0">
                      <a:pos x="74" y="136"/>
                    </a:cxn>
                    <a:cxn ang="0">
                      <a:pos x="82" y="132"/>
                    </a:cxn>
                    <a:cxn ang="0">
                      <a:pos x="90" y="124"/>
                    </a:cxn>
                    <a:cxn ang="0">
                      <a:pos x="96" y="122"/>
                    </a:cxn>
                    <a:cxn ang="0">
                      <a:pos x="100" y="118"/>
                    </a:cxn>
                    <a:cxn ang="0">
                      <a:pos x="108" y="122"/>
                    </a:cxn>
                    <a:cxn ang="0">
                      <a:pos x="112" y="116"/>
                    </a:cxn>
                    <a:cxn ang="0">
                      <a:pos x="116" y="114"/>
                    </a:cxn>
                    <a:cxn ang="0">
                      <a:pos x="122" y="114"/>
                    </a:cxn>
                    <a:cxn ang="0">
                      <a:pos x="132" y="110"/>
                    </a:cxn>
                    <a:cxn ang="0">
                      <a:pos x="136" y="102"/>
                    </a:cxn>
                    <a:cxn ang="0">
                      <a:pos x="148" y="102"/>
                    </a:cxn>
                    <a:cxn ang="0">
                      <a:pos x="152" y="96"/>
                    </a:cxn>
                    <a:cxn ang="0">
                      <a:pos x="160" y="92"/>
                    </a:cxn>
                    <a:cxn ang="0">
                      <a:pos x="156" y="88"/>
                    </a:cxn>
                    <a:cxn ang="0">
                      <a:pos x="154" y="80"/>
                    </a:cxn>
                    <a:cxn ang="0">
                      <a:pos x="168" y="78"/>
                    </a:cxn>
                    <a:cxn ang="0">
                      <a:pos x="170" y="72"/>
                    </a:cxn>
                    <a:cxn ang="0">
                      <a:pos x="174" y="72"/>
                    </a:cxn>
                    <a:cxn ang="0">
                      <a:pos x="182" y="72"/>
                    </a:cxn>
                    <a:cxn ang="0">
                      <a:pos x="194" y="70"/>
                    </a:cxn>
                    <a:cxn ang="0">
                      <a:pos x="196" y="70"/>
                    </a:cxn>
                    <a:cxn ang="0">
                      <a:pos x="200" y="64"/>
                    </a:cxn>
                  </a:cxnLst>
                  <a:rect l="0" t="0" r="r" b="b"/>
                  <a:pathLst>
                    <a:path w="200" h="156">
                      <a:moveTo>
                        <a:pt x="194" y="60"/>
                      </a:moveTo>
                      <a:lnTo>
                        <a:pt x="196" y="56"/>
                      </a:lnTo>
                      <a:lnTo>
                        <a:pt x="196" y="54"/>
                      </a:lnTo>
                      <a:lnTo>
                        <a:pt x="196" y="52"/>
                      </a:lnTo>
                      <a:lnTo>
                        <a:pt x="194" y="52"/>
                      </a:lnTo>
                      <a:lnTo>
                        <a:pt x="192" y="52"/>
                      </a:lnTo>
                      <a:lnTo>
                        <a:pt x="190" y="52"/>
                      </a:lnTo>
                      <a:lnTo>
                        <a:pt x="192" y="50"/>
                      </a:lnTo>
                      <a:lnTo>
                        <a:pt x="192" y="48"/>
                      </a:lnTo>
                      <a:lnTo>
                        <a:pt x="192" y="46"/>
                      </a:lnTo>
                      <a:lnTo>
                        <a:pt x="194" y="46"/>
                      </a:lnTo>
                      <a:lnTo>
                        <a:pt x="194" y="44"/>
                      </a:lnTo>
                      <a:lnTo>
                        <a:pt x="192" y="44"/>
                      </a:lnTo>
                      <a:lnTo>
                        <a:pt x="192" y="42"/>
                      </a:lnTo>
                      <a:lnTo>
                        <a:pt x="192" y="40"/>
                      </a:lnTo>
                      <a:lnTo>
                        <a:pt x="192" y="38"/>
                      </a:lnTo>
                      <a:lnTo>
                        <a:pt x="192" y="36"/>
                      </a:lnTo>
                      <a:lnTo>
                        <a:pt x="192" y="34"/>
                      </a:lnTo>
                      <a:lnTo>
                        <a:pt x="192" y="32"/>
                      </a:lnTo>
                      <a:lnTo>
                        <a:pt x="192" y="30"/>
                      </a:lnTo>
                      <a:lnTo>
                        <a:pt x="192" y="28"/>
                      </a:lnTo>
                      <a:lnTo>
                        <a:pt x="192" y="26"/>
                      </a:lnTo>
                      <a:lnTo>
                        <a:pt x="190" y="26"/>
                      </a:lnTo>
                      <a:lnTo>
                        <a:pt x="190" y="24"/>
                      </a:lnTo>
                      <a:lnTo>
                        <a:pt x="190" y="22"/>
                      </a:lnTo>
                      <a:lnTo>
                        <a:pt x="190" y="20"/>
                      </a:lnTo>
                      <a:lnTo>
                        <a:pt x="188" y="20"/>
                      </a:lnTo>
                      <a:lnTo>
                        <a:pt x="186" y="18"/>
                      </a:lnTo>
                      <a:lnTo>
                        <a:pt x="186" y="16"/>
                      </a:lnTo>
                      <a:lnTo>
                        <a:pt x="186" y="14"/>
                      </a:lnTo>
                      <a:lnTo>
                        <a:pt x="182" y="14"/>
                      </a:lnTo>
                      <a:lnTo>
                        <a:pt x="178" y="12"/>
                      </a:lnTo>
                      <a:lnTo>
                        <a:pt x="176" y="10"/>
                      </a:lnTo>
                      <a:lnTo>
                        <a:pt x="174" y="10"/>
                      </a:lnTo>
                      <a:lnTo>
                        <a:pt x="172" y="10"/>
                      </a:lnTo>
                      <a:lnTo>
                        <a:pt x="170" y="10"/>
                      </a:lnTo>
                      <a:lnTo>
                        <a:pt x="168" y="10"/>
                      </a:lnTo>
                      <a:lnTo>
                        <a:pt x="168" y="12"/>
                      </a:lnTo>
                      <a:lnTo>
                        <a:pt x="166" y="12"/>
                      </a:lnTo>
                      <a:lnTo>
                        <a:pt x="164" y="12"/>
                      </a:lnTo>
                      <a:lnTo>
                        <a:pt x="162" y="12"/>
                      </a:lnTo>
                      <a:lnTo>
                        <a:pt x="158" y="10"/>
                      </a:lnTo>
                      <a:lnTo>
                        <a:pt x="156" y="10"/>
                      </a:lnTo>
                      <a:lnTo>
                        <a:pt x="154" y="10"/>
                      </a:lnTo>
                      <a:lnTo>
                        <a:pt x="154" y="12"/>
                      </a:lnTo>
                      <a:lnTo>
                        <a:pt x="150" y="12"/>
                      </a:lnTo>
                      <a:lnTo>
                        <a:pt x="148" y="12"/>
                      </a:lnTo>
                      <a:lnTo>
                        <a:pt x="146" y="12"/>
                      </a:lnTo>
                      <a:lnTo>
                        <a:pt x="144" y="12"/>
                      </a:lnTo>
                      <a:lnTo>
                        <a:pt x="142" y="12"/>
                      </a:lnTo>
                      <a:lnTo>
                        <a:pt x="140" y="10"/>
                      </a:lnTo>
                      <a:lnTo>
                        <a:pt x="138" y="8"/>
                      </a:lnTo>
                      <a:lnTo>
                        <a:pt x="138" y="6"/>
                      </a:lnTo>
                      <a:lnTo>
                        <a:pt x="136" y="4"/>
                      </a:lnTo>
                      <a:lnTo>
                        <a:pt x="134" y="4"/>
                      </a:lnTo>
                      <a:lnTo>
                        <a:pt x="134" y="2"/>
                      </a:lnTo>
                      <a:lnTo>
                        <a:pt x="132" y="2"/>
                      </a:lnTo>
                      <a:lnTo>
                        <a:pt x="130" y="2"/>
                      </a:lnTo>
                      <a:lnTo>
                        <a:pt x="128" y="0"/>
                      </a:lnTo>
                      <a:lnTo>
                        <a:pt x="126" y="0"/>
                      </a:lnTo>
                      <a:lnTo>
                        <a:pt x="126" y="2"/>
                      </a:lnTo>
                      <a:lnTo>
                        <a:pt x="124" y="6"/>
                      </a:lnTo>
                      <a:lnTo>
                        <a:pt x="124" y="8"/>
                      </a:lnTo>
                      <a:lnTo>
                        <a:pt x="122" y="10"/>
                      </a:lnTo>
                      <a:lnTo>
                        <a:pt x="122" y="12"/>
                      </a:lnTo>
                      <a:lnTo>
                        <a:pt x="120" y="16"/>
                      </a:lnTo>
                      <a:lnTo>
                        <a:pt x="120" y="18"/>
                      </a:lnTo>
                      <a:lnTo>
                        <a:pt x="118" y="20"/>
                      </a:lnTo>
                      <a:lnTo>
                        <a:pt x="118" y="22"/>
                      </a:lnTo>
                      <a:lnTo>
                        <a:pt x="116" y="26"/>
                      </a:lnTo>
                      <a:lnTo>
                        <a:pt x="114" y="30"/>
                      </a:lnTo>
                      <a:lnTo>
                        <a:pt x="112" y="32"/>
                      </a:lnTo>
                      <a:lnTo>
                        <a:pt x="110" y="34"/>
                      </a:lnTo>
                      <a:lnTo>
                        <a:pt x="108" y="36"/>
                      </a:lnTo>
                      <a:lnTo>
                        <a:pt x="106" y="38"/>
                      </a:lnTo>
                      <a:lnTo>
                        <a:pt x="104" y="40"/>
                      </a:lnTo>
                      <a:lnTo>
                        <a:pt x="102" y="40"/>
                      </a:lnTo>
                      <a:lnTo>
                        <a:pt x="100" y="40"/>
                      </a:lnTo>
                      <a:lnTo>
                        <a:pt x="98" y="40"/>
                      </a:lnTo>
                      <a:lnTo>
                        <a:pt x="96" y="42"/>
                      </a:lnTo>
                      <a:lnTo>
                        <a:pt x="94" y="42"/>
                      </a:lnTo>
                      <a:lnTo>
                        <a:pt x="92" y="44"/>
                      </a:lnTo>
                      <a:lnTo>
                        <a:pt x="90" y="46"/>
                      </a:lnTo>
                      <a:lnTo>
                        <a:pt x="88" y="48"/>
                      </a:lnTo>
                      <a:lnTo>
                        <a:pt x="86" y="46"/>
                      </a:lnTo>
                      <a:lnTo>
                        <a:pt x="84" y="46"/>
                      </a:lnTo>
                      <a:lnTo>
                        <a:pt x="82" y="48"/>
                      </a:lnTo>
                      <a:lnTo>
                        <a:pt x="80" y="48"/>
                      </a:lnTo>
                      <a:lnTo>
                        <a:pt x="80" y="50"/>
                      </a:lnTo>
                      <a:lnTo>
                        <a:pt x="78" y="50"/>
                      </a:lnTo>
                      <a:lnTo>
                        <a:pt x="78" y="52"/>
                      </a:lnTo>
                      <a:lnTo>
                        <a:pt x="76" y="54"/>
                      </a:lnTo>
                      <a:lnTo>
                        <a:pt x="74" y="56"/>
                      </a:lnTo>
                      <a:lnTo>
                        <a:pt x="74" y="58"/>
                      </a:lnTo>
                      <a:lnTo>
                        <a:pt x="72" y="58"/>
                      </a:lnTo>
                      <a:lnTo>
                        <a:pt x="70" y="58"/>
                      </a:lnTo>
                      <a:lnTo>
                        <a:pt x="70" y="60"/>
                      </a:lnTo>
                      <a:lnTo>
                        <a:pt x="68" y="60"/>
                      </a:lnTo>
                      <a:lnTo>
                        <a:pt x="68" y="62"/>
                      </a:lnTo>
                      <a:lnTo>
                        <a:pt x="68" y="64"/>
                      </a:lnTo>
                      <a:lnTo>
                        <a:pt x="68" y="66"/>
                      </a:lnTo>
                      <a:lnTo>
                        <a:pt x="68" y="68"/>
                      </a:lnTo>
                      <a:lnTo>
                        <a:pt x="68" y="70"/>
                      </a:lnTo>
                      <a:lnTo>
                        <a:pt x="66" y="70"/>
                      </a:lnTo>
                      <a:lnTo>
                        <a:pt x="66" y="72"/>
                      </a:lnTo>
                      <a:lnTo>
                        <a:pt x="64" y="72"/>
                      </a:lnTo>
                      <a:lnTo>
                        <a:pt x="64" y="74"/>
                      </a:lnTo>
                      <a:lnTo>
                        <a:pt x="62" y="76"/>
                      </a:lnTo>
                      <a:lnTo>
                        <a:pt x="60" y="80"/>
                      </a:lnTo>
                      <a:lnTo>
                        <a:pt x="58" y="82"/>
                      </a:lnTo>
                      <a:lnTo>
                        <a:pt x="58" y="86"/>
                      </a:lnTo>
                      <a:lnTo>
                        <a:pt x="58" y="88"/>
                      </a:lnTo>
                      <a:lnTo>
                        <a:pt x="58" y="90"/>
                      </a:lnTo>
                      <a:lnTo>
                        <a:pt x="58" y="94"/>
                      </a:lnTo>
                      <a:lnTo>
                        <a:pt x="58" y="96"/>
                      </a:lnTo>
                      <a:lnTo>
                        <a:pt x="56" y="98"/>
                      </a:lnTo>
                      <a:lnTo>
                        <a:pt x="56" y="100"/>
                      </a:lnTo>
                      <a:lnTo>
                        <a:pt x="58" y="100"/>
                      </a:lnTo>
                      <a:lnTo>
                        <a:pt x="58" y="102"/>
                      </a:lnTo>
                      <a:lnTo>
                        <a:pt x="60" y="102"/>
                      </a:lnTo>
                      <a:lnTo>
                        <a:pt x="60" y="104"/>
                      </a:lnTo>
                      <a:lnTo>
                        <a:pt x="58" y="108"/>
                      </a:lnTo>
                      <a:lnTo>
                        <a:pt x="58" y="110"/>
                      </a:lnTo>
                      <a:lnTo>
                        <a:pt x="58" y="112"/>
                      </a:lnTo>
                      <a:lnTo>
                        <a:pt x="58" y="114"/>
                      </a:lnTo>
                      <a:lnTo>
                        <a:pt x="58" y="112"/>
                      </a:lnTo>
                      <a:lnTo>
                        <a:pt x="56" y="112"/>
                      </a:lnTo>
                      <a:lnTo>
                        <a:pt x="56" y="114"/>
                      </a:lnTo>
                      <a:lnTo>
                        <a:pt x="54" y="114"/>
                      </a:lnTo>
                      <a:lnTo>
                        <a:pt x="52" y="118"/>
                      </a:lnTo>
                      <a:lnTo>
                        <a:pt x="50" y="122"/>
                      </a:lnTo>
                      <a:lnTo>
                        <a:pt x="48" y="126"/>
                      </a:lnTo>
                      <a:lnTo>
                        <a:pt x="46" y="128"/>
                      </a:lnTo>
                      <a:lnTo>
                        <a:pt x="44" y="130"/>
                      </a:lnTo>
                      <a:lnTo>
                        <a:pt x="42" y="130"/>
                      </a:lnTo>
                      <a:lnTo>
                        <a:pt x="40" y="132"/>
                      </a:lnTo>
                      <a:lnTo>
                        <a:pt x="38" y="132"/>
                      </a:lnTo>
                      <a:lnTo>
                        <a:pt x="36" y="134"/>
                      </a:lnTo>
                      <a:lnTo>
                        <a:pt x="34" y="134"/>
                      </a:lnTo>
                      <a:lnTo>
                        <a:pt x="32" y="138"/>
                      </a:lnTo>
                      <a:lnTo>
                        <a:pt x="32" y="140"/>
                      </a:lnTo>
                      <a:lnTo>
                        <a:pt x="30" y="142"/>
                      </a:lnTo>
                      <a:lnTo>
                        <a:pt x="28" y="144"/>
                      </a:lnTo>
                      <a:lnTo>
                        <a:pt x="28" y="146"/>
                      </a:lnTo>
                      <a:lnTo>
                        <a:pt x="26" y="146"/>
                      </a:lnTo>
                      <a:lnTo>
                        <a:pt x="24" y="146"/>
                      </a:lnTo>
                      <a:lnTo>
                        <a:pt x="22" y="148"/>
                      </a:lnTo>
                      <a:lnTo>
                        <a:pt x="18" y="148"/>
                      </a:lnTo>
                      <a:lnTo>
                        <a:pt x="16" y="150"/>
                      </a:lnTo>
                      <a:lnTo>
                        <a:pt x="14" y="150"/>
                      </a:lnTo>
                      <a:lnTo>
                        <a:pt x="12" y="150"/>
                      </a:lnTo>
                      <a:lnTo>
                        <a:pt x="10" y="150"/>
                      </a:lnTo>
                      <a:lnTo>
                        <a:pt x="10" y="152"/>
                      </a:lnTo>
                      <a:lnTo>
                        <a:pt x="8" y="152"/>
                      </a:lnTo>
                      <a:lnTo>
                        <a:pt x="6" y="152"/>
                      </a:lnTo>
                      <a:lnTo>
                        <a:pt x="4" y="152"/>
                      </a:lnTo>
                      <a:lnTo>
                        <a:pt x="2" y="152"/>
                      </a:lnTo>
                      <a:lnTo>
                        <a:pt x="0" y="154"/>
                      </a:lnTo>
                      <a:lnTo>
                        <a:pt x="0" y="156"/>
                      </a:lnTo>
                      <a:lnTo>
                        <a:pt x="6" y="156"/>
                      </a:lnTo>
                      <a:lnTo>
                        <a:pt x="12" y="156"/>
                      </a:lnTo>
                      <a:lnTo>
                        <a:pt x="18" y="156"/>
                      </a:lnTo>
                      <a:lnTo>
                        <a:pt x="24" y="156"/>
                      </a:lnTo>
                      <a:lnTo>
                        <a:pt x="28" y="156"/>
                      </a:lnTo>
                      <a:lnTo>
                        <a:pt x="32" y="156"/>
                      </a:lnTo>
                      <a:lnTo>
                        <a:pt x="38" y="156"/>
                      </a:lnTo>
                      <a:lnTo>
                        <a:pt x="42" y="156"/>
                      </a:lnTo>
                      <a:lnTo>
                        <a:pt x="46" y="156"/>
                      </a:lnTo>
                      <a:lnTo>
                        <a:pt x="50" y="156"/>
                      </a:lnTo>
                      <a:lnTo>
                        <a:pt x="52" y="156"/>
                      </a:lnTo>
                      <a:lnTo>
                        <a:pt x="56" y="156"/>
                      </a:lnTo>
                      <a:lnTo>
                        <a:pt x="58" y="156"/>
                      </a:lnTo>
                      <a:lnTo>
                        <a:pt x="60" y="156"/>
                      </a:lnTo>
                      <a:lnTo>
                        <a:pt x="62" y="156"/>
                      </a:lnTo>
                      <a:lnTo>
                        <a:pt x="64" y="156"/>
                      </a:lnTo>
                      <a:lnTo>
                        <a:pt x="66" y="156"/>
                      </a:lnTo>
                      <a:lnTo>
                        <a:pt x="70" y="156"/>
                      </a:lnTo>
                      <a:lnTo>
                        <a:pt x="72" y="156"/>
                      </a:lnTo>
                      <a:lnTo>
                        <a:pt x="74" y="156"/>
                      </a:lnTo>
                      <a:lnTo>
                        <a:pt x="74" y="154"/>
                      </a:lnTo>
                      <a:lnTo>
                        <a:pt x="74" y="152"/>
                      </a:lnTo>
                      <a:lnTo>
                        <a:pt x="74" y="150"/>
                      </a:lnTo>
                      <a:lnTo>
                        <a:pt x="74" y="148"/>
                      </a:lnTo>
                      <a:lnTo>
                        <a:pt x="74" y="146"/>
                      </a:lnTo>
                      <a:lnTo>
                        <a:pt x="74" y="144"/>
                      </a:lnTo>
                      <a:lnTo>
                        <a:pt x="74" y="142"/>
                      </a:lnTo>
                      <a:lnTo>
                        <a:pt x="74" y="140"/>
                      </a:lnTo>
                      <a:lnTo>
                        <a:pt x="74" y="138"/>
                      </a:lnTo>
                      <a:lnTo>
                        <a:pt x="74" y="136"/>
                      </a:lnTo>
                      <a:lnTo>
                        <a:pt x="76" y="136"/>
                      </a:lnTo>
                      <a:lnTo>
                        <a:pt x="78" y="134"/>
                      </a:lnTo>
                      <a:lnTo>
                        <a:pt x="80" y="134"/>
                      </a:lnTo>
                      <a:lnTo>
                        <a:pt x="82" y="132"/>
                      </a:lnTo>
                      <a:lnTo>
                        <a:pt x="82" y="130"/>
                      </a:lnTo>
                      <a:lnTo>
                        <a:pt x="84" y="130"/>
                      </a:lnTo>
                      <a:lnTo>
                        <a:pt x="86" y="128"/>
                      </a:lnTo>
                      <a:lnTo>
                        <a:pt x="88" y="126"/>
                      </a:lnTo>
                      <a:lnTo>
                        <a:pt x="88" y="124"/>
                      </a:lnTo>
                      <a:lnTo>
                        <a:pt x="90" y="124"/>
                      </a:lnTo>
                      <a:lnTo>
                        <a:pt x="92" y="124"/>
                      </a:lnTo>
                      <a:lnTo>
                        <a:pt x="94" y="124"/>
                      </a:lnTo>
                      <a:lnTo>
                        <a:pt x="96" y="122"/>
                      </a:lnTo>
                      <a:lnTo>
                        <a:pt x="98" y="120"/>
                      </a:lnTo>
                      <a:lnTo>
                        <a:pt x="100" y="120"/>
                      </a:lnTo>
                      <a:lnTo>
                        <a:pt x="100" y="118"/>
                      </a:lnTo>
                      <a:lnTo>
                        <a:pt x="102" y="120"/>
                      </a:lnTo>
                      <a:lnTo>
                        <a:pt x="104" y="122"/>
                      </a:lnTo>
                      <a:lnTo>
                        <a:pt x="106" y="122"/>
                      </a:lnTo>
                      <a:lnTo>
                        <a:pt x="108" y="122"/>
                      </a:lnTo>
                      <a:lnTo>
                        <a:pt x="108" y="120"/>
                      </a:lnTo>
                      <a:lnTo>
                        <a:pt x="108" y="118"/>
                      </a:lnTo>
                      <a:lnTo>
                        <a:pt x="108" y="116"/>
                      </a:lnTo>
                      <a:lnTo>
                        <a:pt x="110" y="116"/>
                      </a:lnTo>
                      <a:lnTo>
                        <a:pt x="112" y="116"/>
                      </a:lnTo>
                      <a:lnTo>
                        <a:pt x="114" y="116"/>
                      </a:lnTo>
                      <a:lnTo>
                        <a:pt x="116" y="116"/>
                      </a:lnTo>
                      <a:lnTo>
                        <a:pt x="116" y="114"/>
                      </a:lnTo>
                      <a:lnTo>
                        <a:pt x="118" y="114"/>
                      </a:lnTo>
                      <a:lnTo>
                        <a:pt x="120" y="114"/>
                      </a:lnTo>
                      <a:lnTo>
                        <a:pt x="122" y="114"/>
                      </a:lnTo>
                      <a:lnTo>
                        <a:pt x="124" y="114"/>
                      </a:lnTo>
                      <a:lnTo>
                        <a:pt x="126" y="114"/>
                      </a:lnTo>
                      <a:lnTo>
                        <a:pt x="128" y="114"/>
                      </a:lnTo>
                      <a:lnTo>
                        <a:pt x="128" y="112"/>
                      </a:lnTo>
                      <a:lnTo>
                        <a:pt x="130" y="112"/>
                      </a:lnTo>
                      <a:lnTo>
                        <a:pt x="132" y="110"/>
                      </a:lnTo>
                      <a:lnTo>
                        <a:pt x="132" y="108"/>
                      </a:lnTo>
                      <a:lnTo>
                        <a:pt x="134" y="104"/>
                      </a:lnTo>
                      <a:lnTo>
                        <a:pt x="136" y="104"/>
                      </a:lnTo>
                      <a:lnTo>
                        <a:pt x="136" y="102"/>
                      </a:lnTo>
                      <a:lnTo>
                        <a:pt x="138" y="102"/>
                      </a:lnTo>
                      <a:lnTo>
                        <a:pt x="140" y="102"/>
                      </a:lnTo>
                      <a:lnTo>
                        <a:pt x="142" y="102"/>
                      </a:lnTo>
                      <a:lnTo>
                        <a:pt x="144" y="102"/>
                      </a:lnTo>
                      <a:lnTo>
                        <a:pt x="146" y="102"/>
                      </a:lnTo>
                      <a:lnTo>
                        <a:pt x="148" y="102"/>
                      </a:lnTo>
                      <a:lnTo>
                        <a:pt x="150" y="100"/>
                      </a:lnTo>
                      <a:lnTo>
                        <a:pt x="150" y="98"/>
                      </a:lnTo>
                      <a:lnTo>
                        <a:pt x="152" y="96"/>
                      </a:lnTo>
                      <a:lnTo>
                        <a:pt x="152" y="94"/>
                      </a:lnTo>
                      <a:lnTo>
                        <a:pt x="156" y="94"/>
                      </a:lnTo>
                      <a:lnTo>
                        <a:pt x="158" y="92"/>
                      </a:lnTo>
                      <a:lnTo>
                        <a:pt x="160" y="92"/>
                      </a:lnTo>
                      <a:lnTo>
                        <a:pt x="158" y="90"/>
                      </a:lnTo>
                      <a:lnTo>
                        <a:pt x="156" y="88"/>
                      </a:lnTo>
                      <a:lnTo>
                        <a:pt x="156" y="86"/>
                      </a:lnTo>
                      <a:lnTo>
                        <a:pt x="154" y="86"/>
                      </a:lnTo>
                      <a:lnTo>
                        <a:pt x="154" y="84"/>
                      </a:lnTo>
                      <a:lnTo>
                        <a:pt x="154" y="82"/>
                      </a:lnTo>
                      <a:lnTo>
                        <a:pt x="154" y="80"/>
                      </a:lnTo>
                      <a:lnTo>
                        <a:pt x="156" y="80"/>
                      </a:lnTo>
                      <a:lnTo>
                        <a:pt x="156" y="78"/>
                      </a:lnTo>
                      <a:lnTo>
                        <a:pt x="158" y="78"/>
                      </a:lnTo>
                      <a:lnTo>
                        <a:pt x="162" y="78"/>
                      </a:lnTo>
                      <a:lnTo>
                        <a:pt x="164" y="78"/>
                      </a:lnTo>
                      <a:lnTo>
                        <a:pt x="166" y="78"/>
                      </a:lnTo>
                      <a:lnTo>
                        <a:pt x="168" y="78"/>
                      </a:lnTo>
                      <a:lnTo>
                        <a:pt x="170" y="76"/>
                      </a:lnTo>
                      <a:lnTo>
                        <a:pt x="170" y="74"/>
                      </a:lnTo>
                      <a:lnTo>
                        <a:pt x="170" y="72"/>
                      </a:lnTo>
                      <a:lnTo>
                        <a:pt x="172" y="72"/>
                      </a:lnTo>
                      <a:lnTo>
                        <a:pt x="174" y="72"/>
                      </a:lnTo>
                      <a:lnTo>
                        <a:pt x="176" y="72"/>
                      </a:lnTo>
                      <a:lnTo>
                        <a:pt x="176" y="70"/>
                      </a:lnTo>
                      <a:lnTo>
                        <a:pt x="178" y="70"/>
                      </a:lnTo>
                      <a:lnTo>
                        <a:pt x="180" y="72"/>
                      </a:lnTo>
                      <a:lnTo>
                        <a:pt x="182" y="72"/>
                      </a:lnTo>
                      <a:lnTo>
                        <a:pt x="186" y="72"/>
                      </a:lnTo>
                      <a:lnTo>
                        <a:pt x="188" y="72"/>
                      </a:lnTo>
                      <a:lnTo>
                        <a:pt x="190" y="72"/>
                      </a:lnTo>
                      <a:lnTo>
                        <a:pt x="194" y="70"/>
                      </a:lnTo>
                      <a:lnTo>
                        <a:pt x="196" y="70"/>
                      </a:lnTo>
                      <a:lnTo>
                        <a:pt x="196" y="68"/>
                      </a:lnTo>
                      <a:lnTo>
                        <a:pt x="198" y="66"/>
                      </a:lnTo>
                      <a:lnTo>
                        <a:pt x="198" y="64"/>
                      </a:lnTo>
                      <a:lnTo>
                        <a:pt x="200" y="64"/>
                      </a:lnTo>
                      <a:lnTo>
                        <a:pt x="194" y="6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8" name="Freeform 64">
                  <a:extLst>
                    <a:ext uri="{FF2B5EF4-FFF2-40B4-BE49-F238E27FC236}">
                      <a16:creationId xmlns:a16="http://schemas.microsoft.com/office/drawing/2014/main" id="{C3C098F4-E2AE-47C2-B0EF-90A5DF36BCDE}"/>
                    </a:ext>
                  </a:extLst>
                </p:cNvPr>
                <p:cNvSpPr>
                  <a:spLocks noChangeAspect="1"/>
                </p:cNvSpPr>
                <p:nvPr/>
              </p:nvSpPr>
              <p:spPr bwMode="auto">
                <a:xfrm>
                  <a:off x="4784317" y="3469059"/>
                  <a:ext cx="289407" cy="537141"/>
                </a:xfrm>
                <a:custGeom>
                  <a:avLst/>
                  <a:gdLst/>
                  <a:ahLst/>
                  <a:cxnLst>
                    <a:cxn ang="0">
                      <a:pos x="176" y="150"/>
                    </a:cxn>
                    <a:cxn ang="0">
                      <a:pos x="174" y="104"/>
                    </a:cxn>
                    <a:cxn ang="0">
                      <a:pos x="174" y="80"/>
                    </a:cxn>
                    <a:cxn ang="0">
                      <a:pos x="130" y="52"/>
                    </a:cxn>
                    <a:cxn ang="0">
                      <a:pos x="70" y="16"/>
                    </a:cxn>
                    <a:cxn ang="0">
                      <a:pos x="46" y="2"/>
                    </a:cxn>
                    <a:cxn ang="0">
                      <a:pos x="38" y="2"/>
                    </a:cxn>
                    <a:cxn ang="0">
                      <a:pos x="26" y="20"/>
                    </a:cxn>
                    <a:cxn ang="0">
                      <a:pos x="26" y="32"/>
                    </a:cxn>
                    <a:cxn ang="0">
                      <a:pos x="30" y="42"/>
                    </a:cxn>
                    <a:cxn ang="0">
                      <a:pos x="34" y="50"/>
                    </a:cxn>
                    <a:cxn ang="0">
                      <a:pos x="42" y="60"/>
                    </a:cxn>
                    <a:cxn ang="0">
                      <a:pos x="36" y="74"/>
                    </a:cxn>
                    <a:cxn ang="0">
                      <a:pos x="34" y="108"/>
                    </a:cxn>
                    <a:cxn ang="0">
                      <a:pos x="32" y="126"/>
                    </a:cxn>
                    <a:cxn ang="0">
                      <a:pos x="20" y="140"/>
                    </a:cxn>
                    <a:cxn ang="0">
                      <a:pos x="4" y="166"/>
                    </a:cxn>
                    <a:cxn ang="0">
                      <a:pos x="0" y="172"/>
                    </a:cxn>
                    <a:cxn ang="0">
                      <a:pos x="0" y="186"/>
                    </a:cxn>
                    <a:cxn ang="0">
                      <a:pos x="4" y="190"/>
                    </a:cxn>
                    <a:cxn ang="0">
                      <a:pos x="10" y="200"/>
                    </a:cxn>
                    <a:cxn ang="0">
                      <a:pos x="14" y="200"/>
                    </a:cxn>
                    <a:cxn ang="0">
                      <a:pos x="18" y="206"/>
                    </a:cxn>
                    <a:cxn ang="0">
                      <a:pos x="24" y="216"/>
                    </a:cxn>
                    <a:cxn ang="0">
                      <a:pos x="26" y="222"/>
                    </a:cxn>
                    <a:cxn ang="0">
                      <a:pos x="24" y="232"/>
                    </a:cxn>
                    <a:cxn ang="0">
                      <a:pos x="34" y="256"/>
                    </a:cxn>
                    <a:cxn ang="0">
                      <a:pos x="28" y="258"/>
                    </a:cxn>
                    <a:cxn ang="0">
                      <a:pos x="10" y="260"/>
                    </a:cxn>
                    <a:cxn ang="0">
                      <a:pos x="16" y="276"/>
                    </a:cxn>
                    <a:cxn ang="0">
                      <a:pos x="32" y="290"/>
                    </a:cxn>
                    <a:cxn ang="0">
                      <a:pos x="34" y="306"/>
                    </a:cxn>
                    <a:cxn ang="0">
                      <a:pos x="46" y="304"/>
                    </a:cxn>
                    <a:cxn ang="0">
                      <a:pos x="52" y="302"/>
                    </a:cxn>
                    <a:cxn ang="0">
                      <a:pos x="64" y="300"/>
                    </a:cxn>
                    <a:cxn ang="0">
                      <a:pos x="84" y="296"/>
                    </a:cxn>
                    <a:cxn ang="0">
                      <a:pos x="92" y="290"/>
                    </a:cxn>
                    <a:cxn ang="0">
                      <a:pos x="90" y="280"/>
                    </a:cxn>
                    <a:cxn ang="0">
                      <a:pos x="96" y="278"/>
                    </a:cxn>
                    <a:cxn ang="0">
                      <a:pos x="120" y="270"/>
                    </a:cxn>
                    <a:cxn ang="0">
                      <a:pos x="128" y="260"/>
                    </a:cxn>
                    <a:cxn ang="0">
                      <a:pos x="138" y="254"/>
                    </a:cxn>
                    <a:cxn ang="0">
                      <a:pos x="140" y="246"/>
                    </a:cxn>
                    <a:cxn ang="0">
                      <a:pos x="152" y="240"/>
                    </a:cxn>
                    <a:cxn ang="0">
                      <a:pos x="158" y="240"/>
                    </a:cxn>
                    <a:cxn ang="0">
                      <a:pos x="162" y="236"/>
                    </a:cxn>
                    <a:cxn ang="0">
                      <a:pos x="154" y="228"/>
                    </a:cxn>
                    <a:cxn ang="0">
                      <a:pos x="150" y="224"/>
                    </a:cxn>
                    <a:cxn ang="0">
                      <a:pos x="152" y="220"/>
                    </a:cxn>
                    <a:cxn ang="0">
                      <a:pos x="150" y="210"/>
                    </a:cxn>
                    <a:cxn ang="0">
                      <a:pos x="142" y="208"/>
                    </a:cxn>
                    <a:cxn ang="0">
                      <a:pos x="146" y="196"/>
                    </a:cxn>
                    <a:cxn ang="0">
                      <a:pos x="146" y="182"/>
                    </a:cxn>
                    <a:cxn ang="0">
                      <a:pos x="152" y="178"/>
                    </a:cxn>
                    <a:cxn ang="0">
                      <a:pos x="150" y="170"/>
                    </a:cxn>
                    <a:cxn ang="0">
                      <a:pos x="152" y="168"/>
                    </a:cxn>
                    <a:cxn ang="0">
                      <a:pos x="156" y="160"/>
                    </a:cxn>
                    <a:cxn ang="0">
                      <a:pos x="158" y="152"/>
                    </a:cxn>
                  </a:cxnLst>
                  <a:rect l="0" t="0" r="r" b="b"/>
                  <a:pathLst>
                    <a:path w="176" h="308">
                      <a:moveTo>
                        <a:pt x="160" y="150"/>
                      </a:moveTo>
                      <a:lnTo>
                        <a:pt x="162" y="148"/>
                      </a:lnTo>
                      <a:lnTo>
                        <a:pt x="164" y="148"/>
                      </a:lnTo>
                      <a:lnTo>
                        <a:pt x="170" y="150"/>
                      </a:lnTo>
                      <a:lnTo>
                        <a:pt x="172" y="150"/>
                      </a:lnTo>
                      <a:lnTo>
                        <a:pt x="174" y="150"/>
                      </a:lnTo>
                      <a:lnTo>
                        <a:pt x="176" y="150"/>
                      </a:lnTo>
                      <a:lnTo>
                        <a:pt x="176" y="142"/>
                      </a:lnTo>
                      <a:lnTo>
                        <a:pt x="176" y="136"/>
                      </a:lnTo>
                      <a:lnTo>
                        <a:pt x="176" y="130"/>
                      </a:lnTo>
                      <a:lnTo>
                        <a:pt x="176" y="126"/>
                      </a:lnTo>
                      <a:lnTo>
                        <a:pt x="176" y="120"/>
                      </a:lnTo>
                      <a:lnTo>
                        <a:pt x="174" y="116"/>
                      </a:lnTo>
                      <a:lnTo>
                        <a:pt x="174" y="112"/>
                      </a:lnTo>
                      <a:lnTo>
                        <a:pt x="174" y="106"/>
                      </a:lnTo>
                      <a:lnTo>
                        <a:pt x="174" y="104"/>
                      </a:lnTo>
                      <a:lnTo>
                        <a:pt x="174" y="100"/>
                      </a:lnTo>
                      <a:lnTo>
                        <a:pt x="174" y="98"/>
                      </a:lnTo>
                      <a:lnTo>
                        <a:pt x="174" y="94"/>
                      </a:lnTo>
                      <a:lnTo>
                        <a:pt x="174" y="92"/>
                      </a:lnTo>
                      <a:lnTo>
                        <a:pt x="174" y="90"/>
                      </a:lnTo>
                      <a:lnTo>
                        <a:pt x="174" y="88"/>
                      </a:lnTo>
                      <a:lnTo>
                        <a:pt x="174" y="86"/>
                      </a:lnTo>
                      <a:lnTo>
                        <a:pt x="174" y="82"/>
                      </a:lnTo>
                      <a:lnTo>
                        <a:pt x="174" y="80"/>
                      </a:lnTo>
                      <a:lnTo>
                        <a:pt x="174" y="78"/>
                      </a:lnTo>
                      <a:lnTo>
                        <a:pt x="174" y="76"/>
                      </a:lnTo>
                      <a:lnTo>
                        <a:pt x="162" y="70"/>
                      </a:lnTo>
                      <a:lnTo>
                        <a:pt x="150" y="62"/>
                      </a:lnTo>
                      <a:lnTo>
                        <a:pt x="140" y="56"/>
                      </a:lnTo>
                      <a:lnTo>
                        <a:pt x="130" y="52"/>
                      </a:lnTo>
                      <a:lnTo>
                        <a:pt x="120" y="46"/>
                      </a:lnTo>
                      <a:lnTo>
                        <a:pt x="112" y="40"/>
                      </a:lnTo>
                      <a:lnTo>
                        <a:pt x="104" y="36"/>
                      </a:lnTo>
                      <a:lnTo>
                        <a:pt x="98" y="32"/>
                      </a:lnTo>
                      <a:lnTo>
                        <a:pt x="90" y="28"/>
                      </a:lnTo>
                      <a:lnTo>
                        <a:pt x="84" y="24"/>
                      </a:lnTo>
                      <a:lnTo>
                        <a:pt x="78" y="22"/>
                      </a:lnTo>
                      <a:lnTo>
                        <a:pt x="74" y="18"/>
                      </a:lnTo>
                      <a:lnTo>
                        <a:pt x="70" y="16"/>
                      </a:lnTo>
                      <a:lnTo>
                        <a:pt x="66" y="12"/>
                      </a:lnTo>
                      <a:lnTo>
                        <a:pt x="62" y="10"/>
                      </a:lnTo>
                      <a:lnTo>
                        <a:pt x="58" y="10"/>
                      </a:lnTo>
                      <a:lnTo>
                        <a:pt x="54" y="8"/>
                      </a:lnTo>
                      <a:lnTo>
                        <a:pt x="52" y="6"/>
                      </a:lnTo>
                      <a:lnTo>
                        <a:pt x="50" y="6"/>
                      </a:lnTo>
                      <a:lnTo>
                        <a:pt x="48" y="4"/>
                      </a:lnTo>
                      <a:lnTo>
                        <a:pt x="48" y="2"/>
                      </a:lnTo>
                      <a:lnTo>
                        <a:pt x="46" y="2"/>
                      </a:lnTo>
                      <a:lnTo>
                        <a:pt x="44" y="2"/>
                      </a:lnTo>
                      <a:lnTo>
                        <a:pt x="44" y="0"/>
                      </a:lnTo>
                      <a:lnTo>
                        <a:pt x="42" y="0"/>
                      </a:lnTo>
                      <a:lnTo>
                        <a:pt x="40" y="0"/>
                      </a:lnTo>
                      <a:lnTo>
                        <a:pt x="38" y="2"/>
                      </a:lnTo>
                      <a:lnTo>
                        <a:pt x="36" y="4"/>
                      </a:lnTo>
                      <a:lnTo>
                        <a:pt x="34" y="4"/>
                      </a:lnTo>
                      <a:lnTo>
                        <a:pt x="30" y="6"/>
                      </a:lnTo>
                      <a:lnTo>
                        <a:pt x="24" y="10"/>
                      </a:lnTo>
                      <a:lnTo>
                        <a:pt x="24" y="12"/>
                      </a:lnTo>
                      <a:lnTo>
                        <a:pt x="26" y="14"/>
                      </a:lnTo>
                      <a:lnTo>
                        <a:pt x="26" y="16"/>
                      </a:lnTo>
                      <a:lnTo>
                        <a:pt x="26" y="18"/>
                      </a:lnTo>
                      <a:lnTo>
                        <a:pt x="26" y="20"/>
                      </a:lnTo>
                      <a:lnTo>
                        <a:pt x="28" y="22"/>
                      </a:lnTo>
                      <a:lnTo>
                        <a:pt x="28" y="24"/>
                      </a:lnTo>
                      <a:lnTo>
                        <a:pt x="28" y="26"/>
                      </a:lnTo>
                      <a:lnTo>
                        <a:pt x="28" y="28"/>
                      </a:lnTo>
                      <a:lnTo>
                        <a:pt x="28" y="30"/>
                      </a:lnTo>
                      <a:lnTo>
                        <a:pt x="26" y="32"/>
                      </a:lnTo>
                      <a:lnTo>
                        <a:pt x="26" y="34"/>
                      </a:lnTo>
                      <a:lnTo>
                        <a:pt x="26" y="36"/>
                      </a:lnTo>
                      <a:lnTo>
                        <a:pt x="28" y="40"/>
                      </a:lnTo>
                      <a:lnTo>
                        <a:pt x="30" y="42"/>
                      </a:lnTo>
                      <a:lnTo>
                        <a:pt x="30" y="44"/>
                      </a:lnTo>
                      <a:lnTo>
                        <a:pt x="32" y="44"/>
                      </a:lnTo>
                      <a:lnTo>
                        <a:pt x="32" y="46"/>
                      </a:lnTo>
                      <a:lnTo>
                        <a:pt x="34" y="48"/>
                      </a:lnTo>
                      <a:lnTo>
                        <a:pt x="34" y="50"/>
                      </a:lnTo>
                      <a:lnTo>
                        <a:pt x="34" y="52"/>
                      </a:lnTo>
                      <a:lnTo>
                        <a:pt x="36" y="54"/>
                      </a:lnTo>
                      <a:lnTo>
                        <a:pt x="38" y="56"/>
                      </a:lnTo>
                      <a:lnTo>
                        <a:pt x="40" y="58"/>
                      </a:lnTo>
                      <a:lnTo>
                        <a:pt x="42" y="60"/>
                      </a:lnTo>
                      <a:lnTo>
                        <a:pt x="40" y="62"/>
                      </a:lnTo>
                      <a:lnTo>
                        <a:pt x="38" y="64"/>
                      </a:lnTo>
                      <a:lnTo>
                        <a:pt x="38" y="66"/>
                      </a:lnTo>
                      <a:lnTo>
                        <a:pt x="38" y="68"/>
                      </a:lnTo>
                      <a:lnTo>
                        <a:pt x="36" y="68"/>
                      </a:lnTo>
                      <a:lnTo>
                        <a:pt x="36" y="74"/>
                      </a:lnTo>
                      <a:lnTo>
                        <a:pt x="36" y="80"/>
                      </a:lnTo>
                      <a:lnTo>
                        <a:pt x="36" y="84"/>
                      </a:lnTo>
                      <a:lnTo>
                        <a:pt x="36" y="88"/>
                      </a:lnTo>
                      <a:lnTo>
                        <a:pt x="36" y="92"/>
                      </a:lnTo>
                      <a:lnTo>
                        <a:pt x="34" y="96"/>
                      </a:lnTo>
                      <a:lnTo>
                        <a:pt x="34" y="100"/>
                      </a:lnTo>
                      <a:lnTo>
                        <a:pt x="34" y="102"/>
                      </a:lnTo>
                      <a:lnTo>
                        <a:pt x="34" y="104"/>
                      </a:lnTo>
                      <a:lnTo>
                        <a:pt x="34" y="108"/>
                      </a:lnTo>
                      <a:lnTo>
                        <a:pt x="34" y="112"/>
                      </a:lnTo>
                      <a:lnTo>
                        <a:pt x="34" y="116"/>
                      </a:lnTo>
                      <a:lnTo>
                        <a:pt x="34" y="120"/>
                      </a:lnTo>
                      <a:lnTo>
                        <a:pt x="34" y="122"/>
                      </a:lnTo>
                      <a:lnTo>
                        <a:pt x="34" y="124"/>
                      </a:lnTo>
                      <a:lnTo>
                        <a:pt x="34" y="126"/>
                      </a:lnTo>
                      <a:lnTo>
                        <a:pt x="32" y="126"/>
                      </a:lnTo>
                      <a:lnTo>
                        <a:pt x="32" y="128"/>
                      </a:lnTo>
                      <a:lnTo>
                        <a:pt x="30" y="130"/>
                      </a:lnTo>
                      <a:lnTo>
                        <a:pt x="28" y="130"/>
                      </a:lnTo>
                      <a:lnTo>
                        <a:pt x="26" y="132"/>
                      </a:lnTo>
                      <a:lnTo>
                        <a:pt x="24" y="136"/>
                      </a:lnTo>
                      <a:lnTo>
                        <a:pt x="20" y="140"/>
                      </a:lnTo>
                      <a:lnTo>
                        <a:pt x="16" y="146"/>
                      </a:lnTo>
                      <a:lnTo>
                        <a:pt x="14" y="150"/>
                      </a:lnTo>
                      <a:lnTo>
                        <a:pt x="12" y="150"/>
                      </a:lnTo>
                      <a:lnTo>
                        <a:pt x="12" y="152"/>
                      </a:lnTo>
                      <a:lnTo>
                        <a:pt x="10" y="154"/>
                      </a:lnTo>
                      <a:lnTo>
                        <a:pt x="8" y="156"/>
                      </a:lnTo>
                      <a:lnTo>
                        <a:pt x="6" y="160"/>
                      </a:lnTo>
                      <a:lnTo>
                        <a:pt x="6" y="164"/>
                      </a:lnTo>
                      <a:lnTo>
                        <a:pt x="4" y="166"/>
                      </a:lnTo>
                      <a:lnTo>
                        <a:pt x="4" y="168"/>
                      </a:lnTo>
                      <a:lnTo>
                        <a:pt x="4" y="170"/>
                      </a:lnTo>
                      <a:lnTo>
                        <a:pt x="2" y="172"/>
                      </a:lnTo>
                      <a:lnTo>
                        <a:pt x="0" y="172"/>
                      </a:lnTo>
                      <a:lnTo>
                        <a:pt x="0" y="176"/>
                      </a:lnTo>
                      <a:lnTo>
                        <a:pt x="0" y="178"/>
                      </a:lnTo>
                      <a:lnTo>
                        <a:pt x="0" y="180"/>
                      </a:lnTo>
                      <a:lnTo>
                        <a:pt x="0" y="182"/>
                      </a:lnTo>
                      <a:lnTo>
                        <a:pt x="0" y="184"/>
                      </a:lnTo>
                      <a:lnTo>
                        <a:pt x="0" y="186"/>
                      </a:lnTo>
                      <a:lnTo>
                        <a:pt x="0" y="188"/>
                      </a:lnTo>
                      <a:lnTo>
                        <a:pt x="2" y="188"/>
                      </a:lnTo>
                      <a:lnTo>
                        <a:pt x="4" y="190"/>
                      </a:lnTo>
                      <a:lnTo>
                        <a:pt x="4" y="192"/>
                      </a:lnTo>
                      <a:lnTo>
                        <a:pt x="6" y="194"/>
                      </a:lnTo>
                      <a:lnTo>
                        <a:pt x="8" y="196"/>
                      </a:lnTo>
                      <a:lnTo>
                        <a:pt x="8" y="198"/>
                      </a:lnTo>
                      <a:lnTo>
                        <a:pt x="10" y="198"/>
                      </a:lnTo>
                      <a:lnTo>
                        <a:pt x="10" y="200"/>
                      </a:lnTo>
                      <a:lnTo>
                        <a:pt x="12" y="200"/>
                      </a:lnTo>
                      <a:lnTo>
                        <a:pt x="14" y="200"/>
                      </a:lnTo>
                      <a:lnTo>
                        <a:pt x="16" y="200"/>
                      </a:lnTo>
                      <a:lnTo>
                        <a:pt x="16" y="202"/>
                      </a:lnTo>
                      <a:lnTo>
                        <a:pt x="16" y="204"/>
                      </a:lnTo>
                      <a:lnTo>
                        <a:pt x="18" y="206"/>
                      </a:lnTo>
                      <a:lnTo>
                        <a:pt x="22" y="206"/>
                      </a:lnTo>
                      <a:lnTo>
                        <a:pt x="22" y="208"/>
                      </a:lnTo>
                      <a:lnTo>
                        <a:pt x="24" y="208"/>
                      </a:lnTo>
                      <a:lnTo>
                        <a:pt x="24" y="212"/>
                      </a:lnTo>
                      <a:lnTo>
                        <a:pt x="24" y="214"/>
                      </a:lnTo>
                      <a:lnTo>
                        <a:pt x="24" y="216"/>
                      </a:lnTo>
                      <a:lnTo>
                        <a:pt x="22" y="216"/>
                      </a:lnTo>
                      <a:lnTo>
                        <a:pt x="22" y="218"/>
                      </a:lnTo>
                      <a:lnTo>
                        <a:pt x="24" y="218"/>
                      </a:lnTo>
                      <a:lnTo>
                        <a:pt x="24" y="220"/>
                      </a:lnTo>
                      <a:lnTo>
                        <a:pt x="26" y="222"/>
                      </a:lnTo>
                      <a:lnTo>
                        <a:pt x="28" y="224"/>
                      </a:lnTo>
                      <a:lnTo>
                        <a:pt x="26" y="226"/>
                      </a:lnTo>
                      <a:lnTo>
                        <a:pt x="26" y="228"/>
                      </a:lnTo>
                      <a:lnTo>
                        <a:pt x="26" y="230"/>
                      </a:lnTo>
                      <a:lnTo>
                        <a:pt x="24" y="232"/>
                      </a:lnTo>
                      <a:lnTo>
                        <a:pt x="24" y="234"/>
                      </a:lnTo>
                      <a:lnTo>
                        <a:pt x="26" y="238"/>
                      </a:lnTo>
                      <a:lnTo>
                        <a:pt x="26" y="242"/>
                      </a:lnTo>
                      <a:lnTo>
                        <a:pt x="26" y="244"/>
                      </a:lnTo>
                      <a:lnTo>
                        <a:pt x="28" y="246"/>
                      </a:lnTo>
                      <a:lnTo>
                        <a:pt x="28" y="248"/>
                      </a:lnTo>
                      <a:lnTo>
                        <a:pt x="30" y="250"/>
                      </a:lnTo>
                      <a:lnTo>
                        <a:pt x="32" y="254"/>
                      </a:lnTo>
                      <a:lnTo>
                        <a:pt x="34" y="256"/>
                      </a:lnTo>
                      <a:lnTo>
                        <a:pt x="36" y="256"/>
                      </a:lnTo>
                      <a:lnTo>
                        <a:pt x="36" y="258"/>
                      </a:lnTo>
                      <a:lnTo>
                        <a:pt x="34" y="258"/>
                      </a:lnTo>
                      <a:lnTo>
                        <a:pt x="32" y="258"/>
                      </a:lnTo>
                      <a:lnTo>
                        <a:pt x="28" y="258"/>
                      </a:lnTo>
                      <a:lnTo>
                        <a:pt x="26" y="258"/>
                      </a:lnTo>
                      <a:lnTo>
                        <a:pt x="24" y="258"/>
                      </a:lnTo>
                      <a:lnTo>
                        <a:pt x="22" y="258"/>
                      </a:lnTo>
                      <a:lnTo>
                        <a:pt x="20" y="258"/>
                      </a:lnTo>
                      <a:lnTo>
                        <a:pt x="16" y="258"/>
                      </a:lnTo>
                      <a:lnTo>
                        <a:pt x="14" y="258"/>
                      </a:lnTo>
                      <a:lnTo>
                        <a:pt x="12" y="260"/>
                      </a:lnTo>
                      <a:lnTo>
                        <a:pt x="10" y="260"/>
                      </a:lnTo>
                      <a:lnTo>
                        <a:pt x="10" y="262"/>
                      </a:lnTo>
                      <a:lnTo>
                        <a:pt x="10" y="264"/>
                      </a:lnTo>
                      <a:lnTo>
                        <a:pt x="10" y="266"/>
                      </a:lnTo>
                      <a:lnTo>
                        <a:pt x="10" y="268"/>
                      </a:lnTo>
                      <a:lnTo>
                        <a:pt x="12" y="270"/>
                      </a:lnTo>
                      <a:lnTo>
                        <a:pt x="14" y="272"/>
                      </a:lnTo>
                      <a:lnTo>
                        <a:pt x="16" y="274"/>
                      </a:lnTo>
                      <a:lnTo>
                        <a:pt x="16" y="276"/>
                      </a:lnTo>
                      <a:lnTo>
                        <a:pt x="18" y="276"/>
                      </a:lnTo>
                      <a:lnTo>
                        <a:pt x="20" y="278"/>
                      </a:lnTo>
                      <a:lnTo>
                        <a:pt x="24" y="280"/>
                      </a:lnTo>
                      <a:lnTo>
                        <a:pt x="26" y="284"/>
                      </a:lnTo>
                      <a:lnTo>
                        <a:pt x="28" y="284"/>
                      </a:lnTo>
                      <a:lnTo>
                        <a:pt x="30" y="286"/>
                      </a:lnTo>
                      <a:lnTo>
                        <a:pt x="30" y="288"/>
                      </a:lnTo>
                      <a:lnTo>
                        <a:pt x="32" y="290"/>
                      </a:lnTo>
                      <a:lnTo>
                        <a:pt x="32" y="294"/>
                      </a:lnTo>
                      <a:lnTo>
                        <a:pt x="34" y="296"/>
                      </a:lnTo>
                      <a:lnTo>
                        <a:pt x="34" y="300"/>
                      </a:lnTo>
                      <a:lnTo>
                        <a:pt x="34" y="304"/>
                      </a:lnTo>
                      <a:lnTo>
                        <a:pt x="34" y="306"/>
                      </a:lnTo>
                      <a:lnTo>
                        <a:pt x="36" y="306"/>
                      </a:lnTo>
                      <a:lnTo>
                        <a:pt x="38" y="306"/>
                      </a:lnTo>
                      <a:lnTo>
                        <a:pt x="38" y="308"/>
                      </a:lnTo>
                      <a:lnTo>
                        <a:pt x="40" y="308"/>
                      </a:lnTo>
                      <a:lnTo>
                        <a:pt x="42" y="306"/>
                      </a:lnTo>
                      <a:lnTo>
                        <a:pt x="44" y="306"/>
                      </a:lnTo>
                      <a:lnTo>
                        <a:pt x="46" y="304"/>
                      </a:lnTo>
                      <a:lnTo>
                        <a:pt x="48" y="302"/>
                      </a:lnTo>
                      <a:lnTo>
                        <a:pt x="50" y="300"/>
                      </a:lnTo>
                      <a:lnTo>
                        <a:pt x="52" y="300"/>
                      </a:lnTo>
                      <a:lnTo>
                        <a:pt x="52" y="298"/>
                      </a:lnTo>
                      <a:lnTo>
                        <a:pt x="54" y="298"/>
                      </a:lnTo>
                      <a:lnTo>
                        <a:pt x="52" y="300"/>
                      </a:lnTo>
                      <a:lnTo>
                        <a:pt x="52" y="302"/>
                      </a:lnTo>
                      <a:lnTo>
                        <a:pt x="54" y="304"/>
                      </a:lnTo>
                      <a:lnTo>
                        <a:pt x="54" y="306"/>
                      </a:lnTo>
                      <a:lnTo>
                        <a:pt x="56" y="306"/>
                      </a:lnTo>
                      <a:lnTo>
                        <a:pt x="58" y="306"/>
                      </a:lnTo>
                      <a:lnTo>
                        <a:pt x="60" y="304"/>
                      </a:lnTo>
                      <a:lnTo>
                        <a:pt x="62" y="304"/>
                      </a:lnTo>
                      <a:lnTo>
                        <a:pt x="62" y="302"/>
                      </a:lnTo>
                      <a:lnTo>
                        <a:pt x="64" y="300"/>
                      </a:lnTo>
                      <a:lnTo>
                        <a:pt x="64" y="298"/>
                      </a:lnTo>
                      <a:lnTo>
                        <a:pt x="66" y="298"/>
                      </a:lnTo>
                      <a:lnTo>
                        <a:pt x="66" y="296"/>
                      </a:lnTo>
                      <a:lnTo>
                        <a:pt x="70" y="296"/>
                      </a:lnTo>
                      <a:lnTo>
                        <a:pt x="72" y="296"/>
                      </a:lnTo>
                      <a:lnTo>
                        <a:pt x="74" y="296"/>
                      </a:lnTo>
                      <a:lnTo>
                        <a:pt x="78" y="296"/>
                      </a:lnTo>
                      <a:lnTo>
                        <a:pt x="80" y="296"/>
                      </a:lnTo>
                      <a:lnTo>
                        <a:pt x="84" y="296"/>
                      </a:lnTo>
                      <a:lnTo>
                        <a:pt x="86" y="296"/>
                      </a:lnTo>
                      <a:lnTo>
                        <a:pt x="88" y="296"/>
                      </a:lnTo>
                      <a:lnTo>
                        <a:pt x="88" y="294"/>
                      </a:lnTo>
                      <a:lnTo>
                        <a:pt x="90" y="294"/>
                      </a:lnTo>
                      <a:lnTo>
                        <a:pt x="90" y="292"/>
                      </a:lnTo>
                      <a:lnTo>
                        <a:pt x="92" y="290"/>
                      </a:lnTo>
                      <a:lnTo>
                        <a:pt x="94" y="288"/>
                      </a:lnTo>
                      <a:lnTo>
                        <a:pt x="94" y="286"/>
                      </a:lnTo>
                      <a:lnTo>
                        <a:pt x="96" y="286"/>
                      </a:lnTo>
                      <a:lnTo>
                        <a:pt x="94" y="284"/>
                      </a:lnTo>
                      <a:lnTo>
                        <a:pt x="92" y="282"/>
                      </a:lnTo>
                      <a:lnTo>
                        <a:pt x="90" y="282"/>
                      </a:lnTo>
                      <a:lnTo>
                        <a:pt x="90" y="280"/>
                      </a:lnTo>
                      <a:lnTo>
                        <a:pt x="92" y="280"/>
                      </a:lnTo>
                      <a:lnTo>
                        <a:pt x="92" y="278"/>
                      </a:lnTo>
                      <a:lnTo>
                        <a:pt x="94" y="278"/>
                      </a:lnTo>
                      <a:lnTo>
                        <a:pt x="96" y="278"/>
                      </a:lnTo>
                      <a:lnTo>
                        <a:pt x="98" y="278"/>
                      </a:lnTo>
                      <a:lnTo>
                        <a:pt x="102" y="276"/>
                      </a:lnTo>
                      <a:lnTo>
                        <a:pt x="106" y="276"/>
                      </a:lnTo>
                      <a:lnTo>
                        <a:pt x="110" y="276"/>
                      </a:lnTo>
                      <a:lnTo>
                        <a:pt x="116" y="274"/>
                      </a:lnTo>
                      <a:lnTo>
                        <a:pt x="120" y="272"/>
                      </a:lnTo>
                      <a:lnTo>
                        <a:pt x="120" y="270"/>
                      </a:lnTo>
                      <a:lnTo>
                        <a:pt x="122" y="270"/>
                      </a:lnTo>
                      <a:lnTo>
                        <a:pt x="124" y="270"/>
                      </a:lnTo>
                      <a:lnTo>
                        <a:pt x="126" y="268"/>
                      </a:lnTo>
                      <a:lnTo>
                        <a:pt x="128" y="266"/>
                      </a:lnTo>
                      <a:lnTo>
                        <a:pt x="128" y="264"/>
                      </a:lnTo>
                      <a:lnTo>
                        <a:pt x="128" y="262"/>
                      </a:lnTo>
                      <a:lnTo>
                        <a:pt x="130" y="260"/>
                      </a:lnTo>
                      <a:lnTo>
                        <a:pt x="128" y="260"/>
                      </a:lnTo>
                      <a:lnTo>
                        <a:pt x="130" y="258"/>
                      </a:lnTo>
                      <a:lnTo>
                        <a:pt x="132" y="258"/>
                      </a:lnTo>
                      <a:lnTo>
                        <a:pt x="134" y="258"/>
                      </a:lnTo>
                      <a:lnTo>
                        <a:pt x="136" y="256"/>
                      </a:lnTo>
                      <a:lnTo>
                        <a:pt x="136" y="254"/>
                      </a:lnTo>
                      <a:lnTo>
                        <a:pt x="138" y="254"/>
                      </a:lnTo>
                      <a:lnTo>
                        <a:pt x="138" y="252"/>
                      </a:lnTo>
                      <a:lnTo>
                        <a:pt x="138" y="250"/>
                      </a:lnTo>
                      <a:lnTo>
                        <a:pt x="138" y="248"/>
                      </a:lnTo>
                      <a:lnTo>
                        <a:pt x="140" y="248"/>
                      </a:lnTo>
                      <a:lnTo>
                        <a:pt x="140" y="246"/>
                      </a:lnTo>
                      <a:lnTo>
                        <a:pt x="142" y="246"/>
                      </a:lnTo>
                      <a:lnTo>
                        <a:pt x="144" y="244"/>
                      </a:lnTo>
                      <a:lnTo>
                        <a:pt x="146" y="242"/>
                      </a:lnTo>
                      <a:lnTo>
                        <a:pt x="148" y="242"/>
                      </a:lnTo>
                      <a:lnTo>
                        <a:pt x="150" y="240"/>
                      </a:lnTo>
                      <a:lnTo>
                        <a:pt x="152" y="240"/>
                      </a:lnTo>
                      <a:lnTo>
                        <a:pt x="154" y="240"/>
                      </a:lnTo>
                      <a:lnTo>
                        <a:pt x="156" y="240"/>
                      </a:lnTo>
                      <a:lnTo>
                        <a:pt x="158" y="240"/>
                      </a:lnTo>
                      <a:lnTo>
                        <a:pt x="158" y="238"/>
                      </a:lnTo>
                      <a:lnTo>
                        <a:pt x="158" y="236"/>
                      </a:lnTo>
                      <a:lnTo>
                        <a:pt x="160" y="236"/>
                      </a:lnTo>
                      <a:lnTo>
                        <a:pt x="162" y="236"/>
                      </a:lnTo>
                      <a:lnTo>
                        <a:pt x="160" y="234"/>
                      </a:lnTo>
                      <a:lnTo>
                        <a:pt x="158" y="232"/>
                      </a:lnTo>
                      <a:lnTo>
                        <a:pt x="156" y="230"/>
                      </a:lnTo>
                      <a:lnTo>
                        <a:pt x="154" y="230"/>
                      </a:lnTo>
                      <a:lnTo>
                        <a:pt x="154" y="228"/>
                      </a:lnTo>
                      <a:lnTo>
                        <a:pt x="152" y="228"/>
                      </a:lnTo>
                      <a:lnTo>
                        <a:pt x="152" y="226"/>
                      </a:lnTo>
                      <a:lnTo>
                        <a:pt x="152" y="224"/>
                      </a:lnTo>
                      <a:lnTo>
                        <a:pt x="150" y="224"/>
                      </a:lnTo>
                      <a:lnTo>
                        <a:pt x="152" y="222"/>
                      </a:lnTo>
                      <a:lnTo>
                        <a:pt x="154" y="222"/>
                      </a:lnTo>
                      <a:lnTo>
                        <a:pt x="154" y="220"/>
                      </a:lnTo>
                      <a:lnTo>
                        <a:pt x="152" y="220"/>
                      </a:lnTo>
                      <a:lnTo>
                        <a:pt x="152" y="218"/>
                      </a:lnTo>
                      <a:lnTo>
                        <a:pt x="152" y="216"/>
                      </a:lnTo>
                      <a:lnTo>
                        <a:pt x="152" y="214"/>
                      </a:lnTo>
                      <a:lnTo>
                        <a:pt x="152" y="212"/>
                      </a:lnTo>
                      <a:lnTo>
                        <a:pt x="150" y="210"/>
                      </a:lnTo>
                      <a:lnTo>
                        <a:pt x="150" y="208"/>
                      </a:lnTo>
                      <a:lnTo>
                        <a:pt x="148" y="206"/>
                      </a:lnTo>
                      <a:lnTo>
                        <a:pt x="146" y="208"/>
                      </a:lnTo>
                      <a:lnTo>
                        <a:pt x="144" y="208"/>
                      </a:lnTo>
                      <a:lnTo>
                        <a:pt x="142" y="208"/>
                      </a:lnTo>
                      <a:lnTo>
                        <a:pt x="142" y="206"/>
                      </a:lnTo>
                      <a:lnTo>
                        <a:pt x="140" y="204"/>
                      </a:lnTo>
                      <a:lnTo>
                        <a:pt x="142" y="202"/>
                      </a:lnTo>
                      <a:lnTo>
                        <a:pt x="142" y="200"/>
                      </a:lnTo>
                      <a:lnTo>
                        <a:pt x="144" y="200"/>
                      </a:lnTo>
                      <a:lnTo>
                        <a:pt x="146" y="198"/>
                      </a:lnTo>
                      <a:lnTo>
                        <a:pt x="146" y="196"/>
                      </a:lnTo>
                      <a:lnTo>
                        <a:pt x="148" y="196"/>
                      </a:lnTo>
                      <a:lnTo>
                        <a:pt x="148" y="194"/>
                      </a:lnTo>
                      <a:lnTo>
                        <a:pt x="148" y="192"/>
                      </a:lnTo>
                      <a:lnTo>
                        <a:pt x="146" y="190"/>
                      </a:lnTo>
                      <a:lnTo>
                        <a:pt x="144" y="188"/>
                      </a:lnTo>
                      <a:lnTo>
                        <a:pt x="144" y="186"/>
                      </a:lnTo>
                      <a:lnTo>
                        <a:pt x="144" y="184"/>
                      </a:lnTo>
                      <a:lnTo>
                        <a:pt x="146" y="182"/>
                      </a:lnTo>
                      <a:lnTo>
                        <a:pt x="148" y="182"/>
                      </a:lnTo>
                      <a:lnTo>
                        <a:pt x="148" y="180"/>
                      </a:lnTo>
                      <a:lnTo>
                        <a:pt x="150" y="180"/>
                      </a:lnTo>
                      <a:lnTo>
                        <a:pt x="152" y="178"/>
                      </a:lnTo>
                      <a:lnTo>
                        <a:pt x="152" y="176"/>
                      </a:lnTo>
                      <a:lnTo>
                        <a:pt x="150" y="176"/>
                      </a:lnTo>
                      <a:lnTo>
                        <a:pt x="150" y="174"/>
                      </a:lnTo>
                      <a:lnTo>
                        <a:pt x="150" y="172"/>
                      </a:lnTo>
                      <a:lnTo>
                        <a:pt x="150" y="170"/>
                      </a:lnTo>
                      <a:lnTo>
                        <a:pt x="150" y="168"/>
                      </a:lnTo>
                      <a:lnTo>
                        <a:pt x="152" y="168"/>
                      </a:lnTo>
                      <a:lnTo>
                        <a:pt x="152" y="166"/>
                      </a:lnTo>
                      <a:lnTo>
                        <a:pt x="154" y="164"/>
                      </a:lnTo>
                      <a:lnTo>
                        <a:pt x="154" y="162"/>
                      </a:lnTo>
                      <a:lnTo>
                        <a:pt x="156" y="160"/>
                      </a:lnTo>
                      <a:lnTo>
                        <a:pt x="158" y="160"/>
                      </a:lnTo>
                      <a:lnTo>
                        <a:pt x="160" y="158"/>
                      </a:lnTo>
                      <a:lnTo>
                        <a:pt x="160" y="156"/>
                      </a:lnTo>
                      <a:lnTo>
                        <a:pt x="158" y="154"/>
                      </a:lnTo>
                      <a:lnTo>
                        <a:pt x="158" y="152"/>
                      </a:lnTo>
                      <a:lnTo>
                        <a:pt x="158" y="150"/>
                      </a:lnTo>
                      <a:lnTo>
                        <a:pt x="160" y="15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9" name="Freeform 65">
                  <a:extLst>
                    <a:ext uri="{FF2B5EF4-FFF2-40B4-BE49-F238E27FC236}">
                      <a16:creationId xmlns:a16="http://schemas.microsoft.com/office/drawing/2014/main" id="{AFA01DBD-B4D5-4F0E-9E57-B6A1AC99EFF5}"/>
                    </a:ext>
                  </a:extLst>
                </p:cNvPr>
                <p:cNvSpPr>
                  <a:spLocks noChangeAspect="1"/>
                </p:cNvSpPr>
                <p:nvPr/>
              </p:nvSpPr>
              <p:spPr bwMode="auto">
                <a:xfrm>
                  <a:off x="4162749" y="3008653"/>
                  <a:ext cx="578815" cy="606899"/>
                </a:xfrm>
                <a:custGeom>
                  <a:avLst/>
                  <a:gdLst/>
                  <a:ahLst/>
                  <a:cxnLst>
                    <a:cxn ang="0">
                      <a:pos x="74" y="132"/>
                    </a:cxn>
                    <a:cxn ang="0">
                      <a:pos x="56" y="140"/>
                    </a:cxn>
                    <a:cxn ang="0">
                      <a:pos x="50" y="144"/>
                    </a:cxn>
                    <a:cxn ang="0">
                      <a:pos x="36" y="148"/>
                    </a:cxn>
                    <a:cxn ang="0">
                      <a:pos x="28" y="150"/>
                    </a:cxn>
                    <a:cxn ang="0">
                      <a:pos x="14" y="166"/>
                    </a:cxn>
                    <a:cxn ang="0">
                      <a:pos x="14" y="182"/>
                    </a:cxn>
                    <a:cxn ang="0">
                      <a:pos x="0" y="182"/>
                    </a:cxn>
                    <a:cxn ang="0">
                      <a:pos x="14" y="190"/>
                    </a:cxn>
                    <a:cxn ang="0">
                      <a:pos x="52" y="218"/>
                    </a:cxn>
                    <a:cxn ang="0">
                      <a:pos x="84" y="242"/>
                    </a:cxn>
                    <a:cxn ang="0">
                      <a:pos x="156" y="296"/>
                    </a:cxn>
                    <a:cxn ang="0">
                      <a:pos x="172" y="312"/>
                    </a:cxn>
                    <a:cxn ang="0">
                      <a:pos x="180" y="316"/>
                    </a:cxn>
                    <a:cxn ang="0">
                      <a:pos x="190" y="324"/>
                    </a:cxn>
                    <a:cxn ang="0">
                      <a:pos x="202" y="330"/>
                    </a:cxn>
                    <a:cxn ang="0">
                      <a:pos x="206" y="344"/>
                    </a:cxn>
                    <a:cxn ang="0">
                      <a:pos x="218" y="348"/>
                    </a:cxn>
                    <a:cxn ang="0">
                      <a:pos x="248" y="342"/>
                    </a:cxn>
                    <a:cxn ang="0">
                      <a:pos x="278" y="318"/>
                    </a:cxn>
                    <a:cxn ang="0">
                      <a:pos x="330" y="278"/>
                    </a:cxn>
                    <a:cxn ang="0">
                      <a:pos x="352" y="262"/>
                    </a:cxn>
                    <a:cxn ang="0">
                      <a:pos x="336" y="244"/>
                    </a:cxn>
                    <a:cxn ang="0">
                      <a:pos x="320" y="238"/>
                    </a:cxn>
                    <a:cxn ang="0">
                      <a:pos x="308" y="212"/>
                    </a:cxn>
                    <a:cxn ang="0">
                      <a:pos x="316" y="198"/>
                    </a:cxn>
                    <a:cxn ang="0">
                      <a:pos x="318" y="180"/>
                    </a:cxn>
                    <a:cxn ang="0">
                      <a:pos x="318" y="172"/>
                    </a:cxn>
                    <a:cxn ang="0">
                      <a:pos x="310" y="140"/>
                    </a:cxn>
                    <a:cxn ang="0">
                      <a:pos x="308" y="120"/>
                    </a:cxn>
                    <a:cxn ang="0">
                      <a:pos x="296" y="92"/>
                    </a:cxn>
                    <a:cxn ang="0">
                      <a:pos x="290" y="80"/>
                    </a:cxn>
                    <a:cxn ang="0">
                      <a:pos x="282" y="70"/>
                    </a:cxn>
                    <a:cxn ang="0">
                      <a:pos x="282" y="58"/>
                    </a:cxn>
                    <a:cxn ang="0">
                      <a:pos x="292" y="48"/>
                    </a:cxn>
                    <a:cxn ang="0">
                      <a:pos x="292" y="20"/>
                    </a:cxn>
                    <a:cxn ang="0">
                      <a:pos x="294" y="10"/>
                    </a:cxn>
                    <a:cxn ang="0">
                      <a:pos x="294" y="4"/>
                    </a:cxn>
                    <a:cxn ang="0">
                      <a:pos x="280" y="2"/>
                    </a:cxn>
                    <a:cxn ang="0">
                      <a:pos x="276" y="6"/>
                    </a:cxn>
                    <a:cxn ang="0">
                      <a:pos x="260" y="0"/>
                    </a:cxn>
                    <a:cxn ang="0">
                      <a:pos x="254" y="6"/>
                    </a:cxn>
                    <a:cxn ang="0">
                      <a:pos x="242" y="10"/>
                    </a:cxn>
                    <a:cxn ang="0">
                      <a:pos x="210" y="10"/>
                    </a:cxn>
                    <a:cxn ang="0">
                      <a:pos x="192" y="12"/>
                    </a:cxn>
                    <a:cxn ang="0">
                      <a:pos x="180" y="12"/>
                    </a:cxn>
                    <a:cxn ang="0">
                      <a:pos x="160" y="26"/>
                    </a:cxn>
                    <a:cxn ang="0">
                      <a:pos x="142" y="30"/>
                    </a:cxn>
                    <a:cxn ang="0">
                      <a:pos x="126" y="42"/>
                    </a:cxn>
                    <a:cxn ang="0">
                      <a:pos x="132" y="52"/>
                    </a:cxn>
                    <a:cxn ang="0">
                      <a:pos x="132" y="68"/>
                    </a:cxn>
                    <a:cxn ang="0">
                      <a:pos x="132" y="78"/>
                    </a:cxn>
                    <a:cxn ang="0">
                      <a:pos x="138" y="86"/>
                    </a:cxn>
                    <a:cxn ang="0">
                      <a:pos x="138" y="96"/>
                    </a:cxn>
                    <a:cxn ang="0">
                      <a:pos x="122" y="98"/>
                    </a:cxn>
                    <a:cxn ang="0">
                      <a:pos x="112" y="98"/>
                    </a:cxn>
                    <a:cxn ang="0">
                      <a:pos x="98" y="104"/>
                    </a:cxn>
                    <a:cxn ang="0">
                      <a:pos x="98" y="118"/>
                    </a:cxn>
                    <a:cxn ang="0">
                      <a:pos x="92" y="124"/>
                    </a:cxn>
                  </a:cxnLst>
                  <a:rect l="0" t="0" r="r" b="b"/>
                  <a:pathLst>
                    <a:path w="352" h="348">
                      <a:moveTo>
                        <a:pt x="88" y="128"/>
                      </a:moveTo>
                      <a:lnTo>
                        <a:pt x="86" y="128"/>
                      </a:lnTo>
                      <a:lnTo>
                        <a:pt x="84" y="128"/>
                      </a:lnTo>
                      <a:lnTo>
                        <a:pt x="82" y="128"/>
                      </a:lnTo>
                      <a:lnTo>
                        <a:pt x="80" y="128"/>
                      </a:lnTo>
                      <a:lnTo>
                        <a:pt x="78" y="128"/>
                      </a:lnTo>
                      <a:lnTo>
                        <a:pt x="76" y="128"/>
                      </a:lnTo>
                      <a:lnTo>
                        <a:pt x="76" y="130"/>
                      </a:lnTo>
                      <a:lnTo>
                        <a:pt x="74" y="132"/>
                      </a:lnTo>
                      <a:lnTo>
                        <a:pt x="74" y="134"/>
                      </a:lnTo>
                      <a:lnTo>
                        <a:pt x="72" y="136"/>
                      </a:lnTo>
                      <a:lnTo>
                        <a:pt x="70" y="138"/>
                      </a:lnTo>
                      <a:lnTo>
                        <a:pt x="70" y="140"/>
                      </a:lnTo>
                      <a:lnTo>
                        <a:pt x="68" y="140"/>
                      </a:lnTo>
                      <a:lnTo>
                        <a:pt x="66" y="140"/>
                      </a:lnTo>
                      <a:lnTo>
                        <a:pt x="62" y="140"/>
                      </a:lnTo>
                      <a:lnTo>
                        <a:pt x="60" y="140"/>
                      </a:lnTo>
                      <a:lnTo>
                        <a:pt x="58" y="140"/>
                      </a:lnTo>
                      <a:lnTo>
                        <a:pt x="56" y="140"/>
                      </a:lnTo>
                      <a:lnTo>
                        <a:pt x="56" y="142"/>
                      </a:lnTo>
                      <a:lnTo>
                        <a:pt x="54" y="142"/>
                      </a:lnTo>
                      <a:lnTo>
                        <a:pt x="52" y="142"/>
                      </a:lnTo>
                      <a:lnTo>
                        <a:pt x="50" y="142"/>
                      </a:lnTo>
                      <a:lnTo>
                        <a:pt x="50" y="144"/>
                      </a:lnTo>
                      <a:lnTo>
                        <a:pt x="48" y="146"/>
                      </a:lnTo>
                      <a:lnTo>
                        <a:pt x="48" y="148"/>
                      </a:lnTo>
                      <a:lnTo>
                        <a:pt x="46" y="148"/>
                      </a:lnTo>
                      <a:lnTo>
                        <a:pt x="44" y="148"/>
                      </a:lnTo>
                      <a:lnTo>
                        <a:pt x="42" y="146"/>
                      </a:lnTo>
                      <a:lnTo>
                        <a:pt x="40" y="144"/>
                      </a:lnTo>
                      <a:lnTo>
                        <a:pt x="38" y="146"/>
                      </a:lnTo>
                      <a:lnTo>
                        <a:pt x="36" y="148"/>
                      </a:lnTo>
                      <a:lnTo>
                        <a:pt x="34" y="150"/>
                      </a:lnTo>
                      <a:lnTo>
                        <a:pt x="32" y="150"/>
                      </a:lnTo>
                      <a:lnTo>
                        <a:pt x="30" y="150"/>
                      </a:lnTo>
                      <a:lnTo>
                        <a:pt x="28" y="150"/>
                      </a:lnTo>
                      <a:lnTo>
                        <a:pt x="28" y="152"/>
                      </a:lnTo>
                      <a:lnTo>
                        <a:pt x="26" y="154"/>
                      </a:lnTo>
                      <a:lnTo>
                        <a:pt x="24" y="156"/>
                      </a:lnTo>
                      <a:lnTo>
                        <a:pt x="22" y="158"/>
                      </a:lnTo>
                      <a:lnTo>
                        <a:pt x="20" y="160"/>
                      </a:lnTo>
                      <a:lnTo>
                        <a:pt x="18" y="160"/>
                      </a:lnTo>
                      <a:lnTo>
                        <a:pt x="18" y="162"/>
                      </a:lnTo>
                      <a:lnTo>
                        <a:pt x="16" y="162"/>
                      </a:lnTo>
                      <a:lnTo>
                        <a:pt x="16" y="164"/>
                      </a:lnTo>
                      <a:lnTo>
                        <a:pt x="14" y="166"/>
                      </a:lnTo>
                      <a:lnTo>
                        <a:pt x="14" y="168"/>
                      </a:lnTo>
                      <a:lnTo>
                        <a:pt x="14" y="170"/>
                      </a:lnTo>
                      <a:lnTo>
                        <a:pt x="14" y="172"/>
                      </a:lnTo>
                      <a:lnTo>
                        <a:pt x="14" y="174"/>
                      </a:lnTo>
                      <a:lnTo>
                        <a:pt x="14" y="176"/>
                      </a:lnTo>
                      <a:lnTo>
                        <a:pt x="14" y="178"/>
                      </a:lnTo>
                      <a:lnTo>
                        <a:pt x="14" y="180"/>
                      </a:lnTo>
                      <a:lnTo>
                        <a:pt x="14" y="182"/>
                      </a:lnTo>
                      <a:lnTo>
                        <a:pt x="12" y="182"/>
                      </a:lnTo>
                      <a:lnTo>
                        <a:pt x="10" y="182"/>
                      </a:lnTo>
                      <a:lnTo>
                        <a:pt x="8" y="182"/>
                      </a:lnTo>
                      <a:lnTo>
                        <a:pt x="6" y="182"/>
                      </a:lnTo>
                      <a:lnTo>
                        <a:pt x="4" y="182"/>
                      </a:lnTo>
                      <a:lnTo>
                        <a:pt x="2" y="182"/>
                      </a:lnTo>
                      <a:lnTo>
                        <a:pt x="0" y="182"/>
                      </a:lnTo>
                      <a:lnTo>
                        <a:pt x="2" y="182"/>
                      </a:lnTo>
                      <a:lnTo>
                        <a:pt x="6" y="182"/>
                      </a:lnTo>
                      <a:lnTo>
                        <a:pt x="8" y="184"/>
                      </a:lnTo>
                      <a:lnTo>
                        <a:pt x="12" y="184"/>
                      </a:lnTo>
                      <a:lnTo>
                        <a:pt x="14" y="184"/>
                      </a:lnTo>
                      <a:lnTo>
                        <a:pt x="14" y="186"/>
                      </a:lnTo>
                      <a:lnTo>
                        <a:pt x="14" y="188"/>
                      </a:lnTo>
                      <a:lnTo>
                        <a:pt x="14" y="190"/>
                      </a:lnTo>
                      <a:lnTo>
                        <a:pt x="14" y="192"/>
                      </a:lnTo>
                      <a:lnTo>
                        <a:pt x="20" y="196"/>
                      </a:lnTo>
                      <a:lnTo>
                        <a:pt x="24" y="200"/>
                      </a:lnTo>
                      <a:lnTo>
                        <a:pt x="30" y="202"/>
                      </a:lnTo>
                      <a:lnTo>
                        <a:pt x="34" y="206"/>
                      </a:lnTo>
                      <a:lnTo>
                        <a:pt x="38" y="208"/>
                      </a:lnTo>
                      <a:lnTo>
                        <a:pt x="42" y="212"/>
                      </a:lnTo>
                      <a:lnTo>
                        <a:pt x="46" y="214"/>
                      </a:lnTo>
                      <a:lnTo>
                        <a:pt x="48" y="216"/>
                      </a:lnTo>
                      <a:lnTo>
                        <a:pt x="52" y="218"/>
                      </a:lnTo>
                      <a:lnTo>
                        <a:pt x="56" y="220"/>
                      </a:lnTo>
                      <a:lnTo>
                        <a:pt x="58" y="222"/>
                      </a:lnTo>
                      <a:lnTo>
                        <a:pt x="60" y="224"/>
                      </a:lnTo>
                      <a:lnTo>
                        <a:pt x="64" y="226"/>
                      </a:lnTo>
                      <a:lnTo>
                        <a:pt x="66" y="228"/>
                      </a:lnTo>
                      <a:lnTo>
                        <a:pt x="70" y="230"/>
                      </a:lnTo>
                      <a:lnTo>
                        <a:pt x="72" y="232"/>
                      </a:lnTo>
                      <a:lnTo>
                        <a:pt x="72" y="234"/>
                      </a:lnTo>
                      <a:lnTo>
                        <a:pt x="74" y="234"/>
                      </a:lnTo>
                      <a:lnTo>
                        <a:pt x="84" y="242"/>
                      </a:lnTo>
                      <a:lnTo>
                        <a:pt x="92" y="248"/>
                      </a:lnTo>
                      <a:lnTo>
                        <a:pt x="100" y="254"/>
                      </a:lnTo>
                      <a:lnTo>
                        <a:pt x="108" y="260"/>
                      </a:lnTo>
                      <a:lnTo>
                        <a:pt x="114" y="264"/>
                      </a:lnTo>
                      <a:lnTo>
                        <a:pt x="120" y="270"/>
                      </a:lnTo>
                      <a:lnTo>
                        <a:pt x="126" y="274"/>
                      </a:lnTo>
                      <a:lnTo>
                        <a:pt x="132" y="278"/>
                      </a:lnTo>
                      <a:lnTo>
                        <a:pt x="138" y="282"/>
                      </a:lnTo>
                      <a:lnTo>
                        <a:pt x="140" y="284"/>
                      </a:lnTo>
                      <a:lnTo>
                        <a:pt x="146" y="288"/>
                      </a:lnTo>
                      <a:lnTo>
                        <a:pt x="148" y="292"/>
                      </a:lnTo>
                      <a:lnTo>
                        <a:pt x="152" y="294"/>
                      </a:lnTo>
                      <a:lnTo>
                        <a:pt x="156" y="296"/>
                      </a:lnTo>
                      <a:lnTo>
                        <a:pt x="158" y="298"/>
                      </a:lnTo>
                      <a:lnTo>
                        <a:pt x="162" y="300"/>
                      </a:lnTo>
                      <a:lnTo>
                        <a:pt x="162" y="302"/>
                      </a:lnTo>
                      <a:lnTo>
                        <a:pt x="164" y="302"/>
                      </a:lnTo>
                      <a:lnTo>
                        <a:pt x="166" y="304"/>
                      </a:lnTo>
                      <a:lnTo>
                        <a:pt x="168" y="306"/>
                      </a:lnTo>
                      <a:lnTo>
                        <a:pt x="170" y="306"/>
                      </a:lnTo>
                      <a:lnTo>
                        <a:pt x="172" y="308"/>
                      </a:lnTo>
                      <a:lnTo>
                        <a:pt x="172" y="310"/>
                      </a:lnTo>
                      <a:lnTo>
                        <a:pt x="172" y="312"/>
                      </a:lnTo>
                      <a:lnTo>
                        <a:pt x="172" y="314"/>
                      </a:lnTo>
                      <a:lnTo>
                        <a:pt x="172" y="316"/>
                      </a:lnTo>
                      <a:lnTo>
                        <a:pt x="174" y="316"/>
                      </a:lnTo>
                      <a:lnTo>
                        <a:pt x="176" y="316"/>
                      </a:lnTo>
                      <a:lnTo>
                        <a:pt x="178" y="316"/>
                      </a:lnTo>
                      <a:lnTo>
                        <a:pt x="180" y="316"/>
                      </a:lnTo>
                      <a:lnTo>
                        <a:pt x="180" y="318"/>
                      </a:lnTo>
                      <a:lnTo>
                        <a:pt x="180" y="320"/>
                      </a:lnTo>
                      <a:lnTo>
                        <a:pt x="182" y="322"/>
                      </a:lnTo>
                      <a:lnTo>
                        <a:pt x="184" y="322"/>
                      </a:lnTo>
                      <a:lnTo>
                        <a:pt x="186" y="324"/>
                      </a:lnTo>
                      <a:lnTo>
                        <a:pt x="188" y="324"/>
                      </a:lnTo>
                      <a:lnTo>
                        <a:pt x="190" y="324"/>
                      </a:lnTo>
                      <a:lnTo>
                        <a:pt x="192" y="326"/>
                      </a:lnTo>
                      <a:lnTo>
                        <a:pt x="192" y="328"/>
                      </a:lnTo>
                      <a:lnTo>
                        <a:pt x="192" y="330"/>
                      </a:lnTo>
                      <a:lnTo>
                        <a:pt x="194" y="330"/>
                      </a:lnTo>
                      <a:lnTo>
                        <a:pt x="196" y="330"/>
                      </a:lnTo>
                      <a:lnTo>
                        <a:pt x="198" y="330"/>
                      </a:lnTo>
                      <a:lnTo>
                        <a:pt x="200" y="328"/>
                      </a:lnTo>
                      <a:lnTo>
                        <a:pt x="202" y="330"/>
                      </a:lnTo>
                      <a:lnTo>
                        <a:pt x="204" y="330"/>
                      </a:lnTo>
                      <a:lnTo>
                        <a:pt x="206" y="330"/>
                      </a:lnTo>
                      <a:lnTo>
                        <a:pt x="206" y="332"/>
                      </a:lnTo>
                      <a:lnTo>
                        <a:pt x="208" y="334"/>
                      </a:lnTo>
                      <a:lnTo>
                        <a:pt x="208" y="336"/>
                      </a:lnTo>
                      <a:lnTo>
                        <a:pt x="208" y="338"/>
                      </a:lnTo>
                      <a:lnTo>
                        <a:pt x="208" y="340"/>
                      </a:lnTo>
                      <a:lnTo>
                        <a:pt x="210" y="340"/>
                      </a:lnTo>
                      <a:lnTo>
                        <a:pt x="208" y="342"/>
                      </a:lnTo>
                      <a:lnTo>
                        <a:pt x="206" y="342"/>
                      </a:lnTo>
                      <a:lnTo>
                        <a:pt x="206" y="344"/>
                      </a:lnTo>
                      <a:lnTo>
                        <a:pt x="204" y="344"/>
                      </a:lnTo>
                      <a:lnTo>
                        <a:pt x="204" y="346"/>
                      </a:lnTo>
                      <a:lnTo>
                        <a:pt x="204" y="348"/>
                      </a:lnTo>
                      <a:lnTo>
                        <a:pt x="206" y="348"/>
                      </a:lnTo>
                      <a:lnTo>
                        <a:pt x="208" y="348"/>
                      </a:lnTo>
                      <a:lnTo>
                        <a:pt x="210" y="348"/>
                      </a:lnTo>
                      <a:lnTo>
                        <a:pt x="212" y="348"/>
                      </a:lnTo>
                      <a:lnTo>
                        <a:pt x="214" y="348"/>
                      </a:lnTo>
                      <a:lnTo>
                        <a:pt x="216" y="348"/>
                      </a:lnTo>
                      <a:lnTo>
                        <a:pt x="218" y="348"/>
                      </a:lnTo>
                      <a:lnTo>
                        <a:pt x="220" y="348"/>
                      </a:lnTo>
                      <a:lnTo>
                        <a:pt x="220" y="346"/>
                      </a:lnTo>
                      <a:lnTo>
                        <a:pt x="222" y="346"/>
                      </a:lnTo>
                      <a:lnTo>
                        <a:pt x="224" y="346"/>
                      </a:lnTo>
                      <a:lnTo>
                        <a:pt x="226" y="346"/>
                      </a:lnTo>
                      <a:lnTo>
                        <a:pt x="232" y="344"/>
                      </a:lnTo>
                      <a:lnTo>
                        <a:pt x="236" y="344"/>
                      </a:lnTo>
                      <a:lnTo>
                        <a:pt x="242" y="344"/>
                      </a:lnTo>
                      <a:lnTo>
                        <a:pt x="244" y="342"/>
                      </a:lnTo>
                      <a:lnTo>
                        <a:pt x="246" y="342"/>
                      </a:lnTo>
                      <a:lnTo>
                        <a:pt x="248" y="342"/>
                      </a:lnTo>
                      <a:lnTo>
                        <a:pt x="250" y="342"/>
                      </a:lnTo>
                      <a:lnTo>
                        <a:pt x="250" y="340"/>
                      </a:lnTo>
                      <a:lnTo>
                        <a:pt x="252" y="340"/>
                      </a:lnTo>
                      <a:lnTo>
                        <a:pt x="254" y="338"/>
                      </a:lnTo>
                      <a:lnTo>
                        <a:pt x="256" y="336"/>
                      </a:lnTo>
                      <a:lnTo>
                        <a:pt x="258" y="334"/>
                      </a:lnTo>
                      <a:lnTo>
                        <a:pt x="262" y="330"/>
                      </a:lnTo>
                      <a:lnTo>
                        <a:pt x="266" y="326"/>
                      </a:lnTo>
                      <a:lnTo>
                        <a:pt x="270" y="322"/>
                      </a:lnTo>
                      <a:lnTo>
                        <a:pt x="274" y="320"/>
                      </a:lnTo>
                      <a:lnTo>
                        <a:pt x="276" y="318"/>
                      </a:lnTo>
                      <a:lnTo>
                        <a:pt x="278" y="318"/>
                      </a:lnTo>
                      <a:lnTo>
                        <a:pt x="278" y="316"/>
                      </a:lnTo>
                      <a:lnTo>
                        <a:pt x="280" y="316"/>
                      </a:lnTo>
                      <a:lnTo>
                        <a:pt x="282" y="314"/>
                      </a:lnTo>
                      <a:lnTo>
                        <a:pt x="282" y="312"/>
                      </a:lnTo>
                      <a:lnTo>
                        <a:pt x="284" y="312"/>
                      </a:lnTo>
                      <a:lnTo>
                        <a:pt x="286" y="310"/>
                      </a:lnTo>
                      <a:lnTo>
                        <a:pt x="292" y="306"/>
                      </a:lnTo>
                      <a:lnTo>
                        <a:pt x="298" y="302"/>
                      </a:lnTo>
                      <a:lnTo>
                        <a:pt x="304" y="296"/>
                      </a:lnTo>
                      <a:lnTo>
                        <a:pt x="310" y="292"/>
                      </a:lnTo>
                      <a:lnTo>
                        <a:pt x="318" y="288"/>
                      </a:lnTo>
                      <a:lnTo>
                        <a:pt x="324" y="282"/>
                      </a:lnTo>
                      <a:lnTo>
                        <a:pt x="330" y="278"/>
                      </a:lnTo>
                      <a:lnTo>
                        <a:pt x="336" y="274"/>
                      </a:lnTo>
                      <a:lnTo>
                        <a:pt x="342" y="270"/>
                      </a:lnTo>
                      <a:lnTo>
                        <a:pt x="344" y="270"/>
                      </a:lnTo>
                      <a:lnTo>
                        <a:pt x="346" y="268"/>
                      </a:lnTo>
                      <a:lnTo>
                        <a:pt x="348" y="266"/>
                      </a:lnTo>
                      <a:lnTo>
                        <a:pt x="350" y="266"/>
                      </a:lnTo>
                      <a:lnTo>
                        <a:pt x="350" y="264"/>
                      </a:lnTo>
                      <a:lnTo>
                        <a:pt x="352" y="264"/>
                      </a:lnTo>
                      <a:lnTo>
                        <a:pt x="352" y="262"/>
                      </a:lnTo>
                      <a:lnTo>
                        <a:pt x="352" y="260"/>
                      </a:lnTo>
                      <a:lnTo>
                        <a:pt x="350" y="258"/>
                      </a:lnTo>
                      <a:lnTo>
                        <a:pt x="350" y="256"/>
                      </a:lnTo>
                      <a:lnTo>
                        <a:pt x="348" y="252"/>
                      </a:lnTo>
                      <a:lnTo>
                        <a:pt x="346" y="250"/>
                      </a:lnTo>
                      <a:lnTo>
                        <a:pt x="346" y="248"/>
                      </a:lnTo>
                      <a:lnTo>
                        <a:pt x="344" y="248"/>
                      </a:lnTo>
                      <a:lnTo>
                        <a:pt x="344" y="246"/>
                      </a:lnTo>
                      <a:lnTo>
                        <a:pt x="342" y="246"/>
                      </a:lnTo>
                      <a:lnTo>
                        <a:pt x="340" y="246"/>
                      </a:lnTo>
                      <a:lnTo>
                        <a:pt x="338" y="244"/>
                      </a:lnTo>
                      <a:lnTo>
                        <a:pt x="336" y="244"/>
                      </a:lnTo>
                      <a:lnTo>
                        <a:pt x="334" y="242"/>
                      </a:lnTo>
                      <a:lnTo>
                        <a:pt x="332" y="242"/>
                      </a:lnTo>
                      <a:lnTo>
                        <a:pt x="330" y="242"/>
                      </a:lnTo>
                      <a:lnTo>
                        <a:pt x="330" y="244"/>
                      </a:lnTo>
                      <a:lnTo>
                        <a:pt x="328" y="244"/>
                      </a:lnTo>
                      <a:lnTo>
                        <a:pt x="326" y="246"/>
                      </a:lnTo>
                      <a:lnTo>
                        <a:pt x="326" y="244"/>
                      </a:lnTo>
                      <a:lnTo>
                        <a:pt x="324" y="244"/>
                      </a:lnTo>
                      <a:lnTo>
                        <a:pt x="322" y="242"/>
                      </a:lnTo>
                      <a:lnTo>
                        <a:pt x="320" y="240"/>
                      </a:lnTo>
                      <a:lnTo>
                        <a:pt x="320" y="238"/>
                      </a:lnTo>
                      <a:lnTo>
                        <a:pt x="320" y="236"/>
                      </a:lnTo>
                      <a:lnTo>
                        <a:pt x="320" y="232"/>
                      </a:lnTo>
                      <a:lnTo>
                        <a:pt x="320" y="230"/>
                      </a:lnTo>
                      <a:lnTo>
                        <a:pt x="320" y="228"/>
                      </a:lnTo>
                      <a:lnTo>
                        <a:pt x="318" y="226"/>
                      </a:lnTo>
                      <a:lnTo>
                        <a:pt x="316" y="222"/>
                      </a:lnTo>
                      <a:lnTo>
                        <a:pt x="314" y="220"/>
                      </a:lnTo>
                      <a:lnTo>
                        <a:pt x="312" y="216"/>
                      </a:lnTo>
                      <a:lnTo>
                        <a:pt x="310" y="214"/>
                      </a:lnTo>
                      <a:lnTo>
                        <a:pt x="308" y="212"/>
                      </a:lnTo>
                      <a:lnTo>
                        <a:pt x="308" y="210"/>
                      </a:lnTo>
                      <a:lnTo>
                        <a:pt x="310" y="210"/>
                      </a:lnTo>
                      <a:lnTo>
                        <a:pt x="312" y="208"/>
                      </a:lnTo>
                      <a:lnTo>
                        <a:pt x="314" y="208"/>
                      </a:lnTo>
                      <a:lnTo>
                        <a:pt x="316" y="206"/>
                      </a:lnTo>
                      <a:lnTo>
                        <a:pt x="318" y="204"/>
                      </a:lnTo>
                      <a:lnTo>
                        <a:pt x="318" y="202"/>
                      </a:lnTo>
                      <a:lnTo>
                        <a:pt x="318" y="200"/>
                      </a:lnTo>
                      <a:lnTo>
                        <a:pt x="318" y="198"/>
                      </a:lnTo>
                      <a:lnTo>
                        <a:pt x="316" y="198"/>
                      </a:lnTo>
                      <a:lnTo>
                        <a:pt x="316" y="196"/>
                      </a:lnTo>
                      <a:lnTo>
                        <a:pt x="316" y="194"/>
                      </a:lnTo>
                      <a:lnTo>
                        <a:pt x="316" y="192"/>
                      </a:lnTo>
                      <a:lnTo>
                        <a:pt x="316" y="190"/>
                      </a:lnTo>
                      <a:lnTo>
                        <a:pt x="316" y="188"/>
                      </a:lnTo>
                      <a:lnTo>
                        <a:pt x="316" y="186"/>
                      </a:lnTo>
                      <a:lnTo>
                        <a:pt x="314" y="184"/>
                      </a:lnTo>
                      <a:lnTo>
                        <a:pt x="316" y="182"/>
                      </a:lnTo>
                      <a:lnTo>
                        <a:pt x="318" y="180"/>
                      </a:lnTo>
                      <a:lnTo>
                        <a:pt x="318" y="178"/>
                      </a:lnTo>
                      <a:lnTo>
                        <a:pt x="316" y="178"/>
                      </a:lnTo>
                      <a:lnTo>
                        <a:pt x="316" y="176"/>
                      </a:lnTo>
                      <a:lnTo>
                        <a:pt x="316" y="174"/>
                      </a:lnTo>
                      <a:lnTo>
                        <a:pt x="318" y="172"/>
                      </a:lnTo>
                      <a:lnTo>
                        <a:pt x="318" y="168"/>
                      </a:lnTo>
                      <a:lnTo>
                        <a:pt x="318" y="166"/>
                      </a:lnTo>
                      <a:lnTo>
                        <a:pt x="318" y="164"/>
                      </a:lnTo>
                      <a:lnTo>
                        <a:pt x="318" y="162"/>
                      </a:lnTo>
                      <a:lnTo>
                        <a:pt x="320" y="160"/>
                      </a:lnTo>
                      <a:lnTo>
                        <a:pt x="318" y="160"/>
                      </a:lnTo>
                      <a:lnTo>
                        <a:pt x="318" y="158"/>
                      </a:lnTo>
                      <a:lnTo>
                        <a:pt x="318" y="156"/>
                      </a:lnTo>
                      <a:lnTo>
                        <a:pt x="316" y="152"/>
                      </a:lnTo>
                      <a:lnTo>
                        <a:pt x="314" y="148"/>
                      </a:lnTo>
                      <a:lnTo>
                        <a:pt x="312" y="144"/>
                      </a:lnTo>
                      <a:lnTo>
                        <a:pt x="310" y="140"/>
                      </a:lnTo>
                      <a:lnTo>
                        <a:pt x="308" y="138"/>
                      </a:lnTo>
                      <a:lnTo>
                        <a:pt x="308" y="136"/>
                      </a:lnTo>
                      <a:lnTo>
                        <a:pt x="310" y="134"/>
                      </a:lnTo>
                      <a:lnTo>
                        <a:pt x="312" y="134"/>
                      </a:lnTo>
                      <a:lnTo>
                        <a:pt x="310" y="132"/>
                      </a:lnTo>
                      <a:lnTo>
                        <a:pt x="310" y="130"/>
                      </a:lnTo>
                      <a:lnTo>
                        <a:pt x="308" y="126"/>
                      </a:lnTo>
                      <a:lnTo>
                        <a:pt x="308" y="120"/>
                      </a:lnTo>
                      <a:lnTo>
                        <a:pt x="306" y="114"/>
                      </a:lnTo>
                      <a:lnTo>
                        <a:pt x="306" y="110"/>
                      </a:lnTo>
                      <a:lnTo>
                        <a:pt x="306" y="106"/>
                      </a:lnTo>
                      <a:lnTo>
                        <a:pt x="304" y="104"/>
                      </a:lnTo>
                      <a:lnTo>
                        <a:pt x="304" y="102"/>
                      </a:lnTo>
                      <a:lnTo>
                        <a:pt x="304" y="100"/>
                      </a:lnTo>
                      <a:lnTo>
                        <a:pt x="304" y="98"/>
                      </a:lnTo>
                      <a:lnTo>
                        <a:pt x="302" y="96"/>
                      </a:lnTo>
                      <a:lnTo>
                        <a:pt x="300" y="94"/>
                      </a:lnTo>
                      <a:lnTo>
                        <a:pt x="298" y="94"/>
                      </a:lnTo>
                      <a:lnTo>
                        <a:pt x="296" y="92"/>
                      </a:lnTo>
                      <a:lnTo>
                        <a:pt x="294" y="92"/>
                      </a:lnTo>
                      <a:lnTo>
                        <a:pt x="294" y="90"/>
                      </a:lnTo>
                      <a:lnTo>
                        <a:pt x="292" y="90"/>
                      </a:lnTo>
                      <a:lnTo>
                        <a:pt x="292" y="88"/>
                      </a:lnTo>
                      <a:lnTo>
                        <a:pt x="292" y="86"/>
                      </a:lnTo>
                      <a:lnTo>
                        <a:pt x="292" y="84"/>
                      </a:lnTo>
                      <a:lnTo>
                        <a:pt x="292" y="82"/>
                      </a:lnTo>
                      <a:lnTo>
                        <a:pt x="292" y="80"/>
                      </a:lnTo>
                      <a:lnTo>
                        <a:pt x="290" y="80"/>
                      </a:lnTo>
                      <a:lnTo>
                        <a:pt x="288" y="78"/>
                      </a:lnTo>
                      <a:lnTo>
                        <a:pt x="286" y="78"/>
                      </a:lnTo>
                      <a:lnTo>
                        <a:pt x="284" y="78"/>
                      </a:lnTo>
                      <a:lnTo>
                        <a:pt x="282" y="76"/>
                      </a:lnTo>
                      <a:lnTo>
                        <a:pt x="282" y="74"/>
                      </a:lnTo>
                      <a:lnTo>
                        <a:pt x="282" y="72"/>
                      </a:lnTo>
                      <a:lnTo>
                        <a:pt x="282" y="70"/>
                      </a:lnTo>
                      <a:lnTo>
                        <a:pt x="280" y="70"/>
                      </a:lnTo>
                      <a:lnTo>
                        <a:pt x="280" y="68"/>
                      </a:lnTo>
                      <a:lnTo>
                        <a:pt x="280" y="66"/>
                      </a:lnTo>
                      <a:lnTo>
                        <a:pt x="280" y="64"/>
                      </a:lnTo>
                      <a:lnTo>
                        <a:pt x="280" y="62"/>
                      </a:lnTo>
                      <a:lnTo>
                        <a:pt x="280" y="60"/>
                      </a:lnTo>
                      <a:lnTo>
                        <a:pt x="282" y="60"/>
                      </a:lnTo>
                      <a:lnTo>
                        <a:pt x="282" y="58"/>
                      </a:lnTo>
                      <a:lnTo>
                        <a:pt x="282" y="56"/>
                      </a:lnTo>
                      <a:lnTo>
                        <a:pt x="284" y="56"/>
                      </a:lnTo>
                      <a:lnTo>
                        <a:pt x="284" y="54"/>
                      </a:lnTo>
                      <a:lnTo>
                        <a:pt x="286" y="54"/>
                      </a:lnTo>
                      <a:lnTo>
                        <a:pt x="288" y="52"/>
                      </a:lnTo>
                      <a:lnTo>
                        <a:pt x="290" y="50"/>
                      </a:lnTo>
                      <a:lnTo>
                        <a:pt x="292" y="48"/>
                      </a:lnTo>
                      <a:lnTo>
                        <a:pt x="292" y="46"/>
                      </a:lnTo>
                      <a:lnTo>
                        <a:pt x="292" y="42"/>
                      </a:lnTo>
                      <a:lnTo>
                        <a:pt x="294" y="40"/>
                      </a:lnTo>
                      <a:lnTo>
                        <a:pt x="294" y="38"/>
                      </a:lnTo>
                      <a:lnTo>
                        <a:pt x="294" y="36"/>
                      </a:lnTo>
                      <a:lnTo>
                        <a:pt x="294" y="32"/>
                      </a:lnTo>
                      <a:lnTo>
                        <a:pt x="292" y="30"/>
                      </a:lnTo>
                      <a:lnTo>
                        <a:pt x="292" y="28"/>
                      </a:lnTo>
                      <a:lnTo>
                        <a:pt x="292" y="26"/>
                      </a:lnTo>
                      <a:lnTo>
                        <a:pt x="292" y="24"/>
                      </a:lnTo>
                      <a:lnTo>
                        <a:pt x="292" y="22"/>
                      </a:lnTo>
                      <a:lnTo>
                        <a:pt x="292" y="20"/>
                      </a:lnTo>
                      <a:lnTo>
                        <a:pt x="292" y="18"/>
                      </a:lnTo>
                      <a:lnTo>
                        <a:pt x="294" y="16"/>
                      </a:lnTo>
                      <a:lnTo>
                        <a:pt x="294" y="14"/>
                      </a:lnTo>
                      <a:lnTo>
                        <a:pt x="292" y="14"/>
                      </a:lnTo>
                      <a:lnTo>
                        <a:pt x="290" y="12"/>
                      </a:lnTo>
                      <a:lnTo>
                        <a:pt x="288" y="12"/>
                      </a:lnTo>
                      <a:lnTo>
                        <a:pt x="292" y="12"/>
                      </a:lnTo>
                      <a:lnTo>
                        <a:pt x="294" y="10"/>
                      </a:lnTo>
                      <a:lnTo>
                        <a:pt x="296" y="10"/>
                      </a:lnTo>
                      <a:lnTo>
                        <a:pt x="298" y="10"/>
                      </a:lnTo>
                      <a:lnTo>
                        <a:pt x="298" y="8"/>
                      </a:lnTo>
                      <a:lnTo>
                        <a:pt x="300" y="8"/>
                      </a:lnTo>
                      <a:lnTo>
                        <a:pt x="300" y="6"/>
                      </a:lnTo>
                      <a:lnTo>
                        <a:pt x="300" y="4"/>
                      </a:lnTo>
                      <a:lnTo>
                        <a:pt x="296" y="4"/>
                      </a:lnTo>
                      <a:lnTo>
                        <a:pt x="294" y="4"/>
                      </a:lnTo>
                      <a:lnTo>
                        <a:pt x="292" y="4"/>
                      </a:lnTo>
                      <a:lnTo>
                        <a:pt x="290" y="6"/>
                      </a:lnTo>
                      <a:lnTo>
                        <a:pt x="288" y="6"/>
                      </a:lnTo>
                      <a:lnTo>
                        <a:pt x="286" y="4"/>
                      </a:lnTo>
                      <a:lnTo>
                        <a:pt x="282" y="4"/>
                      </a:lnTo>
                      <a:lnTo>
                        <a:pt x="282" y="2"/>
                      </a:lnTo>
                      <a:lnTo>
                        <a:pt x="280" y="2"/>
                      </a:lnTo>
                      <a:lnTo>
                        <a:pt x="278" y="2"/>
                      </a:lnTo>
                      <a:lnTo>
                        <a:pt x="276" y="2"/>
                      </a:lnTo>
                      <a:lnTo>
                        <a:pt x="276" y="4"/>
                      </a:lnTo>
                      <a:lnTo>
                        <a:pt x="276" y="6"/>
                      </a:lnTo>
                      <a:lnTo>
                        <a:pt x="272" y="6"/>
                      </a:lnTo>
                      <a:lnTo>
                        <a:pt x="270" y="6"/>
                      </a:lnTo>
                      <a:lnTo>
                        <a:pt x="268" y="6"/>
                      </a:lnTo>
                      <a:lnTo>
                        <a:pt x="266" y="6"/>
                      </a:lnTo>
                      <a:lnTo>
                        <a:pt x="264" y="4"/>
                      </a:lnTo>
                      <a:lnTo>
                        <a:pt x="262" y="2"/>
                      </a:lnTo>
                      <a:lnTo>
                        <a:pt x="260" y="0"/>
                      </a:lnTo>
                      <a:lnTo>
                        <a:pt x="260" y="2"/>
                      </a:lnTo>
                      <a:lnTo>
                        <a:pt x="260" y="4"/>
                      </a:lnTo>
                      <a:lnTo>
                        <a:pt x="260" y="6"/>
                      </a:lnTo>
                      <a:lnTo>
                        <a:pt x="258" y="8"/>
                      </a:lnTo>
                      <a:lnTo>
                        <a:pt x="256" y="6"/>
                      </a:lnTo>
                      <a:lnTo>
                        <a:pt x="254" y="6"/>
                      </a:lnTo>
                      <a:lnTo>
                        <a:pt x="252" y="6"/>
                      </a:lnTo>
                      <a:lnTo>
                        <a:pt x="250" y="8"/>
                      </a:lnTo>
                      <a:lnTo>
                        <a:pt x="248" y="10"/>
                      </a:lnTo>
                      <a:lnTo>
                        <a:pt x="246" y="10"/>
                      </a:lnTo>
                      <a:lnTo>
                        <a:pt x="246" y="12"/>
                      </a:lnTo>
                      <a:lnTo>
                        <a:pt x="244" y="10"/>
                      </a:lnTo>
                      <a:lnTo>
                        <a:pt x="242" y="10"/>
                      </a:lnTo>
                      <a:lnTo>
                        <a:pt x="240" y="10"/>
                      </a:lnTo>
                      <a:lnTo>
                        <a:pt x="236" y="8"/>
                      </a:lnTo>
                      <a:lnTo>
                        <a:pt x="234" y="8"/>
                      </a:lnTo>
                      <a:lnTo>
                        <a:pt x="230" y="8"/>
                      </a:lnTo>
                      <a:lnTo>
                        <a:pt x="226" y="8"/>
                      </a:lnTo>
                      <a:lnTo>
                        <a:pt x="224" y="8"/>
                      </a:lnTo>
                      <a:lnTo>
                        <a:pt x="222" y="8"/>
                      </a:lnTo>
                      <a:lnTo>
                        <a:pt x="220" y="8"/>
                      </a:lnTo>
                      <a:lnTo>
                        <a:pt x="218" y="8"/>
                      </a:lnTo>
                      <a:lnTo>
                        <a:pt x="216" y="10"/>
                      </a:lnTo>
                      <a:lnTo>
                        <a:pt x="214" y="10"/>
                      </a:lnTo>
                      <a:lnTo>
                        <a:pt x="212" y="10"/>
                      </a:lnTo>
                      <a:lnTo>
                        <a:pt x="210" y="10"/>
                      </a:lnTo>
                      <a:lnTo>
                        <a:pt x="208" y="10"/>
                      </a:lnTo>
                      <a:lnTo>
                        <a:pt x="206" y="10"/>
                      </a:lnTo>
                      <a:lnTo>
                        <a:pt x="200" y="10"/>
                      </a:lnTo>
                      <a:lnTo>
                        <a:pt x="198" y="10"/>
                      </a:lnTo>
                      <a:lnTo>
                        <a:pt x="196" y="10"/>
                      </a:lnTo>
                      <a:lnTo>
                        <a:pt x="194" y="12"/>
                      </a:lnTo>
                      <a:lnTo>
                        <a:pt x="192" y="12"/>
                      </a:lnTo>
                      <a:lnTo>
                        <a:pt x="190" y="12"/>
                      </a:lnTo>
                      <a:lnTo>
                        <a:pt x="188" y="12"/>
                      </a:lnTo>
                      <a:lnTo>
                        <a:pt x="186" y="12"/>
                      </a:lnTo>
                      <a:lnTo>
                        <a:pt x="184" y="12"/>
                      </a:lnTo>
                      <a:lnTo>
                        <a:pt x="182" y="12"/>
                      </a:lnTo>
                      <a:lnTo>
                        <a:pt x="180" y="12"/>
                      </a:lnTo>
                      <a:lnTo>
                        <a:pt x="178" y="12"/>
                      </a:lnTo>
                      <a:lnTo>
                        <a:pt x="176" y="14"/>
                      </a:lnTo>
                      <a:lnTo>
                        <a:pt x="172" y="14"/>
                      </a:lnTo>
                      <a:lnTo>
                        <a:pt x="168" y="16"/>
                      </a:lnTo>
                      <a:lnTo>
                        <a:pt x="166" y="16"/>
                      </a:lnTo>
                      <a:lnTo>
                        <a:pt x="164" y="16"/>
                      </a:lnTo>
                      <a:lnTo>
                        <a:pt x="164" y="18"/>
                      </a:lnTo>
                      <a:lnTo>
                        <a:pt x="162" y="18"/>
                      </a:lnTo>
                      <a:lnTo>
                        <a:pt x="162" y="22"/>
                      </a:lnTo>
                      <a:lnTo>
                        <a:pt x="162" y="24"/>
                      </a:lnTo>
                      <a:lnTo>
                        <a:pt x="160" y="26"/>
                      </a:lnTo>
                      <a:lnTo>
                        <a:pt x="158" y="26"/>
                      </a:lnTo>
                      <a:lnTo>
                        <a:pt x="154" y="26"/>
                      </a:lnTo>
                      <a:lnTo>
                        <a:pt x="152" y="28"/>
                      </a:lnTo>
                      <a:lnTo>
                        <a:pt x="148" y="28"/>
                      </a:lnTo>
                      <a:lnTo>
                        <a:pt x="144" y="28"/>
                      </a:lnTo>
                      <a:lnTo>
                        <a:pt x="142" y="30"/>
                      </a:lnTo>
                      <a:lnTo>
                        <a:pt x="140" y="32"/>
                      </a:lnTo>
                      <a:lnTo>
                        <a:pt x="140" y="34"/>
                      </a:lnTo>
                      <a:lnTo>
                        <a:pt x="138" y="36"/>
                      </a:lnTo>
                      <a:lnTo>
                        <a:pt x="136" y="36"/>
                      </a:lnTo>
                      <a:lnTo>
                        <a:pt x="134" y="38"/>
                      </a:lnTo>
                      <a:lnTo>
                        <a:pt x="132" y="40"/>
                      </a:lnTo>
                      <a:lnTo>
                        <a:pt x="130" y="40"/>
                      </a:lnTo>
                      <a:lnTo>
                        <a:pt x="128" y="40"/>
                      </a:lnTo>
                      <a:lnTo>
                        <a:pt x="126" y="40"/>
                      </a:lnTo>
                      <a:lnTo>
                        <a:pt x="126" y="42"/>
                      </a:lnTo>
                      <a:lnTo>
                        <a:pt x="126" y="44"/>
                      </a:lnTo>
                      <a:lnTo>
                        <a:pt x="128" y="46"/>
                      </a:lnTo>
                      <a:lnTo>
                        <a:pt x="132" y="46"/>
                      </a:lnTo>
                      <a:lnTo>
                        <a:pt x="130" y="46"/>
                      </a:lnTo>
                      <a:lnTo>
                        <a:pt x="130" y="48"/>
                      </a:lnTo>
                      <a:lnTo>
                        <a:pt x="130" y="50"/>
                      </a:lnTo>
                      <a:lnTo>
                        <a:pt x="130" y="52"/>
                      </a:lnTo>
                      <a:lnTo>
                        <a:pt x="132" y="52"/>
                      </a:lnTo>
                      <a:lnTo>
                        <a:pt x="132" y="54"/>
                      </a:lnTo>
                      <a:lnTo>
                        <a:pt x="132" y="56"/>
                      </a:lnTo>
                      <a:lnTo>
                        <a:pt x="132" y="58"/>
                      </a:lnTo>
                      <a:lnTo>
                        <a:pt x="132" y="60"/>
                      </a:lnTo>
                      <a:lnTo>
                        <a:pt x="132" y="62"/>
                      </a:lnTo>
                      <a:lnTo>
                        <a:pt x="132" y="64"/>
                      </a:lnTo>
                      <a:lnTo>
                        <a:pt x="132" y="66"/>
                      </a:lnTo>
                      <a:lnTo>
                        <a:pt x="132" y="68"/>
                      </a:lnTo>
                      <a:lnTo>
                        <a:pt x="132" y="70"/>
                      </a:lnTo>
                      <a:lnTo>
                        <a:pt x="134" y="70"/>
                      </a:lnTo>
                      <a:lnTo>
                        <a:pt x="132" y="74"/>
                      </a:lnTo>
                      <a:lnTo>
                        <a:pt x="132" y="76"/>
                      </a:lnTo>
                      <a:lnTo>
                        <a:pt x="132" y="78"/>
                      </a:lnTo>
                      <a:lnTo>
                        <a:pt x="134" y="78"/>
                      </a:lnTo>
                      <a:lnTo>
                        <a:pt x="136" y="78"/>
                      </a:lnTo>
                      <a:lnTo>
                        <a:pt x="136" y="82"/>
                      </a:lnTo>
                      <a:lnTo>
                        <a:pt x="136" y="84"/>
                      </a:lnTo>
                      <a:lnTo>
                        <a:pt x="136" y="86"/>
                      </a:lnTo>
                      <a:lnTo>
                        <a:pt x="138" y="86"/>
                      </a:lnTo>
                      <a:lnTo>
                        <a:pt x="138" y="88"/>
                      </a:lnTo>
                      <a:lnTo>
                        <a:pt x="140" y="88"/>
                      </a:lnTo>
                      <a:lnTo>
                        <a:pt x="140" y="90"/>
                      </a:lnTo>
                      <a:lnTo>
                        <a:pt x="138" y="90"/>
                      </a:lnTo>
                      <a:lnTo>
                        <a:pt x="138" y="92"/>
                      </a:lnTo>
                      <a:lnTo>
                        <a:pt x="138" y="94"/>
                      </a:lnTo>
                      <a:lnTo>
                        <a:pt x="138" y="96"/>
                      </a:lnTo>
                      <a:lnTo>
                        <a:pt x="134" y="96"/>
                      </a:lnTo>
                      <a:lnTo>
                        <a:pt x="132" y="98"/>
                      </a:lnTo>
                      <a:lnTo>
                        <a:pt x="130" y="98"/>
                      </a:lnTo>
                      <a:lnTo>
                        <a:pt x="126" y="98"/>
                      </a:lnTo>
                      <a:lnTo>
                        <a:pt x="124" y="98"/>
                      </a:lnTo>
                      <a:lnTo>
                        <a:pt x="122" y="98"/>
                      </a:lnTo>
                      <a:lnTo>
                        <a:pt x="120" y="96"/>
                      </a:lnTo>
                      <a:lnTo>
                        <a:pt x="118" y="96"/>
                      </a:lnTo>
                      <a:lnTo>
                        <a:pt x="116" y="96"/>
                      </a:lnTo>
                      <a:lnTo>
                        <a:pt x="116" y="98"/>
                      </a:lnTo>
                      <a:lnTo>
                        <a:pt x="114" y="98"/>
                      </a:lnTo>
                      <a:lnTo>
                        <a:pt x="112" y="98"/>
                      </a:lnTo>
                      <a:lnTo>
                        <a:pt x="110" y="98"/>
                      </a:lnTo>
                      <a:lnTo>
                        <a:pt x="110" y="100"/>
                      </a:lnTo>
                      <a:lnTo>
                        <a:pt x="110" y="102"/>
                      </a:lnTo>
                      <a:lnTo>
                        <a:pt x="110" y="104"/>
                      </a:lnTo>
                      <a:lnTo>
                        <a:pt x="108" y="104"/>
                      </a:lnTo>
                      <a:lnTo>
                        <a:pt x="106" y="104"/>
                      </a:lnTo>
                      <a:lnTo>
                        <a:pt x="104" y="104"/>
                      </a:lnTo>
                      <a:lnTo>
                        <a:pt x="102" y="104"/>
                      </a:lnTo>
                      <a:lnTo>
                        <a:pt x="98" y="104"/>
                      </a:lnTo>
                      <a:lnTo>
                        <a:pt x="96" y="106"/>
                      </a:lnTo>
                      <a:lnTo>
                        <a:pt x="94" y="106"/>
                      </a:lnTo>
                      <a:lnTo>
                        <a:pt x="94" y="108"/>
                      </a:lnTo>
                      <a:lnTo>
                        <a:pt x="94" y="110"/>
                      </a:lnTo>
                      <a:lnTo>
                        <a:pt x="94" y="112"/>
                      </a:lnTo>
                      <a:lnTo>
                        <a:pt x="96" y="112"/>
                      </a:lnTo>
                      <a:lnTo>
                        <a:pt x="96" y="114"/>
                      </a:lnTo>
                      <a:lnTo>
                        <a:pt x="98" y="116"/>
                      </a:lnTo>
                      <a:lnTo>
                        <a:pt x="98" y="118"/>
                      </a:lnTo>
                      <a:lnTo>
                        <a:pt x="100" y="118"/>
                      </a:lnTo>
                      <a:lnTo>
                        <a:pt x="98" y="120"/>
                      </a:lnTo>
                      <a:lnTo>
                        <a:pt x="96" y="120"/>
                      </a:lnTo>
                      <a:lnTo>
                        <a:pt x="94" y="120"/>
                      </a:lnTo>
                      <a:lnTo>
                        <a:pt x="94" y="122"/>
                      </a:lnTo>
                      <a:lnTo>
                        <a:pt x="92" y="122"/>
                      </a:lnTo>
                      <a:lnTo>
                        <a:pt x="92" y="124"/>
                      </a:lnTo>
                      <a:lnTo>
                        <a:pt x="90" y="124"/>
                      </a:lnTo>
                      <a:lnTo>
                        <a:pt x="90" y="126"/>
                      </a:lnTo>
                      <a:lnTo>
                        <a:pt x="88" y="1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0" name="Freeform 66">
                  <a:extLst>
                    <a:ext uri="{FF2B5EF4-FFF2-40B4-BE49-F238E27FC236}">
                      <a16:creationId xmlns:a16="http://schemas.microsoft.com/office/drawing/2014/main" id="{039B9061-732C-4F84-8DF4-F30621B6A741}"/>
                    </a:ext>
                  </a:extLst>
                </p:cNvPr>
                <p:cNvSpPr>
                  <a:spLocks noChangeAspect="1"/>
                </p:cNvSpPr>
                <p:nvPr/>
              </p:nvSpPr>
              <p:spPr bwMode="auto">
                <a:xfrm>
                  <a:off x="4669212" y="3141193"/>
                  <a:ext cx="430823" cy="460406"/>
                </a:xfrm>
                <a:custGeom>
                  <a:avLst/>
                  <a:gdLst/>
                  <a:ahLst/>
                  <a:cxnLst>
                    <a:cxn ang="0">
                      <a:pos x="26" y="20"/>
                    </a:cxn>
                    <a:cxn ang="0">
                      <a:pos x="18" y="30"/>
                    </a:cxn>
                    <a:cxn ang="0">
                      <a:pos x="14" y="34"/>
                    </a:cxn>
                    <a:cxn ang="0">
                      <a:pos x="14" y="52"/>
                    </a:cxn>
                    <a:cxn ang="0">
                      <a:pos x="6" y="56"/>
                    </a:cxn>
                    <a:cxn ang="0">
                      <a:pos x="2" y="62"/>
                    </a:cxn>
                    <a:cxn ang="0">
                      <a:pos x="12" y="84"/>
                    </a:cxn>
                    <a:cxn ang="0">
                      <a:pos x="8" y="98"/>
                    </a:cxn>
                    <a:cxn ang="0">
                      <a:pos x="10" y="104"/>
                    </a:cxn>
                    <a:cxn ang="0">
                      <a:pos x="8" y="112"/>
                    </a:cxn>
                    <a:cxn ang="0">
                      <a:pos x="10" y="122"/>
                    </a:cxn>
                    <a:cxn ang="0">
                      <a:pos x="6" y="132"/>
                    </a:cxn>
                    <a:cxn ang="0">
                      <a:pos x="4" y="140"/>
                    </a:cxn>
                    <a:cxn ang="0">
                      <a:pos x="12" y="158"/>
                    </a:cxn>
                    <a:cxn ang="0">
                      <a:pos x="18" y="170"/>
                    </a:cxn>
                    <a:cxn ang="0">
                      <a:pos x="30" y="168"/>
                    </a:cxn>
                    <a:cxn ang="0">
                      <a:pos x="40" y="176"/>
                    </a:cxn>
                    <a:cxn ang="0">
                      <a:pos x="46" y="188"/>
                    </a:cxn>
                    <a:cxn ang="0">
                      <a:pos x="54" y="190"/>
                    </a:cxn>
                    <a:cxn ang="0">
                      <a:pos x="70" y="194"/>
                    </a:cxn>
                    <a:cxn ang="0">
                      <a:pos x="80" y="202"/>
                    </a:cxn>
                    <a:cxn ang="0">
                      <a:pos x="98" y="196"/>
                    </a:cxn>
                    <a:cxn ang="0">
                      <a:pos x="124" y="194"/>
                    </a:cxn>
                    <a:cxn ang="0">
                      <a:pos x="194" y="236"/>
                    </a:cxn>
                    <a:cxn ang="0">
                      <a:pos x="230" y="256"/>
                    </a:cxn>
                    <a:cxn ang="0">
                      <a:pos x="242" y="264"/>
                    </a:cxn>
                    <a:cxn ang="0">
                      <a:pos x="244" y="256"/>
                    </a:cxn>
                    <a:cxn ang="0">
                      <a:pos x="254" y="254"/>
                    </a:cxn>
                    <a:cxn ang="0">
                      <a:pos x="262" y="254"/>
                    </a:cxn>
                    <a:cxn ang="0">
                      <a:pos x="260" y="220"/>
                    </a:cxn>
                    <a:cxn ang="0">
                      <a:pos x="260" y="214"/>
                    </a:cxn>
                    <a:cxn ang="0">
                      <a:pos x="260" y="182"/>
                    </a:cxn>
                    <a:cxn ang="0">
                      <a:pos x="258" y="108"/>
                    </a:cxn>
                    <a:cxn ang="0">
                      <a:pos x="256" y="76"/>
                    </a:cxn>
                    <a:cxn ang="0">
                      <a:pos x="250" y="60"/>
                    </a:cxn>
                    <a:cxn ang="0">
                      <a:pos x="254" y="50"/>
                    </a:cxn>
                    <a:cxn ang="0">
                      <a:pos x="250" y="42"/>
                    </a:cxn>
                    <a:cxn ang="0">
                      <a:pos x="256" y="30"/>
                    </a:cxn>
                    <a:cxn ang="0">
                      <a:pos x="254" y="24"/>
                    </a:cxn>
                    <a:cxn ang="0">
                      <a:pos x="248" y="24"/>
                    </a:cxn>
                    <a:cxn ang="0">
                      <a:pos x="244" y="24"/>
                    </a:cxn>
                    <a:cxn ang="0">
                      <a:pos x="236" y="18"/>
                    </a:cxn>
                    <a:cxn ang="0">
                      <a:pos x="222" y="18"/>
                    </a:cxn>
                    <a:cxn ang="0">
                      <a:pos x="218" y="10"/>
                    </a:cxn>
                    <a:cxn ang="0">
                      <a:pos x="210" y="8"/>
                    </a:cxn>
                    <a:cxn ang="0">
                      <a:pos x="198" y="6"/>
                    </a:cxn>
                    <a:cxn ang="0">
                      <a:pos x="192" y="8"/>
                    </a:cxn>
                    <a:cxn ang="0">
                      <a:pos x="172" y="22"/>
                    </a:cxn>
                    <a:cxn ang="0">
                      <a:pos x="176" y="38"/>
                    </a:cxn>
                    <a:cxn ang="0">
                      <a:pos x="168" y="54"/>
                    </a:cxn>
                    <a:cxn ang="0">
                      <a:pos x="152" y="54"/>
                    </a:cxn>
                    <a:cxn ang="0">
                      <a:pos x="128" y="38"/>
                    </a:cxn>
                    <a:cxn ang="0">
                      <a:pos x="106" y="36"/>
                    </a:cxn>
                    <a:cxn ang="0">
                      <a:pos x="96" y="20"/>
                    </a:cxn>
                    <a:cxn ang="0">
                      <a:pos x="88" y="14"/>
                    </a:cxn>
                    <a:cxn ang="0">
                      <a:pos x="76" y="8"/>
                    </a:cxn>
                    <a:cxn ang="0">
                      <a:pos x="62" y="8"/>
                    </a:cxn>
                    <a:cxn ang="0">
                      <a:pos x="44" y="6"/>
                    </a:cxn>
                    <a:cxn ang="0">
                      <a:pos x="34" y="6"/>
                    </a:cxn>
                    <a:cxn ang="0">
                      <a:pos x="36" y="10"/>
                    </a:cxn>
                  </a:cxnLst>
                  <a:rect l="0" t="0" r="r" b="b"/>
                  <a:pathLst>
                    <a:path w="262" h="264">
                      <a:moveTo>
                        <a:pt x="38" y="14"/>
                      </a:moveTo>
                      <a:lnTo>
                        <a:pt x="38" y="14"/>
                      </a:lnTo>
                      <a:lnTo>
                        <a:pt x="36" y="16"/>
                      </a:lnTo>
                      <a:lnTo>
                        <a:pt x="34" y="16"/>
                      </a:lnTo>
                      <a:lnTo>
                        <a:pt x="32" y="18"/>
                      </a:lnTo>
                      <a:lnTo>
                        <a:pt x="30" y="18"/>
                      </a:lnTo>
                      <a:lnTo>
                        <a:pt x="28" y="18"/>
                      </a:lnTo>
                      <a:lnTo>
                        <a:pt x="26" y="20"/>
                      </a:lnTo>
                      <a:lnTo>
                        <a:pt x="24" y="22"/>
                      </a:lnTo>
                      <a:lnTo>
                        <a:pt x="22" y="22"/>
                      </a:lnTo>
                      <a:lnTo>
                        <a:pt x="22" y="26"/>
                      </a:lnTo>
                      <a:lnTo>
                        <a:pt x="20" y="26"/>
                      </a:lnTo>
                      <a:lnTo>
                        <a:pt x="20" y="28"/>
                      </a:lnTo>
                      <a:lnTo>
                        <a:pt x="18" y="30"/>
                      </a:lnTo>
                      <a:lnTo>
                        <a:pt x="16" y="30"/>
                      </a:lnTo>
                      <a:lnTo>
                        <a:pt x="14" y="30"/>
                      </a:lnTo>
                      <a:lnTo>
                        <a:pt x="14" y="32"/>
                      </a:lnTo>
                      <a:lnTo>
                        <a:pt x="14" y="34"/>
                      </a:lnTo>
                      <a:lnTo>
                        <a:pt x="14" y="36"/>
                      </a:lnTo>
                      <a:lnTo>
                        <a:pt x="14" y="38"/>
                      </a:lnTo>
                      <a:lnTo>
                        <a:pt x="16" y="42"/>
                      </a:lnTo>
                      <a:lnTo>
                        <a:pt x="16" y="44"/>
                      </a:lnTo>
                      <a:lnTo>
                        <a:pt x="16" y="46"/>
                      </a:lnTo>
                      <a:lnTo>
                        <a:pt x="16" y="48"/>
                      </a:lnTo>
                      <a:lnTo>
                        <a:pt x="16" y="50"/>
                      </a:lnTo>
                      <a:lnTo>
                        <a:pt x="14" y="52"/>
                      </a:lnTo>
                      <a:lnTo>
                        <a:pt x="12" y="54"/>
                      </a:lnTo>
                      <a:lnTo>
                        <a:pt x="10" y="54"/>
                      </a:lnTo>
                      <a:lnTo>
                        <a:pt x="10" y="56"/>
                      </a:lnTo>
                      <a:lnTo>
                        <a:pt x="8" y="56"/>
                      </a:lnTo>
                      <a:lnTo>
                        <a:pt x="6" y="56"/>
                      </a:lnTo>
                      <a:lnTo>
                        <a:pt x="4" y="58"/>
                      </a:lnTo>
                      <a:lnTo>
                        <a:pt x="2" y="58"/>
                      </a:lnTo>
                      <a:lnTo>
                        <a:pt x="2" y="60"/>
                      </a:lnTo>
                      <a:lnTo>
                        <a:pt x="0" y="60"/>
                      </a:lnTo>
                      <a:lnTo>
                        <a:pt x="2" y="62"/>
                      </a:lnTo>
                      <a:lnTo>
                        <a:pt x="2" y="64"/>
                      </a:lnTo>
                      <a:lnTo>
                        <a:pt x="4" y="68"/>
                      </a:lnTo>
                      <a:lnTo>
                        <a:pt x="6" y="72"/>
                      </a:lnTo>
                      <a:lnTo>
                        <a:pt x="8" y="76"/>
                      </a:lnTo>
                      <a:lnTo>
                        <a:pt x="10" y="78"/>
                      </a:lnTo>
                      <a:lnTo>
                        <a:pt x="10" y="80"/>
                      </a:lnTo>
                      <a:lnTo>
                        <a:pt x="10" y="82"/>
                      </a:lnTo>
                      <a:lnTo>
                        <a:pt x="12" y="84"/>
                      </a:lnTo>
                      <a:lnTo>
                        <a:pt x="12" y="86"/>
                      </a:lnTo>
                      <a:lnTo>
                        <a:pt x="12" y="88"/>
                      </a:lnTo>
                      <a:lnTo>
                        <a:pt x="10" y="90"/>
                      </a:lnTo>
                      <a:lnTo>
                        <a:pt x="10" y="94"/>
                      </a:lnTo>
                      <a:lnTo>
                        <a:pt x="10" y="96"/>
                      </a:lnTo>
                      <a:lnTo>
                        <a:pt x="10" y="98"/>
                      </a:lnTo>
                      <a:lnTo>
                        <a:pt x="8" y="98"/>
                      </a:lnTo>
                      <a:lnTo>
                        <a:pt x="8" y="100"/>
                      </a:lnTo>
                      <a:lnTo>
                        <a:pt x="10" y="100"/>
                      </a:lnTo>
                      <a:lnTo>
                        <a:pt x="10" y="102"/>
                      </a:lnTo>
                      <a:lnTo>
                        <a:pt x="10" y="104"/>
                      </a:lnTo>
                      <a:lnTo>
                        <a:pt x="8" y="106"/>
                      </a:lnTo>
                      <a:lnTo>
                        <a:pt x="8" y="108"/>
                      </a:lnTo>
                      <a:lnTo>
                        <a:pt x="8" y="110"/>
                      </a:lnTo>
                      <a:lnTo>
                        <a:pt x="8" y="112"/>
                      </a:lnTo>
                      <a:lnTo>
                        <a:pt x="8" y="114"/>
                      </a:lnTo>
                      <a:lnTo>
                        <a:pt x="8" y="116"/>
                      </a:lnTo>
                      <a:lnTo>
                        <a:pt x="8" y="118"/>
                      </a:lnTo>
                      <a:lnTo>
                        <a:pt x="10" y="120"/>
                      </a:lnTo>
                      <a:lnTo>
                        <a:pt x="10" y="122"/>
                      </a:lnTo>
                      <a:lnTo>
                        <a:pt x="10" y="124"/>
                      </a:lnTo>
                      <a:lnTo>
                        <a:pt x="10" y="126"/>
                      </a:lnTo>
                      <a:lnTo>
                        <a:pt x="10" y="128"/>
                      </a:lnTo>
                      <a:lnTo>
                        <a:pt x="10" y="130"/>
                      </a:lnTo>
                      <a:lnTo>
                        <a:pt x="8" y="132"/>
                      </a:lnTo>
                      <a:lnTo>
                        <a:pt x="6" y="132"/>
                      </a:lnTo>
                      <a:lnTo>
                        <a:pt x="4" y="132"/>
                      </a:lnTo>
                      <a:lnTo>
                        <a:pt x="2" y="134"/>
                      </a:lnTo>
                      <a:lnTo>
                        <a:pt x="0" y="134"/>
                      </a:lnTo>
                      <a:lnTo>
                        <a:pt x="0" y="136"/>
                      </a:lnTo>
                      <a:lnTo>
                        <a:pt x="2" y="136"/>
                      </a:lnTo>
                      <a:lnTo>
                        <a:pt x="2" y="138"/>
                      </a:lnTo>
                      <a:lnTo>
                        <a:pt x="4" y="140"/>
                      </a:lnTo>
                      <a:lnTo>
                        <a:pt x="6" y="144"/>
                      </a:lnTo>
                      <a:lnTo>
                        <a:pt x="8" y="146"/>
                      </a:lnTo>
                      <a:lnTo>
                        <a:pt x="10" y="150"/>
                      </a:lnTo>
                      <a:lnTo>
                        <a:pt x="12" y="150"/>
                      </a:lnTo>
                      <a:lnTo>
                        <a:pt x="12" y="152"/>
                      </a:lnTo>
                      <a:lnTo>
                        <a:pt x="12" y="154"/>
                      </a:lnTo>
                      <a:lnTo>
                        <a:pt x="14" y="154"/>
                      </a:lnTo>
                      <a:lnTo>
                        <a:pt x="12" y="158"/>
                      </a:lnTo>
                      <a:lnTo>
                        <a:pt x="12" y="160"/>
                      </a:lnTo>
                      <a:lnTo>
                        <a:pt x="12" y="162"/>
                      </a:lnTo>
                      <a:lnTo>
                        <a:pt x="12" y="164"/>
                      </a:lnTo>
                      <a:lnTo>
                        <a:pt x="14" y="166"/>
                      </a:lnTo>
                      <a:lnTo>
                        <a:pt x="16" y="168"/>
                      </a:lnTo>
                      <a:lnTo>
                        <a:pt x="18" y="168"/>
                      </a:lnTo>
                      <a:lnTo>
                        <a:pt x="18" y="170"/>
                      </a:lnTo>
                      <a:lnTo>
                        <a:pt x="20" y="170"/>
                      </a:lnTo>
                      <a:lnTo>
                        <a:pt x="20" y="168"/>
                      </a:lnTo>
                      <a:lnTo>
                        <a:pt x="22" y="168"/>
                      </a:lnTo>
                      <a:lnTo>
                        <a:pt x="24" y="166"/>
                      </a:lnTo>
                      <a:lnTo>
                        <a:pt x="26" y="168"/>
                      </a:lnTo>
                      <a:lnTo>
                        <a:pt x="28" y="168"/>
                      </a:lnTo>
                      <a:lnTo>
                        <a:pt x="30" y="168"/>
                      </a:lnTo>
                      <a:lnTo>
                        <a:pt x="32" y="170"/>
                      </a:lnTo>
                      <a:lnTo>
                        <a:pt x="34" y="170"/>
                      </a:lnTo>
                      <a:lnTo>
                        <a:pt x="36" y="172"/>
                      </a:lnTo>
                      <a:lnTo>
                        <a:pt x="38" y="172"/>
                      </a:lnTo>
                      <a:lnTo>
                        <a:pt x="40" y="174"/>
                      </a:lnTo>
                      <a:lnTo>
                        <a:pt x="40" y="176"/>
                      </a:lnTo>
                      <a:lnTo>
                        <a:pt x="42" y="180"/>
                      </a:lnTo>
                      <a:lnTo>
                        <a:pt x="42" y="182"/>
                      </a:lnTo>
                      <a:lnTo>
                        <a:pt x="44" y="184"/>
                      </a:lnTo>
                      <a:lnTo>
                        <a:pt x="44" y="186"/>
                      </a:lnTo>
                      <a:lnTo>
                        <a:pt x="44" y="188"/>
                      </a:lnTo>
                      <a:lnTo>
                        <a:pt x="46" y="188"/>
                      </a:lnTo>
                      <a:lnTo>
                        <a:pt x="48" y="188"/>
                      </a:lnTo>
                      <a:lnTo>
                        <a:pt x="50" y="188"/>
                      </a:lnTo>
                      <a:lnTo>
                        <a:pt x="52" y="190"/>
                      </a:lnTo>
                      <a:lnTo>
                        <a:pt x="54" y="190"/>
                      </a:lnTo>
                      <a:lnTo>
                        <a:pt x="56" y="190"/>
                      </a:lnTo>
                      <a:lnTo>
                        <a:pt x="58" y="190"/>
                      </a:lnTo>
                      <a:lnTo>
                        <a:pt x="60" y="192"/>
                      </a:lnTo>
                      <a:lnTo>
                        <a:pt x="64" y="192"/>
                      </a:lnTo>
                      <a:lnTo>
                        <a:pt x="66" y="192"/>
                      </a:lnTo>
                      <a:lnTo>
                        <a:pt x="68" y="192"/>
                      </a:lnTo>
                      <a:lnTo>
                        <a:pt x="70" y="194"/>
                      </a:lnTo>
                      <a:lnTo>
                        <a:pt x="72" y="196"/>
                      </a:lnTo>
                      <a:lnTo>
                        <a:pt x="74" y="198"/>
                      </a:lnTo>
                      <a:lnTo>
                        <a:pt x="76" y="198"/>
                      </a:lnTo>
                      <a:lnTo>
                        <a:pt x="76" y="200"/>
                      </a:lnTo>
                      <a:lnTo>
                        <a:pt x="78" y="202"/>
                      </a:lnTo>
                      <a:lnTo>
                        <a:pt x="80" y="202"/>
                      </a:lnTo>
                      <a:lnTo>
                        <a:pt x="82" y="202"/>
                      </a:lnTo>
                      <a:lnTo>
                        <a:pt x="82" y="204"/>
                      </a:lnTo>
                      <a:lnTo>
                        <a:pt x="82" y="202"/>
                      </a:lnTo>
                      <a:lnTo>
                        <a:pt x="84" y="202"/>
                      </a:lnTo>
                      <a:lnTo>
                        <a:pt x="86" y="202"/>
                      </a:lnTo>
                      <a:lnTo>
                        <a:pt x="88" y="200"/>
                      </a:lnTo>
                      <a:lnTo>
                        <a:pt x="94" y="198"/>
                      </a:lnTo>
                      <a:lnTo>
                        <a:pt x="98" y="196"/>
                      </a:lnTo>
                      <a:lnTo>
                        <a:pt x="104" y="192"/>
                      </a:lnTo>
                      <a:lnTo>
                        <a:pt x="106" y="192"/>
                      </a:lnTo>
                      <a:lnTo>
                        <a:pt x="108" y="190"/>
                      </a:lnTo>
                      <a:lnTo>
                        <a:pt x="110" y="188"/>
                      </a:lnTo>
                      <a:lnTo>
                        <a:pt x="112" y="188"/>
                      </a:lnTo>
                      <a:lnTo>
                        <a:pt x="124" y="194"/>
                      </a:lnTo>
                      <a:lnTo>
                        <a:pt x="134" y="200"/>
                      </a:lnTo>
                      <a:lnTo>
                        <a:pt x="144" y="206"/>
                      </a:lnTo>
                      <a:lnTo>
                        <a:pt x="156" y="212"/>
                      </a:lnTo>
                      <a:lnTo>
                        <a:pt x="164" y="218"/>
                      </a:lnTo>
                      <a:lnTo>
                        <a:pt x="172" y="222"/>
                      </a:lnTo>
                      <a:lnTo>
                        <a:pt x="180" y="228"/>
                      </a:lnTo>
                      <a:lnTo>
                        <a:pt x="188" y="232"/>
                      </a:lnTo>
                      <a:lnTo>
                        <a:pt x="194" y="236"/>
                      </a:lnTo>
                      <a:lnTo>
                        <a:pt x="200" y="240"/>
                      </a:lnTo>
                      <a:lnTo>
                        <a:pt x="206" y="244"/>
                      </a:lnTo>
                      <a:lnTo>
                        <a:pt x="212" y="246"/>
                      </a:lnTo>
                      <a:lnTo>
                        <a:pt x="216" y="248"/>
                      </a:lnTo>
                      <a:lnTo>
                        <a:pt x="220" y="250"/>
                      </a:lnTo>
                      <a:lnTo>
                        <a:pt x="224" y="252"/>
                      </a:lnTo>
                      <a:lnTo>
                        <a:pt x="228" y="254"/>
                      </a:lnTo>
                      <a:lnTo>
                        <a:pt x="230" y="256"/>
                      </a:lnTo>
                      <a:lnTo>
                        <a:pt x="234" y="258"/>
                      </a:lnTo>
                      <a:lnTo>
                        <a:pt x="236" y="260"/>
                      </a:lnTo>
                      <a:lnTo>
                        <a:pt x="238" y="260"/>
                      </a:lnTo>
                      <a:lnTo>
                        <a:pt x="238" y="262"/>
                      </a:lnTo>
                      <a:lnTo>
                        <a:pt x="240" y="262"/>
                      </a:lnTo>
                      <a:lnTo>
                        <a:pt x="240" y="264"/>
                      </a:lnTo>
                      <a:lnTo>
                        <a:pt x="242" y="264"/>
                      </a:lnTo>
                      <a:lnTo>
                        <a:pt x="244" y="264"/>
                      </a:lnTo>
                      <a:lnTo>
                        <a:pt x="244" y="262"/>
                      </a:lnTo>
                      <a:lnTo>
                        <a:pt x="244" y="258"/>
                      </a:lnTo>
                      <a:lnTo>
                        <a:pt x="244" y="256"/>
                      </a:lnTo>
                      <a:lnTo>
                        <a:pt x="244" y="254"/>
                      </a:lnTo>
                      <a:lnTo>
                        <a:pt x="246" y="254"/>
                      </a:lnTo>
                      <a:lnTo>
                        <a:pt x="250" y="254"/>
                      </a:lnTo>
                      <a:lnTo>
                        <a:pt x="252" y="254"/>
                      </a:lnTo>
                      <a:lnTo>
                        <a:pt x="254" y="254"/>
                      </a:lnTo>
                      <a:lnTo>
                        <a:pt x="256" y="254"/>
                      </a:lnTo>
                      <a:lnTo>
                        <a:pt x="258" y="254"/>
                      </a:lnTo>
                      <a:lnTo>
                        <a:pt x="260" y="254"/>
                      </a:lnTo>
                      <a:lnTo>
                        <a:pt x="262" y="254"/>
                      </a:lnTo>
                      <a:lnTo>
                        <a:pt x="262" y="246"/>
                      </a:lnTo>
                      <a:lnTo>
                        <a:pt x="262" y="242"/>
                      </a:lnTo>
                      <a:lnTo>
                        <a:pt x="262" y="236"/>
                      </a:lnTo>
                      <a:lnTo>
                        <a:pt x="262" y="232"/>
                      </a:lnTo>
                      <a:lnTo>
                        <a:pt x="262" y="228"/>
                      </a:lnTo>
                      <a:lnTo>
                        <a:pt x="260" y="224"/>
                      </a:lnTo>
                      <a:lnTo>
                        <a:pt x="260" y="222"/>
                      </a:lnTo>
                      <a:lnTo>
                        <a:pt x="260" y="220"/>
                      </a:lnTo>
                      <a:lnTo>
                        <a:pt x="260" y="218"/>
                      </a:lnTo>
                      <a:lnTo>
                        <a:pt x="260" y="216"/>
                      </a:lnTo>
                      <a:lnTo>
                        <a:pt x="260" y="214"/>
                      </a:lnTo>
                      <a:lnTo>
                        <a:pt x="260" y="212"/>
                      </a:lnTo>
                      <a:lnTo>
                        <a:pt x="260" y="210"/>
                      </a:lnTo>
                      <a:lnTo>
                        <a:pt x="260" y="206"/>
                      </a:lnTo>
                      <a:lnTo>
                        <a:pt x="260" y="202"/>
                      </a:lnTo>
                      <a:lnTo>
                        <a:pt x="260" y="198"/>
                      </a:lnTo>
                      <a:lnTo>
                        <a:pt x="260" y="194"/>
                      </a:lnTo>
                      <a:lnTo>
                        <a:pt x="260" y="188"/>
                      </a:lnTo>
                      <a:lnTo>
                        <a:pt x="260" y="182"/>
                      </a:lnTo>
                      <a:lnTo>
                        <a:pt x="260" y="176"/>
                      </a:lnTo>
                      <a:lnTo>
                        <a:pt x="260" y="172"/>
                      </a:lnTo>
                      <a:lnTo>
                        <a:pt x="258" y="158"/>
                      </a:lnTo>
                      <a:lnTo>
                        <a:pt x="258" y="146"/>
                      </a:lnTo>
                      <a:lnTo>
                        <a:pt x="258" y="132"/>
                      </a:lnTo>
                      <a:lnTo>
                        <a:pt x="258" y="120"/>
                      </a:lnTo>
                      <a:lnTo>
                        <a:pt x="258" y="114"/>
                      </a:lnTo>
                      <a:lnTo>
                        <a:pt x="258" y="108"/>
                      </a:lnTo>
                      <a:lnTo>
                        <a:pt x="256" y="102"/>
                      </a:lnTo>
                      <a:lnTo>
                        <a:pt x="256" y="98"/>
                      </a:lnTo>
                      <a:lnTo>
                        <a:pt x="256" y="92"/>
                      </a:lnTo>
                      <a:lnTo>
                        <a:pt x="256" y="88"/>
                      </a:lnTo>
                      <a:lnTo>
                        <a:pt x="256" y="84"/>
                      </a:lnTo>
                      <a:lnTo>
                        <a:pt x="256" y="80"/>
                      </a:lnTo>
                      <a:lnTo>
                        <a:pt x="256" y="78"/>
                      </a:lnTo>
                      <a:lnTo>
                        <a:pt x="256" y="76"/>
                      </a:lnTo>
                      <a:lnTo>
                        <a:pt x="256" y="74"/>
                      </a:lnTo>
                      <a:lnTo>
                        <a:pt x="256" y="72"/>
                      </a:lnTo>
                      <a:lnTo>
                        <a:pt x="256" y="70"/>
                      </a:lnTo>
                      <a:lnTo>
                        <a:pt x="256" y="68"/>
                      </a:lnTo>
                      <a:lnTo>
                        <a:pt x="254" y="66"/>
                      </a:lnTo>
                      <a:lnTo>
                        <a:pt x="254" y="64"/>
                      </a:lnTo>
                      <a:lnTo>
                        <a:pt x="250" y="62"/>
                      </a:lnTo>
                      <a:lnTo>
                        <a:pt x="250" y="60"/>
                      </a:lnTo>
                      <a:lnTo>
                        <a:pt x="250" y="58"/>
                      </a:lnTo>
                      <a:lnTo>
                        <a:pt x="250" y="56"/>
                      </a:lnTo>
                      <a:lnTo>
                        <a:pt x="252" y="54"/>
                      </a:lnTo>
                      <a:lnTo>
                        <a:pt x="254" y="52"/>
                      </a:lnTo>
                      <a:lnTo>
                        <a:pt x="254" y="50"/>
                      </a:lnTo>
                      <a:lnTo>
                        <a:pt x="254" y="48"/>
                      </a:lnTo>
                      <a:lnTo>
                        <a:pt x="254" y="46"/>
                      </a:lnTo>
                      <a:lnTo>
                        <a:pt x="254" y="44"/>
                      </a:lnTo>
                      <a:lnTo>
                        <a:pt x="252" y="44"/>
                      </a:lnTo>
                      <a:lnTo>
                        <a:pt x="252" y="42"/>
                      </a:lnTo>
                      <a:lnTo>
                        <a:pt x="250" y="42"/>
                      </a:lnTo>
                      <a:lnTo>
                        <a:pt x="250" y="40"/>
                      </a:lnTo>
                      <a:lnTo>
                        <a:pt x="250" y="38"/>
                      </a:lnTo>
                      <a:lnTo>
                        <a:pt x="252" y="36"/>
                      </a:lnTo>
                      <a:lnTo>
                        <a:pt x="252" y="34"/>
                      </a:lnTo>
                      <a:lnTo>
                        <a:pt x="254" y="34"/>
                      </a:lnTo>
                      <a:lnTo>
                        <a:pt x="254" y="32"/>
                      </a:lnTo>
                      <a:lnTo>
                        <a:pt x="256" y="30"/>
                      </a:lnTo>
                      <a:lnTo>
                        <a:pt x="258" y="30"/>
                      </a:lnTo>
                      <a:lnTo>
                        <a:pt x="256" y="28"/>
                      </a:lnTo>
                      <a:lnTo>
                        <a:pt x="256" y="26"/>
                      </a:lnTo>
                      <a:lnTo>
                        <a:pt x="256" y="24"/>
                      </a:lnTo>
                      <a:lnTo>
                        <a:pt x="254" y="24"/>
                      </a:lnTo>
                      <a:lnTo>
                        <a:pt x="252" y="24"/>
                      </a:lnTo>
                      <a:lnTo>
                        <a:pt x="250" y="26"/>
                      </a:lnTo>
                      <a:lnTo>
                        <a:pt x="250" y="24"/>
                      </a:lnTo>
                      <a:lnTo>
                        <a:pt x="248" y="24"/>
                      </a:lnTo>
                      <a:lnTo>
                        <a:pt x="248" y="22"/>
                      </a:lnTo>
                      <a:lnTo>
                        <a:pt x="246" y="24"/>
                      </a:lnTo>
                      <a:lnTo>
                        <a:pt x="244" y="24"/>
                      </a:lnTo>
                      <a:lnTo>
                        <a:pt x="242" y="24"/>
                      </a:lnTo>
                      <a:lnTo>
                        <a:pt x="240" y="22"/>
                      </a:lnTo>
                      <a:lnTo>
                        <a:pt x="238" y="22"/>
                      </a:lnTo>
                      <a:lnTo>
                        <a:pt x="238" y="20"/>
                      </a:lnTo>
                      <a:lnTo>
                        <a:pt x="236" y="18"/>
                      </a:lnTo>
                      <a:lnTo>
                        <a:pt x="232" y="18"/>
                      </a:lnTo>
                      <a:lnTo>
                        <a:pt x="230" y="20"/>
                      </a:lnTo>
                      <a:lnTo>
                        <a:pt x="228" y="20"/>
                      </a:lnTo>
                      <a:lnTo>
                        <a:pt x="226" y="20"/>
                      </a:lnTo>
                      <a:lnTo>
                        <a:pt x="224" y="18"/>
                      </a:lnTo>
                      <a:lnTo>
                        <a:pt x="222" y="18"/>
                      </a:lnTo>
                      <a:lnTo>
                        <a:pt x="222" y="16"/>
                      </a:lnTo>
                      <a:lnTo>
                        <a:pt x="222" y="14"/>
                      </a:lnTo>
                      <a:lnTo>
                        <a:pt x="222" y="12"/>
                      </a:lnTo>
                      <a:lnTo>
                        <a:pt x="220" y="10"/>
                      </a:lnTo>
                      <a:lnTo>
                        <a:pt x="218" y="10"/>
                      </a:lnTo>
                      <a:lnTo>
                        <a:pt x="214" y="8"/>
                      </a:lnTo>
                      <a:lnTo>
                        <a:pt x="212" y="8"/>
                      </a:lnTo>
                      <a:lnTo>
                        <a:pt x="210" y="8"/>
                      </a:lnTo>
                      <a:lnTo>
                        <a:pt x="208" y="8"/>
                      </a:lnTo>
                      <a:lnTo>
                        <a:pt x="206" y="6"/>
                      </a:lnTo>
                      <a:lnTo>
                        <a:pt x="204" y="6"/>
                      </a:lnTo>
                      <a:lnTo>
                        <a:pt x="202" y="6"/>
                      </a:lnTo>
                      <a:lnTo>
                        <a:pt x="200" y="6"/>
                      </a:lnTo>
                      <a:lnTo>
                        <a:pt x="198" y="6"/>
                      </a:lnTo>
                      <a:lnTo>
                        <a:pt x="198" y="8"/>
                      </a:lnTo>
                      <a:lnTo>
                        <a:pt x="196" y="8"/>
                      </a:lnTo>
                      <a:lnTo>
                        <a:pt x="194" y="8"/>
                      </a:lnTo>
                      <a:lnTo>
                        <a:pt x="192" y="8"/>
                      </a:lnTo>
                      <a:lnTo>
                        <a:pt x="190" y="8"/>
                      </a:lnTo>
                      <a:lnTo>
                        <a:pt x="186" y="10"/>
                      </a:lnTo>
                      <a:lnTo>
                        <a:pt x="184" y="10"/>
                      </a:lnTo>
                      <a:lnTo>
                        <a:pt x="182" y="12"/>
                      </a:lnTo>
                      <a:lnTo>
                        <a:pt x="178" y="14"/>
                      </a:lnTo>
                      <a:lnTo>
                        <a:pt x="176" y="18"/>
                      </a:lnTo>
                      <a:lnTo>
                        <a:pt x="174" y="20"/>
                      </a:lnTo>
                      <a:lnTo>
                        <a:pt x="172" y="22"/>
                      </a:lnTo>
                      <a:lnTo>
                        <a:pt x="172" y="24"/>
                      </a:lnTo>
                      <a:lnTo>
                        <a:pt x="172" y="26"/>
                      </a:lnTo>
                      <a:lnTo>
                        <a:pt x="172" y="28"/>
                      </a:lnTo>
                      <a:lnTo>
                        <a:pt x="172" y="30"/>
                      </a:lnTo>
                      <a:lnTo>
                        <a:pt x="174" y="32"/>
                      </a:lnTo>
                      <a:lnTo>
                        <a:pt x="174" y="34"/>
                      </a:lnTo>
                      <a:lnTo>
                        <a:pt x="176" y="36"/>
                      </a:lnTo>
                      <a:lnTo>
                        <a:pt x="176" y="38"/>
                      </a:lnTo>
                      <a:lnTo>
                        <a:pt x="176" y="40"/>
                      </a:lnTo>
                      <a:lnTo>
                        <a:pt x="178" y="42"/>
                      </a:lnTo>
                      <a:lnTo>
                        <a:pt x="176" y="42"/>
                      </a:lnTo>
                      <a:lnTo>
                        <a:pt x="176" y="46"/>
                      </a:lnTo>
                      <a:lnTo>
                        <a:pt x="174" y="48"/>
                      </a:lnTo>
                      <a:lnTo>
                        <a:pt x="172" y="50"/>
                      </a:lnTo>
                      <a:lnTo>
                        <a:pt x="170" y="52"/>
                      </a:lnTo>
                      <a:lnTo>
                        <a:pt x="168" y="54"/>
                      </a:lnTo>
                      <a:lnTo>
                        <a:pt x="166" y="54"/>
                      </a:lnTo>
                      <a:lnTo>
                        <a:pt x="166" y="56"/>
                      </a:lnTo>
                      <a:lnTo>
                        <a:pt x="162" y="56"/>
                      </a:lnTo>
                      <a:lnTo>
                        <a:pt x="160" y="56"/>
                      </a:lnTo>
                      <a:lnTo>
                        <a:pt x="158" y="56"/>
                      </a:lnTo>
                      <a:lnTo>
                        <a:pt x="156" y="56"/>
                      </a:lnTo>
                      <a:lnTo>
                        <a:pt x="154" y="54"/>
                      </a:lnTo>
                      <a:lnTo>
                        <a:pt x="152" y="54"/>
                      </a:lnTo>
                      <a:lnTo>
                        <a:pt x="150" y="52"/>
                      </a:lnTo>
                      <a:lnTo>
                        <a:pt x="148" y="50"/>
                      </a:lnTo>
                      <a:lnTo>
                        <a:pt x="144" y="48"/>
                      </a:lnTo>
                      <a:lnTo>
                        <a:pt x="142" y="46"/>
                      </a:lnTo>
                      <a:lnTo>
                        <a:pt x="138" y="44"/>
                      </a:lnTo>
                      <a:lnTo>
                        <a:pt x="134" y="42"/>
                      </a:lnTo>
                      <a:lnTo>
                        <a:pt x="130" y="40"/>
                      </a:lnTo>
                      <a:lnTo>
                        <a:pt x="128" y="38"/>
                      </a:lnTo>
                      <a:lnTo>
                        <a:pt x="126" y="38"/>
                      </a:lnTo>
                      <a:lnTo>
                        <a:pt x="124" y="38"/>
                      </a:lnTo>
                      <a:lnTo>
                        <a:pt x="120" y="38"/>
                      </a:lnTo>
                      <a:lnTo>
                        <a:pt x="118" y="38"/>
                      </a:lnTo>
                      <a:lnTo>
                        <a:pt x="114" y="38"/>
                      </a:lnTo>
                      <a:lnTo>
                        <a:pt x="112" y="38"/>
                      </a:lnTo>
                      <a:lnTo>
                        <a:pt x="108" y="38"/>
                      </a:lnTo>
                      <a:lnTo>
                        <a:pt x="106" y="36"/>
                      </a:lnTo>
                      <a:lnTo>
                        <a:pt x="104" y="36"/>
                      </a:lnTo>
                      <a:lnTo>
                        <a:pt x="102" y="32"/>
                      </a:lnTo>
                      <a:lnTo>
                        <a:pt x="100" y="30"/>
                      </a:lnTo>
                      <a:lnTo>
                        <a:pt x="100" y="28"/>
                      </a:lnTo>
                      <a:lnTo>
                        <a:pt x="98" y="24"/>
                      </a:lnTo>
                      <a:lnTo>
                        <a:pt x="98" y="22"/>
                      </a:lnTo>
                      <a:lnTo>
                        <a:pt x="96" y="20"/>
                      </a:lnTo>
                      <a:lnTo>
                        <a:pt x="96" y="18"/>
                      </a:lnTo>
                      <a:lnTo>
                        <a:pt x="94" y="16"/>
                      </a:lnTo>
                      <a:lnTo>
                        <a:pt x="92" y="14"/>
                      </a:lnTo>
                      <a:lnTo>
                        <a:pt x="90" y="14"/>
                      </a:lnTo>
                      <a:lnTo>
                        <a:pt x="88" y="14"/>
                      </a:lnTo>
                      <a:lnTo>
                        <a:pt x="86" y="14"/>
                      </a:lnTo>
                      <a:lnTo>
                        <a:pt x="84" y="12"/>
                      </a:lnTo>
                      <a:lnTo>
                        <a:pt x="82" y="12"/>
                      </a:lnTo>
                      <a:lnTo>
                        <a:pt x="80" y="10"/>
                      </a:lnTo>
                      <a:lnTo>
                        <a:pt x="80" y="8"/>
                      </a:lnTo>
                      <a:lnTo>
                        <a:pt x="78" y="8"/>
                      </a:lnTo>
                      <a:lnTo>
                        <a:pt x="76" y="8"/>
                      </a:lnTo>
                      <a:lnTo>
                        <a:pt x="74" y="8"/>
                      </a:lnTo>
                      <a:lnTo>
                        <a:pt x="72" y="8"/>
                      </a:lnTo>
                      <a:lnTo>
                        <a:pt x="70" y="8"/>
                      </a:lnTo>
                      <a:lnTo>
                        <a:pt x="68" y="8"/>
                      </a:lnTo>
                      <a:lnTo>
                        <a:pt x="66" y="8"/>
                      </a:lnTo>
                      <a:lnTo>
                        <a:pt x="64" y="8"/>
                      </a:lnTo>
                      <a:lnTo>
                        <a:pt x="62" y="8"/>
                      </a:lnTo>
                      <a:lnTo>
                        <a:pt x="60" y="8"/>
                      </a:lnTo>
                      <a:lnTo>
                        <a:pt x="58" y="8"/>
                      </a:lnTo>
                      <a:lnTo>
                        <a:pt x="54" y="10"/>
                      </a:lnTo>
                      <a:lnTo>
                        <a:pt x="52" y="10"/>
                      </a:lnTo>
                      <a:lnTo>
                        <a:pt x="52" y="8"/>
                      </a:lnTo>
                      <a:lnTo>
                        <a:pt x="50" y="8"/>
                      </a:lnTo>
                      <a:lnTo>
                        <a:pt x="48" y="8"/>
                      </a:lnTo>
                      <a:lnTo>
                        <a:pt x="44" y="6"/>
                      </a:lnTo>
                      <a:lnTo>
                        <a:pt x="42" y="4"/>
                      </a:lnTo>
                      <a:lnTo>
                        <a:pt x="40" y="2"/>
                      </a:lnTo>
                      <a:lnTo>
                        <a:pt x="38" y="2"/>
                      </a:lnTo>
                      <a:lnTo>
                        <a:pt x="36" y="0"/>
                      </a:lnTo>
                      <a:lnTo>
                        <a:pt x="34" y="4"/>
                      </a:lnTo>
                      <a:lnTo>
                        <a:pt x="34" y="6"/>
                      </a:lnTo>
                      <a:lnTo>
                        <a:pt x="34" y="8"/>
                      </a:lnTo>
                      <a:lnTo>
                        <a:pt x="34" y="10"/>
                      </a:lnTo>
                      <a:lnTo>
                        <a:pt x="36" y="10"/>
                      </a:lnTo>
                      <a:lnTo>
                        <a:pt x="38" y="12"/>
                      </a:lnTo>
                      <a:lnTo>
                        <a:pt x="38"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1" name="Freeform 67">
                  <a:extLst>
                    <a:ext uri="{FF2B5EF4-FFF2-40B4-BE49-F238E27FC236}">
                      <a16:creationId xmlns:a16="http://schemas.microsoft.com/office/drawing/2014/main" id="{4B1F0B16-0ED8-45E7-99B7-4429559E9966}"/>
                    </a:ext>
                  </a:extLst>
                </p:cNvPr>
                <p:cNvSpPr>
                  <a:spLocks noChangeAspect="1"/>
                </p:cNvSpPr>
                <p:nvPr/>
              </p:nvSpPr>
              <p:spPr bwMode="auto">
                <a:xfrm>
                  <a:off x="4731697" y="4449166"/>
                  <a:ext cx="348604" cy="408088"/>
                </a:xfrm>
                <a:custGeom>
                  <a:avLst/>
                  <a:gdLst/>
                  <a:ahLst/>
                  <a:cxnLst>
                    <a:cxn ang="0">
                      <a:pos x="198" y="100"/>
                    </a:cxn>
                    <a:cxn ang="0">
                      <a:pos x="188" y="102"/>
                    </a:cxn>
                    <a:cxn ang="0">
                      <a:pos x="182" y="106"/>
                    </a:cxn>
                    <a:cxn ang="0">
                      <a:pos x="180" y="90"/>
                    </a:cxn>
                    <a:cxn ang="0">
                      <a:pos x="176" y="76"/>
                    </a:cxn>
                    <a:cxn ang="0">
                      <a:pos x="174" y="60"/>
                    </a:cxn>
                    <a:cxn ang="0">
                      <a:pos x="176" y="50"/>
                    </a:cxn>
                    <a:cxn ang="0">
                      <a:pos x="172" y="40"/>
                    </a:cxn>
                    <a:cxn ang="0">
                      <a:pos x="174" y="30"/>
                    </a:cxn>
                    <a:cxn ang="0">
                      <a:pos x="152" y="30"/>
                    </a:cxn>
                    <a:cxn ang="0">
                      <a:pos x="152" y="24"/>
                    </a:cxn>
                    <a:cxn ang="0">
                      <a:pos x="142" y="24"/>
                    </a:cxn>
                    <a:cxn ang="0">
                      <a:pos x="136" y="34"/>
                    </a:cxn>
                    <a:cxn ang="0">
                      <a:pos x="128" y="42"/>
                    </a:cxn>
                    <a:cxn ang="0">
                      <a:pos x="118" y="42"/>
                    </a:cxn>
                    <a:cxn ang="0">
                      <a:pos x="110" y="46"/>
                    </a:cxn>
                    <a:cxn ang="0">
                      <a:pos x="102" y="44"/>
                    </a:cxn>
                    <a:cxn ang="0">
                      <a:pos x="98" y="40"/>
                    </a:cxn>
                    <a:cxn ang="0">
                      <a:pos x="90" y="28"/>
                    </a:cxn>
                    <a:cxn ang="0">
                      <a:pos x="86" y="14"/>
                    </a:cxn>
                    <a:cxn ang="0">
                      <a:pos x="82" y="2"/>
                    </a:cxn>
                    <a:cxn ang="0">
                      <a:pos x="70" y="2"/>
                    </a:cxn>
                    <a:cxn ang="0">
                      <a:pos x="60" y="2"/>
                    </a:cxn>
                    <a:cxn ang="0">
                      <a:pos x="48" y="4"/>
                    </a:cxn>
                    <a:cxn ang="0">
                      <a:pos x="34" y="2"/>
                    </a:cxn>
                    <a:cxn ang="0">
                      <a:pos x="30" y="2"/>
                    </a:cxn>
                    <a:cxn ang="0">
                      <a:pos x="16" y="6"/>
                    </a:cxn>
                    <a:cxn ang="0">
                      <a:pos x="14" y="12"/>
                    </a:cxn>
                    <a:cxn ang="0">
                      <a:pos x="20" y="28"/>
                    </a:cxn>
                    <a:cxn ang="0">
                      <a:pos x="30" y="48"/>
                    </a:cxn>
                    <a:cxn ang="0">
                      <a:pos x="24" y="66"/>
                    </a:cxn>
                    <a:cxn ang="0">
                      <a:pos x="26" y="72"/>
                    </a:cxn>
                    <a:cxn ang="0">
                      <a:pos x="38" y="108"/>
                    </a:cxn>
                    <a:cxn ang="0">
                      <a:pos x="34" y="124"/>
                    </a:cxn>
                    <a:cxn ang="0">
                      <a:pos x="26" y="132"/>
                    </a:cxn>
                    <a:cxn ang="0">
                      <a:pos x="24" y="142"/>
                    </a:cxn>
                    <a:cxn ang="0">
                      <a:pos x="14" y="154"/>
                    </a:cxn>
                    <a:cxn ang="0">
                      <a:pos x="12" y="160"/>
                    </a:cxn>
                    <a:cxn ang="0">
                      <a:pos x="8" y="178"/>
                    </a:cxn>
                    <a:cxn ang="0">
                      <a:pos x="2" y="192"/>
                    </a:cxn>
                    <a:cxn ang="0">
                      <a:pos x="4" y="206"/>
                    </a:cxn>
                    <a:cxn ang="0">
                      <a:pos x="0" y="218"/>
                    </a:cxn>
                    <a:cxn ang="0">
                      <a:pos x="8" y="220"/>
                    </a:cxn>
                    <a:cxn ang="0">
                      <a:pos x="14" y="220"/>
                    </a:cxn>
                    <a:cxn ang="0">
                      <a:pos x="24" y="214"/>
                    </a:cxn>
                    <a:cxn ang="0">
                      <a:pos x="40" y="222"/>
                    </a:cxn>
                    <a:cxn ang="0">
                      <a:pos x="88" y="224"/>
                    </a:cxn>
                    <a:cxn ang="0">
                      <a:pos x="114" y="224"/>
                    </a:cxn>
                    <a:cxn ang="0">
                      <a:pos x="126" y="232"/>
                    </a:cxn>
                    <a:cxn ang="0">
                      <a:pos x="140" y="232"/>
                    </a:cxn>
                    <a:cxn ang="0">
                      <a:pos x="150" y="234"/>
                    </a:cxn>
                    <a:cxn ang="0">
                      <a:pos x="180" y="232"/>
                    </a:cxn>
                    <a:cxn ang="0">
                      <a:pos x="186" y="214"/>
                    </a:cxn>
                    <a:cxn ang="0">
                      <a:pos x="176" y="204"/>
                    </a:cxn>
                    <a:cxn ang="0">
                      <a:pos x="174" y="184"/>
                    </a:cxn>
                    <a:cxn ang="0">
                      <a:pos x="176" y="142"/>
                    </a:cxn>
                    <a:cxn ang="0">
                      <a:pos x="200" y="140"/>
                    </a:cxn>
                    <a:cxn ang="0">
                      <a:pos x="208" y="138"/>
                    </a:cxn>
                    <a:cxn ang="0">
                      <a:pos x="212" y="128"/>
                    </a:cxn>
                    <a:cxn ang="0">
                      <a:pos x="208" y="116"/>
                    </a:cxn>
                    <a:cxn ang="0">
                      <a:pos x="212" y="110"/>
                    </a:cxn>
                  </a:cxnLst>
                  <a:rect l="0" t="0" r="r" b="b"/>
                  <a:pathLst>
                    <a:path w="212" h="234">
                      <a:moveTo>
                        <a:pt x="208" y="102"/>
                      </a:moveTo>
                      <a:lnTo>
                        <a:pt x="206" y="102"/>
                      </a:lnTo>
                      <a:lnTo>
                        <a:pt x="204" y="102"/>
                      </a:lnTo>
                      <a:lnTo>
                        <a:pt x="202" y="100"/>
                      </a:lnTo>
                      <a:lnTo>
                        <a:pt x="200" y="100"/>
                      </a:lnTo>
                      <a:lnTo>
                        <a:pt x="198" y="100"/>
                      </a:lnTo>
                      <a:lnTo>
                        <a:pt x="198" y="102"/>
                      </a:lnTo>
                      <a:lnTo>
                        <a:pt x="196" y="102"/>
                      </a:lnTo>
                      <a:lnTo>
                        <a:pt x="194" y="102"/>
                      </a:lnTo>
                      <a:lnTo>
                        <a:pt x="192" y="104"/>
                      </a:lnTo>
                      <a:lnTo>
                        <a:pt x="190" y="102"/>
                      </a:lnTo>
                      <a:lnTo>
                        <a:pt x="188" y="102"/>
                      </a:lnTo>
                      <a:lnTo>
                        <a:pt x="186" y="102"/>
                      </a:lnTo>
                      <a:lnTo>
                        <a:pt x="184" y="104"/>
                      </a:lnTo>
                      <a:lnTo>
                        <a:pt x="184" y="106"/>
                      </a:lnTo>
                      <a:lnTo>
                        <a:pt x="182" y="106"/>
                      </a:lnTo>
                      <a:lnTo>
                        <a:pt x="180" y="104"/>
                      </a:lnTo>
                      <a:lnTo>
                        <a:pt x="178" y="104"/>
                      </a:lnTo>
                      <a:lnTo>
                        <a:pt x="178" y="102"/>
                      </a:lnTo>
                      <a:lnTo>
                        <a:pt x="178" y="100"/>
                      </a:lnTo>
                      <a:lnTo>
                        <a:pt x="178" y="98"/>
                      </a:lnTo>
                      <a:lnTo>
                        <a:pt x="180" y="96"/>
                      </a:lnTo>
                      <a:lnTo>
                        <a:pt x="180" y="94"/>
                      </a:lnTo>
                      <a:lnTo>
                        <a:pt x="180" y="90"/>
                      </a:lnTo>
                      <a:lnTo>
                        <a:pt x="182" y="90"/>
                      </a:lnTo>
                      <a:lnTo>
                        <a:pt x="182" y="88"/>
                      </a:lnTo>
                      <a:lnTo>
                        <a:pt x="180" y="88"/>
                      </a:lnTo>
                      <a:lnTo>
                        <a:pt x="180" y="86"/>
                      </a:lnTo>
                      <a:lnTo>
                        <a:pt x="180" y="84"/>
                      </a:lnTo>
                      <a:lnTo>
                        <a:pt x="178" y="82"/>
                      </a:lnTo>
                      <a:lnTo>
                        <a:pt x="178" y="80"/>
                      </a:lnTo>
                      <a:lnTo>
                        <a:pt x="176" y="76"/>
                      </a:lnTo>
                      <a:lnTo>
                        <a:pt x="174" y="74"/>
                      </a:lnTo>
                      <a:lnTo>
                        <a:pt x="174" y="72"/>
                      </a:lnTo>
                      <a:lnTo>
                        <a:pt x="174" y="70"/>
                      </a:lnTo>
                      <a:lnTo>
                        <a:pt x="174" y="68"/>
                      </a:lnTo>
                      <a:lnTo>
                        <a:pt x="174" y="66"/>
                      </a:lnTo>
                      <a:lnTo>
                        <a:pt x="174" y="64"/>
                      </a:lnTo>
                      <a:lnTo>
                        <a:pt x="176" y="64"/>
                      </a:lnTo>
                      <a:lnTo>
                        <a:pt x="174" y="62"/>
                      </a:lnTo>
                      <a:lnTo>
                        <a:pt x="174" y="60"/>
                      </a:lnTo>
                      <a:lnTo>
                        <a:pt x="174" y="58"/>
                      </a:lnTo>
                      <a:lnTo>
                        <a:pt x="176" y="56"/>
                      </a:lnTo>
                      <a:lnTo>
                        <a:pt x="176" y="54"/>
                      </a:lnTo>
                      <a:lnTo>
                        <a:pt x="176" y="52"/>
                      </a:lnTo>
                      <a:lnTo>
                        <a:pt x="176" y="50"/>
                      </a:lnTo>
                      <a:lnTo>
                        <a:pt x="174" y="48"/>
                      </a:lnTo>
                      <a:lnTo>
                        <a:pt x="174" y="46"/>
                      </a:lnTo>
                      <a:lnTo>
                        <a:pt x="172" y="46"/>
                      </a:lnTo>
                      <a:lnTo>
                        <a:pt x="172" y="44"/>
                      </a:lnTo>
                      <a:lnTo>
                        <a:pt x="172" y="42"/>
                      </a:lnTo>
                      <a:lnTo>
                        <a:pt x="172" y="40"/>
                      </a:lnTo>
                      <a:lnTo>
                        <a:pt x="172" y="38"/>
                      </a:lnTo>
                      <a:lnTo>
                        <a:pt x="174" y="38"/>
                      </a:lnTo>
                      <a:lnTo>
                        <a:pt x="174" y="36"/>
                      </a:lnTo>
                      <a:lnTo>
                        <a:pt x="174" y="34"/>
                      </a:lnTo>
                      <a:lnTo>
                        <a:pt x="174" y="32"/>
                      </a:lnTo>
                      <a:lnTo>
                        <a:pt x="174" y="30"/>
                      </a:lnTo>
                      <a:lnTo>
                        <a:pt x="170" y="30"/>
                      </a:lnTo>
                      <a:lnTo>
                        <a:pt x="166" y="30"/>
                      </a:lnTo>
                      <a:lnTo>
                        <a:pt x="164" y="30"/>
                      </a:lnTo>
                      <a:lnTo>
                        <a:pt x="160" y="30"/>
                      </a:lnTo>
                      <a:lnTo>
                        <a:pt x="158" y="30"/>
                      </a:lnTo>
                      <a:lnTo>
                        <a:pt x="156" y="30"/>
                      </a:lnTo>
                      <a:lnTo>
                        <a:pt x="154" y="30"/>
                      </a:lnTo>
                      <a:lnTo>
                        <a:pt x="152" y="30"/>
                      </a:lnTo>
                      <a:lnTo>
                        <a:pt x="152" y="28"/>
                      </a:lnTo>
                      <a:lnTo>
                        <a:pt x="152" y="26"/>
                      </a:lnTo>
                      <a:lnTo>
                        <a:pt x="152" y="24"/>
                      </a:lnTo>
                      <a:lnTo>
                        <a:pt x="150" y="24"/>
                      </a:lnTo>
                      <a:lnTo>
                        <a:pt x="148" y="22"/>
                      </a:lnTo>
                      <a:lnTo>
                        <a:pt x="148" y="24"/>
                      </a:lnTo>
                      <a:lnTo>
                        <a:pt x="146" y="24"/>
                      </a:lnTo>
                      <a:lnTo>
                        <a:pt x="144" y="24"/>
                      </a:lnTo>
                      <a:lnTo>
                        <a:pt x="142" y="24"/>
                      </a:lnTo>
                      <a:lnTo>
                        <a:pt x="138" y="24"/>
                      </a:lnTo>
                      <a:lnTo>
                        <a:pt x="136" y="24"/>
                      </a:lnTo>
                      <a:lnTo>
                        <a:pt x="134" y="26"/>
                      </a:lnTo>
                      <a:lnTo>
                        <a:pt x="134" y="28"/>
                      </a:lnTo>
                      <a:lnTo>
                        <a:pt x="134" y="30"/>
                      </a:lnTo>
                      <a:lnTo>
                        <a:pt x="136" y="32"/>
                      </a:lnTo>
                      <a:lnTo>
                        <a:pt x="136" y="34"/>
                      </a:lnTo>
                      <a:lnTo>
                        <a:pt x="134" y="34"/>
                      </a:lnTo>
                      <a:lnTo>
                        <a:pt x="134" y="36"/>
                      </a:lnTo>
                      <a:lnTo>
                        <a:pt x="132" y="36"/>
                      </a:lnTo>
                      <a:lnTo>
                        <a:pt x="132" y="38"/>
                      </a:lnTo>
                      <a:lnTo>
                        <a:pt x="132" y="40"/>
                      </a:lnTo>
                      <a:lnTo>
                        <a:pt x="132" y="42"/>
                      </a:lnTo>
                      <a:lnTo>
                        <a:pt x="130" y="42"/>
                      </a:lnTo>
                      <a:lnTo>
                        <a:pt x="128" y="42"/>
                      </a:lnTo>
                      <a:lnTo>
                        <a:pt x="126" y="42"/>
                      </a:lnTo>
                      <a:lnTo>
                        <a:pt x="124" y="42"/>
                      </a:lnTo>
                      <a:lnTo>
                        <a:pt x="122" y="44"/>
                      </a:lnTo>
                      <a:lnTo>
                        <a:pt x="120" y="42"/>
                      </a:lnTo>
                      <a:lnTo>
                        <a:pt x="118" y="42"/>
                      </a:lnTo>
                      <a:lnTo>
                        <a:pt x="118" y="44"/>
                      </a:lnTo>
                      <a:lnTo>
                        <a:pt x="116" y="44"/>
                      </a:lnTo>
                      <a:lnTo>
                        <a:pt x="114" y="44"/>
                      </a:lnTo>
                      <a:lnTo>
                        <a:pt x="112" y="44"/>
                      </a:lnTo>
                      <a:lnTo>
                        <a:pt x="110" y="46"/>
                      </a:lnTo>
                      <a:lnTo>
                        <a:pt x="108" y="46"/>
                      </a:lnTo>
                      <a:lnTo>
                        <a:pt x="108" y="44"/>
                      </a:lnTo>
                      <a:lnTo>
                        <a:pt x="106" y="44"/>
                      </a:lnTo>
                      <a:lnTo>
                        <a:pt x="104" y="44"/>
                      </a:lnTo>
                      <a:lnTo>
                        <a:pt x="102" y="44"/>
                      </a:lnTo>
                      <a:lnTo>
                        <a:pt x="100" y="44"/>
                      </a:lnTo>
                      <a:lnTo>
                        <a:pt x="100" y="42"/>
                      </a:lnTo>
                      <a:lnTo>
                        <a:pt x="98" y="40"/>
                      </a:lnTo>
                      <a:lnTo>
                        <a:pt x="98" y="38"/>
                      </a:lnTo>
                      <a:lnTo>
                        <a:pt x="96" y="38"/>
                      </a:lnTo>
                      <a:lnTo>
                        <a:pt x="96" y="36"/>
                      </a:lnTo>
                      <a:lnTo>
                        <a:pt x="94" y="34"/>
                      </a:lnTo>
                      <a:lnTo>
                        <a:pt x="94" y="32"/>
                      </a:lnTo>
                      <a:lnTo>
                        <a:pt x="92" y="32"/>
                      </a:lnTo>
                      <a:lnTo>
                        <a:pt x="92" y="30"/>
                      </a:lnTo>
                      <a:lnTo>
                        <a:pt x="90" y="30"/>
                      </a:lnTo>
                      <a:lnTo>
                        <a:pt x="90" y="28"/>
                      </a:lnTo>
                      <a:lnTo>
                        <a:pt x="92" y="28"/>
                      </a:lnTo>
                      <a:lnTo>
                        <a:pt x="92" y="24"/>
                      </a:lnTo>
                      <a:lnTo>
                        <a:pt x="92" y="22"/>
                      </a:lnTo>
                      <a:lnTo>
                        <a:pt x="90" y="22"/>
                      </a:lnTo>
                      <a:lnTo>
                        <a:pt x="90" y="20"/>
                      </a:lnTo>
                      <a:lnTo>
                        <a:pt x="88" y="20"/>
                      </a:lnTo>
                      <a:lnTo>
                        <a:pt x="88" y="18"/>
                      </a:lnTo>
                      <a:lnTo>
                        <a:pt x="86" y="16"/>
                      </a:lnTo>
                      <a:lnTo>
                        <a:pt x="86" y="14"/>
                      </a:lnTo>
                      <a:lnTo>
                        <a:pt x="86" y="12"/>
                      </a:lnTo>
                      <a:lnTo>
                        <a:pt x="86" y="10"/>
                      </a:lnTo>
                      <a:lnTo>
                        <a:pt x="86" y="8"/>
                      </a:lnTo>
                      <a:lnTo>
                        <a:pt x="86" y="6"/>
                      </a:lnTo>
                      <a:lnTo>
                        <a:pt x="84" y="4"/>
                      </a:lnTo>
                      <a:lnTo>
                        <a:pt x="82" y="2"/>
                      </a:lnTo>
                      <a:lnTo>
                        <a:pt x="80" y="2"/>
                      </a:lnTo>
                      <a:lnTo>
                        <a:pt x="80" y="0"/>
                      </a:lnTo>
                      <a:lnTo>
                        <a:pt x="78" y="2"/>
                      </a:lnTo>
                      <a:lnTo>
                        <a:pt x="76" y="2"/>
                      </a:lnTo>
                      <a:lnTo>
                        <a:pt x="74" y="2"/>
                      </a:lnTo>
                      <a:lnTo>
                        <a:pt x="72" y="2"/>
                      </a:lnTo>
                      <a:lnTo>
                        <a:pt x="70" y="2"/>
                      </a:lnTo>
                      <a:lnTo>
                        <a:pt x="68" y="2"/>
                      </a:lnTo>
                      <a:lnTo>
                        <a:pt x="66" y="2"/>
                      </a:lnTo>
                      <a:lnTo>
                        <a:pt x="64" y="2"/>
                      </a:lnTo>
                      <a:lnTo>
                        <a:pt x="62" y="2"/>
                      </a:lnTo>
                      <a:lnTo>
                        <a:pt x="60" y="2"/>
                      </a:lnTo>
                      <a:lnTo>
                        <a:pt x="58" y="2"/>
                      </a:lnTo>
                      <a:lnTo>
                        <a:pt x="56" y="2"/>
                      </a:lnTo>
                      <a:lnTo>
                        <a:pt x="54" y="2"/>
                      </a:lnTo>
                      <a:lnTo>
                        <a:pt x="52" y="2"/>
                      </a:lnTo>
                      <a:lnTo>
                        <a:pt x="50" y="4"/>
                      </a:lnTo>
                      <a:lnTo>
                        <a:pt x="48" y="4"/>
                      </a:lnTo>
                      <a:lnTo>
                        <a:pt x="46" y="4"/>
                      </a:lnTo>
                      <a:lnTo>
                        <a:pt x="44" y="4"/>
                      </a:lnTo>
                      <a:lnTo>
                        <a:pt x="42" y="2"/>
                      </a:lnTo>
                      <a:lnTo>
                        <a:pt x="40" y="2"/>
                      </a:lnTo>
                      <a:lnTo>
                        <a:pt x="38" y="2"/>
                      </a:lnTo>
                      <a:lnTo>
                        <a:pt x="36" y="2"/>
                      </a:lnTo>
                      <a:lnTo>
                        <a:pt x="34" y="2"/>
                      </a:lnTo>
                      <a:lnTo>
                        <a:pt x="32" y="2"/>
                      </a:lnTo>
                      <a:lnTo>
                        <a:pt x="30" y="2"/>
                      </a:lnTo>
                      <a:lnTo>
                        <a:pt x="28" y="2"/>
                      </a:lnTo>
                      <a:lnTo>
                        <a:pt x="26" y="2"/>
                      </a:lnTo>
                      <a:lnTo>
                        <a:pt x="24" y="2"/>
                      </a:lnTo>
                      <a:lnTo>
                        <a:pt x="22" y="4"/>
                      </a:lnTo>
                      <a:lnTo>
                        <a:pt x="20" y="4"/>
                      </a:lnTo>
                      <a:lnTo>
                        <a:pt x="18" y="4"/>
                      </a:lnTo>
                      <a:lnTo>
                        <a:pt x="16" y="6"/>
                      </a:lnTo>
                      <a:lnTo>
                        <a:pt x="16" y="8"/>
                      </a:lnTo>
                      <a:lnTo>
                        <a:pt x="14" y="8"/>
                      </a:lnTo>
                      <a:lnTo>
                        <a:pt x="12" y="8"/>
                      </a:lnTo>
                      <a:lnTo>
                        <a:pt x="10" y="8"/>
                      </a:lnTo>
                      <a:lnTo>
                        <a:pt x="12" y="10"/>
                      </a:lnTo>
                      <a:lnTo>
                        <a:pt x="12" y="12"/>
                      </a:lnTo>
                      <a:lnTo>
                        <a:pt x="14" y="12"/>
                      </a:lnTo>
                      <a:lnTo>
                        <a:pt x="16" y="16"/>
                      </a:lnTo>
                      <a:lnTo>
                        <a:pt x="16" y="18"/>
                      </a:lnTo>
                      <a:lnTo>
                        <a:pt x="18" y="20"/>
                      </a:lnTo>
                      <a:lnTo>
                        <a:pt x="20" y="20"/>
                      </a:lnTo>
                      <a:lnTo>
                        <a:pt x="22" y="22"/>
                      </a:lnTo>
                      <a:lnTo>
                        <a:pt x="20" y="24"/>
                      </a:lnTo>
                      <a:lnTo>
                        <a:pt x="20" y="26"/>
                      </a:lnTo>
                      <a:lnTo>
                        <a:pt x="20" y="28"/>
                      </a:lnTo>
                      <a:lnTo>
                        <a:pt x="20" y="30"/>
                      </a:lnTo>
                      <a:lnTo>
                        <a:pt x="22" y="30"/>
                      </a:lnTo>
                      <a:lnTo>
                        <a:pt x="24" y="34"/>
                      </a:lnTo>
                      <a:lnTo>
                        <a:pt x="26" y="36"/>
                      </a:lnTo>
                      <a:lnTo>
                        <a:pt x="28" y="40"/>
                      </a:lnTo>
                      <a:lnTo>
                        <a:pt x="30" y="44"/>
                      </a:lnTo>
                      <a:lnTo>
                        <a:pt x="30" y="48"/>
                      </a:lnTo>
                      <a:lnTo>
                        <a:pt x="30" y="50"/>
                      </a:lnTo>
                      <a:lnTo>
                        <a:pt x="30" y="52"/>
                      </a:lnTo>
                      <a:lnTo>
                        <a:pt x="30" y="54"/>
                      </a:lnTo>
                      <a:lnTo>
                        <a:pt x="30" y="58"/>
                      </a:lnTo>
                      <a:lnTo>
                        <a:pt x="28" y="60"/>
                      </a:lnTo>
                      <a:lnTo>
                        <a:pt x="26" y="62"/>
                      </a:lnTo>
                      <a:lnTo>
                        <a:pt x="24" y="64"/>
                      </a:lnTo>
                      <a:lnTo>
                        <a:pt x="24" y="66"/>
                      </a:lnTo>
                      <a:lnTo>
                        <a:pt x="24" y="68"/>
                      </a:lnTo>
                      <a:lnTo>
                        <a:pt x="26" y="68"/>
                      </a:lnTo>
                      <a:lnTo>
                        <a:pt x="28" y="68"/>
                      </a:lnTo>
                      <a:lnTo>
                        <a:pt x="26" y="68"/>
                      </a:lnTo>
                      <a:lnTo>
                        <a:pt x="26" y="70"/>
                      </a:lnTo>
                      <a:lnTo>
                        <a:pt x="26" y="72"/>
                      </a:lnTo>
                      <a:lnTo>
                        <a:pt x="26" y="74"/>
                      </a:lnTo>
                      <a:lnTo>
                        <a:pt x="28" y="76"/>
                      </a:lnTo>
                      <a:lnTo>
                        <a:pt x="28" y="78"/>
                      </a:lnTo>
                      <a:lnTo>
                        <a:pt x="30" y="82"/>
                      </a:lnTo>
                      <a:lnTo>
                        <a:pt x="30" y="84"/>
                      </a:lnTo>
                      <a:lnTo>
                        <a:pt x="32" y="88"/>
                      </a:lnTo>
                      <a:lnTo>
                        <a:pt x="34" y="90"/>
                      </a:lnTo>
                      <a:lnTo>
                        <a:pt x="34" y="94"/>
                      </a:lnTo>
                      <a:lnTo>
                        <a:pt x="36" y="98"/>
                      </a:lnTo>
                      <a:lnTo>
                        <a:pt x="38" y="102"/>
                      </a:lnTo>
                      <a:lnTo>
                        <a:pt x="38" y="106"/>
                      </a:lnTo>
                      <a:lnTo>
                        <a:pt x="38" y="108"/>
                      </a:lnTo>
                      <a:lnTo>
                        <a:pt x="38" y="112"/>
                      </a:lnTo>
                      <a:lnTo>
                        <a:pt x="36" y="114"/>
                      </a:lnTo>
                      <a:lnTo>
                        <a:pt x="36" y="116"/>
                      </a:lnTo>
                      <a:lnTo>
                        <a:pt x="36" y="118"/>
                      </a:lnTo>
                      <a:lnTo>
                        <a:pt x="34" y="120"/>
                      </a:lnTo>
                      <a:lnTo>
                        <a:pt x="34" y="122"/>
                      </a:lnTo>
                      <a:lnTo>
                        <a:pt x="34" y="124"/>
                      </a:lnTo>
                      <a:lnTo>
                        <a:pt x="34" y="126"/>
                      </a:lnTo>
                      <a:lnTo>
                        <a:pt x="34" y="128"/>
                      </a:lnTo>
                      <a:lnTo>
                        <a:pt x="34" y="130"/>
                      </a:lnTo>
                      <a:lnTo>
                        <a:pt x="32" y="130"/>
                      </a:lnTo>
                      <a:lnTo>
                        <a:pt x="32" y="132"/>
                      </a:lnTo>
                      <a:lnTo>
                        <a:pt x="28" y="132"/>
                      </a:lnTo>
                      <a:lnTo>
                        <a:pt x="26" y="132"/>
                      </a:lnTo>
                      <a:lnTo>
                        <a:pt x="26" y="134"/>
                      </a:lnTo>
                      <a:lnTo>
                        <a:pt x="24" y="134"/>
                      </a:lnTo>
                      <a:lnTo>
                        <a:pt x="24" y="136"/>
                      </a:lnTo>
                      <a:lnTo>
                        <a:pt x="24" y="138"/>
                      </a:lnTo>
                      <a:lnTo>
                        <a:pt x="24" y="140"/>
                      </a:lnTo>
                      <a:lnTo>
                        <a:pt x="24" y="142"/>
                      </a:lnTo>
                      <a:lnTo>
                        <a:pt x="22" y="142"/>
                      </a:lnTo>
                      <a:lnTo>
                        <a:pt x="20" y="142"/>
                      </a:lnTo>
                      <a:lnTo>
                        <a:pt x="18" y="142"/>
                      </a:lnTo>
                      <a:lnTo>
                        <a:pt x="16" y="142"/>
                      </a:lnTo>
                      <a:lnTo>
                        <a:pt x="16" y="144"/>
                      </a:lnTo>
                      <a:lnTo>
                        <a:pt x="16" y="148"/>
                      </a:lnTo>
                      <a:lnTo>
                        <a:pt x="14" y="152"/>
                      </a:lnTo>
                      <a:lnTo>
                        <a:pt x="14" y="154"/>
                      </a:lnTo>
                      <a:lnTo>
                        <a:pt x="14" y="156"/>
                      </a:lnTo>
                      <a:lnTo>
                        <a:pt x="14" y="158"/>
                      </a:lnTo>
                      <a:lnTo>
                        <a:pt x="12" y="158"/>
                      </a:lnTo>
                      <a:lnTo>
                        <a:pt x="12" y="160"/>
                      </a:lnTo>
                      <a:lnTo>
                        <a:pt x="12" y="162"/>
                      </a:lnTo>
                      <a:lnTo>
                        <a:pt x="12" y="164"/>
                      </a:lnTo>
                      <a:lnTo>
                        <a:pt x="12" y="168"/>
                      </a:lnTo>
                      <a:lnTo>
                        <a:pt x="12" y="170"/>
                      </a:lnTo>
                      <a:lnTo>
                        <a:pt x="12" y="172"/>
                      </a:lnTo>
                      <a:lnTo>
                        <a:pt x="12" y="174"/>
                      </a:lnTo>
                      <a:lnTo>
                        <a:pt x="12" y="176"/>
                      </a:lnTo>
                      <a:lnTo>
                        <a:pt x="10" y="176"/>
                      </a:lnTo>
                      <a:lnTo>
                        <a:pt x="8" y="178"/>
                      </a:lnTo>
                      <a:lnTo>
                        <a:pt x="8" y="182"/>
                      </a:lnTo>
                      <a:lnTo>
                        <a:pt x="8" y="184"/>
                      </a:lnTo>
                      <a:lnTo>
                        <a:pt x="8" y="186"/>
                      </a:lnTo>
                      <a:lnTo>
                        <a:pt x="8" y="188"/>
                      </a:lnTo>
                      <a:lnTo>
                        <a:pt x="6" y="190"/>
                      </a:lnTo>
                      <a:lnTo>
                        <a:pt x="4" y="190"/>
                      </a:lnTo>
                      <a:lnTo>
                        <a:pt x="4" y="192"/>
                      </a:lnTo>
                      <a:lnTo>
                        <a:pt x="2" y="192"/>
                      </a:lnTo>
                      <a:lnTo>
                        <a:pt x="2" y="196"/>
                      </a:lnTo>
                      <a:lnTo>
                        <a:pt x="2" y="198"/>
                      </a:lnTo>
                      <a:lnTo>
                        <a:pt x="2" y="200"/>
                      </a:lnTo>
                      <a:lnTo>
                        <a:pt x="2" y="202"/>
                      </a:lnTo>
                      <a:lnTo>
                        <a:pt x="4" y="204"/>
                      </a:lnTo>
                      <a:lnTo>
                        <a:pt x="4" y="206"/>
                      </a:lnTo>
                      <a:lnTo>
                        <a:pt x="4" y="208"/>
                      </a:lnTo>
                      <a:lnTo>
                        <a:pt x="2" y="208"/>
                      </a:lnTo>
                      <a:lnTo>
                        <a:pt x="2" y="210"/>
                      </a:lnTo>
                      <a:lnTo>
                        <a:pt x="0" y="210"/>
                      </a:lnTo>
                      <a:lnTo>
                        <a:pt x="0" y="214"/>
                      </a:lnTo>
                      <a:lnTo>
                        <a:pt x="0" y="216"/>
                      </a:lnTo>
                      <a:lnTo>
                        <a:pt x="0" y="218"/>
                      </a:lnTo>
                      <a:lnTo>
                        <a:pt x="0" y="220"/>
                      </a:lnTo>
                      <a:lnTo>
                        <a:pt x="2" y="220"/>
                      </a:lnTo>
                      <a:lnTo>
                        <a:pt x="4" y="220"/>
                      </a:lnTo>
                      <a:lnTo>
                        <a:pt x="6" y="220"/>
                      </a:lnTo>
                      <a:lnTo>
                        <a:pt x="8" y="220"/>
                      </a:lnTo>
                      <a:lnTo>
                        <a:pt x="8" y="218"/>
                      </a:lnTo>
                      <a:lnTo>
                        <a:pt x="10" y="220"/>
                      </a:lnTo>
                      <a:lnTo>
                        <a:pt x="12" y="220"/>
                      </a:lnTo>
                      <a:lnTo>
                        <a:pt x="14" y="220"/>
                      </a:lnTo>
                      <a:lnTo>
                        <a:pt x="16" y="220"/>
                      </a:lnTo>
                      <a:lnTo>
                        <a:pt x="18" y="220"/>
                      </a:lnTo>
                      <a:lnTo>
                        <a:pt x="20" y="218"/>
                      </a:lnTo>
                      <a:lnTo>
                        <a:pt x="22" y="216"/>
                      </a:lnTo>
                      <a:lnTo>
                        <a:pt x="22" y="214"/>
                      </a:lnTo>
                      <a:lnTo>
                        <a:pt x="24" y="214"/>
                      </a:lnTo>
                      <a:lnTo>
                        <a:pt x="26" y="214"/>
                      </a:lnTo>
                      <a:lnTo>
                        <a:pt x="28" y="214"/>
                      </a:lnTo>
                      <a:lnTo>
                        <a:pt x="30" y="214"/>
                      </a:lnTo>
                      <a:lnTo>
                        <a:pt x="30" y="216"/>
                      </a:lnTo>
                      <a:lnTo>
                        <a:pt x="32" y="218"/>
                      </a:lnTo>
                      <a:lnTo>
                        <a:pt x="34" y="220"/>
                      </a:lnTo>
                      <a:lnTo>
                        <a:pt x="36" y="220"/>
                      </a:lnTo>
                      <a:lnTo>
                        <a:pt x="38" y="222"/>
                      </a:lnTo>
                      <a:lnTo>
                        <a:pt x="40" y="222"/>
                      </a:lnTo>
                      <a:lnTo>
                        <a:pt x="42" y="224"/>
                      </a:lnTo>
                      <a:lnTo>
                        <a:pt x="50" y="224"/>
                      </a:lnTo>
                      <a:lnTo>
                        <a:pt x="56" y="224"/>
                      </a:lnTo>
                      <a:lnTo>
                        <a:pt x="60" y="224"/>
                      </a:lnTo>
                      <a:lnTo>
                        <a:pt x="66" y="224"/>
                      </a:lnTo>
                      <a:lnTo>
                        <a:pt x="72" y="224"/>
                      </a:lnTo>
                      <a:lnTo>
                        <a:pt x="76" y="224"/>
                      </a:lnTo>
                      <a:lnTo>
                        <a:pt x="80" y="224"/>
                      </a:lnTo>
                      <a:lnTo>
                        <a:pt x="84" y="224"/>
                      </a:lnTo>
                      <a:lnTo>
                        <a:pt x="88" y="224"/>
                      </a:lnTo>
                      <a:lnTo>
                        <a:pt x="92" y="224"/>
                      </a:lnTo>
                      <a:lnTo>
                        <a:pt x="94" y="224"/>
                      </a:lnTo>
                      <a:lnTo>
                        <a:pt x="98" y="224"/>
                      </a:lnTo>
                      <a:lnTo>
                        <a:pt x="100" y="224"/>
                      </a:lnTo>
                      <a:lnTo>
                        <a:pt x="102" y="224"/>
                      </a:lnTo>
                      <a:lnTo>
                        <a:pt x="106" y="224"/>
                      </a:lnTo>
                      <a:lnTo>
                        <a:pt x="108" y="224"/>
                      </a:lnTo>
                      <a:lnTo>
                        <a:pt x="112" y="224"/>
                      </a:lnTo>
                      <a:lnTo>
                        <a:pt x="114" y="224"/>
                      </a:lnTo>
                      <a:lnTo>
                        <a:pt x="116" y="224"/>
                      </a:lnTo>
                      <a:lnTo>
                        <a:pt x="116" y="226"/>
                      </a:lnTo>
                      <a:lnTo>
                        <a:pt x="118" y="226"/>
                      </a:lnTo>
                      <a:lnTo>
                        <a:pt x="118" y="228"/>
                      </a:lnTo>
                      <a:lnTo>
                        <a:pt x="120" y="230"/>
                      </a:lnTo>
                      <a:lnTo>
                        <a:pt x="122" y="230"/>
                      </a:lnTo>
                      <a:lnTo>
                        <a:pt x="124" y="232"/>
                      </a:lnTo>
                      <a:lnTo>
                        <a:pt x="126" y="232"/>
                      </a:lnTo>
                      <a:lnTo>
                        <a:pt x="128" y="230"/>
                      </a:lnTo>
                      <a:lnTo>
                        <a:pt x="130" y="232"/>
                      </a:lnTo>
                      <a:lnTo>
                        <a:pt x="134" y="232"/>
                      </a:lnTo>
                      <a:lnTo>
                        <a:pt x="136" y="232"/>
                      </a:lnTo>
                      <a:lnTo>
                        <a:pt x="138" y="232"/>
                      </a:lnTo>
                      <a:lnTo>
                        <a:pt x="140" y="232"/>
                      </a:lnTo>
                      <a:lnTo>
                        <a:pt x="142" y="232"/>
                      </a:lnTo>
                      <a:lnTo>
                        <a:pt x="144" y="232"/>
                      </a:lnTo>
                      <a:lnTo>
                        <a:pt x="146" y="232"/>
                      </a:lnTo>
                      <a:lnTo>
                        <a:pt x="148" y="232"/>
                      </a:lnTo>
                      <a:lnTo>
                        <a:pt x="150" y="234"/>
                      </a:lnTo>
                      <a:lnTo>
                        <a:pt x="152" y="234"/>
                      </a:lnTo>
                      <a:lnTo>
                        <a:pt x="154" y="234"/>
                      </a:lnTo>
                      <a:lnTo>
                        <a:pt x="156" y="234"/>
                      </a:lnTo>
                      <a:lnTo>
                        <a:pt x="158" y="234"/>
                      </a:lnTo>
                      <a:lnTo>
                        <a:pt x="162" y="234"/>
                      </a:lnTo>
                      <a:lnTo>
                        <a:pt x="166" y="234"/>
                      </a:lnTo>
                      <a:lnTo>
                        <a:pt x="168" y="234"/>
                      </a:lnTo>
                      <a:lnTo>
                        <a:pt x="170" y="234"/>
                      </a:lnTo>
                      <a:lnTo>
                        <a:pt x="176" y="232"/>
                      </a:lnTo>
                      <a:lnTo>
                        <a:pt x="180" y="232"/>
                      </a:lnTo>
                      <a:lnTo>
                        <a:pt x="186" y="232"/>
                      </a:lnTo>
                      <a:lnTo>
                        <a:pt x="190" y="230"/>
                      </a:lnTo>
                      <a:lnTo>
                        <a:pt x="192" y="230"/>
                      </a:lnTo>
                      <a:lnTo>
                        <a:pt x="194" y="228"/>
                      </a:lnTo>
                      <a:lnTo>
                        <a:pt x="196" y="228"/>
                      </a:lnTo>
                      <a:lnTo>
                        <a:pt x="198" y="228"/>
                      </a:lnTo>
                      <a:lnTo>
                        <a:pt x="194" y="224"/>
                      </a:lnTo>
                      <a:lnTo>
                        <a:pt x="190" y="220"/>
                      </a:lnTo>
                      <a:lnTo>
                        <a:pt x="188" y="218"/>
                      </a:lnTo>
                      <a:lnTo>
                        <a:pt x="186" y="214"/>
                      </a:lnTo>
                      <a:lnTo>
                        <a:pt x="184" y="212"/>
                      </a:lnTo>
                      <a:lnTo>
                        <a:pt x="182" y="212"/>
                      </a:lnTo>
                      <a:lnTo>
                        <a:pt x="180" y="210"/>
                      </a:lnTo>
                      <a:lnTo>
                        <a:pt x="178" y="208"/>
                      </a:lnTo>
                      <a:lnTo>
                        <a:pt x="176" y="208"/>
                      </a:lnTo>
                      <a:lnTo>
                        <a:pt x="176" y="206"/>
                      </a:lnTo>
                      <a:lnTo>
                        <a:pt x="176" y="204"/>
                      </a:lnTo>
                      <a:lnTo>
                        <a:pt x="176" y="202"/>
                      </a:lnTo>
                      <a:lnTo>
                        <a:pt x="176" y="200"/>
                      </a:lnTo>
                      <a:lnTo>
                        <a:pt x="174" y="198"/>
                      </a:lnTo>
                      <a:lnTo>
                        <a:pt x="174" y="194"/>
                      </a:lnTo>
                      <a:lnTo>
                        <a:pt x="174" y="188"/>
                      </a:lnTo>
                      <a:lnTo>
                        <a:pt x="174" y="184"/>
                      </a:lnTo>
                      <a:lnTo>
                        <a:pt x="174" y="180"/>
                      </a:lnTo>
                      <a:lnTo>
                        <a:pt x="174" y="176"/>
                      </a:lnTo>
                      <a:lnTo>
                        <a:pt x="174" y="172"/>
                      </a:lnTo>
                      <a:lnTo>
                        <a:pt x="174" y="168"/>
                      </a:lnTo>
                      <a:lnTo>
                        <a:pt x="174" y="164"/>
                      </a:lnTo>
                      <a:lnTo>
                        <a:pt x="176" y="160"/>
                      </a:lnTo>
                      <a:lnTo>
                        <a:pt x="176" y="158"/>
                      </a:lnTo>
                      <a:lnTo>
                        <a:pt x="176" y="154"/>
                      </a:lnTo>
                      <a:lnTo>
                        <a:pt x="176" y="150"/>
                      </a:lnTo>
                      <a:lnTo>
                        <a:pt x="176" y="146"/>
                      </a:lnTo>
                      <a:lnTo>
                        <a:pt x="176" y="144"/>
                      </a:lnTo>
                      <a:lnTo>
                        <a:pt x="176" y="142"/>
                      </a:lnTo>
                      <a:lnTo>
                        <a:pt x="176" y="140"/>
                      </a:lnTo>
                      <a:lnTo>
                        <a:pt x="176" y="138"/>
                      </a:lnTo>
                      <a:lnTo>
                        <a:pt x="180" y="138"/>
                      </a:lnTo>
                      <a:lnTo>
                        <a:pt x="184" y="140"/>
                      </a:lnTo>
                      <a:lnTo>
                        <a:pt x="188" y="140"/>
                      </a:lnTo>
                      <a:lnTo>
                        <a:pt x="192" y="140"/>
                      </a:lnTo>
                      <a:lnTo>
                        <a:pt x="196" y="140"/>
                      </a:lnTo>
                      <a:lnTo>
                        <a:pt x="198" y="140"/>
                      </a:lnTo>
                      <a:lnTo>
                        <a:pt x="200" y="140"/>
                      </a:lnTo>
                      <a:lnTo>
                        <a:pt x="202" y="140"/>
                      </a:lnTo>
                      <a:lnTo>
                        <a:pt x="204" y="140"/>
                      </a:lnTo>
                      <a:lnTo>
                        <a:pt x="206" y="140"/>
                      </a:lnTo>
                      <a:lnTo>
                        <a:pt x="208" y="138"/>
                      </a:lnTo>
                      <a:lnTo>
                        <a:pt x="210" y="136"/>
                      </a:lnTo>
                      <a:lnTo>
                        <a:pt x="208" y="132"/>
                      </a:lnTo>
                      <a:lnTo>
                        <a:pt x="208" y="130"/>
                      </a:lnTo>
                      <a:lnTo>
                        <a:pt x="210" y="128"/>
                      </a:lnTo>
                      <a:lnTo>
                        <a:pt x="212" y="128"/>
                      </a:lnTo>
                      <a:lnTo>
                        <a:pt x="212" y="126"/>
                      </a:lnTo>
                      <a:lnTo>
                        <a:pt x="210" y="126"/>
                      </a:lnTo>
                      <a:lnTo>
                        <a:pt x="210" y="124"/>
                      </a:lnTo>
                      <a:lnTo>
                        <a:pt x="210" y="122"/>
                      </a:lnTo>
                      <a:lnTo>
                        <a:pt x="210" y="120"/>
                      </a:lnTo>
                      <a:lnTo>
                        <a:pt x="210" y="118"/>
                      </a:lnTo>
                      <a:lnTo>
                        <a:pt x="208" y="116"/>
                      </a:lnTo>
                      <a:lnTo>
                        <a:pt x="208" y="114"/>
                      </a:lnTo>
                      <a:lnTo>
                        <a:pt x="208" y="112"/>
                      </a:lnTo>
                      <a:lnTo>
                        <a:pt x="210" y="112"/>
                      </a:lnTo>
                      <a:lnTo>
                        <a:pt x="212" y="112"/>
                      </a:lnTo>
                      <a:lnTo>
                        <a:pt x="212" y="110"/>
                      </a:lnTo>
                      <a:lnTo>
                        <a:pt x="212" y="108"/>
                      </a:lnTo>
                      <a:lnTo>
                        <a:pt x="212" y="106"/>
                      </a:lnTo>
                      <a:lnTo>
                        <a:pt x="210" y="104"/>
                      </a:lnTo>
                      <a:lnTo>
                        <a:pt x="210" y="102"/>
                      </a:lnTo>
                      <a:lnTo>
                        <a:pt x="208" y="10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2" name="Freeform 68">
                  <a:extLst>
                    <a:ext uri="{FF2B5EF4-FFF2-40B4-BE49-F238E27FC236}">
                      <a16:creationId xmlns:a16="http://schemas.microsoft.com/office/drawing/2014/main" id="{1D8D107F-2498-4011-AB96-B89B29066076}"/>
                    </a:ext>
                  </a:extLst>
                </p:cNvPr>
                <p:cNvSpPr>
                  <a:spLocks noChangeAspect="1"/>
                </p:cNvSpPr>
                <p:nvPr/>
              </p:nvSpPr>
              <p:spPr bwMode="auto">
                <a:xfrm>
                  <a:off x="4810626" y="3887609"/>
                  <a:ext cx="358470" cy="292986"/>
                </a:xfrm>
                <a:custGeom>
                  <a:avLst/>
                  <a:gdLst/>
                  <a:ahLst/>
                  <a:cxnLst>
                    <a:cxn ang="0">
                      <a:pos x="204" y="96"/>
                    </a:cxn>
                    <a:cxn ang="0">
                      <a:pos x="204" y="90"/>
                    </a:cxn>
                    <a:cxn ang="0">
                      <a:pos x="204" y="84"/>
                    </a:cxn>
                    <a:cxn ang="0">
                      <a:pos x="198" y="80"/>
                    </a:cxn>
                    <a:cxn ang="0">
                      <a:pos x="186" y="70"/>
                    </a:cxn>
                    <a:cxn ang="0">
                      <a:pos x="186" y="62"/>
                    </a:cxn>
                    <a:cxn ang="0">
                      <a:pos x="178" y="56"/>
                    </a:cxn>
                    <a:cxn ang="0">
                      <a:pos x="172" y="54"/>
                    </a:cxn>
                    <a:cxn ang="0">
                      <a:pos x="166" y="48"/>
                    </a:cxn>
                    <a:cxn ang="0">
                      <a:pos x="156" y="44"/>
                    </a:cxn>
                    <a:cxn ang="0">
                      <a:pos x="156" y="40"/>
                    </a:cxn>
                    <a:cxn ang="0">
                      <a:pos x="156" y="32"/>
                    </a:cxn>
                    <a:cxn ang="0">
                      <a:pos x="148" y="6"/>
                    </a:cxn>
                    <a:cxn ang="0">
                      <a:pos x="140" y="0"/>
                    </a:cxn>
                    <a:cxn ang="0">
                      <a:pos x="128" y="6"/>
                    </a:cxn>
                    <a:cxn ang="0">
                      <a:pos x="124" y="14"/>
                    </a:cxn>
                    <a:cxn ang="0">
                      <a:pos x="116" y="20"/>
                    </a:cxn>
                    <a:cxn ang="0">
                      <a:pos x="110" y="30"/>
                    </a:cxn>
                    <a:cxn ang="0">
                      <a:pos x="80" y="38"/>
                    </a:cxn>
                    <a:cxn ang="0">
                      <a:pos x="74" y="42"/>
                    </a:cxn>
                    <a:cxn ang="0">
                      <a:pos x="78" y="50"/>
                    </a:cxn>
                    <a:cxn ang="0">
                      <a:pos x="66" y="58"/>
                    </a:cxn>
                    <a:cxn ang="0">
                      <a:pos x="46" y="64"/>
                    </a:cxn>
                    <a:cxn ang="0">
                      <a:pos x="38" y="60"/>
                    </a:cxn>
                    <a:cxn ang="0">
                      <a:pos x="26" y="68"/>
                    </a:cxn>
                    <a:cxn ang="0">
                      <a:pos x="16" y="70"/>
                    </a:cxn>
                    <a:cxn ang="0">
                      <a:pos x="12" y="80"/>
                    </a:cxn>
                    <a:cxn ang="0">
                      <a:pos x="8" y="90"/>
                    </a:cxn>
                    <a:cxn ang="0">
                      <a:pos x="0" y="96"/>
                    </a:cxn>
                    <a:cxn ang="0">
                      <a:pos x="6" y="104"/>
                    </a:cxn>
                    <a:cxn ang="0">
                      <a:pos x="4" y="110"/>
                    </a:cxn>
                    <a:cxn ang="0">
                      <a:pos x="8" y="122"/>
                    </a:cxn>
                    <a:cxn ang="0">
                      <a:pos x="12" y="128"/>
                    </a:cxn>
                    <a:cxn ang="0">
                      <a:pos x="12" y="138"/>
                    </a:cxn>
                    <a:cxn ang="0">
                      <a:pos x="28" y="152"/>
                    </a:cxn>
                    <a:cxn ang="0">
                      <a:pos x="30" y="162"/>
                    </a:cxn>
                    <a:cxn ang="0">
                      <a:pos x="32" y="168"/>
                    </a:cxn>
                    <a:cxn ang="0">
                      <a:pos x="36" y="152"/>
                    </a:cxn>
                    <a:cxn ang="0">
                      <a:pos x="38" y="144"/>
                    </a:cxn>
                    <a:cxn ang="0">
                      <a:pos x="48" y="142"/>
                    </a:cxn>
                    <a:cxn ang="0">
                      <a:pos x="64" y="144"/>
                    </a:cxn>
                    <a:cxn ang="0">
                      <a:pos x="72" y="136"/>
                    </a:cxn>
                    <a:cxn ang="0">
                      <a:pos x="70" y="130"/>
                    </a:cxn>
                    <a:cxn ang="0">
                      <a:pos x="76" y="126"/>
                    </a:cxn>
                    <a:cxn ang="0">
                      <a:pos x="86" y="112"/>
                    </a:cxn>
                    <a:cxn ang="0">
                      <a:pos x="98" y="118"/>
                    </a:cxn>
                    <a:cxn ang="0">
                      <a:pos x="102" y="124"/>
                    </a:cxn>
                    <a:cxn ang="0">
                      <a:pos x="114" y="126"/>
                    </a:cxn>
                    <a:cxn ang="0">
                      <a:pos x="126" y="130"/>
                    </a:cxn>
                    <a:cxn ang="0">
                      <a:pos x="134" y="132"/>
                    </a:cxn>
                    <a:cxn ang="0">
                      <a:pos x="142" y="124"/>
                    </a:cxn>
                    <a:cxn ang="0">
                      <a:pos x="150" y="122"/>
                    </a:cxn>
                    <a:cxn ang="0">
                      <a:pos x="160" y="118"/>
                    </a:cxn>
                    <a:cxn ang="0">
                      <a:pos x="168" y="114"/>
                    </a:cxn>
                    <a:cxn ang="0">
                      <a:pos x="176" y="118"/>
                    </a:cxn>
                    <a:cxn ang="0">
                      <a:pos x="182" y="112"/>
                    </a:cxn>
                    <a:cxn ang="0">
                      <a:pos x="192" y="112"/>
                    </a:cxn>
                    <a:cxn ang="0">
                      <a:pos x="200" y="112"/>
                    </a:cxn>
                    <a:cxn ang="0">
                      <a:pos x="216" y="110"/>
                    </a:cxn>
                    <a:cxn ang="0">
                      <a:pos x="218" y="102"/>
                    </a:cxn>
                  </a:cxnLst>
                  <a:rect l="0" t="0" r="r" b="b"/>
                  <a:pathLst>
                    <a:path w="218" h="168">
                      <a:moveTo>
                        <a:pt x="216" y="102"/>
                      </a:moveTo>
                      <a:lnTo>
                        <a:pt x="214" y="100"/>
                      </a:lnTo>
                      <a:lnTo>
                        <a:pt x="212" y="98"/>
                      </a:lnTo>
                      <a:lnTo>
                        <a:pt x="210" y="96"/>
                      </a:lnTo>
                      <a:lnTo>
                        <a:pt x="208" y="96"/>
                      </a:lnTo>
                      <a:lnTo>
                        <a:pt x="206" y="96"/>
                      </a:lnTo>
                      <a:lnTo>
                        <a:pt x="204" y="96"/>
                      </a:lnTo>
                      <a:lnTo>
                        <a:pt x="204" y="94"/>
                      </a:lnTo>
                      <a:lnTo>
                        <a:pt x="204" y="92"/>
                      </a:lnTo>
                      <a:lnTo>
                        <a:pt x="204" y="90"/>
                      </a:lnTo>
                      <a:lnTo>
                        <a:pt x="202" y="90"/>
                      </a:lnTo>
                      <a:lnTo>
                        <a:pt x="202" y="88"/>
                      </a:lnTo>
                      <a:lnTo>
                        <a:pt x="202" y="86"/>
                      </a:lnTo>
                      <a:lnTo>
                        <a:pt x="204" y="86"/>
                      </a:lnTo>
                      <a:lnTo>
                        <a:pt x="204" y="84"/>
                      </a:lnTo>
                      <a:lnTo>
                        <a:pt x="204" y="82"/>
                      </a:lnTo>
                      <a:lnTo>
                        <a:pt x="202" y="82"/>
                      </a:lnTo>
                      <a:lnTo>
                        <a:pt x="200" y="82"/>
                      </a:lnTo>
                      <a:lnTo>
                        <a:pt x="198" y="82"/>
                      </a:lnTo>
                      <a:lnTo>
                        <a:pt x="198" y="80"/>
                      </a:lnTo>
                      <a:lnTo>
                        <a:pt x="198" y="78"/>
                      </a:lnTo>
                      <a:lnTo>
                        <a:pt x="196" y="76"/>
                      </a:lnTo>
                      <a:lnTo>
                        <a:pt x="196" y="74"/>
                      </a:lnTo>
                      <a:lnTo>
                        <a:pt x="194" y="74"/>
                      </a:lnTo>
                      <a:lnTo>
                        <a:pt x="192" y="74"/>
                      </a:lnTo>
                      <a:lnTo>
                        <a:pt x="190" y="72"/>
                      </a:lnTo>
                      <a:lnTo>
                        <a:pt x="188" y="72"/>
                      </a:lnTo>
                      <a:lnTo>
                        <a:pt x="186" y="70"/>
                      </a:lnTo>
                      <a:lnTo>
                        <a:pt x="184" y="70"/>
                      </a:lnTo>
                      <a:lnTo>
                        <a:pt x="184" y="68"/>
                      </a:lnTo>
                      <a:lnTo>
                        <a:pt x="182" y="68"/>
                      </a:lnTo>
                      <a:lnTo>
                        <a:pt x="182" y="66"/>
                      </a:lnTo>
                      <a:lnTo>
                        <a:pt x="184" y="66"/>
                      </a:lnTo>
                      <a:lnTo>
                        <a:pt x="186" y="64"/>
                      </a:lnTo>
                      <a:lnTo>
                        <a:pt x="186" y="62"/>
                      </a:lnTo>
                      <a:lnTo>
                        <a:pt x="184" y="62"/>
                      </a:lnTo>
                      <a:lnTo>
                        <a:pt x="184" y="60"/>
                      </a:lnTo>
                      <a:lnTo>
                        <a:pt x="182" y="60"/>
                      </a:lnTo>
                      <a:lnTo>
                        <a:pt x="180" y="60"/>
                      </a:lnTo>
                      <a:lnTo>
                        <a:pt x="178" y="60"/>
                      </a:lnTo>
                      <a:lnTo>
                        <a:pt x="178" y="58"/>
                      </a:lnTo>
                      <a:lnTo>
                        <a:pt x="178" y="56"/>
                      </a:lnTo>
                      <a:lnTo>
                        <a:pt x="178" y="54"/>
                      </a:lnTo>
                      <a:lnTo>
                        <a:pt x="176" y="54"/>
                      </a:lnTo>
                      <a:lnTo>
                        <a:pt x="174" y="54"/>
                      </a:lnTo>
                      <a:lnTo>
                        <a:pt x="172" y="54"/>
                      </a:lnTo>
                      <a:lnTo>
                        <a:pt x="170" y="54"/>
                      </a:lnTo>
                      <a:lnTo>
                        <a:pt x="168" y="54"/>
                      </a:lnTo>
                      <a:lnTo>
                        <a:pt x="166" y="54"/>
                      </a:lnTo>
                      <a:lnTo>
                        <a:pt x="166" y="52"/>
                      </a:lnTo>
                      <a:lnTo>
                        <a:pt x="166" y="50"/>
                      </a:lnTo>
                      <a:lnTo>
                        <a:pt x="166" y="48"/>
                      </a:lnTo>
                      <a:lnTo>
                        <a:pt x="166" y="46"/>
                      </a:lnTo>
                      <a:lnTo>
                        <a:pt x="166" y="44"/>
                      </a:lnTo>
                      <a:lnTo>
                        <a:pt x="164" y="44"/>
                      </a:lnTo>
                      <a:lnTo>
                        <a:pt x="162" y="44"/>
                      </a:lnTo>
                      <a:lnTo>
                        <a:pt x="160" y="44"/>
                      </a:lnTo>
                      <a:lnTo>
                        <a:pt x="156" y="44"/>
                      </a:lnTo>
                      <a:lnTo>
                        <a:pt x="154" y="44"/>
                      </a:lnTo>
                      <a:lnTo>
                        <a:pt x="154" y="42"/>
                      </a:lnTo>
                      <a:lnTo>
                        <a:pt x="156" y="42"/>
                      </a:lnTo>
                      <a:lnTo>
                        <a:pt x="156" y="40"/>
                      </a:lnTo>
                      <a:lnTo>
                        <a:pt x="154" y="40"/>
                      </a:lnTo>
                      <a:lnTo>
                        <a:pt x="154" y="38"/>
                      </a:lnTo>
                      <a:lnTo>
                        <a:pt x="154" y="36"/>
                      </a:lnTo>
                      <a:lnTo>
                        <a:pt x="154" y="34"/>
                      </a:lnTo>
                      <a:lnTo>
                        <a:pt x="156" y="32"/>
                      </a:lnTo>
                      <a:lnTo>
                        <a:pt x="156" y="30"/>
                      </a:lnTo>
                      <a:lnTo>
                        <a:pt x="158" y="28"/>
                      </a:lnTo>
                      <a:lnTo>
                        <a:pt x="158" y="26"/>
                      </a:lnTo>
                      <a:lnTo>
                        <a:pt x="158" y="24"/>
                      </a:lnTo>
                      <a:lnTo>
                        <a:pt x="158" y="22"/>
                      </a:lnTo>
                      <a:lnTo>
                        <a:pt x="156" y="20"/>
                      </a:lnTo>
                      <a:lnTo>
                        <a:pt x="154" y="16"/>
                      </a:lnTo>
                      <a:lnTo>
                        <a:pt x="152" y="14"/>
                      </a:lnTo>
                      <a:lnTo>
                        <a:pt x="150" y="10"/>
                      </a:lnTo>
                      <a:lnTo>
                        <a:pt x="148" y="6"/>
                      </a:lnTo>
                      <a:lnTo>
                        <a:pt x="146" y="6"/>
                      </a:lnTo>
                      <a:lnTo>
                        <a:pt x="144" y="4"/>
                      </a:lnTo>
                      <a:lnTo>
                        <a:pt x="144" y="2"/>
                      </a:lnTo>
                      <a:lnTo>
                        <a:pt x="142" y="2"/>
                      </a:lnTo>
                      <a:lnTo>
                        <a:pt x="140" y="0"/>
                      </a:lnTo>
                      <a:lnTo>
                        <a:pt x="138" y="0"/>
                      </a:lnTo>
                      <a:lnTo>
                        <a:pt x="134" y="2"/>
                      </a:lnTo>
                      <a:lnTo>
                        <a:pt x="132" y="2"/>
                      </a:lnTo>
                      <a:lnTo>
                        <a:pt x="130" y="4"/>
                      </a:lnTo>
                      <a:lnTo>
                        <a:pt x="128" y="6"/>
                      </a:lnTo>
                      <a:lnTo>
                        <a:pt x="126" y="6"/>
                      </a:lnTo>
                      <a:lnTo>
                        <a:pt x="124" y="6"/>
                      </a:lnTo>
                      <a:lnTo>
                        <a:pt x="124" y="8"/>
                      </a:lnTo>
                      <a:lnTo>
                        <a:pt x="124" y="10"/>
                      </a:lnTo>
                      <a:lnTo>
                        <a:pt x="124" y="12"/>
                      </a:lnTo>
                      <a:lnTo>
                        <a:pt x="124" y="14"/>
                      </a:lnTo>
                      <a:lnTo>
                        <a:pt x="122" y="16"/>
                      </a:lnTo>
                      <a:lnTo>
                        <a:pt x="120" y="16"/>
                      </a:lnTo>
                      <a:lnTo>
                        <a:pt x="120" y="18"/>
                      </a:lnTo>
                      <a:lnTo>
                        <a:pt x="118" y="18"/>
                      </a:lnTo>
                      <a:lnTo>
                        <a:pt x="116" y="20"/>
                      </a:lnTo>
                      <a:lnTo>
                        <a:pt x="114" y="20"/>
                      </a:lnTo>
                      <a:lnTo>
                        <a:pt x="114" y="22"/>
                      </a:lnTo>
                      <a:lnTo>
                        <a:pt x="114" y="24"/>
                      </a:lnTo>
                      <a:lnTo>
                        <a:pt x="112" y="28"/>
                      </a:lnTo>
                      <a:lnTo>
                        <a:pt x="110" y="30"/>
                      </a:lnTo>
                      <a:lnTo>
                        <a:pt x="108" y="30"/>
                      </a:lnTo>
                      <a:lnTo>
                        <a:pt x="106" y="32"/>
                      </a:lnTo>
                      <a:lnTo>
                        <a:pt x="104" y="34"/>
                      </a:lnTo>
                      <a:lnTo>
                        <a:pt x="100" y="34"/>
                      </a:lnTo>
                      <a:lnTo>
                        <a:pt x="96" y="36"/>
                      </a:lnTo>
                      <a:lnTo>
                        <a:pt x="92" y="38"/>
                      </a:lnTo>
                      <a:lnTo>
                        <a:pt x="88" y="38"/>
                      </a:lnTo>
                      <a:lnTo>
                        <a:pt x="84" y="38"/>
                      </a:lnTo>
                      <a:lnTo>
                        <a:pt x="80" y="38"/>
                      </a:lnTo>
                      <a:lnTo>
                        <a:pt x="78" y="40"/>
                      </a:lnTo>
                      <a:lnTo>
                        <a:pt x="76" y="40"/>
                      </a:lnTo>
                      <a:lnTo>
                        <a:pt x="74" y="42"/>
                      </a:lnTo>
                      <a:lnTo>
                        <a:pt x="76" y="42"/>
                      </a:lnTo>
                      <a:lnTo>
                        <a:pt x="78" y="44"/>
                      </a:lnTo>
                      <a:lnTo>
                        <a:pt x="80" y="46"/>
                      </a:lnTo>
                      <a:lnTo>
                        <a:pt x="80" y="48"/>
                      </a:lnTo>
                      <a:lnTo>
                        <a:pt x="78" y="48"/>
                      </a:lnTo>
                      <a:lnTo>
                        <a:pt x="78" y="50"/>
                      </a:lnTo>
                      <a:lnTo>
                        <a:pt x="76" y="54"/>
                      </a:lnTo>
                      <a:lnTo>
                        <a:pt x="74" y="54"/>
                      </a:lnTo>
                      <a:lnTo>
                        <a:pt x="74" y="56"/>
                      </a:lnTo>
                      <a:lnTo>
                        <a:pt x="72" y="56"/>
                      </a:lnTo>
                      <a:lnTo>
                        <a:pt x="72" y="58"/>
                      </a:lnTo>
                      <a:lnTo>
                        <a:pt x="70" y="58"/>
                      </a:lnTo>
                      <a:lnTo>
                        <a:pt x="68" y="58"/>
                      </a:lnTo>
                      <a:lnTo>
                        <a:pt x="66" y="58"/>
                      </a:lnTo>
                      <a:lnTo>
                        <a:pt x="62" y="58"/>
                      </a:lnTo>
                      <a:lnTo>
                        <a:pt x="60" y="58"/>
                      </a:lnTo>
                      <a:lnTo>
                        <a:pt x="56" y="58"/>
                      </a:lnTo>
                      <a:lnTo>
                        <a:pt x="54" y="58"/>
                      </a:lnTo>
                      <a:lnTo>
                        <a:pt x="52" y="58"/>
                      </a:lnTo>
                      <a:lnTo>
                        <a:pt x="50" y="58"/>
                      </a:lnTo>
                      <a:lnTo>
                        <a:pt x="50" y="60"/>
                      </a:lnTo>
                      <a:lnTo>
                        <a:pt x="48" y="62"/>
                      </a:lnTo>
                      <a:lnTo>
                        <a:pt x="46" y="64"/>
                      </a:lnTo>
                      <a:lnTo>
                        <a:pt x="44" y="66"/>
                      </a:lnTo>
                      <a:lnTo>
                        <a:pt x="42" y="66"/>
                      </a:lnTo>
                      <a:lnTo>
                        <a:pt x="40" y="66"/>
                      </a:lnTo>
                      <a:lnTo>
                        <a:pt x="38" y="66"/>
                      </a:lnTo>
                      <a:lnTo>
                        <a:pt x="38" y="64"/>
                      </a:lnTo>
                      <a:lnTo>
                        <a:pt x="38" y="62"/>
                      </a:lnTo>
                      <a:lnTo>
                        <a:pt x="38" y="60"/>
                      </a:lnTo>
                      <a:lnTo>
                        <a:pt x="36" y="60"/>
                      </a:lnTo>
                      <a:lnTo>
                        <a:pt x="36" y="62"/>
                      </a:lnTo>
                      <a:lnTo>
                        <a:pt x="34" y="62"/>
                      </a:lnTo>
                      <a:lnTo>
                        <a:pt x="32" y="64"/>
                      </a:lnTo>
                      <a:lnTo>
                        <a:pt x="30" y="66"/>
                      </a:lnTo>
                      <a:lnTo>
                        <a:pt x="28" y="68"/>
                      </a:lnTo>
                      <a:lnTo>
                        <a:pt x="26" y="68"/>
                      </a:lnTo>
                      <a:lnTo>
                        <a:pt x="24" y="68"/>
                      </a:lnTo>
                      <a:lnTo>
                        <a:pt x="22" y="68"/>
                      </a:lnTo>
                      <a:lnTo>
                        <a:pt x="20" y="68"/>
                      </a:lnTo>
                      <a:lnTo>
                        <a:pt x="18" y="68"/>
                      </a:lnTo>
                      <a:lnTo>
                        <a:pt x="16" y="70"/>
                      </a:lnTo>
                      <a:lnTo>
                        <a:pt x="14" y="72"/>
                      </a:lnTo>
                      <a:lnTo>
                        <a:pt x="12" y="74"/>
                      </a:lnTo>
                      <a:lnTo>
                        <a:pt x="12" y="76"/>
                      </a:lnTo>
                      <a:lnTo>
                        <a:pt x="12" y="78"/>
                      </a:lnTo>
                      <a:lnTo>
                        <a:pt x="12" y="80"/>
                      </a:lnTo>
                      <a:lnTo>
                        <a:pt x="10" y="80"/>
                      </a:lnTo>
                      <a:lnTo>
                        <a:pt x="10" y="84"/>
                      </a:lnTo>
                      <a:lnTo>
                        <a:pt x="8" y="86"/>
                      </a:lnTo>
                      <a:lnTo>
                        <a:pt x="8" y="88"/>
                      </a:lnTo>
                      <a:lnTo>
                        <a:pt x="8" y="90"/>
                      </a:lnTo>
                      <a:lnTo>
                        <a:pt x="6" y="90"/>
                      </a:lnTo>
                      <a:lnTo>
                        <a:pt x="4" y="92"/>
                      </a:lnTo>
                      <a:lnTo>
                        <a:pt x="2" y="92"/>
                      </a:lnTo>
                      <a:lnTo>
                        <a:pt x="0" y="94"/>
                      </a:lnTo>
                      <a:lnTo>
                        <a:pt x="0" y="96"/>
                      </a:lnTo>
                      <a:lnTo>
                        <a:pt x="2" y="98"/>
                      </a:lnTo>
                      <a:lnTo>
                        <a:pt x="4" y="98"/>
                      </a:lnTo>
                      <a:lnTo>
                        <a:pt x="6" y="98"/>
                      </a:lnTo>
                      <a:lnTo>
                        <a:pt x="6" y="102"/>
                      </a:lnTo>
                      <a:lnTo>
                        <a:pt x="6" y="104"/>
                      </a:lnTo>
                      <a:lnTo>
                        <a:pt x="6" y="106"/>
                      </a:lnTo>
                      <a:lnTo>
                        <a:pt x="4" y="108"/>
                      </a:lnTo>
                      <a:lnTo>
                        <a:pt x="2" y="110"/>
                      </a:lnTo>
                      <a:lnTo>
                        <a:pt x="4" y="110"/>
                      </a:lnTo>
                      <a:lnTo>
                        <a:pt x="6" y="112"/>
                      </a:lnTo>
                      <a:lnTo>
                        <a:pt x="8" y="112"/>
                      </a:lnTo>
                      <a:lnTo>
                        <a:pt x="8" y="114"/>
                      </a:lnTo>
                      <a:lnTo>
                        <a:pt x="8" y="116"/>
                      </a:lnTo>
                      <a:lnTo>
                        <a:pt x="8" y="118"/>
                      </a:lnTo>
                      <a:lnTo>
                        <a:pt x="8" y="122"/>
                      </a:lnTo>
                      <a:lnTo>
                        <a:pt x="8" y="124"/>
                      </a:lnTo>
                      <a:lnTo>
                        <a:pt x="8" y="126"/>
                      </a:lnTo>
                      <a:lnTo>
                        <a:pt x="10" y="126"/>
                      </a:lnTo>
                      <a:lnTo>
                        <a:pt x="12" y="126"/>
                      </a:lnTo>
                      <a:lnTo>
                        <a:pt x="12" y="128"/>
                      </a:lnTo>
                      <a:lnTo>
                        <a:pt x="14" y="128"/>
                      </a:lnTo>
                      <a:lnTo>
                        <a:pt x="14" y="130"/>
                      </a:lnTo>
                      <a:lnTo>
                        <a:pt x="14" y="132"/>
                      </a:lnTo>
                      <a:lnTo>
                        <a:pt x="12" y="132"/>
                      </a:lnTo>
                      <a:lnTo>
                        <a:pt x="12" y="134"/>
                      </a:lnTo>
                      <a:lnTo>
                        <a:pt x="12" y="136"/>
                      </a:lnTo>
                      <a:lnTo>
                        <a:pt x="12" y="138"/>
                      </a:lnTo>
                      <a:lnTo>
                        <a:pt x="14" y="140"/>
                      </a:lnTo>
                      <a:lnTo>
                        <a:pt x="14" y="142"/>
                      </a:lnTo>
                      <a:lnTo>
                        <a:pt x="18" y="146"/>
                      </a:lnTo>
                      <a:lnTo>
                        <a:pt x="20" y="148"/>
                      </a:lnTo>
                      <a:lnTo>
                        <a:pt x="22" y="150"/>
                      </a:lnTo>
                      <a:lnTo>
                        <a:pt x="26" y="152"/>
                      </a:lnTo>
                      <a:lnTo>
                        <a:pt x="28" y="152"/>
                      </a:lnTo>
                      <a:lnTo>
                        <a:pt x="28" y="154"/>
                      </a:lnTo>
                      <a:lnTo>
                        <a:pt x="30" y="156"/>
                      </a:lnTo>
                      <a:lnTo>
                        <a:pt x="30" y="158"/>
                      </a:lnTo>
                      <a:lnTo>
                        <a:pt x="30" y="160"/>
                      </a:lnTo>
                      <a:lnTo>
                        <a:pt x="30" y="162"/>
                      </a:lnTo>
                      <a:lnTo>
                        <a:pt x="30" y="164"/>
                      </a:lnTo>
                      <a:lnTo>
                        <a:pt x="30" y="166"/>
                      </a:lnTo>
                      <a:lnTo>
                        <a:pt x="32" y="168"/>
                      </a:lnTo>
                      <a:lnTo>
                        <a:pt x="32" y="166"/>
                      </a:lnTo>
                      <a:lnTo>
                        <a:pt x="34" y="164"/>
                      </a:lnTo>
                      <a:lnTo>
                        <a:pt x="36" y="160"/>
                      </a:lnTo>
                      <a:lnTo>
                        <a:pt x="38" y="158"/>
                      </a:lnTo>
                      <a:lnTo>
                        <a:pt x="38" y="156"/>
                      </a:lnTo>
                      <a:lnTo>
                        <a:pt x="36" y="154"/>
                      </a:lnTo>
                      <a:lnTo>
                        <a:pt x="36" y="152"/>
                      </a:lnTo>
                      <a:lnTo>
                        <a:pt x="34" y="152"/>
                      </a:lnTo>
                      <a:lnTo>
                        <a:pt x="34" y="150"/>
                      </a:lnTo>
                      <a:lnTo>
                        <a:pt x="36" y="148"/>
                      </a:lnTo>
                      <a:lnTo>
                        <a:pt x="36" y="146"/>
                      </a:lnTo>
                      <a:lnTo>
                        <a:pt x="38" y="146"/>
                      </a:lnTo>
                      <a:lnTo>
                        <a:pt x="38" y="144"/>
                      </a:lnTo>
                      <a:lnTo>
                        <a:pt x="40" y="144"/>
                      </a:lnTo>
                      <a:lnTo>
                        <a:pt x="42" y="144"/>
                      </a:lnTo>
                      <a:lnTo>
                        <a:pt x="44" y="144"/>
                      </a:lnTo>
                      <a:lnTo>
                        <a:pt x="46" y="144"/>
                      </a:lnTo>
                      <a:lnTo>
                        <a:pt x="48" y="142"/>
                      </a:lnTo>
                      <a:lnTo>
                        <a:pt x="50" y="140"/>
                      </a:lnTo>
                      <a:lnTo>
                        <a:pt x="52" y="140"/>
                      </a:lnTo>
                      <a:lnTo>
                        <a:pt x="54" y="140"/>
                      </a:lnTo>
                      <a:lnTo>
                        <a:pt x="56" y="142"/>
                      </a:lnTo>
                      <a:lnTo>
                        <a:pt x="60" y="142"/>
                      </a:lnTo>
                      <a:lnTo>
                        <a:pt x="62" y="144"/>
                      </a:lnTo>
                      <a:lnTo>
                        <a:pt x="64" y="144"/>
                      </a:lnTo>
                      <a:lnTo>
                        <a:pt x="66" y="144"/>
                      </a:lnTo>
                      <a:lnTo>
                        <a:pt x="68" y="142"/>
                      </a:lnTo>
                      <a:lnTo>
                        <a:pt x="70" y="140"/>
                      </a:lnTo>
                      <a:lnTo>
                        <a:pt x="70" y="138"/>
                      </a:lnTo>
                      <a:lnTo>
                        <a:pt x="72" y="138"/>
                      </a:lnTo>
                      <a:lnTo>
                        <a:pt x="72" y="136"/>
                      </a:lnTo>
                      <a:lnTo>
                        <a:pt x="72" y="134"/>
                      </a:lnTo>
                      <a:lnTo>
                        <a:pt x="72" y="132"/>
                      </a:lnTo>
                      <a:lnTo>
                        <a:pt x="70" y="132"/>
                      </a:lnTo>
                      <a:lnTo>
                        <a:pt x="70" y="130"/>
                      </a:lnTo>
                      <a:lnTo>
                        <a:pt x="70" y="128"/>
                      </a:lnTo>
                      <a:lnTo>
                        <a:pt x="72" y="128"/>
                      </a:lnTo>
                      <a:lnTo>
                        <a:pt x="72" y="126"/>
                      </a:lnTo>
                      <a:lnTo>
                        <a:pt x="74" y="126"/>
                      </a:lnTo>
                      <a:lnTo>
                        <a:pt x="76" y="126"/>
                      </a:lnTo>
                      <a:lnTo>
                        <a:pt x="78" y="124"/>
                      </a:lnTo>
                      <a:lnTo>
                        <a:pt x="78" y="122"/>
                      </a:lnTo>
                      <a:lnTo>
                        <a:pt x="80" y="120"/>
                      </a:lnTo>
                      <a:lnTo>
                        <a:pt x="80" y="118"/>
                      </a:lnTo>
                      <a:lnTo>
                        <a:pt x="80" y="116"/>
                      </a:lnTo>
                      <a:lnTo>
                        <a:pt x="80" y="114"/>
                      </a:lnTo>
                      <a:lnTo>
                        <a:pt x="82" y="114"/>
                      </a:lnTo>
                      <a:lnTo>
                        <a:pt x="84" y="112"/>
                      </a:lnTo>
                      <a:lnTo>
                        <a:pt x="86" y="112"/>
                      </a:lnTo>
                      <a:lnTo>
                        <a:pt x="88" y="112"/>
                      </a:lnTo>
                      <a:lnTo>
                        <a:pt x="90" y="112"/>
                      </a:lnTo>
                      <a:lnTo>
                        <a:pt x="92" y="112"/>
                      </a:lnTo>
                      <a:lnTo>
                        <a:pt x="94" y="114"/>
                      </a:lnTo>
                      <a:lnTo>
                        <a:pt x="96" y="114"/>
                      </a:lnTo>
                      <a:lnTo>
                        <a:pt x="96" y="116"/>
                      </a:lnTo>
                      <a:lnTo>
                        <a:pt x="98" y="116"/>
                      </a:lnTo>
                      <a:lnTo>
                        <a:pt x="98" y="118"/>
                      </a:lnTo>
                      <a:lnTo>
                        <a:pt x="100" y="118"/>
                      </a:lnTo>
                      <a:lnTo>
                        <a:pt x="102" y="118"/>
                      </a:lnTo>
                      <a:lnTo>
                        <a:pt x="104" y="120"/>
                      </a:lnTo>
                      <a:lnTo>
                        <a:pt x="104" y="122"/>
                      </a:lnTo>
                      <a:lnTo>
                        <a:pt x="102" y="124"/>
                      </a:lnTo>
                      <a:lnTo>
                        <a:pt x="104" y="126"/>
                      </a:lnTo>
                      <a:lnTo>
                        <a:pt x="108" y="126"/>
                      </a:lnTo>
                      <a:lnTo>
                        <a:pt x="110" y="126"/>
                      </a:lnTo>
                      <a:lnTo>
                        <a:pt x="112" y="126"/>
                      </a:lnTo>
                      <a:lnTo>
                        <a:pt x="114" y="126"/>
                      </a:lnTo>
                      <a:lnTo>
                        <a:pt x="116" y="128"/>
                      </a:lnTo>
                      <a:lnTo>
                        <a:pt x="116" y="130"/>
                      </a:lnTo>
                      <a:lnTo>
                        <a:pt x="118" y="130"/>
                      </a:lnTo>
                      <a:lnTo>
                        <a:pt x="120" y="130"/>
                      </a:lnTo>
                      <a:lnTo>
                        <a:pt x="122" y="130"/>
                      </a:lnTo>
                      <a:lnTo>
                        <a:pt x="126" y="130"/>
                      </a:lnTo>
                      <a:lnTo>
                        <a:pt x="128" y="130"/>
                      </a:lnTo>
                      <a:lnTo>
                        <a:pt x="130" y="130"/>
                      </a:lnTo>
                      <a:lnTo>
                        <a:pt x="132" y="132"/>
                      </a:lnTo>
                      <a:lnTo>
                        <a:pt x="134" y="132"/>
                      </a:lnTo>
                      <a:lnTo>
                        <a:pt x="136" y="132"/>
                      </a:lnTo>
                      <a:lnTo>
                        <a:pt x="138" y="132"/>
                      </a:lnTo>
                      <a:lnTo>
                        <a:pt x="138" y="130"/>
                      </a:lnTo>
                      <a:lnTo>
                        <a:pt x="140" y="128"/>
                      </a:lnTo>
                      <a:lnTo>
                        <a:pt x="140" y="126"/>
                      </a:lnTo>
                      <a:lnTo>
                        <a:pt x="140" y="124"/>
                      </a:lnTo>
                      <a:lnTo>
                        <a:pt x="142" y="124"/>
                      </a:lnTo>
                      <a:lnTo>
                        <a:pt x="144" y="122"/>
                      </a:lnTo>
                      <a:lnTo>
                        <a:pt x="144" y="120"/>
                      </a:lnTo>
                      <a:lnTo>
                        <a:pt x="146" y="120"/>
                      </a:lnTo>
                      <a:lnTo>
                        <a:pt x="146" y="118"/>
                      </a:lnTo>
                      <a:lnTo>
                        <a:pt x="148" y="120"/>
                      </a:lnTo>
                      <a:lnTo>
                        <a:pt x="150" y="122"/>
                      </a:lnTo>
                      <a:lnTo>
                        <a:pt x="152" y="124"/>
                      </a:lnTo>
                      <a:lnTo>
                        <a:pt x="154" y="124"/>
                      </a:lnTo>
                      <a:lnTo>
                        <a:pt x="154" y="122"/>
                      </a:lnTo>
                      <a:lnTo>
                        <a:pt x="158" y="120"/>
                      </a:lnTo>
                      <a:lnTo>
                        <a:pt x="160" y="118"/>
                      </a:lnTo>
                      <a:lnTo>
                        <a:pt x="162" y="118"/>
                      </a:lnTo>
                      <a:lnTo>
                        <a:pt x="164" y="118"/>
                      </a:lnTo>
                      <a:lnTo>
                        <a:pt x="166" y="116"/>
                      </a:lnTo>
                      <a:lnTo>
                        <a:pt x="168" y="116"/>
                      </a:lnTo>
                      <a:lnTo>
                        <a:pt x="168" y="114"/>
                      </a:lnTo>
                      <a:lnTo>
                        <a:pt x="170" y="114"/>
                      </a:lnTo>
                      <a:lnTo>
                        <a:pt x="172" y="116"/>
                      </a:lnTo>
                      <a:lnTo>
                        <a:pt x="174" y="116"/>
                      </a:lnTo>
                      <a:lnTo>
                        <a:pt x="176" y="118"/>
                      </a:lnTo>
                      <a:lnTo>
                        <a:pt x="176" y="116"/>
                      </a:lnTo>
                      <a:lnTo>
                        <a:pt x="178" y="116"/>
                      </a:lnTo>
                      <a:lnTo>
                        <a:pt x="180" y="116"/>
                      </a:lnTo>
                      <a:lnTo>
                        <a:pt x="182" y="116"/>
                      </a:lnTo>
                      <a:lnTo>
                        <a:pt x="182" y="114"/>
                      </a:lnTo>
                      <a:lnTo>
                        <a:pt x="182" y="112"/>
                      </a:lnTo>
                      <a:lnTo>
                        <a:pt x="184" y="112"/>
                      </a:lnTo>
                      <a:lnTo>
                        <a:pt x="184" y="110"/>
                      </a:lnTo>
                      <a:lnTo>
                        <a:pt x="184" y="108"/>
                      </a:lnTo>
                      <a:lnTo>
                        <a:pt x="186" y="108"/>
                      </a:lnTo>
                      <a:lnTo>
                        <a:pt x="188" y="108"/>
                      </a:lnTo>
                      <a:lnTo>
                        <a:pt x="190" y="110"/>
                      </a:lnTo>
                      <a:lnTo>
                        <a:pt x="192" y="110"/>
                      </a:lnTo>
                      <a:lnTo>
                        <a:pt x="192" y="112"/>
                      </a:lnTo>
                      <a:lnTo>
                        <a:pt x="194" y="112"/>
                      </a:lnTo>
                      <a:lnTo>
                        <a:pt x="196" y="110"/>
                      </a:lnTo>
                      <a:lnTo>
                        <a:pt x="198" y="110"/>
                      </a:lnTo>
                      <a:lnTo>
                        <a:pt x="200" y="110"/>
                      </a:lnTo>
                      <a:lnTo>
                        <a:pt x="200" y="112"/>
                      </a:lnTo>
                      <a:lnTo>
                        <a:pt x="202" y="114"/>
                      </a:lnTo>
                      <a:lnTo>
                        <a:pt x="204" y="114"/>
                      </a:lnTo>
                      <a:lnTo>
                        <a:pt x="206" y="114"/>
                      </a:lnTo>
                      <a:lnTo>
                        <a:pt x="208" y="114"/>
                      </a:lnTo>
                      <a:lnTo>
                        <a:pt x="212" y="114"/>
                      </a:lnTo>
                      <a:lnTo>
                        <a:pt x="214" y="112"/>
                      </a:lnTo>
                      <a:lnTo>
                        <a:pt x="216" y="110"/>
                      </a:lnTo>
                      <a:lnTo>
                        <a:pt x="218" y="110"/>
                      </a:lnTo>
                      <a:lnTo>
                        <a:pt x="218" y="108"/>
                      </a:lnTo>
                      <a:lnTo>
                        <a:pt x="218" y="106"/>
                      </a:lnTo>
                      <a:lnTo>
                        <a:pt x="218" y="104"/>
                      </a:lnTo>
                      <a:lnTo>
                        <a:pt x="218" y="102"/>
                      </a:lnTo>
                      <a:lnTo>
                        <a:pt x="216" y="10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3" name="Freeform 69">
                  <a:extLst>
                    <a:ext uri="{FF2B5EF4-FFF2-40B4-BE49-F238E27FC236}">
                      <a16:creationId xmlns:a16="http://schemas.microsoft.com/office/drawing/2014/main" id="{D667387F-7E69-4004-ACF9-7A2C6535D7A5}"/>
                    </a:ext>
                  </a:extLst>
                </p:cNvPr>
                <p:cNvSpPr>
                  <a:spLocks noChangeAspect="1"/>
                </p:cNvSpPr>
                <p:nvPr/>
              </p:nvSpPr>
              <p:spPr bwMode="auto">
                <a:xfrm>
                  <a:off x="4718542" y="4131765"/>
                  <a:ext cx="207189" cy="289498"/>
                </a:xfrm>
                <a:custGeom>
                  <a:avLst/>
                  <a:gdLst/>
                  <a:ahLst/>
                  <a:cxnLst>
                    <a:cxn ang="0">
                      <a:pos x="86" y="38"/>
                    </a:cxn>
                    <a:cxn ang="0">
                      <a:pos x="78" y="34"/>
                    </a:cxn>
                    <a:cxn ang="0">
                      <a:pos x="70" y="34"/>
                    </a:cxn>
                    <a:cxn ang="0">
                      <a:pos x="58" y="30"/>
                    </a:cxn>
                    <a:cxn ang="0">
                      <a:pos x="38" y="30"/>
                    </a:cxn>
                    <a:cxn ang="0">
                      <a:pos x="36" y="40"/>
                    </a:cxn>
                    <a:cxn ang="0">
                      <a:pos x="38" y="46"/>
                    </a:cxn>
                    <a:cxn ang="0">
                      <a:pos x="46" y="42"/>
                    </a:cxn>
                    <a:cxn ang="0">
                      <a:pos x="54" y="48"/>
                    </a:cxn>
                    <a:cxn ang="0">
                      <a:pos x="58" y="52"/>
                    </a:cxn>
                    <a:cxn ang="0">
                      <a:pos x="50" y="60"/>
                    </a:cxn>
                    <a:cxn ang="0">
                      <a:pos x="46" y="72"/>
                    </a:cxn>
                    <a:cxn ang="0">
                      <a:pos x="50" y="76"/>
                    </a:cxn>
                    <a:cxn ang="0">
                      <a:pos x="54" y="80"/>
                    </a:cxn>
                    <a:cxn ang="0">
                      <a:pos x="58" y="86"/>
                    </a:cxn>
                    <a:cxn ang="0">
                      <a:pos x="58" y="96"/>
                    </a:cxn>
                    <a:cxn ang="0">
                      <a:pos x="56" y="102"/>
                    </a:cxn>
                    <a:cxn ang="0">
                      <a:pos x="54" y="108"/>
                    </a:cxn>
                    <a:cxn ang="0">
                      <a:pos x="50" y="120"/>
                    </a:cxn>
                    <a:cxn ang="0">
                      <a:pos x="46" y="112"/>
                    </a:cxn>
                    <a:cxn ang="0">
                      <a:pos x="38" y="116"/>
                    </a:cxn>
                    <a:cxn ang="0">
                      <a:pos x="30" y="108"/>
                    </a:cxn>
                    <a:cxn ang="0">
                      <a:pos x="26" y="106"/>
                    </a:cxn>
                    <a:cxn ang="0">
                      <a:pos x="26" y="112"/>
                    </a:cxn>
                    <a:cxn ang="0">
                      <a:pos x="16" y="118"/>
                    </a:cxn>
                    <a:cxn ang="0">
                      <a:pos x="10" y="120"/>
                    </a:cxn>
                    <a:cxn ang="0">
                      <a:pos x="10" y="126"/>
                    </a:cxn>
                    <a:cxn ang="0">
                      <a:pos x="10" y="130"/>
                    </a:cxn>
                    <a:cxn ang="0">
                      <a:pos x="14" y="134"/>
                    </a:cxn>
                    <a:cxn ang="0">
                      <a:pos x="10" y="142"/>
                    </a:cxn>
                    <a:cxn ang="0">
                      <a:pos x="2" y="142"/>
                    </a:cxn>
                    <a:cxn ang="0">
                      <a:pos x="6" y="150"/>
                    </a:cxn>
                    <a:cxn ang="0">
                      <a:pos x="14" y="160"/>
                    </a:cxn>
                    <a:cxn ang="0">
                      <a:pos x="16" y="166"/>
                    </a:cxn>
                    <a:cxn ang="0">
                      <a:pos x="22" y="164"/>
                    </a:cxn>
                    <a:cxn ang="0">
                      <a:pos x="22" y="160"/>
                    </a:cxn>
                    <a:cxn ang="0">
                      <a:pos x="32" y="154"/>
                    </a:cxn>
                    <a:cxn ang="0">
                      <a:pos x="36" y="158"/>
                    </a:cxn>
                    <a:cxn ang="0">
                      <a:pos x="40" y="164"/>
                    </a:cxn>
                    <a:cxn ang="0">
                      <a:pos x="46" y="156"/>
                    </a:cxn>
                    <a:cxn ang="0">
                      <a:pos x="52" y="154"/>
                    </a:cxn>
                    <a:cxn ang="0">
                      <a:pos x="56" y="164"/>
                    </a:cxn>
                    <a:cxn ang="0">
                      <a:pos x="66" y="160"/>
                    </a:cxn>
                    <a:cxn ang="0">
                      <a:pos x="78" y="148"/>
                    </a:cxn>
                    <a:cxn ang="0">
                      <a:pos x="86" y="138"/>
                    </a:cxn>
                    <a:cxn ang="0">
                      <a:pos x="86" y="120"/>
                    </a:cxn>
                    <a:cxn ang="0">
                      <a:pos x="88" y="112"/>
                    </a:cxn>
                    <a:cxn ang="0">
                      <a:pos x="94" y="100"/>
                    </a:cxn>
                    <a:cxn ang="0">
                      <a:pos x="108" y="88"/>
                    </a:cxn>
                    <a:cxn ang="0">
                      <a:pos x="112" y="76"/>
                    </a:cxn>
                    <a:cxn ang="0">
                      <a:pos x="114" y="68"/>
                    </a:cxn>
                    <a:cxn ang="0">
                      <a:pos x="114" y="54"/>
                    </a:cxn>
                    <a:cxn ang="0">
                      <a:pos x="116" y="38"/>
                    </a:cxn>
                    <a:cxn ang="0">
                      <a:pos x="124" y="18"/>
                    </a:cxn>
                    <a:cxn ang="0">
                      <a:pos x="126" y="4"/>
                    </a:cxn>
                    <a:cxn ang="0">
                      <a:pos x="120" y="2"/>
                    </a:cxn>
                    <a:cxn ang="0">
                      <a:pos x="104" y="2"/>
                    </a:cxn>
                    <a:cxn ang="0">
                      <a:pos x="94" y="4"/>
                    </a:cxn>
                    <a:cxn ang="0">
                      <a:pos x="90" y="10"/>
                    </a:cxn>
                    <a:cxn ang="0">
                      <a:pos x="92" y="20"/>
                    </a:cxn>
                  </a:cxnLst>
                  <a:rect l="0" t="0" r="r" b="b"/>
                  <a:pathLst>
                    <a:path w="126" h="166">
                      <a:moveTo>
                        <a:pt x="86" y="28"/>
                      </a:moveTo>
                      <a:lnTo>
                        <a:pt x="86" y="28"/>
                      </a:lnTo>
                      <a:lnTo>
                        <a:pt x="86" y="30"/>
                      </a:lnTo>
                      <a:lnTo>
                        <a:pt x="86" y="32"/>
                      </a:lnTo>
                      <a:lnTo>
                        <a:pt x="86" y="34"/>
                      </a:lnTo>
                      <a:lnTo>
                        <a:pt x="86" y="36"/>
                      </a:lnTo>
                      <a:lnTo>
                        <a:pt x="86" y="38"/>
                      </a:lnTo>
                      <a:lnTo>
                        <a:pt x="82" y="36"/>
                      </a:lnTo>
                      <a:lnTo>
                        <a:pt x="80" y="34"/>
                      </a:lnTo>
                      <a:lnTo>
                        <a:pt x="78" y="34"/>
                      </a:lnTo>
                      <a:lnTo>
                        <a:pt x="76" y="34"/>
                      </a:lnTo>
                      <a:lnTo>
                        <a:pt x="74" y="34"/>
                      </a:lnTo>
                      <a:lnTo>
                        <a:pt x="72" y="34"/>
                      </a:lnTo>
                      <a:lnTo>
                        <a:pt x="70" y="34"/>
                      </a:lnTo>
                      <a:lnTo>
                        <a:pt x="68" y="32"/>
                      </a:lnTo>
                      <a:lnTo>
                        <a:pt x="66" y="32"/>
                      </a:lnTo>
                      <a:lnTo>
                        <a:pt x="64" y="32"/>
                      </a:lnTo>
                      <a:lnTo>
                        <a:pt x="62" y="30"/>
                      </a:lnTo>
                      <a:lnTo>
                        <a:pt x="60" y="30"/>
                      </a:lnTo>
                      <a:lnTo>
                        <a:pt x="58" y="30"/>
                      </a:lnTo>
                      <a:lnTo>
                        <a:pt x="56" y="30"/>
                      </a:lnTo>
                      <a:lnTo>
                        <a:pt x="52" y="30"/>
                      </a:lnTo>
                      <a:lnTo>
                        <a:pt x="48" y="30"/>
                      </a:lnTo>
                      <a:lnTo>
                        <a:pt x="44" y="30"/>
                      </a:lnTo>
                      <a:lnTo>
                        <a:pt x="40" y="30"/>
                      </a:lnTo>
                      <a:lnTo>
                        <a:pt x="38" y="30"/>
                      </a:lnTo>
                      <a:lnTo>
                        <a:pt x="38" y="34"/>
                      </a:lnTo>
                      <a:lnTo>
                        <a:pt x="36" y="34"/>
                      </a:lnTo>
                      <a:lnTo>
                        <a:pt x="36" y="36"/>
                      </a:lnTo>
                      <a:lnTo>
                        <a:pt x="36" y="38"/>
                      </a:lnTo>
                      <a:lnTo>
                        <a:pt x="36" y="40"/>
                      </a:lnTo>
                      <a:lnTo>
                        <a:pt x="36" y="42"/>
                      </a:lnTo>
                      <a:lnTo>
                        <a:pt x="36" y="44"/>
                      </a:lnTo>
                      <a:lnTo>
                        <a:pt x="36" y="46"/>
                      </a:lnTo>
                      <a:lnTo>
                        <a:pt x="38" y="46"/>
                      </a:lnTo>
                      <a:lnTo>
                        <a:pt x="40" y="48"/>
                      </a:lnTo>
                      <a:lnTo>
                        <a:pt x="42" y="48"/>
                      </a:lnTo>
                      <a:lnTo>
                        <a:pt x="44" y="46"/>
                      </a:lnTo>
                      <a:lnTo>
                        <a:pt x="44" y="44"/>
                      </a:lnTo>
                      <a:lnTo>
                        <a:pt x="46" y="42"/>
                      </a:lnTo>
                      <a:lnTo>
                        <a:pt x="48" y="42"/>
                      </a:lnTo>
                      <a:lnTo>
                        <a:pt x="50" y="44"/>
                      </a:lnTo>
                      <a:lnTo>
                        <a:pt x="52" y="44"/>
                      </a:lnTo>
                      <a:lnTo>
                        <a:pt x="54" y="44"/>
                      </a:lnTo>
                      <a:lnTo>
                        <a:pt x="54" y="46"/>
                      </a:lnTo>
                      <a:lnTo>
                        <a:pt x="54" y="48"/>
                      </a:lnTo>
                      <a:lnTo>
                        <a:pt x="54" y="50"/>
                      </a:lnTo>
                      <a:lnTo>
                        <a:pt x="56" y="50"/>
                      </a:lnTo>
                      <a:lnTo>
                        <a:pt x="56" y="52"/>
                      </a:lnTo>
                      <a:lnTo>
                        <a:pt x="58" y="52"/>
                      </a:lnTo>
                      <a:lnTo>
                        <a:pt x="58" y="54"/>
                      </a:lnTo>
                      <a:lnTo>
                        <a:pt x="56" y="54"/>
                      </a:lnTo>
                      <a:lnTo>
                        <a:pt x="56" y="58"/>
                      </a:lnTo>
                      <a:lnTo>
                        <a:pt x="54" y="60"/>
                      </a:lnTo>
                      <a:lnTo>
                        <a:pt x="52" y="60"/>
                      </a:lnTo>
                      <a:lnTo>
                        <a:pt x="50" y="60"/>
                      </a:lnTo>
                      <a:lnTo>
                        <a:pt x="50" y="62"/>
                      </a:lnTo>
                      <a:lnTo>
                        <a:pt x="48" y="64"/>
                      </a:lnTo>
                      <a:lnTo>
                        <a:pt x="48" y="66"/>
                      </a:lnTo>
                      <a:lnTo>
                        <a:pt x="46" y="70"/>
                      </a:lnTo>
                      <a:lnTo>
                        <a:pt x="46" y="72"/>
                      </a:lnTo>
                      <a:lnTo>
                        <a:pt x="46" y="74"/>
                      </a:lnTo>
                      <a:lnTo>
                        <a:pt x="46" y="76"/>
                      </a:lnTo>
                      <a:lnTo>
                        <a:pt x="48" y="76"/>
                      </a:lnTo>
                      <a:lnTo>
                        <a:pt x="50" y="76"/>
                      </a:lnTo>
                      <a:lnTo>
                        <a:pt x="52" y="76"/>
                      </a:lnTo>
                      <a:lnTo>
                        <a:pt x="52" y="78"/>
                      </a:lnTo>
                      <a:lnTo>
                        <a:pt x="52" y="80"/>
                      </a:lnTo>
                      <a:lnTo>
                        <a:pt x="54" y="80"/>
                      </a:lnTo>
                      <a:lnTo>
                        <a:pt x="56" y="80"/>
                      </a:lnTo>
                      <a:lnTo>
                        <a:pt x="58" y="80"/>
                      </a:lnTo>
                      <a:lnTo>
                        <a:pt x="60" y="82"/>
                      </a:lnTo>
                      <a:lnTo>
                        <a:pt x="60" y="84"/>
                      </a:lnTo>
                      <a:lnTo>
                        <a:pt x="58" y="86"/>
                      </a:lnTo>
                      <a:lnTo>
                        <a:pt x="56" y="86"/>
                      </a:lnTo>
                      <a:lnTo>
                        <a:pt x="56" y="88"/>
                      </a:lnTo>
                      <a:lnTo>
                        <a:pt x="58" y="90"/>
                      </a:lnTo>
                      <a:lnTo>
                        <a:pt x="58" y="92"/>
                      </a:lnTo>
                      <a:lnTo>
                        <a:pt x="58" y="94"/>
                      </a:lnTo>
                      <a:lnTo>
                        <a:pt x="58" y="96"/>
                      </a:lnTo>
                      <a:lnTo>
                        <a:pt x="58" y="98"/>
                      </a:lnTo>
                      <a:lnTo>
                        <a:pt x="56" y="98"/>
                      </a:lnTo>
                      <a:lnTo>
                        <a:pt x="56" y="100"/>
                      </a:lnTo>
                      <a:lnTo>
                        <a:pt x="56" y="102"/>
                      </a:lnTo>
                      <a:lnTo>
                        <a:pt x="56" y="104"/>
                      </a:lnTo>
                      <a:lnTo>
                        <a:pt x="58" y="106"/>
                      </a:lnTo>
                      <a:lnTo>
                        <a:pt x="56" y="106"/>
                      </a:lnTo>
                      <a:lnTo>
                        <a:pt x="54" y="108"/>
                      </a:lnTo>
                      <a:lnTo>
                        <a:pt x="54" y="110"/>
                      </a:lnTo>
                      <a:lnTo>
                        <a:pt x="52" y="110"/>
                      </a:lnTo>
                      <a:lnTo>
                        <a:pt x="52" y="112"/>
                      </a:lnTo>
                      <a:lnTo>
                        <a:pt x="52" y="114"/>
                      </a:lnTo>
                      <a:lnTo>
                        <a:pt x="52" y="116"/>
                      </a:lnTo>
                      <a:lnTo>
                        <a:pt x="52" y="118"/>
                      </a:lnTo>
                      <a:lnTo>
                        <a:pt x="50" y="120"/>
                      </a:lnTo>
                      <a:lnTo>
                        <a:pt x="48" y="120"/>
                      </a:lnTo>
                      <a:lnTo>
                        <a:pt x="46" y="120"/>
                      </a:lnTo>
                      <a:lnTo>
                        <a:pt x="46" y="118"/>
                      </a:lnTo>
                      <a:lnTo>
                        <a:pt x="46" y="116"/>
                      </a:lnTo>
                      <a:lnTo>
                        <a:pt x="46" y="114"/>
                      </a:lnTo>
                      <a:lnTo>
                        <a:pt x="46" y="112"/>
                      </a:lnTo>
                      <a:lnTo>
                        <a:pt x="46" y="110"/>
                      </a:lnTo>
                      <a:lnTo>
                        <a:pt x="44" y="110"/>
                      </a:lnTo>
                      <a:lnTo>
                        <a:pt x="44" y="112"/>
                      </a:lnTo>
                      <a:lnTo>
                        <a:pt x="42" y="114"/>
                      </a:lnTo>
                      <a:lnTo>
                        <a:pt x="40" y="116"/>
                      </a:lnTo>
                      <a:lnTo>
                        <a:pt x="38" y="116"/>
                      </a:lnTo>
                      <a:lnTo>
                        <a:pt x="36" y="116"/>
                      </a:lnTo>
                      <a:lnTo>
                        <a:pt x="34" y="116"/>
                      </a:lnTo>
                      <a:lnTo>
                        <a:pt x="32" y="116"/>
                      </a:lnTo>
                      <a:lnTo>
                        <a:pt x="32" y="114"/>
                      </a:lnTo>
                      <a:lnTo>
                        <a:pt x="32" y="112"/>
                      </a:lnTo>
                      <a:lnTo>
                        <a:pt x="30" y="110"/>
                      </a:lnTo>
                      <a:lnTo>
                        <a:pt x="30" y="108"/>
                      </a:lnTo>
                      <a:lnTo>
                        <a:pt x="30" y="106"/>
                      </a:lnTo>
                      <a:lnTo>
                        <a:pt x="28" y="106"/>
                      </a:lnTo>
                      <a:lnTo>
                        <a:pt x="26" y="106"/>
                      </a:lnTo>
                      <a:lnTo>
                        <a:pt x="24" y="106"/>
                      </a:lnTo>
                      <a:lnTo>
                        <a:pt x="22" y="106"/>
                      </a:lnTo>
                      <a:lnTo>
                        <a:pt x="24" y="108"/>
                      </a:lnTo>
                      <a:lnTo>
                        <a:pt x="24" y="110"/>
                      </a:lnTo>
                      <a:lnTo>
                        <a:pt x="26" y="112"/>
                      </a:lnTo>
                      <a:lnTo>
                        <a:pt x="24" y="114"/>
                      </a:lnTo>
                      <a:lnTo>
                        <a:pt x="22" y="116"/>
                      </a:lnTo>
                      <a:lnTo>
                        <a:pt x="22" y="118"/>
                      </a:lnTo>
                      <a:lnTo>
                        <a:pt x="20" y="118"/>
                      </a:lnTo>
                      <a:lnTo>
                        <a:pt x="18" y="118"/>
                      </a:lnTo>
                      <a:lnTo>
                        <a:pt x="16" y="118"/>
                      </a:lnTo>
                      <a:lnTo>
                        <a:pt x="14" y="116"/>
                      </a:lnTo>
                      <a:lnTo>
                        <a:pt x="12" y="116"/>
                      </a:lnTo>
                      <a:lnTo>
                        <a:pt x="10" y="116"/>
                      </a:lnTo>
                      <a:lnTo>
                        <a:pt x="8" y="116"/>
                      </a:lnTo>
                      <a:lnTo>
                        <a:pt x="8" y="118"/>
                      </a:lnTo>
                      <a:lnTo>
                        <a:pt x="8" y="120"/>
                      </a:lnTo>
                      <a:lnTo>
                        <a:pt x="10" y="120"/>
                      </a:lnTo>
                      <a:lnTo>
                        <a:pt x="10" y="122"/>
                      </a:lnTo>
                      <a:lnTo>
                        <a:pt x="10" y="124"/>
                      </a:lnTo>
                      <a:lnTo>
                        <a:pt x="8" y="124"/>
                      </a:lnTo>
                      <a:lnTo>
                        <a:pt x="10" y="126"/>
                      </a:lnTo>
                      <a:lnTo>
                        <a:pt x="12" y="128"/>
                      </a:lnTo>
                      <a:lnTo>
                        <a:pt x="14" y="128"/>
                      </a:lnTo>
                      <a:lnTo>
                        <a:pt x="12" y="128"/>
                      </a:lnTo>
                      <a:lnTo>
                        <a:pt x="12" y="130"/>
                      </a:lnTo>
                      <a:lnTo>
                        <a:pt x="10" y="130"/>
                      </a:lnTo>
                      <a:lnTo>
                        <a:pt x="12" y="132"/>
                      </a:lnTo>
                      <a:lnTo>
                        <a:pt x="14" y="134"/>
                      </a:lnTo>
                      <a:lnTo>
                        <a:pt x="16" y="136"/>
                      </a:lnTo>
                      <a:lnTo>
                        <a:pt x="16" y="140"/>
                      </a:lnTo>
                      <a:lnTo>
                        <a:pt x="14" y="142"/>
                      </a:lnTo>
                      <a:lnTo>
                        <a:pt x="12" y="142"/>
                      </a:lnTo>
                      <a:lnTo>
                        <a:pt x="10" y="142"/>
                      </a:lnTo>
                      <a:lnTo>
                        <a:pt x="10" y="140"/>
                      </a:lnTo>
                      <a:lnTo>
                        <a:pt x="8" y="140"/>
                      </a:lnTo>
                      <a:lnTo>
                        <a:pt x="8" y="138"/>
                      </a:lnTo>
                      <a:lnTo>
                        <a:pt x="6" y="140"/>
                      </a:lnTo>
                      <a:lnTo>
                        <a:pt x="4" y="140"/>
                      </a:lnTo>
                      <a:lnTo>
                        <a:pt x="4" y="142"/>
                      </a:lnTo>
                      <a:lnTo>
                        <a:pt x="2" y="142"/>
                      </a:lnTo>
                      <a:lnTo>
                        <a:pt x="2" y="144"/>
                      </a:lnTo>
                      <a:lnTo>
                        <a:pt x="2" y="146"/>
                      </a:lnTo>
                      <a:lnTo>
                        <a:pt x="0" y="146"/>
                      </a:lnTo>
                      <a:lnTo>
                        <a:pt x="2" y="148"/>
                      </a:lnTo>
                      <a:lnTo>
                        <a:pt x="6" y="150"/>
                      </a:lnTo>
                      <a:lnTo>
                        <a:pt x="6" y="152"/>
                      </a:lnTo>
                      <a:lnTo>
                        <a:pt x="8" y="152"/>
                      </a:lnTo>
                      <a:lnTo>
                        <a:pt x="10" y="154"/>
                      </a:lnTo>
                      <a:lnTo>
                        <a:pt x="12" y="156"/>
                      </a:lnTo>
                      <a:lnTo>
                        <a:pt x="14" y="156"/>
                      </a:lnTo>
                      <a:lnTo>
                        <a:pt x="14" y="158"/>
                      </a:lnTo>
                      <a:lnTo>
                        <a:pt x="14" y="160"/>
                      </a:lnTo>
                      <a:lnTo>
                        <a:pt x="14" y="162"/>
                      </a:lnTo>
                      <a:lnTo>
                        <a:pt x="16" y="164"/>
                      </a:lnTo>
                      <a:lnTo>
                        <a:pt x="16" y="166"/>
                      </a:lnTo>
                      <a:lnTo>
                        <a:pt x="18" y="166"/>
                      </a:lnTo>
                      <a:lnTo>
                        <a:pt x="18" y="164"/>
                      </a:lnTo>
                      <a:lnTo>
                        <a:pt x="20" y="164"/>
                      </a:lnTo>
                      <a:lnTo>
                        <a:pt x="22" y="164"/>
                      </a:lnTo>
                      <a:lnTo>
                        <a:pt x="22" y="162"/>
                      </a:lnTo>
                      <a:lnTo>
                        <a:pt x="22" y="160"/>
                      </a:lnTo>
                      <a:lnTo>
                        <a:pt x="22" y="158"/>
                      </a:lnTo>
                      <a:lnTo>
                        <a:pt x="24" y="158"/>
                      </a:lnTo>
                      <a:lnTo>
                        <a:pt x="26" y="156"/>
                      </a:lnTo>
                      <a:lnTo>
                        <a:pt x="28" y="154"/>
                      </a:lnTo>
                      <a:lnTo>
                        <a:pt x="30" y="154"/>
                      </a:lnTo>
                      <a:lnTo>
                        <a:pt x="32" y="154"/>
                      </a:lnTo>
                      <a:lnTo>
                        <a:pt x="32" y="156"/>
                      </a:lnTo>
                      <a:lnTo>
                        <a:pt x="32" y="158"/>
                      </a:lnTo>
                      <a:lnTo>
                        <a:pt x="34" y="158"/>
                      </a:lnTo>
                      <a:lnTo>
                        <a:pt x="34" y="160"/>
                      </a:lnTo>
                      <a:lnTo>
                        <a:pt x="36" y="158"/>
                      </a:lnTo>
                      <a:lnTo>
                        <a:pt x="36" y="160"/>
                      </a:lnTo>
                      <a:lnTo>
                        <a:pt x="36" y="162"/>
                      </a:lnTo>
                      <a:lnTo>
                        <a:pt x="38" y="162"/>
                      </a:lnTo>
                      <a:lnTo>
                        <a:pt x="38" y="164"/>
                      </a:lnTo>
                      <a:lnTo>
                        <a:pt x="40" y="164"/>
                      </a:lnTo>
                      <a:lnTo>
                        <a:pt x="42" y="164"/>
                      </a:lnTo>
                      <a:lnTo>
                        <a:pt x="44" y="162"/>
                      </a:lnTo>
                      <a:lnTo>
                        <a:pt x="44" y="160"/>
                      </a:lnTo>
                      <a:lnTo>
                        <a:pt x="44" y="158"/>
                      </a:lnTo>
                      <a:lnTo>
                        <a:pt x="44" y="156"/>
                      </a:lnTo>
                      <a:lnTo>
                        <a:pt x="46" y="156"/>
                      </a:lnTo>
                      <a:lnTo>
                        <a:pt x="48" y="156"/>
                      </a:lnTo>
                      <a:lnTo>
                        <a:pt x="48" y="158"/>
                      </a:lnTo>
                      <a:lnTo>
                        <a:pt x="50" y="158"/>
                      </a:lnTo>
                      <a:lnTo>
                        <a:pt x="50" y="156"/>
                      </a:lnTo>
                      <a:lnTo>
                        <a:pt x="52" y="154"/>
                      </a:lnTo>
                      <a:lnTo>
                        <a:pt x="54" y="154"/>
                      </a:lnTo>
                      <a:lnTo>
                        <a:pt x="56" y="154"/>
                      </a:lnTo>
                      <a:lnTo>
                        <a:pt x="56" y="156"/>
                      </a:lnTo>
                      <a:lnTo>
                        <a:pt x="56" y="158"/>
                      </a:lnTo>
                      <a:lnTo>
                        <a:pt x="56" y="160"/>
                      </a:lnTo>
                      <a:lnTo>
                        <a:pt x="56" y="162"/>
                      </a:lnTo>
                      <a:lnTo>
                        <a:pt x="56" y="164"/>
                      </a:lnTo>
                      <a:lnTo>
                        <a:pt x="58" y="166"/>
                      </a:lnTo>
                      <a:lnTo>
                        <a:pt x="60" y="164"/>
                      </a:lnTo>
                      <a:lnTo>
                        <a:pt x="62" y="164"/>
                      </a:lnTo>
                      <a:lnTo>
                        <a:pt x="64" y="162"/>
                      </a:lnTo>
                      <a:lnTo>
                        <a:pt x="66" y="160"/>
                      </a:lnTo>
                      <a:lnTo>
                        <a:pt x="66" y="158"/>
                      </a:lnTo>
                      <a:lnTo>
                        <a:pt x="68" y="156"/>
                      </a:lnTo>
                      <a:lnTo>
                        <a:pt x="70" y="152"/>
                      </a:lnTo>
                      <a:lnTo>
                        <a:pt x="72" y="152"/>
                      </a:lnTo>
                      <a:lnTo>
                        <a:pt x="72" y="150"/>
                      </a:lnTo>
                      <a:lnTo>
                        <a:pt x="74" y="150"/>
                      </a:lnTo>
                      <a:lnTo>
                        <a:pt x="76" y="150"/>
                      </a:lnTo>
                      <a:lnTo>
                        <a:pt x="78" y="148"/>
                      </a:lnTo>
                      <a:lnTo>
                        <a:pt x="80" y="148"/>
                      </a:lnTo>
                      <a:lnTo>
                        <a:pt x="82" y="146"/>
                      </a:lnTo>
                      <a:lnTo>
                        <a:pt x="82" y="144"/>
                      </a:lnTo>
                      <a:lnTo>
                        <a:pt x="84" y="142"/>
                      </a:lnTo>
                      <a:lnTo>
                        <a:pt x="86" y="140"/>
                      </a:lnTo>
                      <a:lnTo>
                        <a:pt x="86" y="138"/>
                      </a:lnTo>
                      <a:lnTo>
                        <a:pt x="86" y="132"/>
                      </a:lnTo>
                      <a:lnTo>
                        <a:pt x="86" y="128"/>
                      </a:lnTo>
                      <a:lnTo>
                        <a:pt x="86" y="126"/>
                      </a:lnTo>
                      <a:lnTo>
                        <a:pt x="86" y="124"/>
                      </a:lnTo>
                      <a:lnTo>
                        <a:pt x="86" y="122"/>
                      </a:lnTo>
                      <a:lnTo>
                        <a:pt x="86" y="120"/>
                      </a:lnTo>
                      <a:lnTo>
                        <a:pt x="86" y="118"/>
                      </a:lnTo>
                      <a:lnTo>
                        <a:pt x="86" y="116"/>
                      </a:lnTo>
                      <a:lnTo>
                        <a:pt x="86" y="114"/>
                      </a:lnTo>
                      <a:lnTo>
                        <a:pt x="88" y="112"/>
                      </a:lnTo>
                      <a:lnTo>
                        <a:pt x="90" y="110"/>
                      </a:lnTo>
                      <a:lnTo>
                        <a:pt x="92" y="110"/>
                      </a:lnTo>
                      <a:lnTo>
                        <a:pt x="92" y="108"/>
                      </a:lnTo>
                      <a:lnTo>
                        <a:pt x="92" y="106"/>
                      </a:lnTo>
                      <a:lnTo>
                        <a:pt x="92" y="104"/>
                      </a:lnTo>
                      <a:lnTo>
                        <a:pt x="94" y="100"/>
                      </a:lnTo>
                      <a:lnTo>
                        <a:pt x="94" y="98"/>
                      </a:lnTo>
                      <a:lnTo>
                        <a:pt x="94" y="96"/>
                      </a:lnTo>
                      <a:lnTo>
                        <a:pt x="96" y="96"/>
                      </a:lnTo>
                      <a:lnTo>
                        <a:pt x="98" y="94"/>
                      </a:lnTo>
                      <a:lnTo>
                        <a:pt x="100" y="92"/>
                      </a:lnTo>
                      <a:lnTo>
                        <a:pt x="104" y="92"/>
                      </a:lnTo>
                      <a:lnTo>
                        <a:pt x="106" y="90"/>
                      </a:lnTo>
                      <a:lnTo>
                        <a:pt x="108" y="88"/>
                      </a:lnTo>
                      <a:lnTo>
                        <a:pt x="110" y="86"/>
                      </a:lnTo>
                      <a:lnTo>
                        <a:pt x="110" y="84"/>
                      </a:lnTo>
                      <a:lnTo>
                        <a:pt x="112" y="82"/>
                      </a:lnTo>
                      <a:lnTo>
                        <a:pt x="112" y="80"/>
                      </a:lnTo>
                      <a:lnTo>
                        <a:pt x="112" y="78"/>
                      </a:lnTo>
                      <a:lnTo>
                        <a:pt x="112" y="76"/>
                      </a:lnTo>
                      <a:lnTo>
                        <a:pt x="112" y="72"/>
                      </a:lnTo>
                      <a:lnTo>
                        <a:pt x="112" y="70"/>
                      </a:lnTo>
                      <a:lnTo>
                        <a:pt x="114" y="70"/>
                      </a:lnTo>
                      <a:lnTo>
                        <a:pt x="114" y="68"/>
                      </a:lnTo>
                      <a:lnTo>
                        <a:pt x="116" y="66"/>
                      </a:lnTo>
                      <a:lnTo>
                        <a:pt x="116" y="64"/>
                      </a:lnTo>
                      <a:lnTo>
                        <a:pt x="116" y="62"/>
                      </a:lnTo>
                      <a:lnTo>
                        <a:pt x="116" y="60"/>
                      </a:lnTo>
                      <a:lnTo>
                        <a:pt x="114" y="58"/>
                      </a:lnTo>
                      <a:lnTo>
                        <a:pt x="114" y="56"/>
                      </a:lnTo>
                      <a:lnTo>
                        <a:pt x="114" y="54"/>
                      </a:lnTo>
                      <a:lnTo>
                        <a:pt x="114" y="52"/>
                      </a:lnTo>
                      <a:lnTo>
                        <a:pt x="116" y="50"/>
                      </a:lnTo>
                      <a:lnTo>
                        <a:pt x="118" y="48"/>
                      </a:lnTo>
                      <a:lnTo>
                        <a:pt x="118" y="46"/>
                      </a:lnTo>
                      <a:lnTo>
                        <a:pt x="118" y="44"/>
                      </a:lnTo>
                      <a:lnTo>
                        <a:pt x="118" y="42"/>
                      </a:lnTo>
                      <a:lnTo>
                        <a:pt x="118" y="40"/>
                      </a:lnTo>
                      <a:lnTo>
                        <a:pt x="116" y="38"/>
                      </a:lnTo>
                      <a:lnTo>
                        <a:pt x="116" y="36"/>
                      </a:lnTo>
                      <a:lnTo>
                        <a:pt x="116" y="34"/>
                      </a:lnTo>
                      <a:lnTo>
                        <a:pt x="116" y="32"/>
                      </a:lnTo>
                      <a:lnTo>
                        <a:pt x="118" y="28"/>
                      </a:lnTo>
                      <a:lnTo>
                        <a:pt x="120" y="26"/>
                      </a:lnTo>
                      <a:lnTo>
                        <a:pt x="120" y="24"/>
                      </a:lnTo>
                      <a:lnTo>
                        <a:pt x="122" y="20"/>
                      </a:lnTo>
                      <a:lnTo>
                        <a:pt x="124" y="18"/>
                      </a:lnTo>
                      <a:lnTo>
                        <a:pt x="124" y="16"/>
                      </a:lnTo>
                      <a:lnTo>
                        <a:pt x="126" y="14"/>
                      </a:lnTo>
                      <a:lnTo>
                        <a:pt x="126" y="12"/>
                      </a:lnTo>
                      <a:lnTo>
                        <a:pt x="126" y="10"/>
                      </a:lnTo>
                      <a:lnTo>
                        <a:pt x="126" y="8"/>
                      </a:lnTo>
                      <a:lnTo>
                        <a:pt x="126" y="6"/>
                      </a:lnTo>
                      <a:lnTo>
                        <a:pt x="126" y="4"/>
                      </a:lnTo>
                      <a:lnTo>
                        <a:pt x="126" y="2"/>
                      </a:lnTo>
                      <a:lnTo>
                        <a:pt x="124" y="2"/>
                      </a:lnTo>
                      <a:lnTo>
                        <a:pt x="122" y="2"/>
                      </a:lnTo>
                      <a:lnTo>
                        <a:pt x="120" y="2"/>
                      </a:lnTo>
                      <a:lnTo>
                        <a:pt x="118" y="2"/>
                      </a:lnTo>
                      <a:lnTo>
                        <a:pt x="114" y="2"/>
                      </a:lnTo>
                      <a:lnTo>
                        <a:pt x="112" y="2"/>
                      </a:lnTo>
                      <a:lnTo>
                        <a:pt x="110" y="0"/>
                      </a:lnTo>
                      <a:lnTo>
                        <a:pt x="108" y="0"/>
                      </a:lnTo>
                      <a:lnTo>
                        <a:pt x="106" y="0"/>
                      </a:lnTo>
                      <a:lnTo>
                        <a:pt x="104" y="2"/>
                      </a:lnTo>
                      <a:lnTo>
                        <a:pt x="102" y="2"/>
                      </a:lnTo>
                      <a:lnTo>
                        <a:pt x="102" y="4"/>
                      </a:lnTo>
                      <a:lnTo>
                        <a:pt x="100" y="4"/>
                      </a:lnTo>
                      <a:lnTo>
                        <a:pt x="98" y="4"/>
                      </a:lnTo>
                      <a:lnTo>
                        <a:pt x="96" y="4"/>
                      </a:lnTo>
                      <a:lnTo>
                        <a:pt x="94" y="4"/>
                      </a:lnTo>
                      <a:lnTo>
                        <a:pt x="92" y="6"/>
                      </a:lnTo>
                      <a:lnTo>
                        <a:pt x="92" y="8"/>
                      </a:lnTo>
                      <a:lnTo>
                        <a:pt x="90" y="10"/>
                      </a:lnTo>
                      <a:lnTo>
                        <a:pt x="90" y="12"/>
                      </a:lnTo>
                      <a:lnTo>
                        <a:pt x="92" y="12"/>
                      </a:lnTo>
                      <a:lnTo>
                        <a:pt x="92" y="16"/>
                      </a:lnTo>
                      <a:lnTo>
                        <a:pt x="92" y="18"/>
                      </a:lnTo>
                      <a:lnTo>
                        <a:pt x="92" y="20"/>
                      </a:lnTo>
                      <a:lnTo>
                        <a:pt x="88" y="24"/>
                      </a:lnTo>
                      <a:lnTo>
                        <a:pt x="88" y="26"/>
                      </a:lnTo>
                      <a:lnTo>
                        <a:pt x="86" y="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4" name="Freeform 70">
                  <a:extLst>
                    <a:ext uri="{FF2B5EF4-FFF2-40B4-BE49-F238E27FC236}">
                      <a16:creationId xmlns:a16="http://schemas.microsoft.com/office/drawing/2014/main" id="{4E46689F-7ACD-4AD8-B1F8-FBE939E3AF8C}"/>
                    </a:ext>
                  </a:extLst>
                </p:cNvPr>
                <p:cNvSpPr>
                  <a:spLocks noChangeAspect="1"/>
                </p:cNvSpPr>
                <p:nvPr/>
              </p:nvSpPr>
              <p:spPr bwMode="auto">
                <a:xfrm>
                  <a:off x="5014527" y="3483010"/>
                  <a:ext cx="457132" cy="655730"/>
                </a:xfrm>
                <a:custGeom>
                  <a:avLst/>
                  <a:gdLst/>
                  <a:ahLst/>
                  <a:cxnLst>
                    <a:cxn ang="0">
                      <a:pos x="202" y="16"/>
                    </a:cxn>
                    <a:cxn ang="0">
                      <a:pos x="186" y="20"/>
                    </a:cxn>
                    <a:cxn ang="0">
                      <a:pos x="158" y="20"/>
                    </a:cxn>
                    <a:cxn ang="0">
                      <a:pos x="106" y="20"/>
                    </a:cxn>
                    <a:cxn ang="0">
                      <a:pos x="52" y="20"/>
                    </a:cxn>
                    <a:cxn ang="0">
                      <a:pos x="52" y="58"/>
                    </a:cxn>
                    <a:cxn ang="0">
                      <a:pos x="34" y="72"/>
                    </a:cxn>
                    <a:cxn ang="0">
                      <a:pos x="36" y="134"/>
                    </a:cxn>
                    <a:cxn ang="0">
                      <a:pos x="18" y="142"/>
                    </a:cxn>
                    <a:cxn ang="0">
                      <a:pos x="12" y="160"/>
                    </a:cxn>
                    <a:cxn ang="0">
                      <a:pos x="10" y="166"/>
                    </a:cxn>
                    <a:cxn ang="0">
                      <a:pos x="4" y="176"/>
                    </a:cxn>
                    <a:cxn ang="0">
                      <a:pos x="2" y="198"/>
                    </a:cxn>
                    <a:cxn ang="0">
                      <a:pos x="12" y="210"/>
                    </a:cxn>
                    <a:cxn ang="0">
                      <a:pos x="12" y="220"/>
                    </a:cxn>
                    <a:cxn ang="0">
                      <a:pos x="18" y="230"/>
                    </a:cxn>
                    <a:cxn ang="0">
                      <a:pos x="30" y="248"/>
                    </a:cxn>
                    <a:cxn ang="0">
                      <a:pos x="32" y="270"/>
                    </a:cxn>
                    <a:cxn ang="0">
                      <a:pos x="42" y="276"/>
                    </a:cxn>
                    <a:cxn ang="0">
                      <a:pos x="48" y="286"/>
                    </a:cxn>
                    <a:cxn ang="0">
                      <a:pos x="58" y="290"/>
                    </a:cxn>
                    <a:cxn ang="0">
                      <a:pos x="68" y="304"/>
                    </a:cxn>
                    <a:cxn ang="0">
                      <a:pos x="78" y="314"/>
                    </a:cxn>
                    <a:cxn ang="0">
                      <a:pos x="80" y="326"/>
                    </a:cxn>
                    <a:cxn ang="0">
                      <a:pos x="92" y="334"/>
                    </a:cxn>
                    <a:cxn ang="0">
                      <a:pos x="100" y="350"/>
                    </a:cxn>
                    <a:cxn ang="0">
                      <a:pos x="112" y="360"/>
                    </a:cxn>
                    <a:cxn ang="0">
                      <a:pos x="128" y="358"/>
                    </a:cxn>
                    <a:cxn ang="0">
                      <a:pos x="146" y="366"/>
                    </a:cxn>
                    <a:cxn ang="0">
                      <a:pos x="154" y="374"/>
                    </a:cxn>
                    <a:cxn ang="0">
                      <a:pos x="170" y="370"/>
                    </a:cxn>
                    <a:cxn ang="0">
                      <a:pos x="180" y="370"/>
                    </a:cxn>
                    <a:cxn ang="0">
                      <a:pos x="192" y="368"/>
                    </a:cxn>
                    <a:cxn ang="0">
                      <a:pos x="208" y="362"/>
                    </a:cxn>
                    <a:cxn ang="0">
                      <a:pos x="230" y="354"/>
                    </a:cxn>
                    <a:cxn ang="0">
                      <a:pos x="240" y="348"/>
                    </a:cxn>
                    <a:cxn ang="0">
                      <a:pos x="228" y="336"/>
                    </a:cxn>
                    <a:cxn ang="0">
                      <a:pos x="220" y="316"/>
                    </a:cxn>
                    <a:cxn ang="0">
                      <a:pos x="216" y="310"/>
                    </a:cxn>
                    <a:cxn ang="0">
                      <a:pos x="202" y="296"/>
                    </a:cxn>
                    <a:cxn ang="0">
                      <a:pos x="194" y="284"/>
                    </a:cxn>
                    <a:cxn ang="0">
                      <a:pos x="202" y="282"/>
                    </a:cxn>
                    <a:cxn ang="0">
                      <a:pos x="208" y="264"/>
                    </a:cxn>
                    <a:cxn ang="0">
                      <a:pos x="212" y="240"/>
                    </a:cxn>
                    <a:cxn ang="0">
                      <a:pos x="220" y="238"/>
                    </a:cxn>
                    <a:cxn ang="0">
                      <a:pos x="224" y="220"/>
                    </a:cxn>
                    <a:cxn ang="0">
                      <a:pos x="230" y="206"/>
                    </a:cxn>
                    <a:cxn ang="0">
                      <a:pos x="242" y="196"/>
                    </a:cxn>
                    <a:cxn ang="0">
                      <a:pos x="246" y="174"/>
                    </a:cxn>
                    <a:cxn ang="0">
                      <a:pos x="246" y="156"/>
                    </a:cxn>
                    <a:cxn ang="0">
                      <a:pos x="248" y="142"/>
                    </a:cxn>
                    <a:cxn ang="0">
                      <a:pos x="250" y="122"/>
                    </a:cxn>
                    <a:cxn ang="0">
                      <a:pos x="258" y="116"/>
                    </a:cxn>
                    <a:cxn ang="0">
                      <a:pos x="274" y="106"/>
                    </a:cxn>
                    <a:cxn ang="0">
                      <a:pos x="268" y="88"/>
                    </a:cxn>
                    <a:cxn ang="0">
                      <a:pos x="256" y="64"/>
                    </a:cxn>
                    <a:cxn ang="0">
                      <a:pos x="252" y="48"/>
                    </a:cxn>
                    <a:cxn ang="0">
                      <a:pos x="254" y="38"/>
                    </a:cxn>
                    <a:cxn ang="0">
                      <a:pos x="242" y="14"/>
                    </a:cxn>
                    <a:cxn ang="0">
                      <a:pos x="230" y="4"/>
                    </a:cxn>
                  </a:cxnLst>
                  <a:rect l="0" t="0" r="r" b="b"/>
                  <a:pathLst>
                    <a:path w="278" h="376">
                      <a:moveTo>
                        <a:pt x="214" y="4"/>
                      </a:moveTo>
                      <a:lnTo>
                        <a:pt x="214" y="6"/>
                      </a:lnTo>
                      <a:lnTo>
                        <a:pt x="214" y="8"/>
                      </a:lnTo>
                      <a:lnTo>
                        <a:pt x="214" y="10"/>
                      </a:lnTo>
                      <a:lnTo>
                        <a:pt x="214" y="12"/>
                      </a:lnTo>
                      <a:lnTo>
                        <a:pt x="212" y="14"/>
                      </a:lnTo>
                      <a:lnTo>
                        <a:pt x="212" y="16"/>
                      </a:lnTo>
                      <a:lnTo>
                        <a:pt x="210" y="16"/>
                      </a:lnTo>
                      <a:lnTo>
                        <a:pt x="208" y="16"/>
                      </a:lnTo>
                      <a:lnTo>
                        <a:pt x="206" y="16"/>
                      </a:lnTo>
                      <a:lnTo>
                        <a:pt x="204" y="16"/>
                      </a:lnTo>
                      <a:lnTo>
                        <a:pt x="202" y="16"/>
                      </a:lnTo>
                      <a:lnTo>
                        <a:pt x="200" y="18"/>
                      </a:lnTo>
                      <a:lnTo>
                        <a:pt x="200" y="20"/>
                      </a:lnTo>
                      <a:lnTo>
                        <a:pt x="200" y="22"/>
                      </a:lnTo>
                      <a:lnTo>
                        <a:pt x="198" y="24"/>
                      </a:lnTo>
                      <a:lnTo>
                        <a:pt x="196" y="26"/>
                      </a:lnTo>
                      <a:lnTo>
                        <a:pt x="194" y="26"/>
                      </a:lnTo>
                      <a:lnTo>
                        <a:pt x="194" y="28"/>
                      </a:lnTo>
                      <a:lnTo>
                        <a:pt x="192" y="26"/>
                      </a:lnTo>
                      <a:lnTo>
                        <a:pt x="190" y="26"/>
                      </a:lnTo>
                      <a:lnTo>
                        <a:pt x="190" y="24"/>
                      </a:lnTo>
                      <a:lnTo>
                        <a:pt x="188" y="24"/>
                      </a:lnTo>
                      <a:lnTo>
                        <a:pt x="188" y="22"/>
                      </a:lnTo>
                      <a:lnTo>
                        <a:pt x="186" y="22"/>
                      </a:lnTo>
                      <a:lnTo>
                        <a:pt x="186" y="20"/>
                      </a:lnTo>
                      <a:lnTo>
                        <a:pt x="182" y="20"/>
                      </a:lnTo>
                      <a:lnTo>
                        <a:pt x="176" y="20"/>
                      </a:lnTo>
                      <a:lnTo>
                        <a:pt x="172" y="20"/>
                      </a:lnTo>
                      <a:lnTo>
                        <a:pt x="170" y="20"/>
                      </a:lnTo>
                      <a:lnTo>
                        <a:pt x="168" y="20"/>
                      </a:lnTo>
                      <a:lnTo>
                        <a:pt x="166" y="20"/>
                      </a:lnTo>
                      <a:lnTo>
                        <a:pt x="164" y="20"/>
                      </a:lnTo>
                      <a:lnTo>
                        <a:pt x="162" y="20"/>
                      </a:lnTo>
                      <a:lnTo>
                        <a:pt x="160" y="20"/>
                      </a:lnTo>
                      <a:lnTo>
                        <a:pt x="158" y="20"/>
                      </a:lnTo>
                      <a:lnTo>
                        <a:pt x="158" y="18"/>
                      </a:lnTo>
                      <a:lnTo>
                        <a:pt x="158" y="16"/>
                      </a:lnTo>
                      <a:lnTo>
                        <a:pt x="156" y="16"/>
                      </a:lnTo>
                      <a:lnTo>
                        <a:pt x="156" y="18"/>
                      </a:lnTo>
                      <a:lnTo>
                        <a:pt x="154" y="18"/>
                      </a:lnTo>
                      <a:lnTo>
                        <a:pt x="154" y="20"/>
                      </a:lnTo>
                      <a:lnTo>
                        <a:pt x="152" y="20"/>
                      </a:lnTo>
                      <a:lnTo>
                        <a:pt x="152" y="22"/>
                      </a:lnTo>
                      <a:lnTo>
                        <a:pt x="144" y="22"/>
                      </a:lnTo>
                      <a:lnTo>
                        <a:pt x="136" y="22"/>
                      </a:lnTo>
                      <a:lnTo>
                        <a:pt x="126" y="20"/>
                      </a:lnTo>
                      <a:lnTo>
                        <a:pt x="120" y="20"/>
                      </a:lnTo>
                      <a:lnTo>
                        <a:pt x="112" y="20"/>
                      </a:lnTo>
                      <a:lnTo>
                        <a:pt x="106" y="20"/>
                      </a:lnTo>
                      <a:lnTo>
                        <a:pt x="100" y="20"/>
                      </a:lnTo>
                      <a:lnTo>
                        <a:pt x="94" y="20"/>
                      </a:lnTo>
                      <a:lnTo>
                        <a:pt x="88" y="20"/>
                      </a:lnTo>
                      <a:lnTo>
                        <a:pt x="84" y="20"/>
                      </a:lnTo>
                      <a:lnTo>
                        <a:pt x="80" y="20"/>
                      </a:lnTo>
                      <a:lnTo>
                        <a:pt x="76" y="20"/>
                      </a:lnTo>
                      <a:lnTo>
                        <a:pt x="72" y="20"/>
                      </a:lnTo>
                      <a:lnTo>
                        <a:pt x="70" y="20"/>
                      </a:lnTo>
                      <a:lnTo>
                        <a:pt x="66" y="20"/>
                      </a:lnTo>
                      <a:lnTo>
                        <a:pt x="64" y="20"/>
                      </a:lnTo>
                      <a:lnTo>
                        <a:pt x="62" y="20"/>
                      </a:lnTo>
                      <a:lnTo>
                        <a:pt x="60" y="20"/>
                      </a:lnTo>
                      <a:lnTo>
                        <a:pt x="58" y="20"/>
                      </a:lnTo>
                      <a:lnTo>
                        <a:pt x="56" y="20"/>
                      </a:lnTo>
                      <a:lnTo>
                        <a:pt x="54" y="20"/>
                      </a:lnTo>
                      <a:lnTo>
                        <a:pt x="52" y="20"/>
                      </a:lnTo>
                      <a:lnTo>
                        <a:pt x="52" y="26"/>
                      </a:lnTo>
                      <a:lnTo>
                        <a:pt x="52" y="32"/>
                      </a:lnTo>
                      <a:lnTo>
                        <a:pt x="52" y="38"/>
                      </a:lnTo>
                      <a:lnTo>
                        <a:pt x="52" y="42"/>
                      </a:lnTo>
                      <a:lnTo>
                        <a:pt x="52" y="46"/>
                      </a:lnTo>
                      <a:lnTo>
                        <a:pt x="52" y="48"/>
                      </a:lnTo>
                      <a:lnTo>
                        <a:pt x="52" y="50"/>
                      </a:lnTo>
                      <a:lnTo>
                        <a:pt x="52" y="52"/>
                      </a:lnTo>
                      <a:lnTo>
                        <a:pt x="52" y="54"/>
                      </a:lnTo>
                      <a:lnTo>
                        <a:pt x="52" y="56"/>
                      </a:lnTo>
                      <a:lnTo>
                        <a:pt x="52" y="58"/>
                      </a:lnTo>
                      <a:lnTo>
                        <a:pt x="48" y="58"/>
                      </a:lnTo>
                      <a:lnTo>
                        <a:pt x="46" y="58"/>
                      </a:lnTo>
                      <a:lnTo>
                        <a:pt x="44" y="58"/>
                      </a:lnTo>
                      <a:lnTo>
                        <a:pt x="42" y="58"/>
                      </a:lnTo>
                      <a:lnTo>
                        <a:pt x="40" y="58"/>
                      </a:lnTo>
                      <a:lnTo>
                        <a:pt x="38" y="58"/>
                      </a:lnTo>
                      <a:lnTo>
                        <a:pt x="36" y="58"/>
                      </a:lnTo>
                      <a:lnTo>
                        <a:pt x="34" y="58"/>
                      </a:lnTo>
                      <a:lnTo>
                        <a:pt x="34" y="66"/>
                      </a:lnTo>
                      <a:lnTo>
                        <a:pt x="34" y="72"/>
                      </a:lnTo>
                      <a:lnTo>
                        <a:pt x="34" y="80"/>
                      </a:lnTo>
                      <a:lnTo>
                        <a:pt x="34" y="86"/>
                      </a:lnTo>
                      <a:lnTo>
                        <a:pt x="34" y="92"/>
                      </a:lnTo>
                      <a:lnTo>
                        <a:pt x="34" y="96"/>
                      </a:lnTo>
                      <a:lnTo>
                        <a:pt x="34" y="102"/>
                      </a:lnTo>
                      <a:lnTo>
                        <a:pt x="34" y="106"/>
                      </a:lnTo>
                      <a:lnTo>
                        <a:pt x="34" y="110"/>
                      </a:lnTo>
                      <a:lnTo>
                        <a:pt x="36" y="114"/>
                      </a:lnTo>
                      <a:lnTo>
                        <a:pt x="36" y="118"/>
                      </a:lnTo>
                      <a:lnTo>
                        <a:pt x="36" y="120"/>
                      </a:lnTo>
                      <a:lnTo>
                        <a:pt x="36" y="124"/>
                      </a:lnTo>
                      <a:lnTo>
                        <a:pt x="36" y="126"/>
                      </a:lnTo>
                      <a:lnTo>
                        <a:pt x="36" y="128"/>
                      </a:lnTo>
                      <a:lnTo>
                        <a:pt x="36" y="132"/>
                      </a:lnTo>
                      <a:lnTo>
                        <a:pt x="36" y="134"/>
                      </a:lnTo>
                      <a:lnTo>
                        <a:pt x="36" y="138"/>
                      </a:lnTo>
                      <a:lnTo>
                        <a:pt x="36" y="140"/>
                      </a:lnTo>
                      <a:lnTo>
                        <a:pt x="36" y="142"/>
                      </a:lnTo>
                      <a:lnTo>
                        <a:pt x="34" y="142"/>
                      </a:lnTo>
                      <a:lnTo>
                        <a:pt x="32" y="142"/>
                      </a:lnTo>
                      <a:lnTo>
                        <a:pt x="30" y="142"/>
                      </a:lnTo>
                      <a:lnTo>
                        <a:pt x="24" y="140"/>
                      </a:lnTo>
                      <a:lnTo>
                        <a:pt x="22" y="142"/>
                      </a:lnTo>
                      <a:lnTo>
                        <a:pt x="20" y="142"/>
                      </a:lnTo>
                      <a:lnTo>
                        <a:pt x="18" y="142"/>
                      </a:lnTo>
                      <a:lnTo>
                        <a:pt x="18" y="144"/>
                      </a:lnTo>
                      <a:lnTo>
                        <a:pt x="18" y="146"/>
                      </a:lnTo>
                      <a:lnTo>
                        <a:pt x="20" y="150"/>
                      </a:lnTo>
                      <a:lnTo>
                        <a:pt x="18" y="152"/>
                      </a:lnTo>
                      <a:lnTo>
                        <a:pt x="16" y="152"/>
                      </a:lnTo>
                      <a:lnTo>
                        <a:pt x="14" y="154"/>
                      </a:lnTo>
                      <a:lnTo>
                        <a:pt x="14" y="156"/>
                      </a:lnTo>
                      <a:lnTo>
                        <a:pt x="12" y="158"/>
                      </a:lnTo>
                      <a:lnTo>
                        <a:pt x="12" y="160"/>
                      </a:lnTo>
                      <a:lnTo>
                        <a:pt x="12" y="162"/>
                      </a:lnTo>
                      <a:lnTo>
                        <a:pt x="10" y="162"/>
                      </a:lnTo>
                      <a:lnTo>
                        <a:pt x="10" y="164"/>
                      </a:lnTo>
                      <a:lnTo>
                        <a:pt x="10" y="166"/>
                      </a:lnTo>
                      <a:lnTo>
                        <a:pt x="10" y="168"/>
                      </a:lnTo>
                      <a:lnTo>
                        <a:pt x="12" y="168"/>
                      </a:lnTo>
                      <a:lnTo>
                        <a:pt x="12" y="170"/>
                      </a:lnTo>
                      <a:lnTo>
                        <a:pt x="10" y="170"/>
                      </a:lnTo>
                      <a:lnTo>
                        <a:pt x="10" y="172"/>
                      </a:lnTo>
                      <a:lnTo>
                        <a:pt x="8" y="172"/>
                      </a:lnTo>
                      <a:lnTo>
                        <a:pt x="8" y="174"/>
                      </a:lnTo>
                      <a:lnTo>
                        <a:pt x="6" y="174"/>
                      </a:lnTo>
                      <a:lnTo>
                        <a:pt x="4" y="176"/>
                      </a:lnTo>
                      <a:lnTo>
                        <a:pt x="4" y="178"/>
                      </a:lnTo>
                      <a:lnTo>
                        <a:pt x="4" y="180"/>
                      </a:lnTo>
                      <a:lnTo>
                        <a:pt x="6" y="182"/>
                      </a:lnTo>
                      <a:lnTo>
                        <a:pt x="8" y="184"/>
                      </a:lnTo>
                      <a:lnTo>
                        <a:pt x="8" y="186"/>
                      </a:lnTo>
                      <a:lnTo>
                        <a:pt x="8" y="188"/>
                      </a:lnTo>
                      <a:lnTo>
                        <a:pt x="6" y="188"/>
                      </a:lnTo>
                      <a:lnTo>
                        <a:pt x="6" y="190"/>
                      </a:lnTo>
                      <a:lnTo>
                        <a:pt x="4" y="192"/>
                      </a:lnTo>
                      <a:lnTo>
                        <a:pt x="2" y="192"/>
                      </a:lnTo>
                      <a:lnTo>
                        <a:pt x="2" y="194"/>
                      </a:lnTo>
                      <a:lnTo>
                        <a:pt x="0" y="196"/>
                      </a:lnTo>
                      <a:lnTo>
                        <a:pt x="2" y="196"/>
                      </a:lnTo>
                      <a:lnTo>
                        <a:pt x="2" y="198"/>
                      </a:lnTo>
                      <a:lnTo>
                        <a:pt x="2" y="200"/>
                      </a:lnTo>
                      <a:lnTo>
                        <a:pt x="4" y="200"/>
                      </a:lnTo>
                      <a:lnTo>
                        <a:pt x="6" y="200"/>
                      </a:lnTo>
                      <a:lnTo>
                        <a:pt x="8" y="200"/>
                      </a:lnTo>
                      <a:lnTo>
                        <a:pt x="8" y="198"/>
                      </a:lnTo>
                      <a:lnTo>
                        <a:pt x="10" y="200"/>
                      </a:lnTo>
                      <a:lnTo>
                        <a:pt x="10" y="202"/>
                      </a:lnTo>
                      <a:lnTo>
                        <a:pt x="12" y="204"/>
                      </a:lnTo>
                      <a:lnTo>
                        <a:pt x="12" y="206"/>
                      </a:lnTo>
                      <a:lnTo>
                        <a:pt x="12" y="208"/>
                      </a:lnTo>
                      <a:lnTo>
                        <a:pt x="12" y="210"/>
                      </a:lnTo>
                      <a:lnTo>
                        <a:pt x="12" y="212"/>
                      </a:lnTo>
                      <a:lnTo>
                        <a:pt x="14" y="212"/>
                      </a:lnTo>
                      <a:lnTo>
                        <a:pt x="14" y="214"/>
                      </a:lnTo>
                      <a:lnTo>
                        <a:pt x="12" y="214"/>
                      </a:lnTo>
                      <a:lnTo>
                        <a:pt x="10" y="214"/>
                      </a:lnTo>
                      <a:lnTo>
                        <a:pt x="10" y="216"/>
                      </a:lnTo>
                      <a:lnTo>
                        <a:pt x="12" y="216"/>
                      </a:lnTo>
                      <a:lnTo>
                        <a:pt x="12" y="218"/>
                      </a:lnTo>
                      <a:lnTo>
                        <a:pt x="12" y="220"/>
                      </a:lnTo>
                      <a:lnTo>
                        <a:pt x="14" y="220"/>
                      </a:lnTo>
                      <a:lnTo>
                        <a:pt x="14" y="222"/>
                      </a:lnTo>
                      <a:lnTo>
                        <a:pt x="16" y="222"/>
                      </a:lnTo>
                      <a:lnTo>
                        <a:pt x="18" y="224"/>
                      </a:lnTo>
                      <a:lnTo>
                        <a:pt x="20" y="226"/>
                      </a:lnTo>
                      <a:lnTo>
                        <a:pt x="22" y="228"/>
                      </a:lnTo>
                      <a:lnTo>
                        <a:pt x="20" y="230"/>
                      </a:lnTo>
                      <a:lnTo>
                        <a:pt x="18" y="230"/>
                      </a:lnTo>
                      <a:lnTo>
                        <a:pt x="18" y="228"/>
                      </a:lnTo>
                      <a:lnTo>
                        <a:pt x="18" y="230"/>
                      </a:lnTo>
                      <a:lnTo>
                        <a:pt x="18" y="232"/>
                      </a:lnTo>
                      <a:lnTo>
                        <a:pt x="18" y="234"/>
                      </a:lnTo>
                      <a:lnTo>
                        <a:pt x="18" y="236"/>
                      </a:lnTo>
                      <a:lnTo>
                        <a:pt x="20" y="236"/>
                      </a:lnTo>
                      <a:lnTo>
                        <a:pt x="22" y="238"/>
                      </a:lnTo>
                      <a:lnTo>
                        <a:pt x="26" y="242"/>
                      </a:lnTo>
                      <a:lnTo>
                        <a:pt x="28" y="244"/>
                      </a:lnTo>
                      <a:lnTo>
                        <a:pt x="30" y="248"/>
                      </a:lnTo>
                      <a:lnTo>
                        <a:pt x="32" y="252"/>
                      </a:lnTo>
                      <a:lnTo>
                        <a:pt x="32" y="254"/>
                      </a:lnTo>
                      <a:lnTo>
                        <a:pt x="34" y="258"/>
                      </a:lnTo>
                      <a:lnTo>
                        <a:pt x="32" y="260"/>
                      </a:lnTo>
                      <a:lnTo>
                        <a:pt x="32" y="262"/>
                      </a:lnTo>
                      <a:lnTo>
                        <a:pt x="30" y="266"/>
                      </a:lnTo>
                      <a:lnTo>
                        <a:pt x="28" y="266"/>
                      </a:lnTo>
                      <a:lnTo>
                        <a:pt x="28" y="268"/>
                      </a:lnTo>
                      <a:lnTo>
                        <a:pt x="28" y="270"/>
                      </a:lnTo>
                      <a:lnTo>
                        <a:pt x="30" y="270"/>
                      </a:lnTo>
                      <a:lnTo>
                        <a:pt x="32" y="270"/>
                      </a:lnTo>
                      <a:lnTo>
                        <a:pt x="30" y="272"/>
                      </a:lnTo>
                      <a:lnTo>
                        <a:pt x="30" y="274"/>
                      </a:lnTo>
                      <a:lnTo>
                        <a:pt x="32" y="274"/>
                      </a:lnTo>
                      <a:lnTo>
                        <a:pt x="34" y="274"/>
                      </a:lnTo>
                      <a:lnTo>
                        <a:pt x="34" y="276"/>
                      </a:lnTo>
                      <a:lnTo>
                        <a:pt x="36" y="276"/>
                      </a:lnTo>
                      <a:lnTo>
                        <a:pt x="38" y="276"/>
                      </a:lnTo>
                      <a:lnTo>
                        <a:pt x="40" y="276"/>
                      </a:lnTo>
                      <a:lnTo>
                        <a:pt x="42" y="276"/>
                      </a:lnTo>
                      <a:lnTo>
                        <a:pt x="42" y="278"/>
                      </a:lnTo>
                      <a:lnTo>
                        <a:pt x="40" y="280"/>
                      </a:lnTo>
                      <a:lnTo>
                        <a:pt x="40" y="282"/>
                      </a:lnTo>
                      <a:lnTo>
                        <a:pt x="40" y="284"/>
                      </a:lnTo>
                      <a:lnTo>
                        <a:pt x="42" y="284"/>
                      </a:lnTo>
                      <a:lnTo>
                        <a:pt x="42" y="286"/>
                      </a:lnTo>
                      <a:lnTo>
                        <a:pt x="44" y="286"/>
                      </a:lnTo>
                      <a:lnTo>
                        <a:pt x="46" y="286"/>
                      </a:lnTo>
                      <a:lnTo>
                        <a:pt x="48" y="286"/>
                      </a:lnTo>
                      <a:lnTo>
                        <a:pt x="52" y="286"/>
                      </a:lnTo>
                      <a:lnTo>
                        <a:pt x="54" y="286"/>
                      </a:lnTo>
                      <a:lnTo>
                        <a:pt x="54" y="288"/>
                      </a:lnTo>
                      <a:lnTo>
                        <a:pt x="54" y="290"/>
                      </a:lnTo>
                      <a:lnTo>
                        <a:pt x="56" y="290"/>
                      </a:lnTo>
                      <a:lnTo>
                        <a:pt x="58" y="290"/>
                      </a:lnTo>
                      <a:lnTo>
                        <a:pt x="60" y="292"/>
                      </a:lnTo>
                      <a:lnTo>
                        <a:pt x="60" y="294"/>
                      </a:lnTo>
                      <a:lnTo>
                        <a:pt x="60" y="296"/>
                      </a:lnTo>
                      <a:lnTo>
                        <a:pt x="58" y="298"/>
                      </a:lnTo>
                      <a:lnTo>
                        <a:pt x="58" y="300"/>
                      </a:lnTo>
                      <a:lnTo>
                        <a:pt x="60" y="300"/>
                      </a:lnTo>
                      <a:lnTo>
                        <a:pt x="60" y="302"/>
                      </a:lnTo>
                      <a:lnTo>
                        <a:pt x="64" y="304"/>
                      </a:lnTo>
                      <a:lnTo>
                        <a:pt x="66" y="304"/>
                      </a:lnTo>
                      <a:lnTo>
                        <a:pt x="68" y="304"/>
                      </a:lnTo>
                      <a:lnTo>
                        <a:pt x="70" y="304"/>
                      </a:lnTo>
                      <a:lnTo>
                        <a:pt x="70" y="306"/>
                      </a:lnTo>
                      <a:lnTo>
                        <a:pt x="72" y="308"/>
                      </a:lnTo>
                      <a:lnTo>
                        <a:pt x="74" y="310"/>
                      </a:lnTo>
                      <a:lnTo>
                        <a:pt x="74" y="312"/>
                      </a:lnTo>
                      <a:lnTo>
                        <a:pt x="76" y="312"/>
                      </a:lnTo>
                      <a:lnTo>
                        <a:pt x="78" y="314"/>
                      </a:lnTo>
                      <a:lnTo>
                        <a:pt x="80" y="316"/>
                      </a:lnTo>
                      <a:lnTo>
                        <a:pt x="78" y="318"/>
                      </a:lnTo>
                      <a:lnTo>
                        <a:pt x="76" y="318"/>
                      </a:lnTo>
                      <a:lnTo>
                        <a:pt x="78" y="320"/>
                      </a:lnTo>
                      <a:lnTo>
                        <a:pt x="78" y="322"/>
                      </a:lnTo>
                      <a:lnTo>
                        <a:pt x="80" y="322"/>
                      </a:lnTo>
                      <a:lnTo>
                        <a:pt x="80" y="324"/>
                      </a:lnTo>
                      <a:lnTo>
                        <a:pt x="80" y="326"/>
                      </a:lnTo>
                      <a:lnTo>
                        <a:pt x="82" y="326"/>
                      </a:lnTo>
                      <a:lnTo>
                        <a:pt x="84" y="328"/>
                      </a:lnTo>
                      <a:lnTo>
                        <a:pt x="86" y="328"/>
                      </a:lnTo>
                      <a:lnTo>
                        <a:pt x="88" y="328"/>
                      </a:lnTo>
                      <a:lnTo>
                        <a:pt x="90" y="330"/>
                      </a:lnTo>
                      <a:lnTo>
                        <a:pt x="92" y="332"/>
                      </a:lnTo>
                      <a:lnTo>
                        <a:pt x="92" y="334"/>
                      </a:lnTo>
                      <a:lnTo>
                        <a:pt x="94" y="336"/>
                      </a:lnTo>
                      <a:lnTo>
                        <a:pt x="94" y="338"/>
                      </a:lnTo>
                      <a:lnTo>
                        <a:pt x="92" y="340"/>
                      </a:lnTo>
                      <a:lnTo>
                        <a:pt x="94" y="340"/>
                      </a:lnTo>
                      <a:lnTo>
                        <a:pt x="94" y="342"/>
                      </a:lnTo>
                      <a:lnTo>
                        <a:pt x="96" y="344"/>
                      </a:lnTo>
                      <a:lnTo>
                        <a:pt x="98" y="346"/>
                      </a:lnTo>
                      <a:lnTo>
                        <a:pt x="100" y="348"/>
                      </a:lnTo>
                      <a:lnTo>
                        <a:pt x="100" y="350"/>
                      </a:lnTo>
                      <a:lnTo>
                        <a:pt x="102" y="350"/>
                      </a:lnTo>
                      <a:lnTo>
                        <a:pt x="102" y="352"/>
                      </a:lnTo>
                      <a:lnTo>
                        <a:pt x="102" y="354"/>
                      </a:lnTo>
                      <a:lnTo>
                        <a:pt x="104" y="356"/>
                      </a:lnTo>
                      <a:lnTo>
                        <a:pt x="108" y="358"/>
                      </a:lnTo>
                      <a:lnTo>
                        <a:pt x="110" y="358"/>
                      </a:lnTo>
                      <a:lnTo>
                        <a:pt x="112" y="358"/>
                      </a:lnTo>
                      <a:lnTo>
                        <a:pt x="112" y="360"/>
                      </a:lnTo>
                      <a:lnTo>
                        <a:pt x="114" y="358"/>
                      </a:lnTo>
                      <a:lnTo>
                        <a:pt x="116" y="356"/>
                      </a:lnTo>
                      <a:lnTo>
                        <a:pt x="118" y="354"/>
                      </a:lnTo>
                      <a:lnTo>
                        <a:pt x="120" y="354"/>
                      </a:lnTo>
                      <a:lnTo>
                        <a:pt x="122" y="356"/>
                      </a:lnTo>
                      <a:lnTo>
                        <a:pt x="124" y="358"/>
                      </a:lnTo>
                      <a:lnTo>
                        <a:pt x="126" y="358"/>
                      </a:lnTo>
                      <a:lnTo>
                        <a:pt x="128" y="358"/>
                      </a:lnTo>
                      <a:lnTo>
                        <a:pt x="128" y="356"/>
                      </a:lnTo>
                      <a:lnTo>
                        <a:pt x="130" y="356"/>
                      </a:lnTo>
                      <a:lnTo>
                        <a:pt x="130" y="354"/>
                      </a:lnTo>
                      <a:lnTo>
                        <a:pt x="132" y="352"/>
                      </a:lnTo>
                      <a:lnTo>
                        <a:pt x="134" y="352"/>
                      </a:lnTo>
                      <a:lnTo>
                        <a:pt x="134" y="354"/>
                      </a:lnTo>
                      <a:lnTo>
                        <a:pt x="136" y="356"/>
                      </a:lnTo>
                      <a:lnTo>
                        <a:pt x="138" y="358"/>
                      </a:lnTo>
                      <a:lnTo>
                        <a:pt x="140" y="362"/>
                      </a:lnTo>
                      <a:lnTo>
                        <a:pt x="140" y="364"/>
                      </a:lnTo>
                      <a:lnTo>
                        <a:pt x="142" y="364"/>
                      </a:lnTo>
                      <a:lnTo>
                        <a:pt x="146" y="366"/>
                      </a:lnTo>
                      <a:lnTo>
                        <a:pt x="146" y="368"/>
                      </a:lnTo>
                      <a:lnTo>
                        <a:pt x="148" y="368"/>
                      </a:lnTo>
                      <a:lnTo>
                        <a:pt x="148" y="370"/>
                      </a:lnTo>
                      <a:lnTo>
                        <a:pt x="150" y="372"/>
                      </a:lnTo>
                      <a:lnTo>
                        <a:pt x="150" y="374"/>
                      </a:lnTo>
                      <a:lnTo>
                        <a:pt x="152" y="374"/>
                      </a:lnTo>
                      <a:lnTo>
                        <a:pt x="154" y="374"/>
                      </a:lnTo>
                      <a:lnTo>
                        <a:pt x="156" y="372"/>
                      </a:lnTo>
                      <a:lnTo>
                        <a:pt x="158" y="370"/>
                      </a:lnTo>
                      <a:lnTo>
                        <a:pt x="160" y="370"/>
                      </a:lnTo>
                      <a:lnTo>
                        <a:pt x="162" y="370"/>
                      </a:lnTo>
                      <a:lnTo>
                        <a:pt x="164" y="370"/>
                      </a:lnTo>
                      <a:lnTo>
                        <a:pt x="166" y="372"/>
                      </a:lnTo>
                      <a:lnTo>
                        <a:pt x="168" y="372"/>
                      </a:lnTo>
                      <a:lnTo>
                        <a:pt x="170" y="370"/>
                      </a:lnTo>
                      <a:lnTo>
                        <a:pt x="172" y="370"/>
                      </a:lnTo>
                      <a:lnTo>
                        <a:pt x="172" y="372"/>
                      </a:lnTo>
                      <a:lnTo>
                        <a:pt x="174" y="372"/>
                      </a:lnTo>
                      <a:lnTo>
                        <a:pt x="176" y="374"/>
                      </a:lnTo>
                      <a:lnTo>
                        <a:pt x="176" y="376"/>
                      </a:lnTo>
                      <a:lnTo>
                        <a:pt x="178" y="374"/>
                      </a:lnTo>
                      <a:lnTo>
                        <a:pt x="180" y="372"/>
                      </a:lnTo>
                      <a:lnTo>
                        <a:pt x="180" y="370"/>
                      </a:lnTo>
                      <a:lnTo>
                        <a:pt x="182" y="370"/>
                      </a:lnTo>
                      <a:lnTo>
                        <a:pt x="184" y="370"/>
                      </a:lnTo>
                      <a:lnTo>
                        <a:pt x="186" y="370"/>
                      </a:lnTo>
                      <a:lnTo>
                        <a:pt x="188" y="370"/>
                      </a:lnTo>
                      <a:lnTo>
                        <a:pt x="190" y="368"/>
                      </a:lnTo>
                      <a:lnTo>
                        <a:pt x="192" y="368"/>
                      </a:lnTo>
                      <a:lnTo>
                        <a:pt x="194" y="368"/>
                      </a:lnTo>
                      <a:lnTo>
                        <a:pt x="194" y="370"/>
                      </a:lnTo>
                      <a:lnTo>
                        <a:pt x="196" y="370"/>
                      </a:lnTo>
                      <a:lnTo>
                        <a:pt x="198" y="370"/>
                      </a:lnTo>
                      <a:lnTo>
                        <a:pt x="200" y="370"/>
                      </a:lnTo>
                      <a:lnTo>
                        <a:pt x="202" y="368"/>
                      </a:lnTo>
                      <a:lnTo>
                        <a:pt x="202" y="366"/>
                      </a:lnTo>
                      <a:lnTo>
                        <a:pt x="204" y="364"/>
                      </a:lnTo>
                      <a:lnTo>
                        <a:pt x="204" y="362"/>
                      </a:lnTo>
                      <a:lnTo>
                        <a:pt x="206" y="362"/>
                      </a:lnTo>
                      <a:lnTo>
                        <a:pt x="208" y="362"/>
                      </a:lnTo>
                      <a:lnTo>
                        <a:pt x="210" y="358"/>
                      </a:lnTo>
                      <a:lnTo>
                        <a:pt x="212" y="358"/>
                      </a:lnTo>
                      <a:lnTo>
                        <a:pt x="212" y="356"/>
                      </a:lnTo>
                      <a:lnTo>
                        <a:pt x="214" y="354"/>
                      </a:lnTo>
                      <a:lnTo>
                        <a:pt x="218" y="354"/>
                      </a:lnTo>
                      <a:lnTo>
                        <a:pt x="220" y="354"/>
                      </a:lnTo>
                      <a:lnTo>
                        <a:pt x="222" y="354"/>
                      </a:lnTo>
                      <a:lnTo>
                        <a:pt x="226" y="354"/>
                      </a:lnTo>
                      <a:lnTo>
                        <a:pt x="228" y="354"/>
                      </a:lnTo>
                      <a:lnTo>
                        <a:pt x="230" y="354"/>
                      </a:lnTo>
                      <a:lnTo>
                        <a:pt x="232" y="354"/>
                      </a:lnTo>
                      <a:lnTo>
                        <a:pt x="234" y="354"/>
                      </a:lnTo>
                      <a:lnTo>
                        <a:pt x="236" y="354"/>
                      </a:lnTo>
                      <a:lnTo>
                        <a:pt x="238" y="352"/>
                      </a:lnTo>
                      <a:lnTo>
                        <a:pt x="240" y="352"/>
                      </a:lnTo>
                      <a:lnTo>
                        <a:pt x="240" y="350"/>
                      </a:lnTo>
                      <a:lnTo>
                        <a:pt x="240" y="348"/>
                      </a:lnTo>
                      <a:lnTo>
                        <a:pt x="240" y="346"/>
                      </a:lnTo>
                      <a:lnTo>
                        <a:pt x="238" y="344"/>
                      </a:lnTo>
                      <a:lnTo>
                        <a:pt x="238" y="342"/>
                      </a:lnTo>
                      <a:lnTo>
                        <a:pt x="238" y="340"/>
                      </a:lnTo>
                      <a:lnTo>
                        <a:pt x="236" y="338"/>
                      </a:lnTo>
                      <a:lnTo>
                        <a:pt x="234" y="338"/>
                      </a:lnTo>
                      <a:lnTo>
                        <a:pt x="232" y="338"/>
                      </a:lnTo>
                      <a:lnTo>
                        <a:pt x="230" y="338"/>
                      </a:lnTo>
                      <a:lnTo>
                        <a:pt x="228" y="336"/>
                      </a:lnTo>
                      <a:lnTo>
                        <a:pt x="226" y="334"/>
                      </a:lnTo>
                      <a:lnTo>
                        <a:pt x="226" y="332"/>
                      </a:lnTo>
                      <a:lnTo>
                        <a:pt x="224" y="330"/>
                      </a:lnTo>
                      <a:lnTo>
                        <a:pt x="224" y="328"/>
                      </a:lnTo>
                      <a:lnTo>
                        <a:pt x="224" y="326"/>
                      </a:lnTo>
                      <a:lnTo>
                        <a:pt x="224" y="324"/>
                      </a:lnTo>
                      <a:lnTo>
                        <a:pt x="222" y="324"/>
                      </a:lnTo>
                      <a:lnTo>
                        <a:pt x="220" y="320"/>
                      </a:lnTo>
                      <a:lnTo>
                        <a:pt x="220" y="318"/>
                      </a:lnTo>
                      <a:lnTo>
                        <a:pt x="220" y="316"/>
                      </a:lnTo>
                      <a:lnTo>
                        <a:pt x="220" y="314"/>
                      </a:lnTo>
                      <a:lnTo>
                        <a:pt x="218" y="314"/>
                      </a:lnTo>
                      <a:lnTo>
                        <a:pt x="218" y="312"/>
                      </a:lnTo>
                      <a:lnTo>
                        <a:pt x="218" y="310"/>
                      </a:lnTo>
                      <a:lnTo>
                        <a:pt x="216" y="310"/>
                      </a:lnTo>
                      <a:lnTo>
                        <a:pt x="214" y="310"/>
                      </a:lnTo>
                      <a:lnTo>
                        <a:pt x="212" y="310"/>
                      </a:lnTo>
                      <a:lnTo>
                        <a:pt x="212" y="308"/>
                      </a:lnTo>
                      <a:lnTo>
                        <a:pt x="210" y="308"/>
                      </a:lnTo>
                      <a:lnTo>
                        <a:pt x="210" y="306"/>
                      </a:lnTo>
                      <a:lnTo>
                        <a:pt x="210" y="304"/>
                      </a:lnTo>
                      <a:lnTo>
                        <a:pt x="210" y="302"/>
                      </a:lnTo>
                      <a:lnTo>
                        <a:pt x="208" y="300"/>
                      </a:lnTo>
                      <a:lnTo>
                        <a:pt x="206" y="298"/>
                      </a:lnTo>
                      <a:lnTo>
                        <a:pt x="202" y="296"/>
                      </a:lnTo>
                      <a:lnTo>
                        <a:pt x="200" y="294"/>
                      </a:lnTo>
                      <a:lnTo>
                        <a:pt x="198" y="294"/>
                      </a:lnTo>
                      <a:lnTo>
                        <a:pt x="194" y="294"/>
                      </a:lnTo>
                      <a:lnTo>
                        <a:pt x="192" y="294"/>
                      </a:lnTo>
                      <a:lnTo>
                        <a:pt x="190" y="292"/>
                      </a:lnTo>
                      <a:lnTo>
                        <a:pt x="192" y="292"/>
                      </a:lnTo>
                      <a:lnTo>
                        <a:pt x="192" y="288"/>
                      </a:lnTo>
                      <a:lnTo>
                        <a:pt x="194" y="286"/>
                      </a:lnTo>
                      <a:lnTo>
                        <a:pt x="194" y="284"/>
                      </a:lnTo>
                      <a:lnTo>
                        <a:pt x="194" y="282"/>
                      </a:lnTo>
                      <a:lnTo>
                        <a:pt x="194" y="280"/>
                      </a:lnTo>
                      <a:lnTo>
                        <a:pt x="198" y="280"/>
                      </a:lnTo>
                      <a:lnTo>
                        <a:pt x="200" y="280"/>
                      </a:lnTo>
                      <a:lnTo>
                        <a:pt x="202" y="282"/>
                      </a:lnTo>
                      <a:lnTo>
                        <a:pt x="204" y="282"/>
                      </a:lnTo>
                      <a:lnTo>
                        <a:pt x="206" y="280"/>
                      </a:lnTo>
                      <a:lnTo>
                        <a:pt x="208" y="278"/>
                      </a:lnTo>
                      <a:lnTo>
                        <a:pt x="208" y="276"/>
                      </a:lnTo>
                      <a:lnTo>
                        <a:pt x="210" y="274"/>
                      </a:lnTo>
                      <a:lnTo>
                        <a:pt x="210" y="272"/>
                      </a:lnTo>
                      <a:lnTo>
                        <a:pt x="210" y="270"/>
                      </a:lnTo>
                      <a:lnTo>
                        <a:pt x="210" y="268"/>
                      </a:lnTo>
                      <a:lnTo>
                        <a:pt x="210" y="266"/>
                      </a:lnTo>
                      <a:lnTo>
                        <a:pt x="210" y="264"/>
                      </a:lnTo>
                      <a:lnTo>
                        <a:pt x="208" y="264"/>
                      </a:lnTo>
                      <a:lnTo>
                        <a:pt x="208" y="262"/>
                      </a:lnTo>
                      <a:lnTo>
                        <a:pt x="208" y="258"/>
                      </a:lnTo>
                      <a:lnTo>
                        <a:pt x="206" y="258"/>
                      </a:lnTo>
                      <a:lnTo>
                        <a:pt x="206" y="256"/>
                      </a:lnTo>
                      <a:lnTo>
                        <a:pt x="208" y="254"/>
                      </a:lnTo>
                      <a:lnTo>
                        <a:pt x="210" y="252"/>
                      </a:lnTo>
                      <a:lnTo>
                        <a:pt x="212" y="250"/>
                      </a:lnTo>
                      <a:lnTo>
                        <a:pt x="212" y="248"/>
                      </a:lnTo>
                      <a:lnTo>
                        <a:pt x="214" y="248"/>
                      </a:lnTo>
                      <a:lnTo>
                        <a:pt x="214" y="246"/>
                      </a:lnTo>
                      <a:lnTo>
                        <a:pt x="212" y="244"/>
                      </a:lnTo>
                      <a:lnTo>
                        <a:pt x="212" y="242"/>
                      </a:lnTo>
                      <a:lnTo>
                        <a:pt x="212" y="240"/>
                      </a:lnTo>
                      <a:lnTo>
                        <a:pt x="212" y="238"/>
                      </a:lnTo>
                      <a:lnTo>
                        <a:pt x="212" y="236"/>
                      </a:lnTo>
                      <a:lnTo>
                        <a:pt x="214" y="236"/>
                      </a:lnTo>
                      <a:lnTo>
                        <a:pt x="214" y="234"/>
                      </a:lnTo>
                      <a:lnTo>
                        <a:pt x="216" y="234"/>
                      </a:lnTo>
                      <a:lnTo>
                        <a:pt x="218" y="236"/>
                      </a:lnTo>
                      <a:lnTo>
                        <a:pt x="218" y="238"/>
                      </a:lnTo>
                      <a:lnTo>
                        <a:pt x="220" y="238"/>
                      </a:lnTo>
                      <a:lnTo>
                        <a:pt x="220" y="236"/>
                      </a:lnTo>
                      <a:lnTo>
                        <a:pt x="222" y="236"/>
                      </a:lnTo>
                      <a:lnTo>
                        <a:pt x="222" y="234"/>
                      </a:lnTo>
                      <a:lnTo>
                        <a:pt x="222" y="232"/>
                      </a:lnTo>
                      <a:lnTo>
                        <a:pt x="222" y="230"/>
                      </a:lnTo>
                      <a:lnTo>
                        <a:pt x="222" y="228"/>
                      </a:lnTo>
                      <a:lnTo>
                        <a:pt x="222" y="226"/>
                      </a:lnTo>
                      <a:lnTo>
                        <a:pt x="222" y="224"/>
                      </a:lnTo>
                      <a:lnTo>
                        <a:pt x="222" y="222"/>
                      </a:lnTo>
                      <a:lnTo>
                        <a:pt x="224" y="222"/>
                      </a:lnTo>
                      <a:lnTo>
                        <a:pt x="224" y="220"/>
                      </a:lnTo>
                      <a:lnTo>
                        <a:pt x="224" y="218"/>
                      </a:lnTo>
                      <a:lnTo>
                        <a:pt x="224" y="216"/>
                      </a:lnTo>
                      <a:lnTo>
                        <a:pt x="226" y="214"/>
                      </a:lnTo>
                      <a:lnTo>
                        <a:pt x="228" y="214"/>
                      </a:lnTo>
                      <a:lnTo>
                        <a:pt x="230" y="212"/>
                      </a:lnTo>
                      <a:lnTo>
                        <a:pt x="230" y="210"/>
                      </a:lnTo>
                      <a:lnTo>
                        <a:pt x="230" y="208"/>
                      </a:lnTo>
                      <a:lnTo>
                        <a:pt x="230" y="206"/>
                      </a:lnTo>
                      <a:lnTo>
                        <a:pt x="230" y="204"/>
                      </a:lnTo>
                      <a:lnTo>
                        <a:pt x="232" y="200"/>
                      </a:lnTo>
                      <a:lnTo>
                        <a:pt x="234" y="198"/>
                      </a:lnTo>
                      <a:lnTo>
                        <a:pt x="236" y="198"/>
                      </a:lnTo>
                      <a:lnTo>
                        <a:pt x="238" y="198"/>
                      </a:lnTo>
                      <a:lnTo>
                        <a:pt x="240" y="198"/>
                      </a:lnTo>
                      <a:lnTo>
                        <a:pt x="242" y="198"/>
                      </a:lnTo>
                      <a:lnTo>
                        <a:pt x="242" y="196"/>
                      </a:lnTo>
                      <a:lnTo>
                        <a:pt x="242" y="194"/>
                      </a:lnTo>
                      <a:lnTo>
                        <a:pt x="242" y="192"/>
                      </a:lnTo>
                      <a:lnTo>
                        <a:pt x="242" y="190"/>
                      </a:lnTo>
                      <a:lnTo>
                        <a:pt x="242" y="188"/>
                      </a:lnTo>
                      <a:lnTo>
                        <a:pt x="242" y="186"/>
                      </a:lnTo>
                      <a:lnTo>
                        <a:pt x="242" y="184"/>
                      </a:lnTo>
                      <a:lnTo>
                        <a:pt x="244" y="182"/>
                      </a:lnTo>
                      <a:lnTo>
                        <a:pt x="244" y="180"/>
                      </a:lnTo>
                      <a:lnTo>
                        <a:pt x="246" y="180"/>
                      </a:lnTo>
                      <a:lnTo>
                        <a:pt x="246" y="178"/>
                      </a:lnTo>
                      <a:lnTo>
                        <a:pt x="246" y="176"/>
                      </a:lnTo>
                      <a:lnTo>
                        <a:pt x="246" y="174"/>
                      </a:lnTo>
                      <a:lnTo>
                        <a:pt x="246" y="172"/>
                      </a:lnTo>
                      <a:lnTo>
                        <a:pt x="246" y="170"/>
                      </a:lnTo>
                      <a:lnTo>
                        <a:pt x="246" y="168"/>
                      </a:lnTo>
                      <a:lnTo>
                        <a:pt x="246" y="166"/>
                      </a:lnTo>
                      <a:lnTo>
                        <a:pt x="246" y="164"/>
                      </a:lnTo>
                      <a:lnTo>
                        <a:pt x="246" y="162"/>
                      </a:lnTo>
                      <a:lnTo>
                        <a:pt x="246" y="160"/>
                      </a:lnTo>
                      <a:lnTo>
                        <a:pt x="246" y="158"/>
                      </a:lnTo>
                      <a:lnTo>
                        <a:pt x="246" y="156"/>
                      </a:lnTo>
                      <a:lnTo>
                        <a:pt x="244" y="156"/>
                      </a:lnTo>
                      <a:lnTo>
                        <a:pt x="244" y="154"/>
                      </a:lnTo>
                      <a:lnTo>
                        <a:pt x="244" y="152"/>
                      </a:lnTo>
                      <a:lnTo>
                        <a:pt x="244" y="150"/>
                      </a:lnTo>
                      <a:lnTo>
                        <a:pt x="246" y="150"/>
                      </a:lnTo>
                      <a:lnTo>
                        <a:pt x="248" y="148"/>
                      </a:lnTo>
                      <a:lnTo>
                        <a:pt x="248" y="146"/>
                      </a:lnTo>
                      <a:lnTo>
                        <a:pt x="248" y="144"/>
                      </a:lnTo>
                      <a:lnTo>
                        <a:pt x="248" y="142"/>
                      </a:lnTo>
                      <a:lnTo>
                        <a:pt x="250" y="142"/>
                      </a:lnTo>
                      <a:lnTo>
                        <a:pt x="250" y="140"/>
                      </a:lnTo>
                      <a:lnTo>
                        <a:pt x="252" y="140"/>
                      </a:lnTo>
                      <a:lnTo>
                        <a:pt x="252" y="138"/>
                      </a:lnTo>
                      <a:lnTo>
                        <a:pt x="252" y="136"/>
                      </a:lnTo>
                      <a:lnTo>
                        <a:pt x="252" y="134"/>
                      </a:lnTo>
                      <a:lnTo>
                        <a:pt x="252" y="132"/>
                      </a:lnTo>
                      <a:lnTo>
                        <a:pt x="252" y="130"/>
                      </a:lnTo>
                      <a:lnTo>
                        <a:pt x="252" y="128"/>
                      </a:lnTo>
                      <a:lnTo>
                        <a:pt x="252" y="126"/>
                      </a:lnTo>
                      <a:lnTo>
                        <a:pt x="252" y="124"/>
                      </a:lnTo>
                      <a:lnTo>
                        <a:pt x="250" y="124"/>
                      </a:lnTo>
                      <a:lnTo>
                        <a:pt x="250" y="122"/>
                      </a:lnTo>
                      <a:lnTo>
                        <a:pt x="252" y="122"/>
                      </a:lnTo>
                      <a:lnTo>
                        <a:pt x="252" y="120"/>
                      </a:lnTo>
                      <a:lnTo>
                        <a:pt x="254" y="120"/>
                      </a:lnTo>
                      <a:lnTo>
                        <a:pt x="254" y="118"/>
                      </a:lnTo>
                      <a:lnTo>
                        <a:pt x="254" y="116"/>
                      </a:lnTo>
                      <a:lnTo>
                        <a:pt x="256" y="116"/>
                      </a:lnTo>
                      <a:lnTo>
                        <a:pt x="258" y="116"/>
                      </a:lnTo>
                      <a:lnTo>
                        <a:pt x="260" y="116"/>
                      </a:lnTo>
                      <a:lnTo>
                        <a:pt x="262" y="116"/>
                      </a:lnTo>
                      <a:lnTo>
                        <a:pt x="262" y="114"/>
                      </a:lnTo>
                      <a:lnTo>
                        <a:pt x="262" y="112"/>
                      </a:lnTo>
                      <a:lnTo>
                        <a:pt x="262" y="110"/>
                      </a:lnTo>
                      <a:lnTo>
                        <a:pt x="262" y="108"/>
                      </a:lnTo>
                      <a:lnTo>
                        <a:pt x="264" y="108"/>
                      </a:lnTo>
                      <a:lnTo>
                        <a:pt x="266" y="108"/>
                      </a:lnTo>
                      <a:lnTo>
                        <a:pt x="272" y="106"/>
                      </a:lnTo>
                      <a:lnTo>
                        <a:pt x="274" y="106"/>
                      </a:lnTo>
                      <a:lnTo>
                        <a:pt x="276" y="104"/>
                      </a:lnTo>
                      <a:lnTo>
                        <a:pt x="278" y="102"/>
                      </a:lnTo>
                      <a:lnTo>
                        <a:pt x="278" y="98"/>
                      </a:lnTo>
                      <a:lnTo>
                        <a:pt x="278" y="96"/>
                      </a:lnTo>
                      <a:lnTo>
                        <a:pt x="276" y="94"/>
                      </a:lnTo>
                      <a:lnTo>
                        <a:pt x="274" y="94"/>
                      </a:lnTo>
                      <a:lnTo>
                        <a:pt x="272" y="92"/>
                      </a:lnTo>
                      <a:lnTo>
                        <a:pt x="270" y="92"/>
                      </a:lnTo>
                      <a:lnTo>
                        <a:pt x="270" y="90"/>
                      </a:lnTo>
                      <a:lnTo>
                        <a:pt x="268" y="90"/>
                      </a:lnTo>
                      <a:lnTo>
                        <a:pt x="268" y="88"/>
                      </a:lnTo>
                      <a:lnTo>
                        <a:pt x="268" y="86"/>
                      </a:lnTo>
                      <a:lnTo>
                        <a:pt x="266" y="84"/>
                      </a:lnTo>
                      <a:lnTo>
                        <a:pt x="264" y="84"/>
                      </a:lnTo>
                      <a:lnTo>
                        <a:pt x="262" y="84"/>
                      </a:lnTo>
                      <a:lnTo>
                        <a:pt x="260" y="84"/>
                      </a:lnTo>
                      <a:lnTo>
                        <a:pt x="258" y="82"/>
                      </a:lnTo>
                      <a:lnTo>
                        <a:pt x="258" y="80"/>
                      </a:lnTo>
                      <a:lnTo>
                        <a:pt x="258" y="78"/>
                      </a:lnTo>
                      <a:lnTo>
                        <a:pt x="256" y="76"/>
                      </a:lnTo>
                      <a:lnTo>
                        <a:pt x="256" y="72"/>
                      </a:lnTo>
                      <a:lnTo>
                        <a:pt x="256" y="70"/>
                      </a:lnTo>
                      <a:lnTo>
                        <a:pt x="256" y="68"/>
                      </a:lnTo>
                      <a:lnTo>
                        <a:pt x="256" y="64"/>
                      </a:lnTo>
                      <a:lnTo>
                        <a:pt x="256" y="62"/>
                      </a:lnTo>
                      <a:lnTo>
                        <a:pt x="254" y="62"/>
                      </a:lnTo>
                      <a:lnTo>
                        <a:pt x="254" y="60"/>
                      </a:lnTo>
                      <a:lnTo>
                        <a:pt x="254" y="56"/>
                      </a:lnTo>
                      <a:lnTo>
                        <a:pt x="252" y="54"/>
                      </a:lnTo>
                      <a:lnTo>
                        <a:pt x="252" y="50"/>
                      </a:lnTo>
                      <a:lnTo>
                        <a:pt x="252" y="48"/>
                      </a:lnTo>
                      <a:lnTo>
                        <a:pt x="252" y="46"/>
                      </a:lnTo>
                      <a:lnTo>
                        <a:pt x="252" y="44"/>
                      </a:lnTo>
                      <a:lnTo>
                        <a:pt x="252" y="42"/>
                      </a:lnTo>
                      <a:lnTo>
                        <a:pt x="252" y="40"/>
                      </a:lnTo>
                      <a:lnTo>
                        <a:pt x="250" y="40"/>
                      </a:lnTo>
                      <a:lnTo>
                        <a:pt x="252" y="38"/>
                      </a:lnTo>
                      <a:lnTo>
                        <a:pt x="254" y="38"/>
                      </a:lnTo>
                      <a:lnTo>
                        <a:pt x="256" y="38"/>
                      </a:lnTo>
                      <a:lnTo>
                        <a:pt x="254" y="38"/>
                      </a:lnTo>
                      <a:lnTo>
                        <a:pt x="254" y="36"/>
                      </a:lnTo>
                      <a:lnTo>
                        <a:pt x="252" y="34"/>
                      </a:lnTo>
                      <a:lnTo>
                        <a:pt x="250" y="34"/>
                      </a:lnTo>
                      <a:lnTo>
                        <a:pt x="250" y="32"/>
                      </a:lnTo>
                      <a:lnTo>
                        <a:pt x="248" y="30"/>
                      </a:lnTo>
                      <a:lnTo>
                        <a:pt x="248" y="26"/>
                      </a:lnTo>
                      <a:lnTo>
                        <a:pt x="248" y="24"/>
                      </a:lnTo>
                      <a:lnTo>
                        <a:pt x="248" y="22"/>
                      </a:lnTo>
                      <a:lnTo>
                        <a:pt x="248" y="20"/>
                      </a:lnTo>
                      <a:lnTo>
                        <a:pt x="248" y="18"/>
                      </a:lnTo>
                      <a:lnTo>
                        <a:pt x="244" y="16"/>
                      </a:lnTo>
                      <a:lnTo>
                        <a:pt x="242" y="16"/>
                      </a:lnTo>
                      <a:lnTo>
                        <a:pt x="242" y="14"/>
                      </a:lnTo>
                      <a:lnTo>
                        <a:pt x="240" y="14"/>
                      </a:lnTo>
                      <a:lnTo>
                        <a:pt x="240" y="12"/>
                      </a:lnTo>
                      <a:lnTo>
                        <a:pt x="238" y="10"/>
                      </a:lnTo>
                      <a:lnTo>
                        <a:pt x="236" y="8"/>
                      </a:lnTo>
                      <a:lnTo>
                        <a:pt x="234" y="8"/>
                      </a:lnTo>
                      <a:lnTo>
                        <a:pt x="232" y="8"/>
                      </a:lnTo>
                      <a:lnTo>
                        <a:pt x="230" y="6"/>
                      </a:lnTo>
                      <a:lnTo>
                        <a:pt x="230" y="4"/>
                      </a:lnTo>
                      <a:lnTo>
                        <a:pt x="228" y="2"/>
                      </a:lnTo>
                      <a:lnTo>
                        <a:pt x="226" y="0"/>
                      </a:lnTo>
                      <a:lnTo>
                        <a:pt x="224" y="2"/>
                      </a:lnTo>
                      <a:lnTo>
                        <a:pt x="222" y="2"/>
                      </a:lnTo>
                      <a:lnTo>
                        <a:pt x="222" y="4"/>
                      </a:lnTo>
                      <a:lnTo>
                        <a:pt x="220" y="4"/>
                      </a:lnTo>
                      <a:lnTo>
                        <a:pt x="214"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5" name="Freeform 71">
                  <a:extLst>
                    <a:ext uri="{FF2B5EF4-FFF2-40B4-BE49-F238E27FC236}">
                      <a16:creationId xmlns:a16="http://schemas.microsoft.com/office/drawing/2014/main" id="{3BCF0E9A-EE5B-47D0-86B1-876EE49A1041}"/>
                    </a:ext>
                  </a:extLst>
                </p:cNvPr>
                <p:cNvSpPr>
                  <a:spLocks noChangeAspect="1"/>
                </p:cNvSpPr>
                <p:nvPr/>
              </p:nvSpPr>
              <p:spPr bwMode="auto">
                <a:xfrm>
                  <a:off x="5244738" y="4606122"/>
                  <a:ext cx="295985" cy="559812"/>
                </a:xfrm>
                <a:custGeom>
                  <a:avLst/>
                  <a:gdLst/>
                  <a:ahLst/>
                  <a:cxnLst>
                    <a:cxn ang="0">
                      <a:pos x="176" y="72"/>
                    </a:cxn>
                    <a:cxn ang="0">
                      <a:pos x="174" y="58"/>
                    </a:cxn>
                    <a:cxn ang="0">
                      <a:pos x="174" y="46"/>
                    </a:cxn>
                    <a:cxn ang="0">
                      <a:pos x="176" y="32"/>
                    </a:cxn>
                    <a:cxn ang="0">
                      <a:pos x="176" y="14"/>
                    </a:cxn>
                    <a:cxn ang="0">
                      <a:pos x="172" y="2"/>
                    </a:cxn>
                    <a:cxn ang="0">
                      <a:pos x="152" y="14"/>
                    </a:cxn>
                    <a:cxn ang="0">
                      <a:pos x="142" y="20"/>
                    </a:cxn>
                    <a:cxn ang="0">
                      <a:pos x="132" y="16"/>
                    </a:cxn>
                    <a:cxn ang="0">
                      <a:pos x="120" y="24"/>
                    </a:cxn>
                    <a:cxn ang="0">
                      <a:pos x="106" y="24"/>
                    </a:cxn>
                    <a:cxn ang="0">
                      <a:pos x="92" y="22"/>
                    </a:cxn>
                    <a:cxn ang="0">
                      <a:pos x="78" y="34"/>
                    </a:cxn>
                    <a:cxn ang="0">
                      <a:pos x="78" y="58"/>
                    </a:cxn>
                    <a:cxn ang="0">
                      <a:pos x="92" y="76"/>
                    </a:cxn>
                    <a:cxn ang="0">
                      <a:pos x="94" y="94"/>
                    </a:cxn>
                    <a:cxn ang="0">
                      <a:pos x="84" y="112"/>
                    </a:cxn>
                    <a:cxn ang="0">
                      <a:pos x="86" y="124"/>
                    </a:cxn>
                    <a:cxn ang="0">
                      <a:pos x="80" y="122"/>
                    </a:cxn>
                    <a:cxn ang="0">
                      <a:pos x="70" y="108"/>
                    </a:cxn>
                    <a:cxn ang="0">
                      <a:pos x="72" y="100"/>
                    </a:cxn>
                    <a:cxn ang="0">
                      <a:pos x="74" y="94"/>
                    </a:cxn>
                    <a:cxn ang="0">
                      <a:pos x="72" y="84"/>
                    </a:cxn>
                    <a:cxn ang="0">
                      <a:pos x="62" y="78"/>
                    </a:cxn>
                    <a:cxn ang="0">
                      <a:pos x="52" y="68"/>
                    </a:cxn>
                    <a:cxn ang="0">
                      <a:pos x="32" y="76"/>
                    </a:cxn>
                    <a:cxn ang="0">
                      <a:pos x="10" y="84"/>
                    </a:cxn>
                    <a:cxn ang="0">
                      <a:pos x="0" y="90"/>
                    </a:cxn>
                    <a:cxn ang="0">
                      <a:pos x="4" y="106"/>
                    </a:cxn>
                    <a:cxn ang="0">
                      <a:pos x="18" y="106"/>
                    </a:cxn>
                    <a:cxn ang="0">
                      <a:pos x="26" y="110"/>
                    </a:cxn>
                    <a:cxn ang="0">
                      <a:pos x="36" y="114"/>
                    </a:cxn>
                    <a:cxn ang="0">
                      <a:pos x="48" y="122"/>
                    </a:cxn>
                    <a:cxn ang="0">
                      <a:pos x="46" y="132"/>
                    </a:cxn>
                    <a:cxn ang="0">
                      <a:pos x="44" y="142"/>
                    </a:cxn>
                    <a:cxn ang="0">
                      <a:pos x="44" y="156"/>
                    </a:cxn>
                    <a:cxn ang="0">
                      <a:pos x="42" y="166"/>
                    </a:cxn>
                    <a:cxn ang="0">
                      <a:pos x="40" y="174"/>
                    </a:cxn>
                    <a:cxn ang="0">
                      <a:pos x="42" y="188"/>
                    </a:cxn>
                    <a:cxn ang="0">
                      <a:pos x="34" y="202"/>
                    </a:cxn>
                    <a:cxn ang="0">
                      <a:pos x="34" y="210"/>
                    </a:cxn>
                    <a:cxn ang="0">
                      <a:pos x="20" y="226"/>
                    </a:cxn>
                    <a:cxn ang="0">
                      <a:pos x="16" y="244"/>
                    </a:cxn>
                    <a:cxn ang="0">
                      <a:pos x="26" y="270"/>
                    </a:cxn>
                    <a:cxn ang="0">
                      <a:pos x="22" y="294"/>
                    </a:cxn>
                    <a:cxn ang="0">
                      <a:pos x="26" y="298"/>
                    </a:cxn>
                    <a:cxn ang="0">
                      <a:pos x="30" y="312"/>
                    </a:cxn>
                    <a:cxn ang="0">
                      <a:pos x="38" y="314"/>
                    </a:cxn>
                    <a:cxn ang="0">
                      <a:pos x="34" y="300"/>
                    </a:cxn>
                    <a:cxn ang="0">
                      <a:pos x="68" y="276"/>
                    </a:cxn>
                    <a:cxn ang="0">
                      <a:pos x="84" y="258"/>
                    </a:cxn>
                    <a:cxn ang="0">
                      <a:pos x="84" y="246"/>
                    </a:cxn>
                    <a:cxn ang="0">
                      <a:pos x="86" y="228"/>
                    </a:cxn>
                    <a:cxn ang="0">
                      <a:pos x="82" y="230"/>
                    </a:cxn>
                    <a:cxn ang="0">
                      <a:pos x="78" y="212"/>
                    </a:cxn>
                    <a:cxn ang="0">
                      <a:pos x="74" y="196"/>
                    </a:cxn>
                    <a:cxn ang="0">
                      <a:pos x="80" y="178"/>
                    </a:cxn>
                    <a:cxn ang="0">
                      <a:pos x="98" y="162"/>
                    </a:cxn>
                    <a:cxn ang="0">
                      <a:pos x="114" y="142"/>
                    </a:cxn>
                    <a:cxn ang="0">
                      <a:pos x="148" y="124"/>
                    </a:cxn>
                    <a:cxn ang="0">
                      <a:pos x="162" y="114"/>
                    </a:cxn>
                    <a:cxn ang="0">
                      <a:pos x="172" y="100"/>
                    </a:cxn>
                    <a:cxn ang="0">
                      <a:pos x="176" y="90"/>
                    </a:cxn>
                  </a:cxnLst>
                  <a:rect l="0" t="0" r="r" b="b"/>
                  <a:pathLst>
                    <a:path w="180" h="320">
                      <a:moveTo>
                        <a:pt x="180" y="82"/>
                      </a:moveTo>
                      <a:lnTo>
                        <a:pt x="180" y="80"/>
                      </a:lnTo>
                      <a:lnTo>
                        <a:pt x="180" y="78"/>
                      </a:lnTo>
                      <a:lnTo>
                        <a:pt x="180" y="76"/>
                      </a:lnTo>
                      <a:lnTo>
                        <a:pt x="178" y="76"/>
                      </a:lnTo>
                      <a:lnTo>
                        <a:pt x="176" y="76"/>
                      </a:lnTo>
                      <a:lnTo>
                        <a:pt x="176" y="72"/>
                      </a:lnTo>
                      <a:lnTo>
                        <a:pt x="176" y="70"/>
                      </a:lnTo>
                      <a:lnTo>
                        <a:pt x="176" y="68"/>
                      </a:lnTo>
                      <a:lnTo>
                        <a:pt x="176" y="66"/>
                      </a:lnTo>
                      <a:lnTo>
                        <a:pt x="176" y="64"/>
                      </a:lnTo>
                      <a:lnTo>
                        <a:pt x="176" y="62"/>
                      </a:lnTo>
                      <a:lnTo>
                        <a:pt x="176" y="60"/>
                      </a:lnTo>
                      <a:lnTo>
                        <a:pt x="174" y="60"/>
                      </a:lnTo>
                      <a:lnTo>
                        <a:pt x="174" y="58"/>
                      </a:lnTo>
                      <a:lnTo>
                        <a:pt x="176" y="56"/>
                      </a:lnTo>
                      <a:lnTo>
                        <a:pt x="178" y="56"/>
                      </a:lnTo>
                      <a:lnTo>
                        <a:pt x="176" y="54"/>
                      </a:lnTo>
                      <a:lnTo>
                        <a:pt x="176" y="52"/>
                      </a:lnTo>
                      <a:lnTo>
                        <a:pt x="176" y="48"/>
                      </a:lnTo>
                      <a:lnTo>
                        <a:pt x="176" y="46"/>
                      </a:lnTo>
                      <a:lnTo>
                        <a:pt x="174" y="46"/>
                      </a:lnTo>
                      <a:lnTo>
                        <a:pt x="176" y="42"/>
                      </a:lnTo>
                      <a:lnTo>
                        <a:pt x="176" y="40"/>
                      </a:lnTo>
                      <a:lnTo>
                        <a:pt x="178" y="38"/>
                      </a:lnTo>
                      <a:lnTo>
                        <a:pt x="176" y="34"/>
                      </a:lnTo>
                      <a:lnTo>
                        <a:pt x="176" y="32"/>
                      </a:lnTo>
                      <a:lnTo>
                        <a:pt x="174" y="30"/>
                      </a:lnTo>
                      <a:lnTo>
                        <a:pt x="174" y="28"/>
                      </a:lnTo>
                      <a:lnTo>
                        <a:pt x="174" y="26"/>
                      </a:lnTo>
                      <a:lnTo>
                        <a:pt x="174" y="24"/>
                      </a:lnTo>
                      <a:lnTo>
                        <a:pt x="174" y="22"/>
                      </a:lnTo>
                      <a:lnTo>
                        <a:pt x="176" y="22"/>
                      </a:lnTo>
                      <a:lnTo>
                        <a:pt x="176" y="18"/>
                      </a:lnTo>
                      <a:lnTo>
                        <a:pt x="176" y="14"/>
                      </a:lnTo>
                      <a:lnTo>
                        <a:pt x="178" y="10"/>
                      </a:lnTo>
                      <a:lnTo>
                        <a:pt x="178" y="8"/>
                      </a:lnTo>
                      <a:lnTo>
                        <a:pt x="178" y="6"/>
                      </a:lnTo>
                      <a:lnTo>
                        <a:pt x="178" y="4"/>
                      </a:lnTo>
                      <a:lnTo>
                        <a:pt x="178" y="2"/>
                      </a:lnTo>
                      <a:lnTo>
                        <a:pt x="176" y="2"/>
                      </a:lnTo>
                      <a:lnTo>
                        <a:pt x="176" y="0"/>
                      </a:lnTo>
                      <a:lnTo>
                        <a:pt x="172" y="2"/>
                      </a:lnTo>
                      <a:lnTo>
                        <a:pt x="170" y="4"/>
                      </a:lnTo>
                      <a:lnTo>
                        <a:pt x="168" y="6"/>
                      </a:lnTo>
                      <a:lnTo>
                        <a:pt x="164" y="8"/>
                      </a:lnTo>
                      <a:lnTo>
                        <a:pt x="162" y="10"/>
                      </a:lnTo>
                      <a:lnTo>
                        <a:pt x="160" y="12"/>
                      </a:lnTo>
                      <a:lnTo>
                        <a:pt x="158" y="12"/>
                      </a:lnTo>
                      <a:lnTo>
                        <a:pt x="156" y="14"/>
                      </a:lnTo>
                      <a:lnTo>
                        <a:pt x="154" y="14"/>
                      </a:lnTo>
                      <a:lnTo>
                        <a:pt x="152" y="14"/>
                      </a:lnTo>
                      <a:lnTo>
                        <a:pt x="150" y="14"/>
                      </a:lnTo>
                      <a:lnTo>
                        <a:pt x="148" y="16"/>
                      </a:lnTo>
                      <a:lnTo>
                        <a:pt x="146" y="16"/>
                      </a:lnTo>
                      <a:lnTo>
                        <a:pt x="144" y="18"/>
                      </a:lnTo>
                      <a:lnTo>
                        <a:pt x="142" y="18"/>
                      </a:lnTo>
                      <a:lnTo>
                        <a:pt x="142" y="20"/>
                      </a:lnTo>
                      <a:lnTo>
                        <a:pt x="140" y="20"/>
                      </a:lnTo>
                      <a:lnTo>
                        <a:pt x="140" y="18"/>
                      </a:lnTo>
                      <a:lnTo>
                        <a:pt x="138" y="18"/>
                      </a:lnTo>
                      <a:lnTo>
                        <a:pt x="138" y="16"/>
                      </a:lnTo>
                      <a:lnTo>
                        <a:pt x="136" y="16"/>
                      </a:lnTo>
                      <a:lnTo>
                        <a:pt x="134" y="16"/>
                      </a:lnTo>
                      <a:lnTo>
                        <a:pt x="132" y="16"/>
                      </a:lnTo>
                      <a:lnTo>
                        <a:pt x="132" y="18"/>
                      </a:lnTo>
                      <a:lnTo>
                        <a:pt x="130" y="18"/>
                      </a:lnTo>
                      <a:lnTo>
                        <a:pt x="130" y="20"/>
                      </a:lnTo>
                      <a:lnTo>
                        <a:pt x="126" y="22"/>
                      </a:lnTo>
                      <a:lnTo>
                        <a:pt x="126" y="24"/>
                      </a:lnTo>
                      <a:lnTo>
                        <a:pt x="124" y="24"/>
                      </a:lnTo>
                      <a:lnTo>
                        <a:pt x="122" y="24"/>
                      </a:lnTo>
                      <a:lnTo>
                        <a:pt x="120" y="24"/>
                      </a:lnTo>
                      <a:lnTo>
                        <a:pt x="120" y="22"/>
                      </a:lnTo>
                      <a:lnTo>
                        <a:pt x="118" y="22"/>
                      </a:lnTo>
                      <a:lnTo>
                        <a:pt x="116" y="22"/>
                      </a:lnTo>
                      <a:lnTo>
                        <a:pt x="114" y="22"/>
                      </a:lnTo>
                      <a:lnTo>
                        <a:pt x="112" y="22"/>
                      </a:lnTo>
                      <a:lnTo>
                        <a:pt x="112" y="24"/>
                      </a:lnTo>
                      <a:lnTo>
                        <a:pt x="110" y="26"/>
                      </a:lnTo>
                      <a:lnTo>
                        <a:pt x="108" y="26"/>
                      </a:lnTo>
                      <a:lnTo>
                        <a:pt x="106" y="24"/>
                      </a:lnTo>
                      <a:lnTo>
                        <a:pt x="104" y="22"/>
                      </a:lnTo>
                      <a:lnTo>
                        <a:pt x="102" y="22"/>
                      </a:lnTo>
                      <a:lnTo>
                        <a:pt x="100" y="20"/>
                      </a:lnTo>
                      <a:lnTo>
                        <a:pt x="98" y="18"/>
                      </a:lnTo>
                      <a:lnTo>
                        <a:pt x="96" y="20"/>
                      </a:lnTo>
                      <a:lnTo>
                        <a:pt x="94" y="20"/>
                      </a:lnTo>
                      <a:lnTo>
                        <a:pt x="94" y="22"/>
                      </a:lnTo>
                      <a:lnTo>
                        <a:pt x="92" y="22"/>
                      </a:lnTo>
                      <a:lnTo>
                        <a:pt x="90" y="22"/>
                      </a:lnTo>
                      <a:lnTo>
                        <a:pt x="86" y="22"/>
                      </a:lnTo>
                      <a:lnTo>
                        <a:pt x="82" y="22"/>
                      </a:lnTo>
                      <a:lnTo>
                        <a:pt x="82" y="24"/>
                      </a:lnTo>
                      <a:lnTo>
                        <a:pt x="82" y="26"/>
                      </a:lnTo>
                      <a:lnTo>
                        <a:pt x="80" y="28"/>
                      </a:lnTo>
                      <a:lnTo>
                        <a:pt x="80" y="30"/>
                      </a:lnTo>
                      <a:lnTo>
                        <a:pt x="78" y="32"/>
                      </a:lnTo>
                      <a:lnTo>
                        <a:pt x="78" y="34"/>
                      </a:lnTo>
                      <a:lnTo>
                        <a:pt x="78" y="36"/>
                      </a:lnTo>
                      <a:lnTo>
                        <a:pt x="78" y="38"/>
                      </a:lnTo>
                      <a:lnTo>
                        <a:pt x="80" y="40"/>
                      </a:lnTo>
                      <a:lnTo>
                        <a:pt x="80" y="42"/>
                      </a:lnTo>
                      <a:lnTo>
                        <a:pt x="80" y="44"/>
                      </a:lnTo>
                      <a:lnTo>
                        <a:pt x="80" y="46"/>
                      </a:lnTo>
                      <a:lnTo>
                        <a:pt x="80" y="48"/>
                      </a:lnTo>
                      <a:lnTo>
                        <a:pt x="80" y="52"/>
                      </a:lnTo>
                      <a:lnTo>
                        <a:pt x="78" y="54"/>
                      </a:lnTo>
                      <a:lnTo>
                        <a:pt x="78" y="56"/>
                      </a:lnTo>
                      <a:lnTo>
                        <a:pt x="78" y="58"/>
                      </a:lnTo>
                      <a:lnTo>
                        <a:pt x="78" y="60"/>
                      </a:lnTo>
                      <a:lnTo>
                        <a:pt x="80" y="60"/>
                      </a:lnTo>
                      <a:lnTo>
                        <a:pt x="82" y="60"/>
                      </a:lnTo>
                      <a:lnTo>
                        <a:pt x="84" y="62"/>
                      </a:lnTo>
                      <a:lnTo>
                        <a:pt x="84" y="64"/>
                      </a:lnTo>
                      <a:lnTo>
                        <a:pt x="86" y="66"/>
                      </a:lnTo>
                      <a:lnTo>
                        <a:pt x="88" y="68"/>
                      </a:lnTo>
                      <a:lnTo>
                        <a:pt x="90" y="70"/>
                      </a:lnTo>
                      <a:lnTo>
                        <a:pt x="90" y="72"/>
                      </a:lnTo>
                      <a:lnTo>
                        <a:pt x="92" y="72"/>
                      </a:lnTo>
                      <a:lnTo>
                        <a:pt x="92" y="76"/>
                      </a:lnTo>
                      <a:lnTo>
                        <a:pt x="94" y="78"/>
                      </a:lnTo>
                      <a:lnTo>
                        <a:pt x="96" y="80"/>
                      </a:lnTo>
                      <a:lnTo>
                        <a:pt x="98" y="84"/>
                      </a:lnTo>
                      <a:lnTo>
                        <a:pt x="100" y="84"/>
                      </a:lnTo>
                      <a:lnTo>
                        <a:pt x="100" y="86"/>
                      </a:lnTo>
                      <a:lnTo>
                        <a:pt x="98" y="88"/>
                      </a:lnTo>
                      <a:lnTo>
                        <a:pt x="98" y="90"/>
                      </a:lnTo>
                      <a:lnTo>
                        <a:pt x="96" y="90"/>
                      </a:lnTo>
                      <a:lnTo>
                        <a:pt x="96" y="92"/>
                      </a:lnTo>
                      <a:lnTo>
                        <a:pt x="94" y="92"/>
                      </a:lnTo>
                      <a:lnTo>
                        <a:pt x="94" y="94"/>
                      </a:lnTo>
                      <a:lnTo>
                        <a:pt x="96" y="96"/>
                      </a:lnTo>
                      <a:lnTo>
                        <a:pt x="96" y="98"/>
                      </a:lnTo>
                      <a:lnTo>
                        <a:pt x="96" y="102"/>
                      </a:lnTo>
                      <a:lnTo>
                        <a:pt x="94" y="104"/>
                      </a:lnTo>
                      <a:lnTo>
                        <a:pt x="94" y="106"/>
                      </a:lnTo>
                      <a:lnTo>
                        <a:pt x="94" y="108"/>
                      </a:lnTo>
                      <a:lnTo>
                        <a:pt x="92" y="108"/>
                      </a:lnTo>
                      <a:lnTo>
                        <a:pt x="88" y="110"/>
                      </a:lnTo>
                      <a:lnTo>
                        <a:pt x="86" y="110"/>
                      </a:lnTo>
                      <a:lnTo>
                        <a:pt x="84" y="112"/>
                      </a:lnTo>
                      <a:lnTo>
                        <a:pt x="82" y="114"/>
                      </a:lnTo>
                      <a:lnTo>
                        <a:pt x="82" y="116"/>
                      </a:lnTo>
                      <a:lnTo>
                        <a:pt x="82" y="118"/>
                      </a:lnTo>
                      <a:lnTo>
                        <a:pt x="84" y="118"/>
                      </a:lnTo>
                      <a:lnTo>
                        <a:pt x="86" y="120"/>
                      </a:lnTo>
                      <a:lnTo>
                        <a:pt x="86" y="122"/>
                      </a:lnTo>
                      <a:lnTo>
                        <a:pt x="86" y="124"/>
                      </a:lnTo>
                      <a:lnTo>
                        <a:pt x="86" y="126"/>
                      </a:lnTo>
                      <a:lnTo>
                        <a:pt x="84" y="126"/>
                      </a:lnTo>
                      <a:lnTo>
                        <a:pt x="84" y="128"/>
                      </a:lnTo>
                      <a:lnTo>
                        <a:pt x="82" y="128"/>
                      </a:lnTo>
                      <a:lnTo>
                        <a:pt x="80" y="128"/>
                      </a:lnTo>
                      <a:lnTo>
                        <a:pt x="78" y="128"/>
                      </a:lnTo>
                      <a:lnTo>
                        <a:pt x="78" y="126"/>
                      </a:lnTo>
                      <a:lnTo>
                        <a:pt x="80" y="126"/>
                      </a:lnTo>
                      <a:lnTo>
                        <a:pt x="80" y="124"/>
                      </a:lnTo>
                      <a:lnTo>
                        <a:pt x="82" y="122"/>
                      </a:lnTo>
                      <a:lnTo>
                        <a:pt x="80" y="122"/>
                      </a:lnTo>
                      <a:lnTo>
                        <a:pt x="80" y="120"/>
                      </a:lnTo>
                      <a:lnTo>
                        <a:pt x="78" y="118"/>
                      </a:lnTo>
                      <a:lnTo>
                        <a:pt x="76" y="116"/>
                      </a:lnTo>
                      <a:lnTo>
                        <a:pt x="74" y="116"/>
                      </a:lnTo>
                      <a:lnTo>
                        <a:pt x="72" y="114"/>
                      </a:lnTo>
                      <a:lnTo>
                        <a:pt x="70" y="114"/>
                      </a:lnTo>
                      <a:lnTo>
                        <a:pt x="70" y="110"/>
                      </a:lnTo>
                      <a:lnTo>
                        <a:pt x="70" y="108"/>
                      </a:lnTo>
                      <a:lnTo>
                        <a:pt x="70" y="106"/>
                      </a:lnTo>
                      <a:lnTo>
                        <a:pt x="68" y="106"/>
                      </a:lnTo>
                      <a:lnTo>
                        <a:pt x="68" y="104"/>
                      </a:lnTo>
                      <a:lnTo>
                        <a:pt x="70" y="102"/>
                      </a:lnTo>
                      <a:lnTo>
                        <a:pt x="72" y="100"/>
                      </a:lnTo>
                      <a:lnTo>
                        <a:pt x="72" y="98"/>
                      </a:lnTo>
                      <a:lnTo>
                        <a:pt x="70" y="98"/>
                      </a:lnTo>
                      <a:lnTo>
                        <a:pt x="70" y="96"/>
                      </a:lnTo>
                      <a:lnTo>
                        <a:pt x="70" y="94"/>
                      </a:lnTo>
                      <a:lnTo>
                        <a:pt x="72" y="94"/>
                      </a:lnTo>
                      <a:lnTo>
                        <a:pt x="74" y="94"/>
                      </a:lnTo>
                      <a:lnTo>
                        <a:pt x="74" y="92"/>
                      </a:lnTo>
                      <a:lnTo>
                        <a:pt x="74" y="90"/>
                      </a:lnTo>
                      <a:lnTo>
                        <a:pt x="74" y="88"/>
                      </a:lnTo>
                      <a:lnTo>
                        <a:pt x="74" y="86"/>
                      </a:lnTo>
                      <a:lnTo>
                        <a:pt x="72" y="86"/>
                      </a:lnTo>
                      <a:lnTo>
                        <a:pt x="72" y="84"/>
                      </a:lnTo>
                      <a:lnTo>
                        <a:pt x="72" y="82"/>
                      </a:lnTo>
                      <a:lnTo>
                        <a:pt x="72" y="80"/>
                      </a:lnTo>
                      <a:lnTo>
                        <a:pt x="72" y="78"/>
                      </a:lnTo>
                      <a:lnTo>
                        <a:pt x="72" y="76"/>
                      </a:lnTo>
                      <a:lnTo>
                        <a:pt x="70" y="76"/>
                      </a:lnTo>
                      <a:lnTo>
                        <a:pt x="68" y="76"/>
                      </a:lnTo>
                      <a:lnTo>
                        <a:pt x="66" y="78"/>
                      </a:lnTo>
                      <a:lnTo>
                        <a:pt x="62" y="78"/>
                      </a:lnTo>
                      <a:lnTo>
                        <a:pt x="60" y="78"/>
                      </a:lnTo>
                      <a:lnTo>
                        <a:pt x="58" y="80"/>
                      </a:lnTo>
                      <a:lnTo>
                        <a:pt x="56" y="78"/>
                      </a:lnTo>
                      <a:lnTo>
                        <a:pt x="56" y="76"/>
                      </a:lnTo>
                      <a:lnTo>
                        <a:pt x="54" y="72"/>
                      </a:lnTo>
                      <a:lnTo>
                        <a:pt x="54" y="70"/>
                      </a:lnTo>
                      <a:lnTo>
                        <a:pt x="52" y="70"/>
                      </a:lnTo>
                      <a:lnTo>
                        <a:pt x="52" y="68"/>
                      </a:lnTo>
                      <a:lnTo>
                        <a:pt x="50" y="68"/>
                      </a:lnTo>
                      <a:lnTo>
                        <a:pt x="50" y="70"/>
                      </a:lnTo>
                      <a:lnTo>
                        <a:pt x="48" y="70"/>
                      </a:lnTo>
                      <a:lnTo>
                        <a:pt x="46" y="70"/>
                      </a:lnTo>
                      <a:lnTo>
                        <a:pt x="42" y="72"/>
                      </a:lnTo>
                      <a:lnTo>
                        <a:pt x="40" y="72"/>
                      </a:lnTo>
                      <a:lnTo>
                        <a:pt x="36" y="74"/>
                      </a:lnTo>
                      <a:lnTo>
                        <a:pt x="34" y="76"/>
                      </a:lnTo>
                      <a:lnTo>
                        <a:pt x="32" y="76"/>
                      </a:lnTo>
                      <a:lnTo>
                        <a:pt x="30" y="78"/>
                      </a:lnTo>
                      <a:lnTo>
                        <a:pt x="28" y="78"/>
                      </a:lnTo>
                      <a:lnTo>
                        <a:pt x="24" y="80"/>
                      </a:lnTo>
                      <a:lnTo>
                        <a:pt x="22" y="80"/>
                      </a:lnTo>
                      <a:lnTo>
                        <a:pt x="18" y="80"/>
                      </a:lnTo>
                      <a:lnTo>
                        <a:pt x="16" y="82"/>
                      </a:lnTo>
                      <a:lnTo>
                        <a:pt x="14" y="82"/>
                      </a:lnTo>
                      <a:lnTo>
                        <a:pt x="12" y="82"/>
                      </a:lnTo>
                      <a:lnTo>
                        <a:pt x="10" y="84"/>
                      </a:lnTo>
                      <a:lnTo>
                        <a:pt x="8" y="86"/>
                      </a:lnTo>
                      <a:lnTo>
                        <a:pt x="6" y="86"/>
                      </a:lnTo>
                      <a:lnTo>
                        <a:pt x="2" y="86"/>
                      </a:lnTo>
                      <a:lnTo>
                        <a:pt x="0" y="88"/>
                      </a:lnTo>
                      <a:lnTo>
                        <a:pt x="0" y="90"/>
                      </a:lnTo>
                      <a:lnTo>
                        <a:pt x="0" y="92"/>
                      </a:lnTo>
                      <a:lnTo>
                        <a:pt x="2" y="92"/>
                      </a:lnTo>
                      <a:lnTo>
                        <a:pt x="2" y="94"/>
                      </a:lnTo>
                      <a:lnTo>
                        <a:pt x="4" y="94"/>
                      </a:lnTo>
                      <a:lnTo>
                        <a:pt x="4" y="96"/>
                      </a:lnTo>
                      <a:lnTo>
                        <a:pt x="4" y="98"/>
                      </a:lnTo>
                      <a:lnTo>
                        <a:pt x="4" y="100"/>
                      </a:lnTo>
                      <a:lnTo>
                        <a:pt x="4" y="102"/>
                      </a:lnTo>
                      <a:lnTo>
                        <a:pt x="4" y="104"/>
                      </a:lnTo>
                      <a:lnTo>
                        <a:pt x="4" y="106"/>
                      </a:lnTo>
                      <a:lnTo>
                        <a:pt x="6" y="106"/>
                      </a:lnTo>
                      <a:lnTo>
                        <a:pt x="8" y="106"/>
                      </a:lnTo>
                      <a:lnTo>
                        <a:pt x="10" y="106"/>
                      </a:lnTo>
                      <a:lnTo>
                        <a:pt x="12" y="106"/>
                      </a:lnTo>
                      <a:lnTo>
                        <a:pt x="14" y="106"/>
                      </a:lnTo>
                      <a:lnTo>
                        <a:pt x="16" y="106"/>
                      </a:lnTo>
                      <a:lnTo>
                        <a:pt x="18" y="106"/>
                      </a:lnTo>
                      <a:lnTo>
                        <a:pt x="18" y="108"/>
                      </a:lnTo>
                      <a:lnTo>
                        <a:pt x="20" y="110"/>
                      </a:lnTo>
                      <a:lnTo>
                        <a:pt x="20" y="112"/>
                      </a:lnTo>
                      <a:lnTo>
                        <a:pt x="22" y="110"/>
                      </a:lnTo>
                      <a:lnTo>
                        <a:pt x="24" y="110"/>
                      </a:lnTo>
                      <a:lnTo>
                        <a:pt x="26" y="110"/>
                      </a:lnTo>
                      <a:lnTo>
                        <a:pt x="28" y="112"/>
                      </a:lnTo>
                      <a:lnTo>
                        <a:pt x="28" y="114"/>
                      </a:lnTo>
                      <a:lnTo>
                        <a:pt x="30" y="114"/>
                      </a:lnTo>
                      <a:lnTo>
                        <a:pt x="30" y="116"/>
                      </a:lnTo>
                      <a:lnTo>
                        <a:pt x="32" y="116"/>
                      </a:lnTo>
                      <a:lnTo>
                        <a:pt x="34" y="116"/>
                      </a:lnTo>
                      <a:lnTo>
                        <a:pt x="36" y="114"/>
                      </a:lnTo>
                      <a:lnTo>
                        <a:pt x="36" y="116"/>
                      </a:lnTo>
                      <a:lnTo>
                        <a:pt x="38" y="116"/>
                      </a:lnTo>
                      <a:lnTo>
                        <a:pt x="40" y="118"/>
                      </a:lnTo>
                      <a:lnTo>
                        <a:pt x="42" y="118"/>
                      </a:lnTo>
                      <a:lnTo>
                        <a:pt x="44" y="118"/>
                      </a:lnTo>
                      <a:lnTo>
                        <a:pt x="46" y="120"/>
                      </a:lnTo>
                      <a:lnTo>
                        <a:pt x="48" y="120"/>
                      </a:lnTo>
                      <a:lnTo>
                        <a:pt x="48" y="122"/>
                      </a:lnTo>
                      <a:lnTo>
                        <a:pt x="48" y="124"/>
                      </a:lnTo>
                      <a:lnTo>
                        <a:pt x="46" y="126"/>
                      </a:lnTo>
                      <a:lnTo>
                        <a:pt x="44" y="128"/>
                      </a:lnTo>
                      <a:lnTo>
                        <a:pt x="46" y="130"/>
                      </a:lnTo>
                      <a:lnTo>
                        <a:pt x="46" y="132"/>
                      </a:lnTo>
                      <a:lnTo>
                        <a:pt x="48" y="132"/>
                      </a:lnTo>
                      <a:lnTo>
                        <a:pt x="46" y="132"/>
                      </a:lnTo>
                      <a:lnTo>
                        <a:pt x="46" y="134"/>
                      </a:lnTo>
                      <a:lnTo>
                        <a:pt x="44" y="134"/>
                      </a:lnTo>
                      <a:lnTo>
                        <a:pt x="46" y="136"/>
                      </a:lnTo>
                      <a:lnTo>
                        <a:pt x="46" y="138"/>
                      </a:lnTo>
                      <a:lnTo>
                        <a:pt x="48" y="138"/>
                      </a:lnTo>
                      <a:lnTo>
                        <a:pt x="46" y="138"/>
                      </a:lnTo>
                      <a:lnTo>
                        <a:pt x="46" y="140"/>
                      </a:lnTo>
                      <a:lnTo>
                        <a:pt x="44" y="140"/>
                      </a:lnTo>
                      <a:lnTo>
                        <a:pt x="44" y="142"/>
                      </a:lnTo>
                      <a:lnTo>
                        <a:pt x="44" y="144"/>
                      </a:lnTo>
                      <a:lnTo>
                        <a:pt x="46" y="148"/>
                      </a:lnTo>
                      <a:lnTo>
                        <a:pt x="46" y="150"/>
                      </a:lnTo>
                      <a:lnTo>
                        <a:pt x="48" y="150"/>
                      </a:lnTo>
                      <a:lnTo>
                        <a:pt x="48" y="152"/>
                      </a:lnTo>
                      <a:lnTo>
                        <a:pt x="48" y="154"/>
                      </a:lnTo>
                      <a:lnTo>
                        <a:pt x="46" y="154"/>
                      </a:lnTo>
                      <a:lnTo>
                        <a:pt x="46" y="156"/>
                      </a:lnTo>
                      <a:lnTo>
                        <a:pt x="44" y="156"/>
                      </a:lnTo>
                      <a:lnTo>
                        <a:pt x="44" y="158"/>
                      </a:lnTo>
                      <a:lnTo>
                        <a:pt x="44" y="160"/>
                      </a:lnTo>
                      <a:lnTo>
                        <a:pt x="42" y="160"/>
                      </a:lnTo>
                      <a:lnTo>
                        <a:pt x="40" y="162"/>
                      </a:lnTo>
                      <a:lnTo>
                        <a:pt x="42" y="164"/>
                      </a:lnTo>
                      <a:lnTo>
                        <a:pt x="42" y="166"/>
                      </a:lnTo>
                      <a:lnTo>
                        <a:pt x="44" y="166"/>
                      </a:lnTo>
                      <a:lnTo>
                        <a:pt x="44" y="168"/>
                      </a:lnTo>
                      <a:lnTo>
                        <a:pt x="42" y="168"/>
                      </a:lnTo>
                      <a:lnTo>
                        <a:pt x="40" y="170"/>
                      </a:lnTo>
                      <a:lnTo>
                        <a:pt x="40" y="172"/>
                      </a:lnTo>
                      <a:lnTo>
                        <a:pt x="40" y="174"/>
                      </a:lnTo>
                      <a:lnTo>
                        <a:pt x="42" y="176"/>
                      </a:lnTo>
                      <a:lnTo>
                        <a:pt x="44" y="180"/>
                      </a:lnTo>
                      <a:lnTo>
                        <a:pt x="46" y="180"/>
                      </a:lnTo>
                      <a:lnTo>
                        <a:pt x="46" y="182"/>
                      </a:lnTo>
                      <a:lnTo>
                        <a:pt x="44" y="184"/>
                      </a:lnTo>
                      <a:lnTo>
                        <a:pt x="44" y="186"/>
                      </a:lnTo>
                      <a:lnTo>
                        <a:pt x="42" y="186"/>
                      </a:lnTo>
                      <a:lnTo>
                        <a:pt x="42" y="188"/>
                      </a:lnTo>
                      <a:lnTo>
                        <a:pt x="42" y="190"/>
                      </a:lnTo>
                      <a:lnTo>
                        <a:pt x="40" y="192"/>
                      </a:lnTo>
                      <a:lnTo>
                        <a:pt x="38" y="194"/>
                      </a:lnTo>
                      <a:lnTo>
                        <a:pt x="36" y="194"/>
                      </a:lnTo>
                      <a:lnTo>
                        <a:pt x="34" y="196"/>
                      </a:lnTo>
                      <a:lnTo>
                        <a:pt x="34" y="200"/>
                      </a:lnTo>
                      <a:lnTo>
                        <a:pt x="34" y="202"/>
                      </a:lnTo>
                      <a:lnTo>
                        <a:pt x="34" y="204"/>
                      </a:lnTo>
                      <a:lnTo>
                        <a:pt x="32" y="204"/>
                      </a:lnTo>
                      <a:lnTo>
                        <a:pt x="32" y="206"/>
                      </a:lnTo>
                      <a:lnTo>
                        <a:pt x="34" y="208"/>
                      </a:lnTo>
                      <a:lnTo>
                        <a:pt x="34" y="210"/>
                      </a:lnTo>
                      <a:lnTo>
                        <a:pt x="36" y="210"/>
                      </a:lnTo>
                      <a:lnTo>
                        <a:pt x="34" y="210"/>
                      </a:lnTo>
                      <a:lnTo>
                        <a:pt x="32" y="210"/>
                      </a:lnTo>
                      <a:lnTo>
                        <a:pt x="30" y="214"/>
                      </a:lnTo>
                      <a:lnTo>
                        <a:pt x="26" y="216"/>
                      </a:lnTo>
                      <a:lnTo>
                        <a:pt x="24" y="220"/>
                      </a:lnTo>
                      <a:lnTo>
                        <a:pt x="22" y="222"/>
                      </a:lnTo>
                      <a:lnTo>
                        <a:pt x="20" y="224"/>
                      </a:lnTo>
                      <a:lnTo>
                        <a:pt x="20" y="226"/>
                      </a:lnTo>
                      <a:lnTo>
                        <a:pt x="18" y="226"/>
                      </a:lnTo>
                      <a:lnTo>
                        <a:pt x="16" y="228"/>
                      </a:lnTo>
                      <a:lnTo>
                        <a:pt x="16" y="230"/>
                      </a:lnTo>
                      <a:lnTo>
                        <a:pt x="14" y="230"/>
                      </a:lnTo>
                      <a:lnTo>
                        <a:pt x="14" y="232"/>
                      </a:lnTo>
                      <a:lnTo>
                        <a:pt x="16" y="232"/>
                      </a:lnTo>
                      <a:lnTo>
                        <a:pt x="16" y="234"/>
                      </a:lnTo>
                      <a:lnTo>
                        <a:pt x="16" y="236"/>
                      </a:lnTo>
                      <a:lnTo>
                        <a:pt x="16" y="240"/>
                      </a:lnTo>
                      <a:lnTo>
                        <a:pt x="16" y="244"/>
                      </a:lnTo>
                      <a:lnTo>
                        <a:pt x="18" y="246"/>
                      </a:lnTo>
                      <a:lnTo>
                        <a:pt x="18" y="248"/>
                      </a:lnTo>
                      <a:lnTo>
                        <a:pt x="18" y="250"/>
                      </a:lnTo>
                      <a:lnTo>
                        <a:pt x="18" y="252"/>
                      </a:lnTo>
                      <a:lnTo>
                        <a:pt x="18" y="254"/>
                      </a:lnTo>
                      <a:lnTo>
                        <a:pt x="20" y="256"/>
                      </a:lnTo>
                      <a:lnTo>
                        <a:pt x="22" y="258"/>
                      </a:lnTo>
                      <a:lnTo>
                        <a:pt x="22" y="260"/>
                      </a:lnTo>
                      <a:lnTo>
                        <a:pt x="24" y="262"/>
                      </a:lnTo>
                      <a:lnTo>
                        <a:pt x="26" y="266"/>
                      </a:lnTo>
                      <a:lnTo>
                        <a:pt x="26" y="268"/>
                      </a:lnTo>
                      <a:lnTo>
                        <a:pt x="26" y="270"/>
                      </a:lnTo>
                      <a:lnTo>
                        <a:pt x="26" y="272"/>
                      </a:lnTo>
                      <a:lnTo>
                        <a:pt x="26" y="274"/>
                      </a:lnTo>
                      <a:lnTo>
                        <a:pt x="26" y="278"/>
                      </a:lnTo>
                      <a:lnTo>
                        <a:pt x="26" y="282"/>
                      </a:lnTo>
                      <a:lnTo>
                        <a:pt x="26" y="284"/>
                      </a:lnTo>
                      <a:lnTo>
                        <a:pt x="26" y="286"/>
                      </a:lnTo>
                      <a:lnTo>
                        <a:pt x="26" y="288"/>
                      </a:lnTo>
                      <a:lnTo>
                        <a:pt x="26" y="290"/>
                      </a:lnTo>
                      <a:lnTo>
                        <a:pt x="24" y="292"/>
                      </a:lnTo>
                      <a:lnTo>
                        <a:pt x="22" y="294"/>
                      </a:lnTo>
                      <a:lnTo>
                        <a:pt x="20" y="296"/>
                      </a:lnTo>
                      <a:lnTo>
                        <a:pt x="20" y="298"/>
                      </a:lnTo>
                      <a:lnTo>
                        <a:pt x="22" y="298"/>
                      </a:lnTo>
                      <a:lnTo>
                        <a:pt x="24" y="298"/>
                      </a:lnTo>
                      <a:lnTo>
                        <a:pt x="26" y="298"/>
                      </a:lnTo>
                      <a:lnTo>
                        <a:pt x="24" y="298"/>
                      </a:lnTo>
                      <a:lnTo>
                        <a:pt x="24" y="300"/>
                      </a:lnTo>
                      <a:lnTo>
                        <a:pt x="24" y="304"/>
                      </a:lnTo>
                      <a:lnTo>
                        <a:pt x="24" y="306"/>
                      </a:lnTo>
                      <a:lnTo>
                        <a:pt x="26" y="308"/>
                      </a:lnTo>
                      <a:lnTo>
                        <a:pt x="28" y="308"/>
                      </a:lnTo>
                      <a:lnTo>
                        <a:pt x="28" y="310"/>
                      </a:lnTo>
                      <a:lnTo>
                        <a:pt x="28" y="312"/>
                      </a:lnTo>
                      <a:lnTo>
                        <a:pt x="30" y="312"/>
                      </a:lnTo>
                      <a:lnTo>
                        <a:pt x="30" y="314"/>
                      </a:lnTo>
                      <a:lnTo>
                        <a:pt x="32" y="314"/>
                      </a:lnTo>
                      <a:lnTo>
                        <a:pt x="34" y="314"/>
                      </a:lnTo>
                      <a:lnTo>
                        <a:pt x="34" y="316"/>
                      </a:lnTo>
                      <a:lnTo>
                        <a:pt x="36" y="318"/>
                      </a:lnTo>
                      <a:lnTo>
                        <a:pt x="38" y="320"/>
                      </a:lnTo>
                      <a:lnTo>
                        <a:pt x="38" y="314"/>
                      </a:lnTo>
                      <a:lnTo>
                        <a:pt x="38" y="312"/>
                      </a:lnTo>
                      <a:lnTo>
                        <a:pt x="38" y="310"/>
                      </a:lnTo>
                      <a:lnTo>
                        <a:pt x="38" y="308"/>
                      </a:lnTo>
                      <a:lnTo>
                        <a:pt x="38" y="306"/>
                      </a:lnTo>
                      <a:lnTo>
                        <a:pt x="36" y="304"/>
                      </a:lnTo>
                      <a:lnTo>
                        <a:pt x="36" y="302"/>
                      </a:lnTo>
                      <a:lnTo>
                        <a:pt x="34" y="302"/>
                      </a:lnTo>
                      <a:lnTo>
                        <a:pt x="34" y="300"/>
                      </a:lnTo>
                      <a:lnTo>
                        <a:pt x="32" y="300"/>
                      </a:lnTo>
                      <a:lnTo>
                        <a:pt x="34" y="298"/>
                      </a:lnTo>
                      <a:lnTo>
                        <a:pt x="34" y="296"/>
                      </a:lnTo>
                      <a:lnTo>
                        <a:pt x="36" y="294"/>
                      </a:lnTo>
                      <a:lnTo>
                        <a:pt x="40" y="290"/>
                      </a:lnTo>
                      <a:lnTo>
                        <a:pt x="44" y="288"/>
                      </a:lnTo>
                      <a:lnTo>
                        <a:pt x="50" y="284"/>
                      </a:lnTo>
                      <a:lnTo>
                        <a:pt x="58" y="280"/>
                      </a:lnTo>
                      <a:lnTo>
                        <a:pt x="62" y="278"/>
                      </a:lnTo>
                      <a:lnTo>
                        <a:pt x="64" y="278"/>
                      </a:lnTo>
                      <a:lnTo>
                        <a:pt x="68" y="276"/>
                      </a:lnTo>
                      <a:lnTo>
                        <a:pt x="70" y="274"/>
                      </a:lnTo>
                      <a:lnTo>
                        <a:pt x="74" y="272"/>
                      </a:lnTo>
                      <a:lnTo>
                        <a:pt x="78" y="270"/>
                      </a:lnTo>
                      <a:lnTo>
                        <a:pt x="80" y="268"/>
                      </a:lnTo>
                      <a:lnTo>
                        <a:pt x="82" y="266"/>
                      </a:lnTo>
                      <a:lnTo>
                        <a:pt x="84" y="264"/>
                      </a:lnTo>
                      <a:lnTo>
                        <a:pt x="84" y="260"/>
                      </a:lnTo>
                      <a:lnTo>
                        <a:pt x="84" y="258"/>
                      </a:lnTo>
                      <a:lnTo>
                        <a:pt x="82" y="258"/>
                      </a:lnTo>
                      <a:lnTo>
                        <a:pt x="80" y="258"/>
                      </a:lnTo>
                      <a:lnTo>
                        <a:pt x="80" y="256"/>
                      </a:lnTo>
                      <a:lnTo>
                        <a:pt x="80" y="254"/>
                      </a:lnTo>
                      <a:lnTo>
                        <a:pt x="80" y="252"/>
                      </a:lnTo>
                      <a:lnTo>
                        <a:pt x="82" y="250"/>
                      </a:lnTo>
                      <a:lnTo>
                        <a:pt x="82" y="248"/>
                      </a:lnTo>
                      <a:lnTo>
                        <a:pt x="84" y="246"/>
                      </a:lnTo>
                      <a:lnTo>
                        <a:pt x="86" y="244"/>
                      </a:lnTo>
                      <a:lnTo>
                        <a:pt x="86" y="242"/>
                      </a:lnTo>
                      <a:lnTo>
                        <a:pt x="86" y="238"/>
                      </a:lnTo>
                      <a:lnTo>
                        <a:pt x="84" y="236"/>
                      </a:lnTo>
                      <a:lnTo>
                        <a:pt x="84" y="234"/>
                      </a:lnTo>
                      <a:lnTo>
                        <a:pt x="84" y="230"/>
                      </a:lnTo>
                      <a:lnTo>
                        <a:pt x="86" y="230"/>
                      </a:lnTo>
                      <a:lnTo>
                        <a:pt x="86" y="228"/>
                      </a:lnTo>
                      <a:lnTo>
                        <a:pt x="86" y="226"/>
                      </a:lnTo>
                      <a:lnTo>
                        <a:pt x="86" y="224"/>
                      </a:lnTo>
                      <a:lnTo>
                        <a:pt x="84" y="226"/>
                      </a:lnTo>
                      <a:lnTo>
                        <a:pt x="84" y="228"/>
                      </a:lnTo>
                      <a:lnTo>
                        <a:pt x="82" y="228"/>
                      </a:lnTo>
                      <a:lnTo>
                        <a:pt x="82" y="230"/>
                      </a:lnTo>
                      <a:lnTo>
                        <a:pt x="82" y="226"/>
                      </a:lnTo>
                      <a:lnTo>
                        <a:pt x="82" y="224"/>
                      </a:lnTo>
                      <a:lnTo>
                        <a:pt x="82" y="222"/>
                      </a:lnTo>
                      <a:lnTo>
                        <a:pt x="82" y="220"/>
                      </a:lnTo>
                      <a:lnTo>
                        <a:pt x="82" y="218"/>
                      </a:lnTo>
                      <a:lnTo>
                        <a:pt x="80" y="218"/>
                      </a:lnTo>
                      <a:lnTo>
                        <a:pt x="80" y="216"/>
                      </a:lnTo>
                      <a:lnTo>
                        <a:pt x="78" y="214"/>
                      </a:lnTo>
                      <a:lnTo>
                        <a:pt x="78" y="212"/>
                      </a:lnTo>
                      <a:lnTo>
                        <a:pt x="78" y="210"/>
                      </a:lnTo>
                      <a:lnTo>
                        <a:pt x="78" y="208"/>
                      </a:lnTo>
                      <a:lnTo>
                        <a:pt x="78" y="206"/>
                      </a:lnTo>
                      <a:lnTo>
                        <a:pt x="78" y="204"/>
                      </a:lnTo>
                      <a:lnTo>
                        <a:pt x="78" y="202"/>
                      </a:lnTo>
                      <a:lnTo>
                        <a:pt x="78" y="200"/>
                      </a:lnTo>
                      <a:lnTo>
                        <a:pt x="78" y="198"/>
                      </a:lnTo>
                      <a:lnTo>
                        <a:pt x="78" y="196"/>
                      </a:lnTo>
                      <a:lnTo>
                        <a:pt x="76" y="196"/>
                      </a:lnTo>
                      <a:lnTo>
                        <a:pt x="74" y="196"/>
                      </a:lnTo>
                      <a:lnTo>
                        <a:pt x="72" y="196"/>
                      </a:lnTo>
                      <a:lnTo>
                        <a:pt x="72" y="194"/>
                      </a:lnTo>
                      <a:lnTo>
                        <a:pt x="72" y="192"/>
                      </a:lnTo>
                      <a:lnTo>
                        <a:pt x="74" y="190"/>
                      </a:lnTo>
                      <a:lnTo>
                        <a:pt x="74" y="186"/>
                      </a:lnTo>
                      <a:lnTo>
                        <a:pt x="76" y="184"/>
                      </a:lnTo>
                      <a:lnTo>
                        <a:pt x="76" y="182"/>
                      </a:lnTo>
                      <a:lnTo>
                        <a:pt x="78" y="182"/>
                      </a:lnTo>
                      <a:lnTo>
                        <a:pt x="78" y="180"/>
                      </a:lnTo>
                      <a:lnTo>
                        <a:pt x="80" y="178"/>
                      </a:lnTo>
                      <a:lnTo>
                        <a:pt x="82" y="178"/>
                      </a:lnTo>
                      <a:lnTo>
                        <a:pt x="84" y="176"/>
                      </a:lnTo>
                      <a:lnTo>
                        <a:pt x="86" y="176"/>
                      </a:lnTo>
                      <a:lnTo>
                        <a:pt x="88" y="174"/>
                      </a:lnTo>
                      <a:lnTo>
                        <a:pt x="88" y="170"/>
                      </a:lnTo>
                      <a:lnTo>
                        <a:pt x="90" y="168"/>
                      </a:lnTo>
                      <a:lnTo>
                        <a:pt x="92" y="166"/>
                      </a:lnTo>
                      <a:lnTo>
                        <a:pt x="92" y="164"/>
                      </a:lnTo>
                      <a:lnTo>
                        <a:pt x="94" y="164"/>
                      </a:lnTo>
                      <a:lnTo>
                        <a:pt x="94" y="162"/>
                      </a:lnTo>
                      <a:lnTo>
                        <a:pt x="96" y="162"/>
                      </a:lnTo>
                      <a:lnTo>
                        <a:pt x="98" y="162"/>
                      </a:lnTo>
                      <a:lnTo>
                        <a:pt x="100" y="162"/>
                      </a:lnTo>
                      <a:lnTo>
                        <a:pt x="102" y="162"/>
                      </a:lnTo>
                      <a:lnTo>
                        <a:pt x="102" y="160"/>
                      </a:lnTo>
                      <a:lnTo>
                        <a:pt x="106" y="158"/>
                      </a:lnTo>
                      <a:lnTo>
                        <a:pt x="106" y="156"/>
                      </a:lnTo>
                      <a:lnTo>
                        <a:pt x="108" y="154"/>
                      </a:lnTo>
                      <a:lnTo>
                        <a:pt x="108" y="152"/>
                      </a:lnTo>
                      <a:lnTo>
                        <a:pt x="110" y="150"/>
                      </a:lnTo>
                      <a:lnTo>
                        <a:pt x="110" y="148"/>
                      </a:lnTo>
                      <a:lnTo>
                        <a:pt x="110" y="146"/>
                      </a:lnTo>
                      <a:lnTo>
                        <a:pt x="112" y="144"/>
                      </a:lnTo>
                      <a:lnTo>
                        <a:pt x="114" y="142"/>
                      </a:lnTo>
                      <a:lnTo>
                        <a:pt x="116" y="140"/>
                      </a:lnTo>
                      <a:lnTo>
                        <a:pt x="118" y="138"/>
                      </a:lnTo>
                      <a:lnTo>
                        <a:pt x="120" y="136"/>
                      </a:lnTo>
                      <a:lnTo>
                        <a:pt x="122" y="136"/>
                      </a:lnTo>
                      <a:lnTo>
                        <a:pt x="126" y="134"/>
                      </a:lnTo>
                      <a:lnTo>
                        <a:pt x="128" y="132"/>
                      </a:lnTo>
                      <a:lnTo>
                        <a:pt x="132" y="132"/>
                      </a:lnTo>
                      <a:lnTo>
                        <a:pt x="136" y="130"/>
                      </a:lnTo>
                      <a:lnTo>
                        <a:pt x="140" y="128"/>
                      </a:lnTo>
                      <a:lnTo>
                        <a:pt x="144" y="128"/>
                      </a:lnTo>
                      <a:lnTo>
                        <a:pt x="146" y="126"/>
                      </a:lnTo>
                      <a:lnTo>
                        <a:pt x="148" y="124"/>
                      </a:lnTo>
                      <a:lnTo>
                        <a:pt x="150" y="124"/>
                      </a:lnTo>
                      <a:lnTo>
                        <a:pt x="150" y="122"/>
                      </a:lnTo>
                      <a:lnTo>
                        <a:pt x="152" y="120"/>
                      </a:lnTo>
                      <a:lnTo>
                        <a:pt x="156" y="120"/>
                      </a:lnTo>
                      <a:lnTo>
                        <a:pt x="158" y="118"/>
                      </a:lnTo>
                      <a:lnTo>
                        <a:pt x="160" y="118"/>
                      </a:lnTo>
                      <a:lnTo>
                        <a:pt x="162" y="116"/>
                      </a:lnTo>
                      <a:lnTo>
                        <a:pt x="162" y="114"/>
                      </a:lnTo>
                      <a:lnTo>
                        <a:pt x="162" y="112"/>
                      </a:lnTo>
                      <a:lnTo>
                        <a:pt x="164" y="110"/>
                      </a:lnTo>
                      <a:lnTo>
                        <a:pt x="166" y="110"/>
                      </a:lnTo>
                      <a:lnTo>
                        <a:pt x="166" y="108"/>
                      </a:lnTo>
                      <a:lnTo>
                        <a:pt x="168" y="106"/>
                      </a:lnTo>
                      <a:lnTo>
                        <a:pt x="168" y="104"/>
                      </a:lnTo>
                      <a:lnTo>
                        <a:pt x="170" y="102"/>
                      </a:lnTo>
                      <a:lnTo>
                        <a:pt x="172" y="100"/>
                      </a:lnTo>
                      <a:lnTo>
                        <a:pt x="172" y="98"/>
                      </a:lnTo>
                      <a:lnTo>
                        <a:pt x="174" y="96"/>
                      </a:lnTo>
                      <a:lnTo>
                        <a:pt x="176" y="94"/>
                      </a:lnTo>
                      <a:lnTo>
                        <a:pt x="176" y="92"/>
                      </a:lnTo>
                      <a:lnTo>
                        <a:pt x="176" y="90"/>
                      </a:lnTo>
                      <a:lnTo>
                        <a:pt x="178" y="88"/>
                      </a:lnTo>
                      <a:lnTo>
                        <a:pt x="178" y="86"/>
                      </a:lnTo>
                      <a:lnTo>
                        <a:pt x="180" y="84"/>
                      </a:lnTo>
                      <a:lnTo>
                        <a:pt x="180" y="8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6" name="Freeform 72">
                  <a:extLst>
                    <a:ext uri="{FF2B5EF4-FFF2-40B4-BE49-F238E27FC236}">
                      <a16:creationId xmlns:a16="http://schemas.microsoft.com/office/drawing/2014/main" id="{D818468D-0880-446B-93BC-0A5836F4BB8C}"/>
                    </a:ext>
                  </a:extLst>
                </p:cNvPr>
                <p:cNvSpPr>
                  <a:spLocks noChangeAspect="1"/>
                </p:cNvSpPr>
                <p:nvPr/>
              </p:nvSpPr>
              <p:spPr bwMode="auto">
                <a:xfrm>
                  <a:off x="5017816" y="4529388"/>
                  <a:ext cx="325583" cy="331353"/>
                </a:xfrm>
                <a:custGeom>
                  <a:avLst/>
                  <a:gdLst/>
                  <a:ahLst/>
                  <a:cxnLst>
                    <a:cxn ang="0">
                      <a:pos x="192" y="40"/>
                    </a:cxn>
                    <a:cxn ang="0">
                      <a:pos x="190" y="28"/>
                    </a:cxn>
                    <a:cxn ang="0">
                      <a:pos x="184" y="22"/>
                    </a:cxn>
                    <a:cxn ang="0">
                      <a:pos x="178" y="20"/>
                    </a:cxn>
                    <a:cxn ang="0">
                      <a:pos x="172" y="18"/>
                    </a:cxn>
                    <a:cxn ang="0">
                      <a:pos x="164" y="12"/>
                    </a:cxn>
                    <a:cxn ang="0">
                      <a:pos x="154" y="12"/>
                    </a:cxn>
                    <a:cxn ang="0">
                      <a:pos x="148" y="10"/>
                    </a:cxn>
                    <a:cxn ang="0">
                      <a:pos x="142" y="2"/>
                    </a:cxn>
                    <a:cxn ang="0">
                      <a:pos x="120" y="6"/>
                    </a:cxn>
                    <a:cxn ang="0">
                      <a:pos x="116" y="16"/>
                    </a:cxn>
                    <a:cxn ang="0">
                      <a:pos x="114" y="26"/>
                    </a:cxn>
                    <a:cxn ang="0">
                      <a:pos x="114" y="38"/>
                    </a:cxn>
                    <a:cxn ang="0">
                      <a:pos x="108" y="68"/>
                    </a:cxn>
                    <a:cxn ang="0">
                      <a:pos x="122" y="82"/>
                    </a:cxn>
                    <a:cxn ang="0">
                      <a:pos x="130" y="78"/>
                    </a:cxn>
                    <a:cxn ang="0">
                      <a:pos x="132" y="80"/>
                    </a:cxn>
                    <a:cxn ang="0">
                      <a:pos x="130" y="102"/>
                    </a:cxn>
                    <a:cxn ang="0">
                      <a:pos x="122" y="100"/>
                    </a:cxn>
                    <a:cxn ang="0">
                      <a:pos x="118" y="98"/>
                    </a:cxn>
                    <a:cxn ang="0">
                      <a:pos x="112" y="88"/>
                    </a:cxn>
                    <a:cxn ang="0">
                      <a:pos x="104" y="82"/>
                    </a:cxn>
                    <a:cxn ang="0">
                      <a:pos x="94" y="78"/>
                    </a:cxn>
                    <a:cxn ang="0">
                      <a:pos x="90" y="70"/>
                    </a:cxn>
                    <a:cxn ang="0">
                      <a:pos x="84" y="66"/>
                    </a:cxn>
                    <a:cxn ang="0">
                      <a:pos x="72" y="72"/>
                    </a:cxn>
                    <a:cxn ang="0">
                      <a:pos x="56" y="60"/>
                    </a:cxn>
                    <a:cxn ang="0">
                      <a:pos x="46" y="60"/>
                    </a:cxn>
                    <a:cxn ang="0">
                      <a:pos x="42" y="64"/>
                    </a:cxn>
                    <a:cxn ang="0">
                      <a:pos x="38" y="56"/>
                    </a:cxn>
                    <a:cxn ang="0">
                      <a:pos x="34" y="56"/>
                    </a:cxn>
                    <a:cxn ang="0">
                      <a:pos x="36" y="66"/>
                    </a:cxn>
                    <a:cxn ang="0">
                      <a:pos x="34" y="78"/>
                    </a:cxn>
                    <a:cxn ang="0">
                      <a:pos x="34" y="84"/>
                    </a:cxn>
                    <a:cxn ang="0">
                      <a:pos x="34" y="92"/>
                    </a:cxn>
                    <a:cxn ang="0">
                      <a:pos x="10" y="94"/>
                    </a:cxn>
                    <a:cxn ang="0">
                      <a:pos x="0" y="104"/>
                    </a:cxn>
                    <a:cxn ang="0">
                      <a:pos x="0" y="142"/>
                    </a:cxn>
                    <a:cxn ang="0">
                      <a:pos x="2" y="156"/>
                    </a:cxn>
                    <a:cxn ang="0">
                      <a:pos x="8" y="168"/>
                    </a:cxn>
                    <a:cxn ang="0">
                      <a:pos x="24" y="182"/>
                    </a:cxn>
                    <a:cxn ang="0">
                      <a:pos x="32" y="182"/>
                    </a:cxn>
                    <a:cxn ang="0">
                      <a:pos x="42" y="182"/>
                    </a:cxn>
                    <a:cxn ang="0">
                      <a:pos x="52" y="184"/>
                    </a:cxn>
                    <a:cxn ang="0">
                      <a:pos x="64" y="186"/>
                    </a:cxn>
                    <a:cxn ang="0">
                      <a:pos x="72" y="186"/>
                    </a:cxn>
                    <a:cxn ang="0">
                      <a:pos x="90" y="182"/>
                    </a:cxn>
                    <a:cxn ang="0">
                      <a:pos x="98" y="168"/>
                    </a:cxn>
                    <a:cxn ang="0">
                      <a:pos x="116" y="162"/>
                    </a:cxn>
                    <a:cxn ang="0">
                      <a:pos x="116" y="150"/>
                    </a:cxn>
                    <a:cxn ang="0">
                      <a:pos x="142" y="142"/>
                    </a:cxn>
                    <a:cxn ang="0">
                      <a:pos x="138" y="134"/>
                    </a:cxn>
                    <a:cxn ang="0">
                      <a:pos x="148" y="128"/>
                    </a:cxn>
                    <a:cxn ang="0">
                      <a:pos x="158" y="124"/>
                    </a:cxn>
                    <a:cxn ang="0">
                      <a:pos x="184" y="114"/>
                    </a:cxn>
                    <a:cxn ang="0">
                      <a:pos x="182" y="108"/>
                    </a:cxn>
                    <a:cxn ang="0">
                      <a:pos x="186" y="92"/>
                    </a:cxn>
                    <a:cxn ang="0">
                      <a:pos x="192" y="84"/>
                    </a:cxn>
                    <a:cxn ang="0">
                      <a:pos x="192" y="76"/>
                    </a:cxn>
                    <a:cxn ang="0">
                      <a:pos x="192" y="62"/>
                    </a:cxn>
                    <a:cxn ang="0">
                      <a:pos x="192" y="54"/>
                    </a:cxn>
                    <a:cxn ang="0">
                      <a:pos x="198" y="48"/>
                    </a:cxn>
                  </a:cxnLst>
                  <a:rect l="0" t="0" r="r" b="b"/>
                  <a:pathLst>
                    <a:path w="198" h="190">
                      <a:moveTo>
                        <a:pt x="196" y="44"/>
                      </a:moveTo>
                      <a:lnTo>
                        <a:pt x="196" y="42"/>
                      </a:lnTo>
                      <a:lnTo>
                        <a:pt x="196" y="40"/>
                      </a:lnTo>
                      <a:lnTo>
                        <a:pt x="194" y="40"/>
                      </a:lnTo>
                      <a:lnTo>
                        <a:pt x="192" y="40"/>
                      </a:lnTo>
                      <a:lnTo>
                        <a:pt x="192" y="38"/>
                      </a:lnTo>
                      <a:lnTo>
                        <a:pt x="192" y="36"/>
                      </a:lnTo>
                      <a:lnTo>
                        <a:pt x="192" y="34"/>
                      </a:lnTo>
                      <a:lnTo>
                        <a:pt x="192" y="32"/>
                      </a:lnTo>
                      <a:lnTo>
                        <a:pt x="192" y="30"/>
                      </a:lnTo>
                      <a:lnTo>
                        <a:pt x="192" y="28"/>
                      </a:lnTo>
                      <a:lnTo>
                        <a:pt x="190" y="28"/>
                      </a:lnTo>
                      <a:lnTo>
                        <a:pt x="188" y="28"/>
                      </a:lnTo>
                      <a:lnTo>
                        <a:pt x="188" y="26"/>
                      </a:lnTo>
                      <a:lnTo>
                        <a:pt x="188" y="24"/>
                      </a:lnTo>
                      <a:lnTo>
                        <a:pt x="186" y="24"/>
                      </a:lnTo>
                      <a:lnTo>
                        <a:pt x="186" y="22"/>
                      </a:lnTo>
                      <a:lnTo>
                        <a:pt x="184" y="22"/>
                      </a:lnTo>
                      <a:lnTo>
                        <a:pt x="182" y="22"/>
                      </a:lnTo>
                      <a:lnTo>
                        <a:pt x="180" y="22"/>
                      </a:lnTo>
                      <a:lnTo>
                        <a:pt x="178" y="22"/>
                      </a:lnTo>
                      <a:lnTo>
                        <a:pt x="178" y="20"/>
                      </a:lnTo>
                      <a:lnTo>
                        <a:pt x="178" y="18"/>
                      </a:lnTo>
                      <a:lnTo>
                        <a:pt x="176" y="20"/>
                      </a:lnTo>
                      <a:lnTo>
                        <a:pt x="174" y="20"/>
                      </a:lnTo>
                      <a:lnTo>
                        <a:pt x="172" y="20"/>
                      </a:lnTo>
                      <a:lnTo>
                        <a:pt x="172" y="18"/>
                      </a:lnTo>
                      <a:lnTo>
                        <a:pt x="170" y="16"/>
                      </a:lnTo>
                      <a:lnTo>
                        <a:pt x="168" y="14"/>
                      </a:lnTo>
                      <a:lnTo>
                        <a:pt x="166" y="14"/>
                      </a:lnTo>
                      <a:lnTo>
                        <a:pt x="164" y="14"/>
                      </a:lnTo>
                      <a:lnTo>
                        <a:pt x="164" y="12"/>
                      </a:lnTo>
                      <a:lnTo>
                        <a:pt x="162" y="10"/>
                      </a:lnTo>
                      <a:lnTo>
                        <a:pt x="162" y="8"/>
                      </a:lnTo>
                      <a:lnTo>
                        <a:pt x="162" y="10"/>
                      </a:lnTo>
                      <a:lnTo>
                        <a:pt x="160" y="10"/>
                      </a:lnTo>
                      <a:lnTo>
                        <a:pt x="158" y="10"/>
                      </a:lnTo>
                      <a:lnTo>
                        <a:pt x="156" y="10"/>
                      </a:lnTo>
                      <a:lnTo>
                        <a:pt x="154" y="12"/>
                      </a:lnTo>
                      <a:lnTo>
                        <a:pt x="154" y="14"/>
                      </a:lnTo>
                      <a:lnTo>
                        <a:pt x="152" y="14"/>
                      </a:lnTo>
                      <a:lnTo>
                        <a:pt x="150" y="14"/>
                      </a:lnTo>
                      <a:lnTo>
                        <a:pt x="150" y="12"/>
                      </a:lnTo>
                      <a:lnTo>
                        <a:pt x="150" y="10"/>
                      </a:lnTo>
                      <a:lnTo>
                        <a:pt x="148" y="10"/>
                      </a:lnTo>
                      <a:lnTo>
                        <a:pt x="148" y="8"/>
                      </a:lnTo>
                      <a:lnTo>
                        <a:pt x="144" y="8"/>
                      </a:lnTo>
                      <a:lnTo>
                        <a:pt x="144" y="6"/>
                      </a:lnTo>
                      <a:lnTo>
                        <a:pt x="142" y="6"/>
                      </a:lnTo>
                      <a:lnTo>
                        <a:pt x="142" y="4"/>
                      </a:lnTo>
                      <a:lnTo>
                        <a:pt x="142" y="2"/>
                      </a:lnTo>
                      <a:lnTo>
                        <a:pt x="144" y="0"/>
                      </a:lnTo>
                      <a:lnTo>
                        <a:pt x="142" y="2"/>
                      </a:lnTo>
                      <a:lnTo>
                        <a:pt x="140" y="2"/>
                      </a:lnTo>
                      <a:lnTo>
                        <a:pt x="138" y="2"/>
                      </a:lnTo>
                      <a:lnTo>
                        <a:pt x="136" y="2"/>
                      </a:lnTo>
                      <a:lnTo>
                        <a:pt x="134" y="4"/>
                      </a:lnTo>
                      <a:lnTo>
                        <a:pt x="132" y="4"/>
                      </a:lnTo>
                      <a:lnTo>
                        <a:pt x="128" y="4"/>
                      </a:lnTo>
                      <a:lnTo>
                        <a:pt x="126" y="4"/>
                      </a:lnTo>
                      <a:lnTo>
                        <a:pt x="122" y="4"/>
                      </a:lnTo>
                      <a:lnTo>
                        <a:pt x="120" y="6"/>
                      </a:lnTo>
                      <a:lnTo>
                        <a:pt x="120" y="8"/>
                      </a:lnTo>
                      <a:lnTo>
                        <a:pt x="120" y="10"/>
                      </a:lnTo>
                      <a:lnTo>
                        <a:pt x="120" y="14"/>
                      </a:lnTo>
                      <a:lnTo>
                        <a:pt x="118" y="14"/>
                      </a:lnTo>
                      <a:lnTo>
                        <a:pt x="118" y="16"/>
                      </a:lnTo>
                      <a:lnTo>
                        <a:pt x="116" y="16"/>
                      </a:lnTo>
                      <a:lnTo>
                        <a:pt x="114" y="18"/>
                      </a:lnTo>
                      <a:lnTo>
                        <a:pt x="112" y="20"/>
                      </a:lnTo>
                      <a:lnTo>
                        <a:pt x="110" y="20"/>
                      </a:lnTo>
                      <a:lnTo>
                        <a:pt x="110" y="22"/>
                      </a:lnTo>
                      <a:lnTo>
                        <a:pt x="112" y="22"/>
                      </a:lnTo>
                      <a:lnTo>
                        <a:pt x="112" y="24"/>
                      </a:lnTo>
                      <a:lnTo>
                        <a:pt x="114" y="26"/>
                      </a:lnTo>
                      <a:lnTo>
                        <a:pt x="114" y="28"/>
                      </a:lnTo>
                      <a:lnTo>
                        <a:pt x="114" y="30"/>
                      </a:lnTo>
                      <a:lnTo>
                        <a:pt x="114" y="32"/>
                      </a:lnTo>
                      <a:lnTo>
                        <a:pt x="114" y="34"/>
                      </a:lnTo>
                      <a:lnTo>
                        <a:pt x="114" y="36"/>
                      </a:lnTo>
                      <a:lnTo>
                        <a:pt x="114" y="38"/>
                      </a:lnTo>
                      <a:lnTo>
                        <a:pt x="116" y="44"/>
                      </a:lnTo>
                      <a:lnTo>
                        <a:pt x="116" y="46"/>
                      </a:lnTo>
                      <a:lnTo>
                        <a:pt x="116" y="48"/>
                      </a:lnTo>
                      <a:lnTo>
                        <a:pt x="116" y="50"/>
                      </a:lnTo>
                      <a:lnTo>
                        <a:pt x="114" y="52"/>
                      </a:lnTo>
                      <a:lnTo>
                        <a:pt x="114" y="56"/>
                      </a:lnTo>
                      <a:lnTo>
                        <a:pt x="112" y="58"/>
                      </a:lnTo>
                      <a:lnTo>
                        <a:pt x="110" y="60"/>
                      </a:lnTo>
                      <a:lnTo>
                        <a:pt x="110" y="64"/>
                      </a:lnTo>
                      <a:lnTo>
                        <a:pt x="108" y="66"/>
                      </a:lnTo>
                      <a:lnTo>
                        <a:pt x="108" y="68"/>
                      </a:lnTo>
                      <a:lnTo>
                        <a:pt x="108" y="70"/>
                      </a:lnTo>
                      <a:lnTo>
                        <a:pt x="110" y="72"/>
                      </a:lnTo>
                      <a:lnTo>
                        <a:pt x="112" y="72"/>
                      </a:lnTo>
                      <a:lnTo>
                        <a:pt x="114" y="74"/>
                      </a:lnTo>
                      <a:lnTo>
                        <a:pt x="116" y="76"/>
                      </a:lnTo>
                      <a:lnTo>
                        <a:pt x="118" y="78"/>
                      </a:lnTo>
                      <a:lnTo>
                        <a:pt x="120" y="80"/>
                      </a:lnTo>
                      <a:lnTo>
                        <a:pt x="120" y="82"/>
                      </a:lnTo>
                      <a:lnTo>
                        <a:pt x="122" y="82"/>
                      </a:lnTo>
                      <a:lnTo>
                        <a:pt x="124" y="82"/>
                      </a:lnTo>
                      <a:lnTo>
                        <a:pt x="126" y="82"/>
                      </a:lnTo>
                      <a:lnTo>
                        <a:pt x="128" y="82"/>
                      </a:lnTo>
                      <a:lnTo>
                        <a:pt x="128" y="80"/>
                      </a:lnTo>
                      <a:lnTo>
                        <a:pt x="128" y="78"/>
                      </a:lnTo>
                      <a:lnTo>
                        <a:pt x="130" y="78"/>
                      </a:lnTo>
                      <a:lnTo>
                        <a:pt x="130" y="76"/>
                      </a:lnTo>
                      <a:lnTo>
                        <a:pt x="132" y="76"/>
                      </a:lnTo>
                      <a:lnTo>
                        <a:pt x="132" y="78"/>
                      </a:lnTo>
                      <a:lnTo>
                        <a:pt x="132" y="80"/>
                      </a:lnTo>
                      <a:lnTo>
                        <a:pt x="132" y="82"/>
                      </a:lnTo>
                      <a:lnTo>
                        <a:pt x="132" y="84"/>
                      </a:lnTo>
                      <a:lnTo>
                        <a:pt x="132" y="90"/>
                      </a:lnTo>
                      <a:lnTo>
                        <a:pt x="132" y="92"/>
                      </a:lnTo>
                      <a:lnTo>
                        <a:pt x="132" y="94"/>
                      </a:lnTo>
                      <a:lnTo>
                        <a:pt x="132" y="96"/>
                      </a:lnTo>
                      <a:lnTo>
                        <a:pt x="132" y="98"/>
                      </a:lnTo>
                      <a:lnTo>
                        <a:pt x="132" y="100"/>
                      </a:lnTo>
                      <a:lnTo>
                        <a:pt x="130" y="102"/>
                      </a:lnTo>
                      <a:lnTo>
                        <a:pt x="128" y="100"/>
                      </a:lnTo>
                      <a:lnTo>
                        <a:pt x="128" y="98"/>
                      </a:lnTo>
                      <a:lnTo>
                        <a:pt x="126" y="98"/>
                      </a:lnTo>
                      <a:lnTo>
                        <a:pt x="124" y="100"/>
                      </a:lnTo>
                      <a:lnTo>
                        <a:pt x="122" y="100"/>
                      </a:lnTo>
                      <a:lnTo>
                        <a:pt x="120" y="100"/>
                      </a:lnTo>
                      <a:lnTo>
                        <a:pt x="118" y="100"/>
                      </a:lnTo>
                      <a:lnTo>
                        <a:pt x="118" y="98"/>
                      </a:lnTo>
                      <a:lnTo>
                        <a:pt x="118" y="96"/>
                      </a:lnTo>
                      <a:lnTo>
                        <a:pt x="116" y="92"/>
                      </a:lnTo>
                      <a:lnTo>
                        <a:pt x="116" y="90"/>
                      </a:lnTo>
                      <a:lnTo>
                        <a:pt x="114" y="90"/>
                      </a:lnTo>
                      <a:lnTo>
                        <a:pt x="112" y="88"/>
                      </a:lnTo>
                      <a:lnTo>
                        <a:pt x="112" y="90"/>
                      </a:lnTo>
                      <a:lnTo>
                        <a:pt x="112" y="88"/>
                      </a:lnTo>
                      <a:lnTo>
                        <a:pt x="110" y="86"/>
                      </a:lnTo>
                      <a:lnTo>
                        <a:pt x="110" y="84"/>
                      </a:lnTo>
                      <a:lnTo>
                        <a:pt x="108" y="82"/>
                      </a:lnTo>
                      <a:lnTo>
                        <a:pt x="108" y="80"/>
                      </a:lnTo>
                      <a:lnTo>
                        <a:pt x="106" y="80"/>
                      </a:lnTo>
                      <a:lnTo>
                        <a:pt x="106" y="82"/>
                      </a:lnTo>
                      <a:lnTo>
                        <a:pt x="104" y="82"/>
                      </a:lnTo>
                      <a:lnTo>
                        <a:pt x="102" y="82"/>
                      </a:lnTo>
                      <a:lnTo>
                        <a:pt x="102" y="80"/>
                      </a:lnTo>
                      <a:lnTo>
                        <a:pt x="102" y="78"/>
                      </a:lnTo>
                      <a:lnTo>
                        <a:pt x="100" y="78"/>
                      </a:lnTo>
                      <a:lnTo>
                        <a:pt x="98" y="78"/>
                      </a:lnTo>
                      <a:lnTo>
                        <a:pt x="96" y="78"/>
                      </a:lnTo>
                      <a:lnTo>
                        <a:pt x="94" y="78"/>
                      </a:lnTo>
                      <a:lnTo>
                        <a:pt x="94" y="76"/>
                      </a:lnTo>
                      <a:lnTo>
                        <a:pt x="96" y="74"/>
                      </a:lnTo>
                      <a:lnTo>
                        <a:pt x="96" y="72"/>
                      </a:lnTo>
                      <a:lnTo>
                        <a:pt x="94" y="72"/>
                      </a:lnTo>
                      <a:lnTo>
                        <a:pt x="92" y="70"/>
                      </a:lnTo>
                      <a:lnTo>
                        <a:pt x="90" y="70"/>
                      </a:lnTo>
                      <a:lnTo>
                        <a:pt x="90" y="68"/>
                      </a:lnTo>
                      <a:lnTo>
                        <a:pt x="90" y="66"/>
                      </a:lnTo>
                      <a:lnTo>
                        <a:pt x="88" y="66"/>
                      </a:lnTo>
                      <a:lnTo>
                        <a:pt x="88" y="64"/>
                      </a:lnTo>
                      <a:lnTo>
                        <a:pt x="86" y="64"/>
                      </a:lnTo>
                      <a:lnTo>
                        <a:pt x="86" y="66"/>
                      </a:lnTo>
                      <a:lnTo>
                        <a:pt x="84" y="66"/>
                      </a:lnTo>
                      <a:lnTo>
                        <a:pt x="84" y="68"/>
                      </a:lnTo>
                      <a:lnTo>
                        <a:pt x="84" y="70"/>
                      </a:lnTo>
                      <a:lnTo>
                        <a:pt x="84" y="72"/>
                      </a:lnTo>
                      <a:lnTo>
                        <a:pt x="82" y="74"/>
                      </a:lnTo>
                      <a:lnTo>
                        <a:pt x="80" y="74"/>
                      </a:lnTo>
                      <a:lnTo>
                        <a:pt x="78" y="74"/>
                      </a:lnTo>
                      <a:lnTo>
                        <a:pt x="74" y="72"/>
                      </a:lnTo>
                      <a:lnTo>
                        <a:pt x="72" y="72"/>
                      </a:lnTo>
                      <a:lnTo>
                        <a:pt x="68" y="70"/>
                      </a:lnTo>
                      <a:lnTo>
                        <a:pt x="64" y="70"/>
                      </a:lnTo>
                      <a:lnTo>
                        <a:pt x="62" y="68"/>
                      </a:lnTo>
                      <a:lnTo>
                        <a:pt x="60" y="68"/>
                      </a:lnTo>
                      <a:lnTo>
                        <a:pt x="58" y="68"/>
                      </a:lnTo>
                      <a:lnTo>
                        <a:pt x="58" y="66"/>
                      </a:lnTo>
                      <a:lnTo>
                        <a:pt x="56" y="66"/>
                      </a:lnTo>
                      <a:lnTo>
                        <a:pt x="56" y="64"/>
                      </a:lnTo>
                      <a:lnTo>
                        <a:pt x="56" y="62"/>
                      </a:lnTo>
                      <a:lnTo>
                        <a:pt x="56" y="60"/>
                      </a:lnTo>
                      <a:lnTo>
                        <a:pt x="56" y="58"/>
                      </a:lnTo>
                      <a:lnTo>
                        <a:pt x="54" y="58"/>
                      </a:lnTo>
                      <a:lnTo>
                        <a:pt x="52" y="60"/>
                      </a:lnTo>
                      <a:lnTo>
                        <a:pt x="50" y="60"/>
                      </a:lnTo>
                      <a:lnTo>
                        <a:pt x="48" y="60"/>
                      </a:lnTo>
                      <a:lnTo>
                        <a:pt x="46" y="60"/>
                      </a:lnTo>
                      <a:lnTo>
                        <a:pt x="46" y="62"/>
                      </a:lnTo>
                      <a:lnTo>
                        <a:pt x="48" y="62"/>
                      </a:lnTo>
                      <a:lnTo>
                        <a:pt x="48" y="64"/>
                      </a:lnTo>
                      <a:lnTo>
                        <a:pt x="46" y="64"/>
                      </a:lnTo>
                      <a:lnTo>
                        <a:pt x="44" y="64"/>
                      </a:lnTo>
                      <a:lnTo>
                        <a:pt x="42" y="64"/>
                      </a:lnTo>
                      <a:lnTo>
                        <a:pt x="42" y="62"/>
                      </a:lnTo>
                      <a:lnTo>
                        <a:pt x="40" y="60"/>
                      </a:lnTo>
                      <a:lnTo>
                        <a:pt x="42" y="58"/>
                      </a:lnTo>
                      <a:lnTo>
                        <a:pt x="42" y="56"/>
                      </a:lnTo>
                      <a:lnTo>
                        <a:pt x="42" y="54"/>
                      </a:lnTo>
                      <a:lnTo>
                        <a:pt x="40" y="54"/>
                      </a:lnTo>
                      <a:lnTo>
                        <a:pt x="38" y="54"/>
                      </a:lnTo>
                      <a:lnTo>
                        <a:pt x="38" y="56"/>
                      </a:lnTo>
                      <a:lnTo>
                        <a:pt x="38" y="54"/>
                      </a:lnTo>
                      <a:lnTo>
                        <a:pt x="36" y="54"/>
                      </a:lnTo>
                      <a:lnTo>
                        <a:pt x="36" y="52"/>
                      </a:lnTo>
                      <a:lnTo>
                        <a:pt x="36" y="54"/>
                      </a:lnTo>
                      <a:lnTo>
                        <a:pt x="34" y="54"/>
                      </a:lnTo>
                      <a:lnTo>
                        <a:pt x="34" y="56"/>
                      </a:lnTo>
                      <a:lnTo>
                        <a:pt x="36" y="58"/>
                      </a:lnTo>
                      <a:lnTo>
                        <a:pt x="36" y="60"/>
                      </a:lnTo>
                      <a:lnTo>
                        <a:pt x="38" y="62"/>
                      </a:lnTo>
                      <a:lnTo>
                        <a:pt x="38" y="64"/>
                      </a:lnTo>
                      <a:lnTo>
                        <a:pt x="36" y="66"/>
                      </a:lnTo>
                      <a:lnTo>
                        <a:pt x="34" y="66"/>
                      </a:lnTo>
                      <a:lnTo>
                        <a:pt x="34" y="68"/>
                      </a:lnTo>
                      <a:lnTo>
                        <a:pt x="34" y="70"/>
                      </a:lnTo>
                      <a:lnTo>
                        <a:pt x="34" y="72"/>
                      </a:lnTo>
                      <a:lnTo>
                        <a:pt x="34" y="76"/>
                      </a:lnTo>
                      <a:lnTo>
                        <a:pt x="34" y="78"/>
                      </a:lnTo>
                      <a:lnTo>
                        <a:pt x="36" y="80"/>
                      </a:lnTo>
                      <a:lnTo>
                        <a:pt x="36" y="82"/>
                      </a:lnTo>
                      <a:lnTo>
                        <a:pt x="38" y="82"/>
                      </a:lnTo>
                      <a:lnTo>
                        <a:pt x="36" y="82"/>
                      </a:lnTo>
                      <a:lnTo>
                        <a:pt x="34" y="84"/>
                      </a:lnTo>
                      <a:lnTo>
                        <a:pt x="32" y="84"/>
                      </a:lnTo>
                      <a:lnTo>
                        <a:pt x="34" y="84"/>
                      </a:lnTo>
                      <a:lnTo>
                        <a:pt x="34" y="86"/>
                      </a:lnTo>
                      <a:lnTo>
                        <a:pt x="34" y="90"/>
                      </a:lnTo>
                      <a:lnTo>
                        <a:pt x="34" y="92"/>
                      </a:lnTo>
                      <a:lnTo>
                        <a:pt x="32" y="94"/>
                      </a:lnTo>
                      <a:lnTo>
                        <a:pt x="30" y="94"/>
                      </a:lnTo>
                      <a:lnTo>
                        <a:pt x="24" y="94"/>
                      </a:lnTo>
                      <a:lnTo>
                        <a:pt x="20" y="94"/>
                      </a:lnTo>
                      <a:lnTo>
                        <a:pt x="16" y="94"/>
                      </a:lnTo>
                      <a:lnTo>
                        <a:pt x="12" y="94"/>
                      </a:lnTo>
                      <a:lnTo>
                        <a:pt x="10" y="94"/>
                      </a:lnTo>
                      <a:lnTo>
                        <a:pt x="8" y="94"/>
                      </a:lnTo>
                      <a:lnTo>
                        <a:pt x="6" y="94"/>
                      </a:lnTo>
                      <a:lnTo>
                        <a:pt x="4" y="94"/>
                      </a:lnTo>
                      <a:lnTo>
                        <a:pt x="2" y="94"/>
                      </a:lnTo>
                      <a:lnTo>
                        <a:pt x="0" y="94"/>
                      </a:lnTo>
                      <a:lnTo>
                        <a:pt x="0" y="98"/>
                      </a:lnTo>
                      <a:lnTo>
                        <a:pt x="0" y="104"/>
                      </a:lnTo>
                      <a:lnTo>
                        <a:pt x="0" y="108"/>
                      </a:lnTo>
                      <a:lnTo>
                        <a:pt x="0" y="114"/>
                      </a:lnTo>
                      <a:lnTo>
                        <a:pt x="0" y="116"/>
                      </a:lnTo>
                      <a:lnTo>
                        <a:pt x="0" y="120"/>
                      </a:lnTo>
                      <a:lnTo>
                        <a:pt x="0" y="124"/>
                      </a:lnTo>
                      <a:lnTo>
                        <a:pt x="0" y="128"/>
                      </a:lnTo>
                      <a:lnTo>
                        <a:pt x="0" y="132"/>
                      </a:lnTo>
                      <a:lnTo>
                        <a:pt x="0" y="134"/>
                      </a:lnTo>
                      <a:lnTo>
                        <a:pt x="0" y="136"/>
                      </a:lnTo>
                      <a:lnTo>
                        <a:pt x="0" y="138"/>
                      </a:lnTo>
                      <a:lnTo>
                        <a:pt x="0" y="142"/>
                      </a:lnTo>
                      <a:lnTo>
                        <a:pt x="0" y="146"/>
                      </a:lnTo>
                      <a:lnTo>
                        <a:pt x="0" y="148"/>
                      </a:lnTo>
                      <a:lnTo>
                        <a:pt x="0" y="150"/>
                      </a:lnTo>
                      <a:lnTo>
                        <a:pt x="0" y="152"/>
                      </a:lnTo>
                      <a:lnTo>
                        <a:pt x="0" y="154"/>
                      </a:lnTo>
                      <a:lnTo>
                        <a:pt x="2" y="156"/>
                      </a:lnTo>
                      <a:lnTo>
                        <a:pt x="2" y="158"/>
                      </a:lnTo>
                      <a:lnTo>
                        <a:pt x="2" y="160"/>
                      </a:lnTo>
                      <a:lnTo>
                        <a:pt x="2" y="162"/>
                      </a:lnTo>
                      <a:lnTo>
                        <a:pt x="6" y="164"/>
                      </a:lnTo>
                      <a:lnTo>
                        <a:pt x="8" y="168"/>
                      </a:lnTo>
                      <a:lnTo>
                        <a:pt x="12" y="170"/>
                      </a:lnTo>
                      <a:lnTo>
                        <a:pt x="14" y="174"/>
                      </a:lnTo>
                      <a:lnTo>
                        <a:pt x="16" y="176"/>
                      </a:lnTo>
                      <a:lnTo>
                        <a:pt x="18" y="176"/>
                      </a:lnTo>
                      <a:lnTo>
                        <a:pt x="20" y="178"/>
                      </a:lnTo>
                      <a:lnTo>
                        <a:pt x="20" y="180"/>
                      </a:lnTo>
                      <a:lnTo>
                        <a:pt x="22" y="180"/>
                      </a:lnTo>
                      <a:lnTo>
                        <a:pt x="22" y="182"/>
                      </a:lnTo>
                      <a:lnTo>
                        <a:pt x="24" y="182"/>
                      </a:lnTo>
                      <a:lnTo>
                        <a:pt x="26" y="184"/>
                      </a:lnTo>
                      <a:lnTo>
                        <a:pt x="28" y="184"/>
                      </a:lnTo>
                      <a:lnTo>
                        <a:pt x="30" y="182"/>
                      </a:lnTo>
                      <a:lnTo>
                        <a:pt x="32" y="182"/>
                      </a:lnTo>
                      <a:lnTo>
                        <a:pt x="32" y="180"/>
                      </a:lnTo>
                      <a:lnTo>
                        <a:pt x="34" y="180"/>
                      </a:lnTo>
                      <a:lnTo>
                        <a:pt x="36" y="180"/>
                      </a:lnTo>
                      <a:lnTo>
                        <a:pt x="38" y="178"/>
                      </a:lnTo>
                      <a:lnTo>
                        <a:pt x="40" y="180"/>
                      </a:lnTo>
                      <a:lnTo>
                        <a:pt x="42" y="180"/>
                      </a:lnTo>
                      <a:lnTo>
                        <a:pt x="42" y="182"/>
                      </a:lnTo>
                      <a:lnTo>
                        <a:pt x="44" y="182"/>
                      </a:lnTo>
                      <a:lnTo>
                        <a:pt x="46" y="182"/>
                      </a:lnTo>
                      <a:lnTo>
                        <a:pt x="48" y="182"/>
                      </a:lnTo>
                      <a:lnTo>
                        <a:pt x="50" y="182"/>
                      </a:lnTo>
                      <a:lnTo>
                        <a:pt x="52" y="184"/>
                      </a:lnTo>
                      <a:lnTo>
                        <a:pt x="52" y="186"/>
                      </a:lnTo>
                      <a:lnTo>
                        <a:pt x="54" y="186"/>
                      </a:lnTo>
                      <a:lnTo>
                        <a:pt x="56" y="186"/>
                      </a:lnTo>
                      <a:lnTo>
                        <a:pt x="58" y="186"/>
                      </a:lnTo>
                      <a:lnTo>
                        <a:pt x="60" y="186"/>
                      </a:lnTo>
                      <a:lnTo>
                        <a:pt x="62" y="186"/>
                      </a:lnTo>
                      <a:lnTo>
                        <a:pt x="64" y="186"/>
                      </a:lnTo>
                      <a:lnTo>
                        <a:pt x="64" y="188"/>
                      </a:lnTo>
                      <a:lnTo>
                        <a:pt x="66" y="188"/>
                      </a:lnTo>
                      <a:lnTo>
                        <a:pt x="68" y="188"/>
                      </a:lnTo>
                      <a:lnTo>
                        <a:pt x="70" y="186"/>
                      </a:lnTo>
                      <a:lnTo>
                        <a:pt x="72" y="186"/>
                      </a:lnTo>
                      <a:lnTo>
                        <a:pt x="72" y="188"/>
                      </a:lnTo>
                      <a:lnTo>
                        <a:pt x="74" y="188"/>
                      </a:lnTo>
                      <a:lnTo>
                        <a:pt x="74" y="190"/>
                      </a:lnTo>
                      <a:lnTo>
                        <a:pt x="76" y="190"/>
                      </a:lnTo>
                      <a:lnTo>
                        <a:pt x="78" y="190"/>
                      </a:lnTo>
                      <a:lnTo>
                        <a:pt x="82" y="188"/>
                      </a:lnTo>
                      <a:lnTo>
                        <a:pt x="84" y="188"/>
                      </a:lnTo>
                      <a:lnTo>
                        <a:pt x="86" y="186"/>
                      </a:lnTo>
                      <a:lnTo>
                        <a:pt x="88" y="184"/>
                      </a:lnTo>
                      <a:lnTo>
                        <a:pt x="90" y="182"/>
                      </a:lnTo>
                      <a:lnTo>
                        <a:pt x="92" y="180"/>
                      </a:lnTo>
                      <a:lnTo>
                        <a:pt x="94" y="178"/>
                      </a:lnTo>
                      <a:lnTo>
                        <a:pt x="96" y="176"/>
                      </a:lnTo>
                      <a:lnTo>
                        <a:pt x="96" y="174"/>
                      </a:lnTo>
                      <a:lnTo>
                        <a:pt x="96" y="172"/>
                      </a:lnTo>
                      <a:lnTo>
                        <a:pt x="96" y="170"/>
                      </a:lnTo>
                      <a:lnTo>
                        <a:pt x="96" y="168"/>
                      </a:lnTo>
                      <a:lnTo>
                        <a:pt x="98" y="168"/>
                      </a:lnTo>
                      <a:lnTo>
                        <a:pt x="100" y="166"/>
                      </a:lnTo>
                      <a:lnTo>
                        <a:pt x="102" y="166"/>
                      </a:lnTo>
                      <a:lnTo>
                        <a:pt x="104" y="164"/>
                      </a:lnTo>
                      <a:lnTo>
                        <a:pt x="108" y="164"/>
                      </a:lnTo>
                      <a:lnTo>
                        <a:pt x="110" y="162"/>
                      </a:lnTo>
                      <a:lnTo>
                        <a:pt x="112" y="162"/>
                      </a:lnTo>
                      <a:lnTo>
                        <a:pt x="114" y="162"/>
                      </a:lnTo>
                      <a:lnTo>
                        <a:pt x="116" y="162"/>
                      </a:lnTo>
                      <a:lnTo>
                        <a:pt x="116" y="160"/>
                      </a:lnTo>
                      <a:lnTo>
                        <a:pt x="116" y="158"/>
                      </a:lnTo>
                      <a:lnTo>
                        <a:pt x="116" y="156"/>
                      </a:lnTo>
                      <a:lnTo>
                        <a:pt x="114" y="156"/>
                      </a:lnTo>
                      <a:lnTo>
                        <a:pt x="114" y="154"/>
                      </a:lnTo>
                      <a:lnTo>
                        <a:pt x="114" y="152"/>
                      </a:lnTo>
                      <a:lnTo>
                        <a:pt x="116" y="152"/>
                      </a:lnTo>
                      <a:lnTo>
                        <a:pt x="116" y="150"/>
                      </a:lnTo>
                      <a:lnTo>
                        <a:pt x="118" y="150"/>
                      </a:lnTo>
                      <a:lnTo>
                        <a:pt x="120" y="148"/>
                      </a:lnTo>
                      <a:lnTo>
                        <a:pt x="122" y="148"/>
                      </a:lnTo>
                      <a:lnTo>
                        <a:pt x="124" y="146"/>
                      </a:lnTo>
                      <a:lnTo>
                        <a:pt x="126" y="146"/>
                      </a:lnTo>
                      <a:lnTo>
                        <a:pt x="130" y="144"/>
                      </a:lnTo>
                      <a:lnTo>
                        <a:pt x="134" y="144"/>
                      </a:lnTo>
                      <a:lnTo>
                        <a:pt x="138" y="144"/>
                      </a:lnTo>
                      <a:lnTo>
                        <a:pt x="140" y="144"/>
                      </a:lnTo>
                      <a:lnTo>
                        <a:pt x="142" y="144"/>
                      </a:lnTo>
                      <a:lnTo>
                        <a:pt x="142" y="142"/>
                      </a:lnTo>
                      <a:lnTo>
                        <a:pt x="142" y="140"/>
                      </a:lnTo>
                      <a:lnTo>
                        <a:pt x="142" y="138"/>
                      </a:lnTo>
                      <a:lnTo>
                        <a:pt x="140" y="138"/>
                      </a:lnTo>
                      <a:lnTo>
                        <a:pt x="140" y="136"/>
                      </a:lnTo>
                      <a:lnTo>
                        <a:pt x="138" y="136"/>
                      </a:lnTo>
                      <a:lnTo>
                        <a:pt x="138" y="134"/>
                      </a:lnTo>
                      <a:lnTo>
                        <a:pt x="138" y="132"/>
                      </a:lnTo>
                      <a:lnTo>
                        <a:pt x="140" y="132"/>
                      </a:lnTo>
                      <a:lnTo>
                        <a:pt x="144" y="130"/>
                      </a:lnTo>
                      <a:lnTo>
                        <a:pt x="146" y="130"/>
                      </a:lnTo>
                      <a:lnTo>
                        <a:pt x="148" y="128"/>
                      </a:lnTo>
                      <a:lnTo>
                        <a:pt x="150" y="128"/>
                      </a:lnTo>
                      <a:lnTo>
                        <a:pt x="150" y="126"/>
                      </a:lnTo>
                      <a:lnTo>
                        <a:pt x="152" y="126"/>
                      </a:lnTo>
                      <a:lnTo>
                        <a:pt x="154" y="126"/>
                      </a:lnTo>
                      <a:lnTo>
                        <a:pt x="156" y="124"/>
                      </a:lnTo>
                      <a:lnTo>
                        <a:pt x="158" y="124"/>
                      </a:lnTo>
                      <a:lnTo>
                        <a:pt x="162" y="124"/>
                      </a:lnTo>
                      <a:lnTo>
                        <a:pt x="166" y="122"/>
                      </a:lnTo>
                      <a:lnTo>
                        <a:pt x="168" y="122"/>
                      </a:lnTo>
                      <a:lnTo>
                        <a:pt x="170" y="120"/>
                      </a:lnTo>
                      <a:lnTo>
                        <a:pt x="174" y="118"/>
                      </a:lnTo>
                      <a:lnTo>
                        <a:pt x="176" y="118"/>
                      </a:lnTo>
                      <a:lnTo>
                        <a:pt x="180" y="116"/>
                      </a:lnTo>
                      <a:lnTo>
                        <a:pt x="184" y="114"/>
                      </a:lnTo>
                      <a:lnTo>
                        <a:pt x="186" y="114"/>
                      </a:lnTo>
                      <a:lnTo>
                        <a:pt x="188" y="114"/>
                      </a:lnTo>
                      <a:lnTo>
                        <a:pt x="188" y="112"/>
                      </a:lnTo>
                      <a:lnTo>
                        <a:pt x="186" y="110"/>
                      </a:lnTo>
                      <a:lnTo>
                        <a:pt x="184" y="110"/>
                      </a:lnTo>
                      <a:lnTo>
                        <a:pt x="184" y="108"/>
                      </a:lnTo>
                      <a:lnTo>
                        <a:pt x="182" y="108"/>
                      </a:lnTo>
                      <a:lnTo>
                        <a:pt x="180" y="106"/>
                      </a:lnTo>
                      <a:lnTo>
                        <a:pt x="182" y="104"/>
                      </a:lnTo>
                      <a:lnTo>
                        <a:pt x="182" y="102"/>
                      </a:lnTo>
                      <a:lnTo>
                        <a:pt x="184" y="100"/>
                      </a:lnTo>
                      <a:lnTo>
                        <a:pt x="184" y="98"/>
                      </a:lnTo>
                      <a:lnTo>
                        <a:pt x="186" y="98"/>
                      </a:lnTo>
                      <a:lnTo>
                        <a:pt x="186" y="96"/>
                      </a:lnTo>
                      <a:lnTo>
                        <a:pt x="186" y="92"/>
                      </a:lnTo>
                      <a:lnTo>
                        <a:pt x="186" y="90"/>
                      </a:lnTo>
                      <a:lnTo>
                        <a:pt x="186" y="88"/>
                      </a:lnTo>
                      <a:lnTo>
                        <a:pt x="188" y="86"/>
                      </a:lnTo>
                      <a:lnTo>
                        <a:pt x="190" y="86"/>
                      </a:lnTo>
                      <a:lnTo>
                        <a:pt x="192" y="84"/>
                      </a:lnTo>
                      <a:lnTo>
                        <a:pt x="194" y="82"/>
                      </a:lnTo>
                      <a:lnTo>
                        <a:pt x="194" y="80"/>
                      </a:lnTo>
                      <a:lnTo>
                        <a:pt x="192" y="80"/>
                      </a:lnTo>
                      <a:lnTo>
                        <a:pt x="192" y="76"/>
                      </a:lnTo>
                      <a:lnTo>
                        <a:pt x="192" y="74"/>
                      </a:lnTo>
                      <a:lnTo>
                        <a:pt x="192" y="72"/>
                      </a:lnTo>
                      <a:lnTo>
                        <a:pt x="192" y="70"/>
                      </a:lnTo>
                      <a:lnTo>
                        <a:pt x="192" y="68"/>
                      </a:lnTo>
                      <a:lnTo>
                        <a:pt x="192" y="66"/>
                      </a:lnTo>
                      <a:lnTo>
                        <a:pt x="192" y="64"/>
                      </a:lnTo>
                      <a:lnTo>
                        <a:pt x="192" y="62"/>
                      </a:lnTo>
                      <a:lnTo>
                        <a:pt x="192" y="60"/>
                      </a:lnTo>
                      <a:lnTo>
                        <a:pt x="192" y="58"/>
                      </a:lnTo>
                      <a:lnTo>
                        <a:pt x="192" y="56"/>
                      </a:lnTo>
                      <a:lnTo>
                        <a:pt x="192" y="54"/>
                      </a:lnTo>
                      <a:lnTo>
                        <a:pt x="192" y="52"/>
                      </a:lnTo>
                      <a:lnTo>
                        <a:pt x="192" y="50"/>
                      </a:lnTo>
                      <a:lnTo>
                        <a:pt x="194" y="50"/>
                      </a:lnTo>
                      <a:lnTo>
                        <a:pt x="196" y="50"/>
                      </a:lnTo>
                      <a:lnTo>
                        <a:pt x="198" y="48"/>
                      </a:lnTo>
                      <a:lnTo>
                        <a:pt x="198" y="46"/>
                      </a:lnTo>
                      <a:lnTo>
                        <a:pt x="198" y="44"/>
                      </a:lnTo>
                      <a:lnTo>
                        <a:pt x="196" y="4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7" name="Freeform 73">
                  <a:extLst>
                    <a:ext uri="{FF2B5EF4-FFF2-40B4-BE49-F238E27FC236}">
                      <a16:creationId xmlns:a16="http://schemas.microsoft.com/office/drawing/2014/main" id="{03E0325B-08EA-4F5B-911F-66859E177AC3}"/>
                    </a:ext>
                  </a:extLst>
                </p:cNvPr>
                <p:cNvSpPr>
                  <a:spLocks noChangeAspect="1"/>
                </p:cNvSpPr>
                <p:nvPr/>
              </p:nvSpPr>
              <p:spPr bwMode="auto">
                <a:xfrm>
                  <a:off x="4751430" y="4072470"/>
                  <a:ext cx="529484" cy="631314"/>
                </a:xfrm>
                <a:custGeom>
                  <a:avLst/>
                  <a:gdLst/>
                  <a:ahLst/>
                  <a:cxnLst>
                    <a:cxn ang="0">
                      <a:pos x="300" y="90"/>
                    </a:cxn>
                    <a:cxn ang="0">
                      <a:pos x="310" y="80"/>
                    </a:cxn>
                    <a:cxn ang="0">
                      <a:pos x="318" y="58"/>
                    </a:cxn>
                    <a:cxn ang="0">
                      <a:pos x="314" y="42"/>
                    </a:cxn>
                    <a:cxn ang="0">
                      <a:pos x="308" y="30"/>
                    </a:cxn>
                    <a:cxn ang="0">
                      <a:pos x="288" y="20"/>
                    </a:cxn>
                    <a:cxn ang="0">
                      <a:pos x="264" y="18"/>
                    </a:cxn>
                    <a:cxn ang="0">
                      <a:pos x="254" y="4"/>
                    </a:cxn>
                    <a:cxn ang="0">
                      <a:pos x="232" y="4"/>
                    </a:cxn>
                    <a:cxn ang="0">
                      <a:pos x="218" y="8"/>
                    </a:cxn>
                    <a:cxn ang="0">
                      <a:pos x="200" y="12"/>
                    </a:cxn>
                    <a:cxn ang="0">
                      <a:pos x="182" y="12"/>
                    </a:cxn>
                    <a:cxn ang="0">
                      <a:pos x="166" y="24"/>
                    </a:cxn>
                    <a:cxn ang="0">
                      <a:pos x="146" y="20"/>
                    </a:cxn>
                    <a:cxn ang="0">
                      <a:pos x="132" y="10"/>
                    </a:cxn>
                    <a:cxn ang="0">
                      <a:pos x="110" y="20"/>
                    </a:cxn>
                    <a:cxn ang="0">
                      <a:pos x="104" y="34"/>
                    </a:cxn>
                    <a:cxn ang="0">
                      <a:pos x="102" y="58"/>
                    </a:cxn>
                    <a:cxn ang="0">
                      <a:pos x="96" y="94"/>
                    </a:cxn>
                    <a:cxn ang="0">
                      <a:pos x="92" y="116"/>
                    </a:cxn>
                    <a:cxn ang="0">
                      <a:pos x="68" y="146"/>
                    </a:cxn>
                    <a:cxn ang="0">
                      <a:pos x="62" y="180"/>
                    </a:cxn>
                    <a:cxn ang="0">
                      <a:pos x="42" y="198"/>
                    </a:cxn>
                    <a:cxn ang="0">
                      <a:pos x="28" y="190"/>
                    </a:cxn>
                    <a:cxn ang="0">
                      <a:pos x="16" y="192"/>
                    </a:cxn>
                    <a:cxn ang="0">
                      <a:pos x="4" y="206"/>
                    </a:cxn>
                    <a:cxn ang="0">
                      <a:pos x="14" y="218"/>
                    </a:cxn>
                    <a:cxn ang="0">
                      <a:pos x="28" y="216"/>
                    </a:cxn>
                    <a:cxn ang="0">
                      <a:pos x="46" y="218"/>
                    </a:cxn>
                    <a:cxn ang="0">
                      <a:pos x="64" y="216"/>
                    </a:cxn>
                    <a:cxn ang="0">
                      <a:pos x="76" y="234"/>
                    </a:cxn>
                    <a:cxn ang="0">
                      <a:pos x="86" y="254"/>
                    </a:cxn>
                    <a:cxn ang="0">
                      <a:pos x="96" y="260"/>
                    </a:cxn>
                    <a:cxn ang="0">
                      <a:pos x="110" y="258"/>
                    </a:cxn>
                    <a:cxn ang="0">
                      <a:pos x="122" y="250"/>
                    </a:cxn>
                    <a:cxn ang="0">
                      <a:pos x="134" y="240"/>
                    </a:cxn>
                    <a:cxn ang="0">
                      <a:pos x="150" y="246"/>
                    </a:cxn>
                    <a:cxn ang="0">
                      <a:pos x="160" y="254"/>
                    </a:cxn>
                    <a:cxn ang="0">
                      <a:pos x="162" y="272"/>
                    </a:cxn>
                    <a:cxn ang="0">
                      <a:pos x="166" y="296"/>
                    </a:cxn>
                    <a:cxn ang="0">
                      <a:pos x="168" y="320"/>
                    </a:cxn>
                    <a:cxn ang="0">
                      <a:pos x="184" y="316"/>
                    </a:cxn>
                    <a:cxn ang="0">
                      <a:pos x="198" y="314"/>
                    </a:cxn>
                    <a:cxn ang="0">
                      <a:pos x="204" y="324"/>
                    </a:cxn>
                    <a:cxn ang="0">
                      <a:pos x="218" y="320"/>
                    </a:cxn>
                    <a:cxn ang="0">
                      <a:pos x="244" y="334"/>
                    </a:cxn>
                    <a:cxn ang="0">
                      <a:pos x="258" y="334"/>
                    </a:cxn>
                    <a:cxn ang="0">
                      <a:pos x="266" y="342"/>
                    </a:cxn>
                    <a:cxn ang="0">
                      <a:pos x="280" y="358"/>
                    </a:cxn>
                    <a:cxn ang="0">
                      <a:pos x="292" y="362"/>
                    </a:cxn>
                    <a:cxn ang="0">
                      <a:pos x="292" y="338"/>
                    </a:cxn>
                    <a:cxn ang="0">
                      <a:pos x="278" y="336"/>
                    </a:cxn>
                    <a:cxn ang="0">
                      <a:pos x="276" y="294"/>
                    </a:cxn>
                    <a:cxn ang="0">
                      <a:pos x="278" y="278"/>
                    </a:cxn>
                    <a:cxn ang="0">
                      <a:pos x="300" y="264"/>
                    </a:cxn>
                    <a:cxn ang="0">
                      <a:pos x="302" y="242"/>
                    </a:cxn>
                    <a:cxn ang="0">
                      <a:pos x="286" y="220"/>
                    </a:cxn>
                    <a:cxn ang="0">
                      <a:pos x="286" y="178"/>
                    </a:cxn>
                    <a:cxn ang="0">
                      <a:pos x="286" y="162"/>
                    </a:cxn>
                    <a:cxn ang="0">
                      <a:pos x="288" y="146"/>
                    </a:cxn>
                  </a:cxnLst>
                  <a:rect l="0" t="0" r="r" b="b"/>
                  <a:pathLst>
                    <a:path w="322" h="362">
                      <a:moveTo>
                        <a:pt x="296" y="114"/>
                      </a:moveTo>
                      <a:lnTo>
                        <a:pt x="296" y="110"/>
                      </a:lnTo>
                      <a:lnTo>
                        <a:pt x="296" y="108"/>
                      </a:lnTo>
                      <a:lnTo>
                        <a:pt x="296" y="106"/>
                      </a:lnTo>
                      <a:lnTo>
                        <a:pt x="296" y="104"/>
                      </a:lnTo>
                      <a:lnTo>
                        <a:pt x="296" y="102"/>
                      </a:lnTo>
                      <a:lnTo>
                        <a:pt x="298" y="100"/>
                      </a:lnTo>
                      <a:lnTo>
                        <a:pt x="298" y="98"/>
                      </a:lnTo>
                      <a:lnTo>
                        <a:pt x="298" y="96"/>
                      </a:lnTo>
                      <a:lnTo>
                        <a:pt x="298" y="94"/>
                      </a:lnTo>
                      <a:lnTo>
                        <a:pt x="300" y="94"/>
                      </a:lnTo>
                      <a:lnTo>
                        <a:pt x="300" y="92"/>
                      </a:lnTo>
                      <a:lnTo>
                        <a:pt x="300" y="90"/>
                      </a:lnTo>
                      <a:lnTo>
                        <a:pt x="302" y="88"/>
                      </a:lnTo>
                      <a:lnTo>
                        <a:pt x="304" y="86"/>
                      </a:lnTo>
                      <a:lnTo>
                        <a:pt x="304" y="84"/>
                      </a:lnTo>
                      <a:lnTo>
                        <a:pt x="304" y="82"/>
                      </a:lnTo>
                      <a:lnTo>
                        <a:pt x="306" y="82"/>
                      </a:lnTo>
                      <a:lnTo>
                        <a:pt x="308" y="82"/>
                      </a:lnTo>
                      <a:lnTo>
                        <a:pt x="308" y="80"/>
                      </a:lnTo>
                      <a:lnTo>
                        <a:pt x="310" y="80"/>
                      </a:lnTo>
                      <a:lnTo>
                        <a:pt x="310" y="78"/>
                      </a:lnTo>
                      <a:lnTo>
                        <a:pt x="312" y="78"/>
                      </a:lnTo>
                      <a:lnTo>
                        <a:pt x="314" y="74"/>
                      </a:lnTo>
                      <a:lnTo>
                        <a:pt x="316" y="72"/>
                      </a:lnTo>
                      <a:lnTo>
                        <a:pt x="318" y="68"/>
                      </a:lnTo>
                      <a:lnTo>
                        <a:pt x="320" y="66"/>
                      </a:lnTo>
                      <a:lnTo>
                        <a:pt x="322" y="64"/>
                      </a:lnTo>
                      <a:lnTo>
                        <a:pt x="322" y="62"/>
                      </a:lnTo>
                      <a:lnTo>
                        <a:pt x="322" y="60"/>
                      </a:lnTo>
                      <a:lnTo>
                        <a:pt x="320" y="60"/>
                      </a:lnTo>
                      <a:lnTo>
                        <a:pt x="318" y="58"/>
                      </a:lnTo>
                      <a:lnTo>
                        <a:pt x="316" y="58"/>
                      </a:lnTo>
                      <a:lnTo>
                        <a:pt x="314" y="58"/>
                      </a:lnTo>
                      <a:lnTo>
                        <a:pt x="312" y="58"/>
                      </a:lnTo>
                      <a:lnTo>
                        <a:pt x="312" y="56"/>
                      </a:lnTo>
                      <a:lnTo>
                        <a:pt x="312" y="54"/>
                      </a:lnTo>
                      <a:lnTo>
                        <a:pt x="314" y="50"/>
                      </a:lnTo>
                      <a:lnTo>
                        <a:pt x="314" y="48"/>
                      </a:lnTo>
                      <a:lnTo>
                        <a:pt x="314" y="46"/>
                      </a:lnTo>
                      <a:lnTo>
                        <a:pt x="312" y="46"/>
                      </a:lnTo>
                      <a:lnTo>
                        <a:pt x="312" y="44"/>
                      </a:lnTo>
                      <a:lnTo>
                        <a:pt x="314" y="44"/>
                      </a:lnTo>
                      <a:lnTo>
                        <a:pt x="314" y="42"/>
                      </a:lnTo>
                      <a:lnTo>
                        <a:pt x="316" y="42"/>
                      </a:lnTo>
                      <a:lnTo>
                        <a:pt x="316" y="40"/>
                      </a:lnTo>
                      <a:lnTo>
                        <a:pt x="314" y="38"/>
                      </a:lnTo>
                      <a:lnTo>
                        <a:pt x="314" y="36"/>
                      </a:lnTo>
                      <a:lnTo>
                        <a:pt x="312" y="36"/>
                      </a:lnTo>
                      <a:lnTo>
                        <a:pt x="310" y="36"/>
                      </a:lnTo>
                      <a:lnTo>
                        <a:pt x="310" y="34"/>
                      </a:lnTo>
                      <a:lnTo>
                        <a:pt x="308" y="32"/>
                      </a:lnTo>
                      <a:lnTo>
                        <a:pt x="308" y="30"/>
                      </a:lnTo>
                      <a:lnTo>
                        <a:pt x="306" y="30"/>
                      </a:lnTo>
                      <a:lnTo>
                        <a:pt x="302" y="28"/>
                      </a:lnTo>
                      <a:lnTo>
                        <a:pt x="300" y="26"/>
                      </a:lnTo>
                      <a:lnTo>
                        <a:pt x="300" y="24"/>
                      </a:lnTo>
                      <a:lnTo>
                        <a:pt x="298" y="20"/>
                      </a:lnTo>
                      <a:lnTo>
                        <a:pt x="296" y="18"/>
                      </a:lnTo>
                      <a:lnTo>
                        <a:pt x="296" y="16"/>
                      </a:lnTo>
                      <a:lnTo>
                        <a:pt x="294" y="16"/>
                      </a:lnTo>
                      <a:lnTo>
                        <a:pt x="294" y="14"/>
                      </a:lnTo>
                      <a:lnTo>
                        <a:pt x="292" y="14"/>
                      </a:lnTo>
                      <a:lnTo>
                        <a:pt x="290" y="16"/>
                      </a:lnTo>
                      <a:lnTo>
                        <a:pt x="290" y="18"/>
                      </a:lnTo>
                      <a:lnTo>
                        <a:pt x="290" y="20"/>
                      </a:lnTo>
                      <a:lnTo>
                        <a:pt x="288" y="20"/>
                      </a:lnTo>
                      <a:lnTo>
                        <a:pt x="286" y="20"/>
                      </a:lnTo>
                      <a:lnTo>
                        <a:pt x="284" y="20"/>
                      </a:lnTo>
                      <a:lnTo>
                        <a:pt x="282" y="20"/>
                      </a:lnTo>
                      <a:lnTo>
                        <a:pt x="282" y="18"/>
                      </a:lnTo>
                      <a:lnTo>
                        <a:pt x="280" y="18"/>
                      </a:lnTo>
                      <a:lnTo>
                        <a:pt x="280" y="16"/>
                      </a:lnTo>
                      <a:lnTo>
                        <a:pt x="278" y="18"/>
                      </a:lnTo>
                      <a:lnTo>
                        <a:pt x="276" y="18"/>
                      </a:lnTo>
                      <a:lnTo>
                        <a:pt x="274" y="20"/>
                      </a:lnTo>
                      <a:lnTo>
                        <a:pt x="274" y="22"/>
                      </a:lnTo>
                      <a:lnTo>
                        <a:pt x="272" y="22"/>
                      </a:lnTo>
                      <a:lnTo>
                        <a:pt x="270" y="20"/>
                      </a:lnTo>
                      <a:lnTo>
                        <a:pt x="266" y="20"/>
                      </a:lnTo>
                      <a:lnTo>
                        <a:pt x="264" y="18"/>
                      </a:lnTo>
                      <a:lnTo>
                        <a:pt x="262" y="18"/>
                      </a:lnTo>
                      <a:lnTo>
                        <a:pt x="262" y="16"/>
                      </a:lnTo>
                      <a:lnTo>
                        <a:pt x="262" y="14"/>
                      </a:lnTo>
                      <a:lnTo>
                        <a:pt x="262" y="12"/>
                      </a:lnTo>
                      <a:lnTo>
                        <a:pt x="258" y="10"/>
                      </a:lnTo>
                      <a:lnTo>
                        <a:pt x="258" y="8"/>
                      </a:lnTo>
                      <a:lnTo>
                        <a:pt x="256" y="6"/>
                      </a:lnTo>
                      <a:lnTo>
                        <a:pt x="254" y="6"/>
                      </a:lnTo>
                      <a:lnTo>
                        <a:pt x="254" y="4"/>
                      </a:lnTo>
                      <a:lnTo>
                        <a:pt x="254" y="2"/>
                      </a:lnTo>
                      <a:lnTo>
                        <a:pt x="252" y="2"/>
                      </a:lnTo>
                      <a:lnTo>
                        <a:pt x="252" y="4"/>
                      </a:lnTo>
                      <a:lnTo>
                        <a:pt x="250" y="6"/>
                      </a:lnTo>
                      <a:lnTo>
                        <a:pt x="248" y="6"/>
                      </a:lnTo>
                      <a:lnTo>
                        <a:pt x="246" y="8"/>
                      </a:lnTo>
                      <a:lnTo>
                        <a:pt x="244" y="8"/>
                      </a:lnTo>
                      <a:lnTo>
                        <a:pt x="242" y="8"/>
                      </a:lnTo>
                      <a:lnTo>
                        <a:pt x="240" y="8"/>
                      </a:lnTo>
                      <a:lnTo>
                        <a:pt x="238" y="8"/>
                      </a:lnTo>
                      <a:lnTo>
                        <a:pt x="236" y="6"/>
                      </a:lnTo>
                      <a:lnTo>
                        <a:pt x="234" y="4"/>
                      </a:lnTo>
                      <a:lnTo>
                        <a:pt x="232" y="4"/>
                      </a:lnTo>
                      <a:lnTo>
                        <a:pt x="230" y="4"/>
                      </a:lnTo>
                      <a:lnTo>
                        <a:pt x="228" y="4"/>
                      </a:lnTo>
                      <a:lnTo>
                        <a:pt x="228" y="6"/>
                      </a:lnTo>
                      <a:lnTo>
                        <a:pt x="228" y="4"/>
                      </a:lnTo>
                      <a:lnTo>
                        <a:pt x="226" y="2"/>
                      </a:lnTo>
                      <a:lnTo>
                        <a:pt x="224" y="2"/>
                      </a:lnTo>
                      <a:lnTo>
                        <a:pt x="224" y="0"/>
                      </a:lnTo>
                      <a:lnTo>
                        <a:pt x="222" y="0"/>
                      </a:lnTo>
                      <a:lnTo>
                        <a:pt x="220" y="2"/>
                      </a:lnTo>
                      <a:lnTo>
                        <a:pt x="220" y="4"/>
                      </a:lnTo>
                      <a:lnTo>
                        <a:pt x="218" y="4"/>
                      </a:lnTo>
                      <a:lnTo>
                        <a:pt x="218" y="6"/>
                      </a:lnTo>
                      <a:lnTo>
                        <a:pt x="218" y="8"/>
                      </a:lnTo>
                      <a:lnTo>
                        <a:pt x="216" y="8"/>
                      </a:lnTo>
                      <a:lnTo>
                        <a:pt x="216" y="10"/>
                      </a:lnTo>
                      <a:lnTo>
                        <a:pt x="214" y="10"/>
                      </a:lnTo>
                      <a:lnTo>
                        <a:pt x="212" y="10"/>
                      </a:lnTo>
                      <a:lnTo>
                        <a:pt x="210" y="10"/>
                      </a:lnTo>
                      <a:lnTo>
                        <a:pt x="208" y="8"/>
                      </a:lnTo>
                      <a:lnTo>
                        <a:pt x="206" y="8"/>
                      </a:lnTo>
                      <a:lnTo>
                        <a:pt x="206" y="6"/>
                      </a:lnTo>
                      <a:lnTo>
                        <a:pt x="204" y="8"/>
                      </a:lnTo>
                      <a:lnTo>
                        <a:pt x="202" y="10"/>
                      </a:lnTo>
                      <a:lnTo>
                        <a:pt x="200" y="12"/>
                      </a:lnTo>
                      <a:lnTo>
                        <a:pt x="198" y="12"/>
                      </a:lnTo>
                      <a:lnTo>
                        <a:pt x="196" y="12"/>
                      </a:lnTo>
                      <a:lnTo>
                        <a:pt x="194" y="12"/>
                      </a:lnTo>
                      <a:lnTo>
                        <a:pt x="194" y="14"/>
                      </a:lnTo>
                      <a:lnTo>
                        <a:pt x="192" y="14"/>
                      </a:lnTo>
                      <a:lnTo>
                        <a:pt x="190" y="16"/>
                      </a:lnTo>
                      <a:lnTo>
                        <a:pt x="188" y="18"/>
                      </a:lnTo>
                      <a:lnTo>
                        <a:pt x="186" y="16"/>
                      </a:lnTo>
                      <a:lnTo>
                        <a:pt x="184" y="14"/>
                      </a:lnTo>
                      <a:lnTo>
                        <a:pt x="182" y="12"/>
                      </a:lnTo>
                      <a:lnTo>
                        <a:pt x="180" y="12"/>
                      </a:lnTo>
                      <a:lnTo>
                        <a:pt x="180" y="14"/>
                      </a:lnTo>
                      <a:lnTo>
                        <a:pt x="178" y="16"/>
                      </a:lnTo>
                      <a:lnTo>
                        <a:pt x="176" y="18"/>
                      </a:lnTo>
                      <a:lnTo>
                        <a:pt x="174" y="20"/>
                      </a:lnTo>
                      <a:lnTo>
                        <a:pt x="174" y="22"/>
                      </a:lnTo>
                      <a:lnTo>
                        <a:pt x="174" y="24"/>
                      </a:lnTo>
                      <a:lnTo>
                        <a:pt x="172" y="26"/>
                      </a:lnTo>
                      <a:lnTo>
                        <a:pt x="170" y="26"/>
                      </a:lnTo>
                      <a:lnTo>
                        <a:pt x="168" y="26"/>
                      </a:lnTo>
                      <a:lnTo>
                        <a:pt x="168" y="24"/>
                      </a:lnTo>
                      <a:lnTo>
                        <a:pt x="166" y="24"/>
                      </a:lnTo>
                      <a:lnTo>
                        <a:pt x="164" y="22"/>
                      </a:lnTo>
                      <a:lnTo>
                        <a:pt x="162" y="22"/>
                      </a:lnTo>
                      <a:lnTo>
                        <a:pt x="158" y="22"/>
                      </a:lnTo>
                      <a:lnTo>
                        <a:pt x="156" y="22"/>
                      </a:lnTo>
                      <a:lnTo>
                        <a:pt x="154" y="22"/>
                      </a:lnTo>
                      <a:lnTo>
                        <a:pt x="152" y="22"/>
                      </a:lnTo>
                      <a:lnTo>
                        <a:pt x="150" y="22"/>
                      </a:lnTo>
                      <a:lnTo>
                        <a:pt x="150" y="20"/>
                      </a:lnTo>
                      <a:lnTo>
                        <a:pt x="148" y="20"/>
                      </a:lnTo>
                      <a:lnTo>
                        <a:pt x="146" y="20"/>
                      </a:lnTo>
                      <a:lnTo>
                        <a:pt x="144" y="20"/>
                      </a:lnTo>
                      <a:lnTo>
                        <a:pt x="140" y="20"/>
                      </a:lnTo>
                      <a:lnTo>
                        <a:pt x="138" y="18"/>
                      </a:lnTo>
                      <a:lnTo>
                        <a:pt x="138" y="16"/>
                      </a:lnTo>
                      <a:lnTo>
                        <a:pt x="138" y="14"/>
                      </a:lnTo>
                      <a:lnTo>
                        <a:pt x="138" y="12"/>
                      </a:lnTo>
                      <a:lnTo>
                        <a:pt x="136" y="12"/>
                      </a:lnTo>
                      <a:lnTo>
                        <a:pt x="134" y="12"/>
                      </a:lnTo>
                      <a:lnTo>
                        <a:pt x="132" y="12"/>
                      </a:lnTo>
                      <a:lnTo>
                        <a:pt x="132" y="10"/>
                      </a:lnTo>
                      <a:lnTo>
                        <a:pt x="130" y="8"/>
                      </a:lnTo>
                      <a:lnTo>
                        <a:pt x="130" y="6"/>
                      </a:lnTo>
                      <a:lnTo>
                        <a:pt x="126" y="6"/>
                      </a:lnTo>
                      <a:lnTo>
                        <a:pt x="124" y="6"/>
                      </a:lnTo>
                      <a:lnTo>
                        <a:pt x="122" y="6"/>
                      </a:lnTo>
                      <a:lnTo>
                        <a:pt x="120" y="6"/>
                      </a:lnTo>
                      <a:lnTo>
                        <a:pt x="118" y="6"/>
                      </a:lnTo>
                      <a:lnTo>
                        <a:pt x="116" y="8"/>
                      </a:lnTo>
                      <a:lnTo>
                        <a:pt x="116" y="10"/>
                      </a:lnTo>
                      <a:lnTo>
                        <a:pt x="116" y="12"/>
                      </a:lnTo>
                      <a:lnTo>
                        <a:pt x="116" y="14"/>
                      </a:lnTo>
                      <a:lnTo>
                        <a:pt x="114" y="16"/>
                      </a:lnTo>
                      <a:lnTo>
                        <a:pt x="114" y="18"/>
                      </a:lnTo>
                      <a:lnTo>
                        <a:pt x="112" y="18"/>
                      </a:lnTo>
                      <a:lnTo>
                        <a:pt x="112" y="20"/>
                      </a:lnTo>
                      <a:lnTo>
                        <a:pt x="110" y="20"/>
                      </a:lnTo>
                      <a:lnTo>
                        <a:pt x="108" y="20"/>
                      </a:lnTo>
                      <a:lnTo>
                        <a:pt x="108" y="22"/>
                      </a:lnTo>
                      <a:lnTo>
                        <a:pt x="106" y="22"/>
                      </a:lnTo>
                      <a:lnTo>
                        <a:pt x="106" y="24"/>
                      </a:lnTo>
                      <a:lnTo>
                        <a:pt x="108" y="26"/>
                      </a:lnTo>
                      <a:lnTo>
                        <a:pt x="108" y="28"/>
                      </a:lnTo>
                      <a:lnTo>
                        <a:pt x="108" y="30"/>
                      </a:lnTo>
                      <a:lnTo>
                        <a:pt x="106" y="32"/>
                      </a:lnTo>
                      <a:lnTo>
                        <a:pt x="104" y="34"/>
                      </a:lnTo>
                      <a:lnTo>
                        <a:pt x="106" y="36"/>
                      </a:lnTo>
                      <a:lnTo>
                        <a:pt x="106" y="38"/>
                      </a:lnTo>
                      <a:lnTo>
                        <a:pt x="108" y="38"/>
                      </a:lnTo>
                      <a:lnTo>
                        <a:pt x="108" y="40"/>
                      </a:lnTo>
                      <a:lnTo>
                        <a:pt x="108" y="42"/>
                      </a:lnTo>
                      <a:lnTo>
                        <a:pt x="108" y="44"/>
                      </a:lnTo>
                      <a:lnTo>
                        <a:pt x="106" y="46"/>
                      </a:lnTo>
                      <a:lnTo>
                        <a:pt x="106" y="50"/>
                      </a:lnTo>
                      <a:lnTo>
                        <a:pt x="104" y="52"/>
                      </a:lnTo>
                      <a:lnTo>
                        <a:pt x="102" y="54"/>
                      </a:lnTo>
                      <a:lnTo>
                        <a:pt x="102" y="58"/>
                      </a:lnTo>
                      <a:lnTo>
                        <a:pt x="100" y="60"/>
                      </a:lnTo>
                      <a:lnTo>
                        <a:pt x="98" y="62"/>
                      </a:lnTo>
                      <a:lnTo>
                        <a:pt x="96" y="64"/>
                      </a:lnTo>
                      <a:lnTo>
                        <a:pt x="96" y="68"/>
                      </a:lnTo>
                      <a:lnTo>
                        <a:pt x="98" y="72"/>
                      </a:lnTo>
                      <a:lnTo>
                        <a:pt x="98" y="74"/>
                      </a:lnTo>
                      <a:lnTo>
                        <a:pt x="98" y="76"/>
                      </a:lnTo>
                      <a:lnTo>
                        <a:pt x="98" y="78"/>
                      </a:lnTo>
                      <a:lnTo>
                        <a:pt x="98" y="80"/>
                      </a:lnTo>
                      <a:lnTo>
                        <a:pt x="96" y="84"/>
                      </a:lnTo>
                      <a:lnTo>
                        <a:pt x="96" y="86"/>
                      </a:lnTo>
                      <a:lnTo>
                        <a:pt x="94" y="86"/>
                      </a:lnTo>
                      <a:lnTo>
                        <a:pt x="94" y="88"/>
                      </a:lnTo>
                      <a:lnTo>
                        <a:pt x="94" y="90"/>
                      </a:lnTo>
                      <a:lnTo>
                        <a:pt x="96" y="92"/>
                      </a:lnTo>
                      <a:lnTo>
                        <a:pt x="96" y="94"/>
                      </a:lnTo>
                      <a:lnTo>
                        <a:pt x="96" y="96"/>
                      </a:lnTo>
                      <a:lnTo>
                        <a:pt x="96" y="98"/>
                      </a:lnTo>
                      <a:lnTo>
                        <a:pt x="96" y="100"/>
                      </a:lnTo>
                      <a:lnTo>
                        <a:pt x="94" y="102"/>
                      </a:lnTo>
                      <a:lnTo>
                        <a:pt x="94" y="104"/>
                      </a:lnTo>
                      <a:lnTo>
                        <a:pt x="92" y="104"/>
                      </a:lnTo>
                      <a:lnTo>
                        <a:pt x="92" y="106"/>
                      </a:lnTo>
                      <a:lnTo>
                        <a:pt x="92" y="108"/>
                      </a:lnTo>
                      <a:lnTo>
                        <a:pt x="92" y="110"/>
                      </a:lnTo>
                      <a:lnTo>
                        <a:pt x="92" y="112"/>
                      </a:lnTo>
                      <a:lnTo>
                        <a:pt x="92" y="114"/>
                      </a:lnTo>
                      <a:lnTo>
                        <a:pt x="92" y="116"/>
                      </a:lnTo>
                      <a:lnTo>
                        <a:pt x="92" y="118"/>
                      </a:lnTo>
                      <a:lnTo>
                        <a:pt x="90" y="120"/>
                      </a:lnTo>
                      <a:lnTo>
                        <a:pt x="88" y="122"/>
                      </a:lnTo>
                      <a:lnTo>
                        <a:pt x="86" y="122"/>
                      </a:lnTo>
                      <a:lnTo>
                        <a:pt x="84" y="124"/>
                      </a:lnTo>
                      <a:lnTo>
                        <a:pt x="80" y="126"/>
                      </a:lnTo>
                      <a:lnTo>
                        <a:pt x="78" y="128"/>
                      </a:lnTo>
                      <a:lnTo>
                        <a:pt x="76" y="128"/>
                      </a:lnTo>
                      <a:lnTo>
                        <a:pt x="74" y="130"/>
                      </a:lnTo>
                      <a:lnTo>
                        <a:pt x="74" y="132"/>
                      </a:lnTo>
                      <a:lnTo>
                        <a:pt x="74" y="134"/>
                      </a:lnTo>
                      <a:lnTo>
                        <a:pt x="72" y="138"/>
                      </a:lnTo>
                      <a:lnTo>
                        <a:pt x="72" y="140"/>
                      </a:lnTo>
                      <a:lnTo>
                        <a:pt x="72" y="142"/>
                      </a:lnTo>
                      <a:lnTo>
                        <a:pt x="72" y="144"/>
                      </a:lnTo>
                      <a:lnTo>
                        <a:pt x="70" y="144"/>
                      </a:lnTo>
                      <a:lnTo>
                        <a:pt x="70" y="146"/>
                      </a:lnTo>
                      <a:lnTo>
                        <a:pt x="68" y="146"/>
                      </a:lnTo>
                      <a:lnTo>
                        <a:pt x="66" y="146"/>
                      </a:lnTo>
                      <a:lnTo>
                        <a:pt x="66" y="152"/>
                      </a:lnTo>
                      <a:lnTo>
                        <a:pt x="66" y="154"/>
                      </a:lnTo>
                      <a:lnTo>
                        <a:pt x="66" y="158"/>
                      </a:lnTo>
                      <a:lnTo>
                        <a:pt x="66" y="162"/>
                      </a:lnTo>
                      <a:lnTo>
                        <a:pt x="66" y="164"/>
                      </a:lnTo>
                      <a:lnTo>
                        <a:pt x="66" y="166"/>
                      </a:lnTo>
                      <a:lnTo>
                        <a:pt x="66" y="168"/>
                      </a:lnTo>
                      <a:lnTo>
                        <a:pt x="68" y="170"/>
                      </a:lnTo>
                      <a:lnTo>
                        <a:pt x="66" y="172"/>
                      </a:lnTo>
                      <a:lnTo>
                        <a:pt x="64" y="174"/>
                      </a:lnTo>
                      <a:lnTo>
                        <a:pt x="64" y="178"/>
                      </a:lnTo>
                      <a:lnTo>
                        <a:pt x="62" y="180"/>
                      </a:lnTo>
                      <a:lnTo>
                        <a:pt x="60" y="182"/>
                      </a:lnTo>
                      <a:lnTo>
                        <a:pt x="58" y="182"/>
                      </a:lnTo>
                      <a:lnTo>
                        <a:pt x="56" y="182"/>
                      </a:lnTo>
                      <a:lnTo>
                        <a:pt x="54" y="182"/>
                      </a:lnTo>
                      <a:lnTo>
                        <a:pt x="54" y="184"/>
                      </a:lnTo>
                      <a:lnTo>
                        <a:pt x="52" y="184"/>
                      </a:lnTo>
                      <a:lnTo>
                        <a:pt x="52" y="186"/>
                      </a:lnTo>
                      <a:lnTo>
                        <a:pt x="50" y="186"/>
                      </a:lnTo>
                      <a:lnTo>
                        <a:pt x="48" y="190"/>
                      </a:lnTo>
                      <a:lnTo>
                        <a:pt x="46" y="192"/>
                      </a:lnTo>
                      <a:lnTo>
                        <a:pt x="46" y="194"/>
                      </a:lnTo>
                      <a:lnTo>
                        <a:pt x="44" y="196"/>
                      </a:lnTo>
                      <a:lnTo>
                        <a:pt x="42" y="196"/>
                      </a:lnTo>
                      <a:lnTo>
                        <a:pt x="42" y="198"/>
                      </a:lnTo>
                      <a:lnTo>
                        <a:pt x="40" y="198"/>
                      </a:lnTo>
                      <a:lnTo>
                        <a:pt x="38" y="198"/>
                      </a:lnTo>
                      <a:lnTo>
                        <a:pt x="36" y="198"/>
                      </a:lnTo>
                      <a:lnTo>
                        <a:pt x="34" y="196"/>
                      </a:lnTo>
                      <a:lnTo>
                        <a:pt x="36" y="194"/>
                      </a:lnTo>
                      <a:lnTo>
                        <a:pt x="36" y="192"/>
                      </a:lnTo>
                      <a:lnTo>
                        <a:pt x="36" y="190"/>
                      </a:lnTo>
                      <a:lnTo>
                        <a:pt x="36" y="188"/>
                      </a:lnTo>
                      <a:lnTo>
                        <a:pt x="34" y="186"/>
                      </a:lnTo>
                      <a:lnTo>
                        <a:pt x="32" y="188"/>
                      </a:lnTo>
                      <a:lnTo>
                        <a:pt x="30" y="190"/>
                      </a:lnTo>
                      <a:lnTo>
                        <a:pt x="28" y="190"/>
                      </a:lnTo>
                      <a:lnTo>
                        <a:pt x="26" y="190"/>
                      </a:lnTo>
                      <a:lnTo>
                        <a:pt x="24" y="190"/>
                      </a:lnTo>
                      <a:lnTo>
                        <a:pt x="24" y="192"/>
                      </a:lnTo>
                      <a:lnTo>
                        <a:pt x="24" y="194"/>
                      </a:lnTo>
                      <a:lnTo>
                        <a:pt x="22" y="196"/>
                      </a:lnTo>
                      <a:lnTo>
                        <a:pt x="22" y="198"/>
                      </a:lnTo>
                      <a:lnTo>
                        <a:pt x="20" y="198"/>
                      </a:lnTo>
                      <a:lnTo>
                        <a:pt x="18" y="198"/>
                      </a:lnTo>
                      <a:lnTo>
                        <a:pt x="18" y="196"/>
                      </a:lnTo>
                      <a:lnTo>
                        <a:pt x="16" y="196"/>
                      </a:lnTo>
                      <a:lnTo>
                        <a:pt x="16" y="194"/>
                      </a:lnTo>
                      <a:lnTo>
                        <a:pt x="16" y="192"/>
                      </a:lnTo>
                      <a:lnTo>
                        <a:pt x="14" y="192"/>
                      </a:lnTo>
                      <a:lnTo>
                        <a:pt x="14" y="194"/>
                      </a:lnTo>
                      <a:lnTo>
                        <a:pt x="12" y="194"/>
                      </a:lnTo>
                      <a:lnTo>
                        <a:pt x="12" y="196"/>
                      </a:lnTo>
                      <a:lnTo>
                        <a:pt x="8" y="198"/>
                      </a:lnTo>
                      <a:lnTo>
                        <a:pt x="6" y="200"/>
                      </a:lnTo>
                      <a:lnTo>
                        <a:pt x="4" y="200"/>
                      </a:lnTo>
                      <a:lnTo>
                        <a:pt x="4" y="202"/>
                      </a:lnTo>
                      <a:lnTo>
                        <a:pt x="2" y="202"/>
                      </a:lnTo>
                      <a:lnTo>
                        <a:pt x="4" y="204"/>
                      </a:lnTo>
                      <a:lnTo>
                        <a:pt x="4" y="206"/>
                      </a:lnTo>
                      <a:lnTo>
                        <a:pt x="4" y="208"/>
                      </a:lnTo>
                      <a:lnTo>
                        <a:pt x="6" y="210"/>
                      </a:lnTo>
                      <a:lnTo>
                        <a:pt x="6" y="212"/>
                      </a:lnTo>
                      <a:lnTo>
                        <a:pt x="4" y="212"/>
                      </a:lnTo>
                      <a:lnTo>
                        <a:pt x="4" y="214"/>
                      </a:lnTo>
                      <a:lnTo>
                        <a:pt x="2" y="214"/>
                      </a:lnTo>
                      <a:lnTo>
                        <a:pt x="0" y="216"/>
                      </a:lnTo>
                      <a:lnTo>
                        <a:pt x="2" y="218"/>
                      </a:lnTo>
                      <a:lnTo>
                        <a:pt x="4" y="220"/>
                      </a:lnTo>
                      <a:lnTo>
                        <a:pt x="6" y="220"/>
                      </a:lnTo>
                      <a:lnTo>
                        <a:pt x="8" y="218"/>
                      </a:lnTo>
                      <a:lnTo>
                        <a:pt x="10" y="218"/>
                      </a:lnTo>
                      <a:lnTo>
                        <a:pt x="12" y="218"/>
                      </a:lnTo>
                      <a:lnTo>
                        <a:pt x="14" y="218"/>
                      </a:lnTo>
                      <a:lnTo>
                        <a:pt x="16" y="218"/>
                      </a:lnTo>
                      <a:lnTo>
                        <a:pt x="18" y="218"/>
                      </a:lnTo>
                      <a:lnTo>
                        <a:pt x="20" y="218"/>
                      </a:lnTo>
                      <a:lnTo>
                        <a:pt x="22" y="218"/>
                      </a:lnTo>
                      <a:lnTo>
                        <a:pt x="24" y="218"/>
                      </a:lnTo>
                      <a:lnTo>
                        <a:pt x="26" y="216"/>
                      </a:lnTo>
                      <a:lnTo>
                        <a:pt x="28" y="216"/>
                      </a:lnTo>
                      <a:lnTo>
                        <a:pt x="30" y="218"/>
                      </a:lnTo>
                      <a:lnTo>
                        <a:pt x="32" y="218"/>
                      </a:lnTo>
                      <a:lnTo>
                        <a:pt x="34" y="218"/>
                      </a:lnTo>
                      <a:lnTo>
                        <a:pt x="36" y="218"/>
                      </a:lnTo>
                      <a:lnTo>
                        <a:pt x="38" y="218"/>
                      </a:lnTo>
                      <a:lnTo>
                        <a:pt x="40" y="218"/>
                      </a:lnTo>
                      <a:lnTo>
                        <a:pt x="42" y="218"/>
                      </a:lnTo>
                      <a:lnTo>
                        <a:pt x="44" y="218"/>
                      </a:lnTo>
                      <a:lnTo>
                        <a:pt x="46" y="218"/>
                      </a:lnTo>
                      <a:lnTo>
                        <a:pt x="48" y="218"/>
                      </a:lnTo>
                      <a:lnTo>
                        <a:pt x="50" y="218"/>
                      </a:lnTo>
                      <a:lnTo>
                        <a:pt x="52" y="218"/>
                      </a:lnTo>
                      <a:lnTo>
                        <a:pt x="54" y="218"/>
                      </a:lnTo>
                      <a:lnTo>
                        <a:pt x="56" y="218"/>
                      </a:lnTo>
                      <a:lnTo>
                        <a:pt x="58" y="216"/>
                      </a:lnTo>
                      <a:lnTo>
                        <a:pt x="60" y="216"/>
                      </a:lnTo>
                      <a:lnTo>
                        <a:pt x="62" y="216"/>
                      </a:lnTo>
                      <a:lnTo>
                        <a:pt x="64" y="218"/>
                      </a:lnTo>
                      <a:lnTo>
                        <a:pt x="64" y="216"/>
                      </a:lnTo>
                      <a:lnTo>
                        <a:pt x="66" y="216"/>
                      </a:lnTo>
                      <a:lnTo>
                        <a:pt x="68" y="216"/>
                      </a:lnTo>
                      <a:lnTo>
                        <a:pt x="70" y="216"/>
                      </a:lnTo>
                      <a:lnTo>
                        <a:pt x="70" y="218"/>
                      </a:lnTo>
                      <a:lnTo>
                        <a:pt x="72" y="220"/>
                      </a:lnTo>
                      <a:lnTo>
                        <a:pt x="74" y="222"/>
                      </a:lnTo>
                      <a:lnTo>
                        <a:pt x="74" y="224"/>
                      </a:lnTo>
                      <a:lnTo>
                        <a:pt x="76" y="226"/>
                      </a:lnTo>
                      <a:lnTo>
                        <a:pt x="76" y="228"/>
                      </a:lnTo>
                      <a:lnTo>
                        <a:pt x="76" y="230"/>
                      </a:lnTo>
                      <a:lnTo>
                        <a:pt x="76" y="232"/>
                      </a:lnTo>
                      <a:lnTo>
                        <a:pt x="76" y="234"/>
                      </a:lnTo>
                      <a:lnTo>
                        <a:pt x="78" y="234"/>
                      </a:lnTo>
                      <a:lnTo>
                        <a:pt x="78" y="236"/>
                      </a:lnTo>
                      <a:lnTo>
                        <a:pt x="80" y="236"/>
                      </a:lnTo>
                      <a:lnTo>
                        <a:pt x="80" y="238"/>
                      </a:lnTo>
                      <a:lnTo>
                        <a:pt x="80" y="240"/>
                      </a:lnTo>
                      <a:lnTo>
                        <a:pt x="80" y="242"/>
                      </a:lnTo>
                      <a:lnTo>
                        <a:pt x="80" y="244"/>
                      </a:lnTo>
                      <a:lnTo>
                        <a:pt x="80" y="246"/>
                      </a:lnTo>
                      <a:lnTo>
                        <a:pt x="82" y="248"/>
                      </a:lnTo>
                      <a:lnTo>
                        <a:pt x="84" y="248"/>
                      </a:lnTo>
                      <a:lnTo>
                        <a:pt x="84" y="250"/>
                      </a:lnTo>
                      <a:lnTo>
                        <a:pt x="86" y="252"/>
                      </a:lnTo>
                      <a:lnTo>
                        <a:pt x="86" y="254"/>
                      </a:lnTo>
                      <a:lnTo>
                        <a:pt x="86" y="256"/>
                      </a:lnTo>
                      <a:lnTo>
                        <a:pt x="88" y="256"/>
                      </a:lnTo>
                      <a:lnTo>
                        <a:pt x="88" y="258"/>
                      </a:lnTo>
                      <a:lnTo>
                        <a:pt x="88" y="260"/>
                      </a:lnTo>
                      <a:lnTo>
                        <a:pt x="90" y="260"/>
                      </a:lnTo>
                      <a:lnTo>
                        <a:pt x="92" y="260"/>
                      </a:lnTo>
                      <a:lnTo>
                        <a:pt x="94" y="260"/>
                      </a:lnTo>
                      <a:lnTo>
                        <a:pt x="96" y="260"/>
                      </a:lnTo>
                      <a:lnTo>
                        <a:pt x="98" y="260"/>
                      </a:lnTo>
                      <a:lnTo>
                        <a:pt x="98" y="262"/>
                      </a:lnTo>
                      <a:lnTo>
                        <a:pt x="100" y="260"/>
                      </a:lnTo>
                      <a:lnTo>
                        <a:pt x="100" y="258"/>
                      </a:lnTo>
                      <a:lnTo>
                        <a:pt x="102" y="258"/>
                      </a:lnTo>
                      <a:lnTo>
                        <a:pt x="104" y="258"/>
                      </a:lnTo>
                      <a:lnTo>
                        <a:pt x="106" y="258"/>
                      </a:lnTo>
                      <a:lnTo>
                        <a:pt x="108" y="258"/>
                      </a:lnTo>
                      <a:lnTo>
                        <a:pt x="110" y="258"/>
                      </a:lnTo>
                      <a:lnTo>
                        <a:pt x="112" y="258"/>
                      </a:lnTo>
                      <a:lnTo>
                        <a:pt x="114" y="258"/>
                      </a:lnTo>
                      <a:lnTo>
                        <a:pt x="116" y="258"/>
                      </a:lnTo>
                      <a:lnTo>
                        <a:pt x="118" y="258"/>
                      </a:lnTo>
                      <a:lnTo>
                        <a:pt x="120" y="258"/>
                      </a:lnTo>
                      <a:lnTo>
                        <a:pt x="120" y="256"/>
                      </a:lnTo>
                      <a:lnTo>
                        <a:pt x="120" y="254"/>
                      </a:lnTo>
                      <a:lnTo>
                        <a:pt x="120" y="252"/>
                      </a:lnTo>
                      <a:lnTo>
                        <a:pt x="122" y="250"/>
                      </a:lnTo>
                      <a:lnTo>
                        <a:pt x="124" y="250"/>
                      </a:lnTo>
                      <a:lnTo>
                        <a:pt x="124" y="248"/>
                      </a:lnTo>
                      <a:lnTo>
                        <a:pt x="124" y="246"/>
                      </a:lnTo>
                      <a:lnTo>
                        <a:pt x="122" y="244"/>
                      </a:lnTo>
                      <a:lnTo>
                        <a:pt x="122" y="242"/>
                      </a:lnTo>
                      <a:lnTo>
                        <a:pt x="122" y="240"/>
                      </a:lnTo>
                      <a:lnTo>
                        <a:pt x="124" y="240"/>
                      </a:lnTo>
                      <a:lnTo>
                        <a:pt x="126" y="240"/>
                      </a:lnTo>
                      <a:lnTo>
                        <a:pt x="130" y="240"/>
                      </a:lnTo>
                      <a:lnTo>
                        <a:pt x="132" y="240"/>
                      </a:lnTo>
                      <a:lnTo>
                        <a:pt x="134" y="240"/>
                      </a:lnTo>
                      <a:lnTo>
                        <a:pt x="136" y="238"/>
                      </a:lnTo>
                      <a:lnTo>
                        <a:pt x="138" y="238"/>
                      </a:lnTo>
                      <a:lnTo>
                        <a:pt x="140" y="238"/>
                      </a:lnTo>
                      <a:lnTo>
                        <a:pt x="140" y="240"/>
                      </a:lnTo>
                      <a:lnTo>
                        <a:pt x="140" y="242"/>
                      </a:lnTo>
                      <a:lnTo>
                        <a:pt x="140" y="244"/>
                      </a:lnTo>
                      <a:lnTo>
                        <a:pt x="140" y="246"/>
                      </a:lnTo>
                      <a:lnTo>
                        <a:pt x="144" y="246"/>
                      </a:lnTo>
                      <a:lnTo>
                        <a:pt x="146" y="246"/>
                      </a:lnTo>
                      <a:lnTo>
                        <a:pt x="150" y="246"/>
                      </a:lnTo>
                      <a:lnTo>
                        <a:pt x="152" y="246"/>
                      </a:lnTo>
                      <a:lnTo>
                        <a:pt x="154" y="246"/>
                      </a:lnTo>
                      <a:lnTo>
                        <a:pt x="156" y="246"/>
                      </a:lnTo>
                      <a:lnTo>
                        <a:pt x="158" y="246"/>
                      </a:lnTo>
                      <a:lnTo>
                        <a:pt x="160" y="246"/>
                      </a:lnTo>
                      <a:lnTo>
                        <a:pt x="162" y="246"/>
                      </a:lnTo>
                      <a:lnTo>
                        <a:pt x="162" y="248"/>
                      </a:lnTo>
                      <a:lnTo>
                        <a:pt x="162" y="250"/>
                      </a:lnTo>
                      <a:lnTo>
                        <a:pt x="162" y="252"/>
                      </a:lnTo>
                      <a:lnTo>
                        <a:pt x="160" y="254"/>
                      </a:lnTo>
                      <a:lnTo>
                        <a:pt x="160" y="256"/>
                      </a:lnTo>
                      <a:lnTo>
                        <a:pt x="158" y="256"/>
                      </a:lnTo>
                      <a:lnTo>
                        <a:pt x="160" y="258"/>
                      </a:lnTo>
                      <a:lnTo>
                        <a:pt x="160" y="260"/>
                      </a:lnTo>
                      <a:lnTo>
                        <a:pt x="162" y="262"/>
                      </a:lnTo>
                      <a:lnTo>
                        <a:pt x="164" y="264"/>
                      </a:lnTo>
                      <a:lnTo>
                        <a:pt x="164" y="266"/>
                      </a:lnTo>
                      <a:lnTo>
                        <a:pt x="164" y="268"/>
                      </a:lnTo>
                      <a:lnTo>
                        <a:pt x="164" y="270"/>
                      </a:lnTo>
                      <a:lnTo>
                        <a:pt x="164" y="272"/>
                      </a:lnTo>
                      <a:lnTo>
                        <a:pt x="162" y="272"/>
                      </a:lnTo>
                      <a:lnTo>
                        <a:pt x="162" y="274"/>
                      </a:lnTo>
                      <a:lnTo>
                        <a:pt x="162" y="276"/>
                      </a:lnTo>
                      <a:lnTo>
                        <a:pt x="162" y="278"/>
                      </a:lnTo>
                      <a:lnTo>
                        <a:pt x="164" y="278"/>
                      </a:lnTo>
                      <a:lnTo>
                        <a:pt x="164" y="280"/>
                      </a:lnTo>
                      <a:lnTo>
                        <a:pt x="162" y="280"/>
                      </a:lnTo>
                      <a:lnTo>
                        <a:pt x="162" y="282"/>
                      </a:lnTo>
                      <a:lnTo>
                        <a:pt x="162" y="284"/>
                      </a:lnTo>
                      <a:lnTo>
                        <a:pt x="162" y="286"/>
                      </a:lnTo>
                      <a:lnTo>
                        <a:pt x="162" y="288"/>
                      </a:lnTo>
                      <a:lnTo>
                        <a:pt x="162" y="290"/>
                      </a:lnTo>
                      <a:lnTo>
                        <a:pt x="164" y="292"/>
                      </a:lnTo>
                      <a:lnTo>
                        <a:pt x="166" y="294"/>
                      </a:lnTo>
                      <a:lnTo>
                        <a:pt x="166" y="296"/>
                      </a:lnTo>
                      <a:lnTo>
                        <a:pt x="168" y="300"/>
                      </a:lnTo>
                      <a:lnTo>
                        <a:pt x="168" y="302"/>
                      </a:lnTo>
                      <a:lnTo>
                        <a:pt x="170" y="304"/>
                      </a:lnTo>
                      <a:lnTo>
                        <a:pt x="168" y="306"/>
                      </a:lnTo>
                      <a:lnTo>
                        <a:pt x="168" y="308"/>
                      </a:lnTo>
                      <a:lnTo>
                        <a:pt x="168" y="310"/>
                      </a:lnTo>
                      <a:lnTo>
                        <a:pt x="166" y="312"/>
                      </a:lnTo>
                      <a:lnTo>
                        <a:pt x="166" y="316"/>
                      </a:lnTo>
                      <a:lnTo>
                        <a:pt x="166" y="318"/>
                      </a:lnTo>
                      <a:lnTo>
                        <a:pt x="166" y="320"/>
                      </a:lnTo>
                      <a:lnTo>
                        <a:pt x="168" y="320"/>
                      </a:lnTo>
                      <a:lnTo>
                        <a:pt x="170" y="322"/>
                      </a:lnTo>
                      <a:lnTo>
                        <a:pt x="172" y="320"/>
                      </a:lnTo>
                      <a:lnTo>
                        <a:pt x="172" y="318"/>
                      </a:lnTo>
                      <a:lnTo>
                        <a:pt x="172" y="316"/>
                      </a:lnTo>
                      <a:lnTo>
                        <a:pt x="174" y="318"/>
                      </a:lnTo>
                      <a:lnTo>
                        <a:pt x="176" y="318"/>
                      </a:lnTo>
                      <a:lnTo>
                        <a:pt x="178" y="318"/>
                      </a:lnTo>
                      <a:lnTo>
                        <a:pt x="180" y="318"/>
                      </a:lnTo>
                      <a:lnTo>
                        <a:pt x="182" y="318"/>
                      </a:lnTo>
                      <a:lnTo>
                        <a:pt x="184" y="316"/>
                      </a:lnTo>
                      <a:lnTo>
                        <a:pt x="186" y="316"/>
                      </a:lnTo>
                      <a:lnTo>
                        <a:pt x="186" y="314"/>
                      </a:lnTo>
                      <a:lnTo>
                        <a:pt x="188" y="314"/>
                      </a:lnTo>
                      <a:lnTo>
                        <a:pt x="188" y="316"/>
                      </a:lnTo>
                      <a:lnTo>
                        <a:pt x="190" y="316"/>
                      </a:lnTo>
                      <a:lnTo>
                        <a:pt x="192" y="318"/>
                      </a:lnTo>
                      <a:lnTo>
                        <a:pt x="194" y="316"/>
                      </a:lnTo>
                      <a:lnTo>
                        <a:pt x="196" y="316"/>
                      </a:lnTo>
                      <a:lnTo>
                        <a:pt x="198" y="314"/>
                      </a:lnTo>
                      <a:lnTo>
                        <a:pt x="198" y="312"/>
                      </a:lnTo>
                      <a:lnTo>
                        <a:pt x="198" y="314"/>
                      </a:lnTo>
                      <a:lnTo>
                        <a:pt x="200" y="314"/>
                      </a:lnTo>
                      <a:lnTo>
                        <a:pt x="200" y="316"/>
                      </a:lnTo>
                      <a:lnTo>
                        <a:pt x="202" y="316"/>
                      </a:lnTo>
                      <a:lnTo>
                        <a:pt x="204" y="316"/>
                      </a:lnTo>
                      <a:lnTo>
                        <a:pt x="204" y="318"/>
                      </a:lnTo>
                      <a:lnTo>
                        <a:pt x="204" y="320"/>
                      </a:lnTo>
                      <a:lnTo>
                        <a:pt x="204" y="322"/>
                      </a:lnTo>
                      <a:lnTo>
                        <a:pt x="204" y="324"/>
                      </a:lnTo>
                      <a:lnTo>
                        <a:pt x="206" y="324"/>
                      </a:lnTo>
                      <a:lnTo>
                        <a:pt x="208" y="326"/>
                      </a:lnTo>
                      <a:lnTo>
                        <a:pt x="208" y="324"/>
                      </a:lnTo>
                      <a:lnTo>
                        <a:pt x="210" y="324"/>
                      </a:lnTo>
                      <a:lnTo>
                        <a:pt x="210" y="322"/>
                      </a:lnTo>
                      <a:lnTo>
                        <a:pt x="208" y="322"/>
                      </a:lnTo>
                      <a:lnTo>
                        <a:pt x="210" y="322"/>
                      </a:lnTo>
                      <a:lnTo>
                        <a:pt x="212" y="320"/>
                      </a:lnTo>
                      <a:lnTo>
                        <a:pt x="214" y="320"/>
                      </a:lnTo>
                      <a:lnTo>
                        <a:pt x="216" y="320"/>
                      </a:lnTo>
                      <a:lnTo>
                        <a:pt x="218" y="320"/>
                      </a:lnTo>
                      <a:lnTo>
                        <a:pt x="218" y="322"/>
                      </a:lnTo>
                      <a:lnTo>
                        <a:pt x="218" y="324"/>
                      </a:lnTo>
                      <a:lnTo>
                        <a:pt x="220" y="326"/>
                      </a:lnTo>
                      <a:lnTo>
                        <a:pt x="220" y="328"/>
                      </a:lnTo>
                      <a:lnTo>
                        <a:pt x="222" y="328"/>
                      </a:lnTo>
                      <a:lnTo>
                        <a:pt x="224" y="330"/>
                      </a:lnTo>
                      <a:lnTo>
                        <a:pt x="226" y="330"/>
                      </a:lnTo>
                      <a:lnTo>
                        <a:pt x="230" y="332"/>
                      </a:lnTo>
                      <a:lnTo>
                        <a:pt x="234" y="332"/>
                      </a:lnTo>
                      <a:lnTo>
                        <a:pt x="238" y="334"/>
                      </a:lnTo>
                      <a:lnTo>
                        <a:pt x="240" y="334"/>
                      </a:lnTo>
                      <a:lnTo>
                        <a:pt x="242" y="334"/>
                      </a:lnTo>
                      <a:lnTo>
                        <a:pt x="244" y="334"/>
                      </a:lnTo>
                      <a:lnTo>
                        <a:pt x="246" y="334"/>
                      </a:lnTo>
                      <a:lnTo>
                        <a:pt x="246" y="332"/>
                      </a:lnTo>
                      <a:lnTo>
                        <a:pt x="246" y="330"/>
                      </a:lnTo>
                      <a:lnTo>
                        <a:pt x="246" y="328"/>
                      </a:lnTo>
                      <a:lnTo>
                        <a:pt x="248" y="328"/>
                      </a:lnTo>
                      <a:lnTo>
                        <a:pt x="248" y="326"/>
                      </a:lnTo>
                      <a:lnTo>
                        <a:pt x="250" y="326"/>
                      </a:lnTo>
                      <a:lnTo>
                        <a:pt x="252" y="326"/>
                      </a:lnTo>
                      <a:lnTo>
                        <a:pt x="252" y="328"/>
                      </a:lnTo>
                      <a:lnTo>
                        <a:pt x="252" y="330"/>
                      </a:lnTo>
                      <a:lnTo>
                        <a:pt x="254" y="332"/>
                      </a:lnTo>
                      <a:lnTo>
                        <a:pt x="256" y="332"/>
                      </a:lnTo>
                      <a:lnTo>
                        <a:pt x="258" y="332"/>
                      </a:lnTo>
                      <a:lnTo>
                        <a:pt x="258" y="334"/>
                      </a:lnTo>
                      <a:lnTo>
                        <a:pt x="258" y="336"/>
                      </a:lnTo>
                      <a:lnTo>
                        <a:pt x="256" y="336"/>
                      </a:lnTo>
                      <a:lnTo>
                        <a:pt x="256" y="338"/>
                      </a:lnTo>
                      <a:lnTo>
                        <a:pt x="258" y="338"/>
                      </a:lnTo>
                      <a:lnTo>
                        <a:pt x="260" y="338"/>
                      </a:lnTo>
                      <a:lnTo>
                        <a:pt x="262" y="338"/>
                      </a:lnTo>
                      <a:lnTo>
                        <a:pt x="264" y="340"/>
                      </a:lnTo>
                      <a:lnTo>
                        <a:pt x="264" y="342"/>
                      </a:lnTo>
                      <a:lnTo>
                        <a:pt x="266" y="342"/>
                      </a:lnTo>
                      <a:lnTo>
                        <a:pt x="266" y="344"/>
                      </a:lnTo>
                      <a:lnTo>
                        <a:pt x="266" y="342"/>
                      </a:lnTo>
                      <a:lnTo>
                        <a:pt x="268" y="342"/>
                      </a:lnTo>
                      <a:lnTo>
                        <a:pt x="270" y="342"/>
                      </a:lnTo>
                      <a:lnTo>
                        <a:pt x="272" y="344"/>
                      </a:lnTo>
                      <a:lnTo>
                        <a:pt x="272" y="346"/>
                      </a:lnTo>
                      <a:lnTo>
                        <a:pt x="274" y="348"/>
                      </a:lnTo>
                      <a:lnTo>
                        <a:pt x="274" y="350"/>
                      </a:lnTo>
                      <a:lnTo>
                        <a:pt x="276" y="350"/>
                      </a:lnTo>
                      <a:lnTo>
                        <a:pt x="278" y="350"/>
                      </a:lnTo>
                      <a:lnTo>
                        <a:pt x="278" y="352"/>
                      </a:lnTo>
                      <a:lnTo>
                        <a:pt x="280" y="354"/>
                      </a:lnTo>
                      <a:lnTo>
                        <a:pt x="280" y="358"/>
                      </a:lnTo>
                      <a:lnTo>
                        <a:pt x="280" y="360"/>
                      </a:lnTo>
                      <a:lnTo>
                        <a:pt x="282" y="362"/>
                      </a:lnTo>
                      <a:lnTo>
                        <a:pt x="284" y="362"/>
                      </a:lnTo>
                      <a:lnTo>
                        <a:pt x="286" y="360"/>
                      </a:lnTo>
                      <a:lnTo>
                        <a:pt x="288" y="360"/>
                      </a:lnTo>
                      <a:lnTo>
                        <a:pt x="288" y="358"/>
                      </a:lnTo>
                      <a:lnTo>
                        <a:pt x="290" y="358"/>
                      </a:lnTo>
                      <a:lnTo>
                        <a:pt x="290" y="360"/>
                      </a:lnTo>
                      <a:lnTo>
                        <a:pt x="292" y="362"/>
                      </a:lnTo>
                      <a:lnTo>
                        <a:pt x="294" y="362"/>
                      </a:lnTo>
                      <a:lnTo>
                        <a:pt x="294" y="360"/>
                      </a:lnTo>
                      <a:lnTo>
                        <a:pt x="294" y="358"/>
                      </a:lnTo>
                      <a:lnTo>
                        <a:pt x="294" y="356"/>
                      </a:lnTo>
                      <a:lnTo>
                        <a:pt x="294" y="354"/>
                      </a:lnTo>
                      <a:lnTo>
                        <a:pt x="294" y="350"/>
                      </a:lnTo>
                      <a:lnTo>
                        <a:pt x="296" y="346"/>
                      </a:lnTo>
                      <a:lnTo>
                        <a:pt x="296" y="344"/>
                      </a:lnTo>
                      <a:lnTo>
                        <a:pt x="296" y="342"/>
                      </a:lnTo>
                      <a:lnTo>
                        <a:pt x="296" y="340"/>
                      </a:lnTo>
                      <a:lnTo>
                        <a:pt x="296" y="338"/>
                      </a:lnTo>
                      <a:lnTo>
                        <a:pt x="294" y="338"/>
                      </a:lnTo>
                      <a:lnTo>
                        <a:pt x="292" y="338"/>
                      </a:lnTo>
                      <a:lnTo>
                        <a:pt x="290" y="338"/>
                      </a:lnTo>
                      <a:lnTo>
                        <a:pt x="290" y="340"/>
                      </a:lnTo>
                      <a:lnTo>
                        <a:pt x="290" y="342"/>
                      </a:lnTo>
                      <a:lnTo>
                        <a:pt x="290" y="344"/>
                      </a:lnTo>
                      <a:lnTo>
                        <a:pt x="288" y="344"/>
                      </a:lnTo>
                      <a:lnTo>
                        <a:pt x="286" y="344"/>
                      </a:lnTo>
                      <a:lnTo>
                        <a:pt x="284" y="342"/>
                      </a:lnTo>
                      <a:lnTo>
                        <a:pt x="282" y="342"/>
                      </a:lnTo>
                      <a:lnTo>
                        <a:pt x="282" y="340"/>
                      </a:lnTo>
                      <a:lnTo>
                        <a:pt x="280" y="338"/>
                      </a:lnTo>
                      <a:lnTo>
                        <a:pt x="278" y="338"/>
                      </a:lnTo>
                      <a:lnTo>
                        <a:pt x="278" y="336"/>
                      </a:lnTo>
                      <a:lnTo>
                        <a:pt x="276" y="336"/>
                      </a:lnTo>
                      <a:lnTo>
                        <a:pt x="276" y="334"/>
                      </a:lnTo>
                      <a:lnTo>
                        <a:pt x="274" y="334"/>
                      </a:lnTo>
                      <a:lnTo>
                        <a:pt x="272" y="334"/>
                      </a:lnTo>
                      <a:lnTo>
                        <a:pt x="272" y="332"/>
                      </a:lnTo>
                      <a:lnTo>
                        <a:pt x="272" y="330"/>
                      </a:lnTo>
                      <a:lnTo>
                        <a:pt x="270" y="328"/>
                      </a:lnTo>
                      <a:lnTo>
                        <a:pt x="270" y="326"/>
                      </a:lnTo>
                      <a:lnTo>
                        <a:pt x="272" y="324"/>
                      </a:lnTo>
                      <a:lnTo>
                        <a:pt x="272" y="322"/>
                      </a:lnTo>
                      <a:lnTo>
                        <a:pt x="274" y="318"/>
                      </a:lnTo>
                      <a:lnTo>
                        <a:pt x="276" y="316"/>
                      </a:lnTo>
                      <a:lnTo>
                        <a:pt x="276" y="314"/>
                      </a:lnTo>
                      <a:lnTo>
                        <a:pt x="278" y="312"/>
                      </a:lnTo>
                      <a:lnTo>
                        <a:pt x="278" y="310"/>
                      </a:lnTo>
                      <a:lnTo>
                        <a:pt x="278" y="308"/>
                      </a:lnTo>
                      <a:lnTo>
                        <a:pt x="278" y="306"/>
                      </a:lnTo>
                      <a:lnTo>
                        <a:pt x="278" y="300"/>
                      </a:lnTo>
                      <a:lnTo>
                        <a:pt x="278" y="296"/>
                      </a:lnTo>
                      <a:lnTo>
                        <a:pt x="276" y="294"/>
                      </a:lnTo>
                      <a:lnTo>
                        <a:pt x="276" y="292"/>
                      </a:lnTo>
                      <a:lnTo>
                        <a:pt x="276" y="290"/>
                      </a:lnTo>
                      <a:lnTo>
                        <a:pt x="276" y="288"/>
                      </a:lnTo>
                      <a:lnTo>
                        <a:pt x="276" y="286"/>
                      </a:lnTo>
                      <a:lnTo>
                        <a:pt x="274" y="284"/>
                      </a:lnTo>
                      <a:lnTo>
                        <a:pt x="272" y="282"/>
                      </a:lnTo>
                      <a:lnTo>
                        <a:pt x="274" y="280"/>
                      </a:lnTo>
                      <a:lnTo>
                        <a:pt x="276" y="280"/>
                      </a:lnTo>
                      <a:lnTo>
                        <a:pt x="278" y="278"/>
                      </a:lnTo>
                      <a:lnTo>
                        <a:pt x="280" y="276"/>
                      </a:lnTo>
                      <a:lnTo>
                        <a:pt x="282" y="276"/>
                      </a:lnTo>
                      <a:lnTo>
                        <a:pt x="282" y="274"/>
                      </a:lnTo>
                      <a:lnTo>
                        <a:pt x="282" y="272"/>
                      </a:lnTo>
                      <a:lnTo>
                        <a:pt x="282" y="270"/>
                      </a:lnTo>
                      <a:lnTo>
                        <a:pt x="282" y="268"/>
                      </a:lnTo>
                      <a:lnTo>
                        <a:pt x="282" y="266"/>
                      </a:lnTo>
                      <a:lnTo>
                        <a:pt x="286" y="266"/>
                      </a:lnTo>
                      <a:lnTo>
                        <a:pt x="288" y="266"/>
                      </a:lnTo>
                      <a:lnTo>
                        <a:pt x="292" y="266"/>
                      </a:lnTo>
                      <a:lnTo>
                        <a:pt x="294" y="264"/>
                      </a:lnTo>
                      <a:lnTo>
                        <a:pt x="296" y="264"/>
                      </a:lnTo>
                      <a:lnTo>
                        <a:pt x="300" y="264"/>
                      </a:lnTo>
                      <a:lnTo>
                        <a:pt x="302" y="262"/>
                      </a:lnTo>
                      <a:lnTo>
                        <a:pt x="304" y="262"/>
                      </a:lnTo>
                      <a:lnTo>
                        <a:pt x="306" y="262"/>
                      </a:lnTo>
                      <a:lnTo>
                        <a:pt x="306" y="260"/>
                      </a:lnTo>
                      <a:lnTo>
                        <a:pt x="308" y="260"/>
                      </a:lnTo>
                      <a:lnTo>
                        <a:pt x="306" y="260"/>
                      </a:lnTo>
                      <a:lnTo>
                        <a:pt x="306" y="258"/>
                      </a:lnTo>
                      <a:lnTo>
                        <a:pt x="306" y="256"/>
                      </a:lnTo>
                      <a:lnTo>
                        <a:pt x="304" y="256"/>
                      </a:lnTo>
                      <a:lnTo>
                        <a:pt x="304" y="254"/>
                      </a:lnTo>
                      <a:lnTo>
                        <a:pt x="302" y="252"/>
                      </a:lnTo>
                      <a:lnTo>
                        <a:pt x="302" y="250"/>
                      </a:lnTo>
                      <a:lnTo>
                        <a:pt x="302" y="246"/>
                      </a:lnTo>
                      <a:lnTo>
                        <a:pt x="304" y="244"/>
                      </a:lnTo>
                      <a:lnTo>
                        <a:pt x="302" y="242"/>
                      </a:lnTo>
                      <a:lnTo>
                        <a:pt x="300" y="242"/>
                      </a:lnTo>
                      <a:lnTo>
                        <a:pt x="298" y="242"/>
                      </a:lnTo>
                      <a:lnTo>
                        <a:pt x="296" y="242"/>
                      </a:lnTo>
                      <a:lnTo>
                        <a:pt x="296" y="240"/>
                      </a:lnTo>
                      <a:lnTo>
                        <a:pt x="296" y="238"/>
                      </a:lnTo>
                      <a:lnTo>
                        <a:pt x="296" y="236"/>
                      </a:lnTo>
                      <a:lnTo>
                        <a:pt x="296" y="234"/>
                      </a:lnTo>
                      <a:lnTo>
                        <a:pt x="294" y="234"/>
                      </a:lnTo>
                      <a:lnTo>
                        <a:pt x="294" y="232"/>
                      </a:lnTo>
                      <a:lnTo>
                        <a:pt x="292" y="232"/>
                      </a:lnTo>
                      <a:lnTo>
                        <a:pt x="290" y="230"/>
                      </a:lnTo>
                      <a:lnTo>
                        <a:pt x="288" y="228"/>
                      </a:lnTo>
                      <a:lnTo>
                        <a:pt x="286" y="224"/>
                      </a:lnTo>
                      <a:lnTo>
                        <a:pt x="286" y="222"/>
                      </a:lnTo>
                      <a:lnTo>
                        <a:pt x="286" y="220"/>
                      </a:lnTo>
                      <a:lnTo>
                        <a:pt x="286" y="218"/>
                      </a:lnTo>
                      <a:lnTo>
                        <a:pt x="286" y="216"/>
                      </a:lnTo>
                      <a:lnTo>
                        <a:pt x="288" y="214"/>
                      </a:lnTo>
                      <a:lnTo>
                        <a:pt x="288" y="212"/>
                      </a:lnTo>
                      <a:lnTo>
                        <a:pt x="288" y="210"/>
                      </a:lnTo>
                      <a:lnTo>
                        <a:pt x="286" y="208"/>
                      </a:lnTo>
                      <a:lnTo>
                        <a:pt x="284" y="208"/>
                      </a:lnTo>
                      <a:lnTo>
                        <a:pt x="284" y="206"/>
                      </a:lnTo>
                      <a:lnTo>
                        <a:pt x="284" y="204"/>
                      </a:lnTo>
                      <a:lnTo>
                        <a:pt x="282" y="202"/>
                      </a:lnTo>
                      <a:lnTo>
                        <a:pt x="282" y="198"/>
                      </a:lnTo>
                      <a:lnTo>
                        <a:pt x="284" y="196"/>
                      </a:lnTo>
                      <a:lnTo>
                        <a:pt x="284" y="192"/>
                      </a:lnTo>
                      <a:lnTo>
                        <a:pt x="284" y="186"/>
                      </a:lnTo>
                      <a:lnTo>
                        <a:pt x="284" y="184"/>
                      </a:lnTo>
                      <a:lnTo>
                        <a:pt x="286" y="180"/>
                      </a:lnTo>
                      <a:lnTo>
                        <a:pt x="286" y="178"/>
                      </a:lnTo>
                      <a:lnTo>
                        <a:pt x="288" y="178"/>
                      </a:lnTo>
                      <a:lnTo>
                        <a:pt x="290" y="178"/>
                      </a:lnTo>
                      <a:lnTo>
                        <a:pt x="290" y="176"/>
                      </a:lnTo>
                      <a:lnTo>
                        <a:pt x="290" y="174"/>
                      </a:lnTo>
                      <a:lnTo>
                        <a:pt x="290" y="172"/>
                      </a:lnTo>
                      <a:lnTo>
                        <a:pt x="290" y="168"/>
                      </a:lnTo>
                      <a:lnTo>
                        <a:pt x="290" y="166"/>
                      </a:lnTo>
                      <a:lnTo>
                        <a:pt x="290" y="164"/>
                      </a:lnTo>
                      <a:lnTo>
                        <a:pt x="288" y="164"/>
                      </a:lnTo>
                      <a:lnTo>
                        <a:pt x="286" y="162"/>
                      </a:lnTo>
                      <a:lnTo>
                        <a:pt x="284" y="160"/>
                      </a:lnTo>
                      <a:lnTo>
                        <a:pt x="284" y="158"/>
                      </a:lnTo>
                      <a:lnTo>
                        <a:pt x="284" y="156"/>
                      </a:lnTo>
                      <a:lnTo>
                        <a:pt x="282" y="154"/>
                      </a:lnTo>
                      <a:lnTo>
                        <a:pt x="280" y="154"/>
                      </a:lnTo>
                      <a:lnTo>
                        <a:pt x="280" y="152"/>
                      </a:lnTo>
                      <a:lnTo>
                        <a:pt x="282" y="152"/>
                      </a:lnTo>
                      <a:lnTo>
                        <a:pt x="282" y="150"/>
                      </a:lnTo>
                      <a:lnTo>
                        <a:pt x="282" y="148"/>
                      </a:lnTo>
                      <a:lnTo>
                        <a:pt x="284" y="148"/>
                      </a:lnTo>
                      <a:lnTo>
                        <a:pt x="286" y="146"/>
                      </a:lnTo>
                      <a:lnTo>
                        <a:pt x="288" y="146"/>
                      </a:lnTo>
                      <a:lnTo>
                        <a:pt x="288" y="144"/>
                      </a:lnTo>
                      <a:lnTo>
                        <a:pt x="286" y="144"/>
                      </a:lnTo>
                      <a:lnTo>
                        <a:pt x="286" y="142"/>
                      </a:lnTo>
                      <a:lnTo>
                        <a:pt x="284" y="140"/>
                      </a:lnTo>
                      <a:lnTo>
                        <a:pt x="284" y="138"/>
                      </a:lnTo>
                      <a:lnTo>
                        <a:pt x="286" y="136"/>
                      </a:lnTo>
                      <a:lnTo>
                        <a:pt x="288" y="134"/>
                      </a:lnTo>
                      <a:lnTo>
                        <a:pt x="290" y="134"/>
                      </a:lnTo>
                      <a:lnTo>
                        <a:pt x="292" y="132"/>
                      </a:lnTo>
                      <a:lnTo>
                        <a:pt x="294" y="132"/>
                      </a:lnTo>
                      <a:lnTo>
                        <a:pt x="296" y="1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8" name="Freeform 74">
                  <a:extLst>
                    <a:ext uri="{FF2B5EF4-FFF2-40B4-BE49-F238E27FC236}">
                      <a16:creationId xmlns:a16="http://schemas.microsoft.com/office/drawing/2014/main" id="{DE9E6220-6A8C-44A5-8C5A-2049558EA4D0}"/>
                    </a:ext>
                  </a:extLst>
                </p:cNvPr>
                <p:cNvSpPr>
                  <a:spLocks noChangeAspect="1"/>
                </p:cNvSpPr>
                <p:nvPr/>
              </p:nvSpPr>
              <p:spPr bwMode="auto">
                <a:xfrm>
                  <a:off x="5231583" y="4292209"/>
                  <a:ext cx="299274" cy="355768"/>
                </a:xfrm>
                <a:custGeom>
                  <a:avLst/>
                  <a:gdLst/>
                  <a:ahLst/>
                  <a:cxnLst>
                    <a:cxn ang="0">
                      <a:pos x="170" y="168"/>
                    </a:cxn>
                    <a:cxn ang="0">
                      <a:pos x="166" y="148"/>
                    </a:cxn>
                    <a:cxn ang="0">
                      <a:pos x="166" y="134"/>
                    </a:cxn>
                    <a:cxn ang="0">
                      <a:pos x="164" y="128"/>
                    </a:cxn>
                    <a:cxn ang="0">
                      <a:pos x="168" y="112"/>
                    </a:cxn>
                    <a:cxn ang="0">
                      <a:pos x="158" y="98"/>
                    </a:cxn>
                    <a:cxn ang="0">
                      <a:pos x="162" y="78"/>
                    </a:cxn>
                    <a:cxn ang="0">
                      <a:pos x="144" y="54"/>
                    </a:cxn>
                    <a:cxn ang="0">
                      <a:pos x="136" y="44"/>
                    </a:cxn>
                    <a:cxn ang="0">
                      <a:pos x="136" y="36"/>
                    </a:cxn>
                    <a:cxn ang="0">
                      <a:pos x="96" y="12"/>
                    </a:cxn>
                    <a:cxn ang="0">
                      <a:pos x="78" y="0"/>
                    </a:cxn>
                    <a:cxn ang="0">
                      <a:pos x="76" y="6"/>
                    </a:cxn>
                    <a:cxn ang="0">
                      <a:pos x="70" y="10"/>
                    </a:cxn>
                    <a:cxn ang="0">
                      <a:pos x="64" y="20"/>
                    </a:cxn>
                    <a:cxn ang="0">
                      <a:pos x="74" y="20"/>
                    </a:cxn>
                    <a:cxn ang="0">
                      <a:pos x="62" y="26"/>
                    </a:cxn>
                    <a:cxn ang="0">
                      <a:pos x="56" y="32"/>
                    </a:cxn>
                    <a:cxn ang="0">
                      <a:pos x="54" y="36"/>
                    </a:cxn>
                    <a:cxn ang="0">
                      <a:pos x="52" y="26"/>
                    </a:cxn>
                    <a:cxn ang="0">
                      <a:pos x="44" y="22"/>
                    </a:cxn>
                    <a:cxn ang="0">
                      <a:pos x="38" y="32"/>
                    </a:cxn>
                    <a:cxn ang="0">
                      <a:pos x="38" y="16"/>
                    </a:cxn>
                    <a:cxn ang="0">
                      <a:pos x="38" y="0"/>
                    </a:cxn>
                    <a:cxn ang="0">
                      <a:pos x="18" y="0"/>
                    </a:cxn>
                    <a:cxn ang="0">
                      <a:pos x="18" y="4"/>
                    </a:cxn>
                    <a:cxn ang="0">
                      <a:pos x="22" y="16"/>
                    </a:cxn>
                    <a:cxn ang="0">
                      <a:pos x="16" y="26"/>
                    </a:cxn>
                    <a:cxn ang="0">
                      <a:pos x="16" y="36"/>
                    </a:cxn>
                    <a:cxn ang="0">
                      <a:pos x="22" y="40"/>
                    </a:cxn>
                    <a:cxn ang="0">
                      <a:pos x="20" y="46"/>
                    </a:cxn>
                    <a:cxn ang="0">
                      <a:pos x="12" y="52"/>
                    </a:cxn>
                    <a:cxn ang="0">
                      <a:pos x="2" y="64"/>
                    </a:cxn>
                    <a:cxn ang="0">
                      <a:pos x="4" y="74"/>
                    </a:cxn>
                    <a:cxn ang="0">
                      <a:pos x="4" y="82"/>
                    </a:cxn>
                    <a:cxn ang="0">
                      <a:pos x="4" y="98"/>
                    </a:cxn>
                    <a:cxn ang="0">
                      <a:pos x="18" y="112"/>
                    </a:cxn>
                    <a:cxn ang="0">
                      <a:pos x="20" y="130"/>
                    </a:cxn>
                    <a:cxn ang="0">
                      <a:pos x="28" y="140"/>
                    </a:cxn>
                    <a:cxn ang="0">
                      <a:pos x="32" y="144"/>
                    </a:cxn>
                    <a:cxn ang="0">
                      <a:pos x="38" y="150"/>
                    </a:cxn>
                    <a:cxn ang="0">
                      <a:pos x="48" y="154"/>
                    </a:cxn>
                    <a:cxn ang="0">
                      <a:pos x="52" y="156"/>
                    </a:cxn>
                    <a:cxn ang="0">
                      <a:pos x="58" y="160"/>
                    </a:cxn>
                    <a:cxn ang="0">
                      <a:pos x="64" y="162"/>
                    </a:cxn>
                    <a:cxn ang="0">
                      <a:pos x="72" y="164"/>
                    </a:cxn>
                    <a:cxn ang="0">
                      <a:pos x="82" y="166"/>
                    </a:cxn>
                    <a:cxn ang="0">
                      <a:pos x="84" y="180"/>
                    </a:cxn>
                    <a:cxn ang="0">
                      <a:pos x="86" y="188"/>
                    </a:cxn>
                    <a:cxn ang="0">
                      <a:pos x="90" y="198"/>
                    </a:cxn>
                    <a:cxn ang="0">
                      <a:pos x="100" y="202"/>
                    </a:cxn>
                    <a:cxn ang="0">
                      <a:pos x="108" y="200"/>
                    </a:cxn>
                    <a:cxn ang="0">
                      <a:pos x="120" y="202"/>
                    </a:cxn>
                    <a:cxn ang="0">
                      <a:pos x="128" y="204"/>
                    </a:cxn>
                    <a:cxn ang="0">
                      <a:pos x="140" y="196"/>
                    </a:cxn>
                    <a:cxn ang="0">
                      <a:pos x="146" y="198"/>
                    </a:cxn>
                    <a:cxn ang="0">
                      <a:pos x="158" y="194"/>
                    </a:cxn>
                    <a:cxn ang="0">
                      <a:pos x="170" y="188"/>
                    </a:cxn>
                    <a:cxn ang="0">
                      <a:pos x="182" y="180"/>
                    </a:cxn>
                  </a:cxnLst>
                  <a:rect l="0" t="0" r="r" b="b"/>
                  <a:pathLst>
                    <a:path w="182" h="204">
                      <a:moveTo>
                        <a:pt x="182" y="176"/>
                      </a:moveTo>
                      <a:lnTo>
                        <a:pt x="182" y="176"/>
                      </a:lnTo>
                      <a:lnTo>
                        <a:pt x="180" y="176"/>
                      </a:lnTo>
                      <a:lnTo>
                        <a:pt x="178" y="176"/>
                      </a:lnTo>
                      <a:lnTo>
                        <a:pt x="176" y="174"/>
                      </a:lnTo>
                      <a:lnTo>
                        <a:pt x="174" y="174"/>
                      </a:lnTo>
                      <a:lnTo>
                        <a:pt x="174" y="172"/>
                      </a:lnTo>
                      <a:lnTo>
                        <a:pt x="172" y="170"/>
                      </a:lnTo>
                      <a:lnTo>
                        <a:pt x="170" y="168"/>
                      </a:lnTo>
                      <a:lnTo>
                        <a:pt x="170" y="166"/>
                      </a:lnTo>
                      <a:lnTo>
                        <a:pt x="170" y="160"/>
                      </a:lnTo>
                      <a:lnTo>
                        <a:pt x="170" y="158"/>
                      </a:lnTo>
                      <a:lnTo>
                        <a:pt x="170" y="156"/>
                      </a:lnTo>
                      <a:lnTo>
                        <a:pt x="170" y="154"/>
                      </a:lnTo>
                      <a:lnTo>
                        <a:pt x="168" y="152"/>
                      </a:lnTo>
                      <a:lnTo>
                        <a:pt x="166" y="148"/>
                      </a:lnTo>
                      <a:lnTo>
                        <a:pt x="166" y="146"/>
                      </a:lnTo>
                      <a:lnTo>
                        <a:pt x="164" y="144"/>
                      </a:lnTo>
                      <a:lnTo>
                        <a:pt x="164" y="142"/>
                      </a:lnTo>
                      <a:lnTo>
                        <a:pt x="166" y="140"/>
                      </a:lnTo>
                      <a:lnTo>
                        <a:pt x="166" y="136"/>
                      </a:lnTo>
                      <a:lnTo>
                        <a:pt x="166" y="134"/>
                      </a:lnTo>
                      <a:lnTo>
                        <a:pt x="168" y="132"/>
                      </a:lnTo>
                      <a:lnTo>
                        <a:pt x="166" y="132"/>
                      </a:lnTo>
                      <a:lnTo>
                        <a:pt x="164" y="130"/>
                      </a:lnTo>
                      <a:lnTo>
                        <a:pt x="164" y="128"/>
                      </a:lnTo>
                      <a:lnTo>
                        <a:pt x="164" y="126"/>
                      </a:lnTo>
                      <a:lnTo>
                        <a:pt x="166" y="124"/>
                      </a:lnTo>
                      <a:lnTo>
                        <a:pt x="166" y="120"/>
                      </a:lnTo>
                      <a:lnTo>
                        <a:pt x="168" y="118"/>
                      </a:lnTo>
                      <a:lnTo>
                        <a:pt x="168" y="116"/>
                      </a:lnTo>
                      <a:lnTo>
                        <a:pt x="170" y="114"/>
                      </a:lnTo>
                      <a:lnTo>
                        <a:pt x="168" y="112"/>
                      </a:lnTo>
                      <a:lnTo>
                        <a:pt x="168" y="110"/>
                      </a:lnTo>
                      <a:lnTo>
                        <a:pt x="166" y="110"/>
                      </a:lnTo>
                      <a:lnTo>
                        <a:pt x="164" y="108"/>
                      </a:lnTo>
                      <a:lnTo>
                        <a:pt x="162" y="108"/>
                      </a:lnTo>
                      <a:lnTo>
                        <a:pt x="160" y="108"/>
                      </a:lnTo>
                      <a:lnTo>
                        <a:pt x="158" y="106"/>
                      </a:lnTo>
                      <a:lnTo>
                        <a:pt x="158" y="104"/>
                      </a:lnTo>
                      <a:lnTo>
                        <a:pt x="156" y="102"/>
                      </a:lnTo>
                      <a:lnTo>
                        <a:pt x="156" y="100"/>
                      </a:lnTo>
                      <a:lnTo>
                        <a:pt x="158" y="98"/>
                      </a:lnTo>
                      <a:lnTo>
                        <a:pt x="158" y="94"/>
                      </a:lnTo>
                      <a:lnTo>
                        <a:pt x="158" y="92"/>
                      </a:lnTo>
                      <a:lnTo>
                        <a:pt x="160" y="88"/>
                      </a:lnTo>
                      <a:lnTo>
                        <a:pt x="160" y="86"/>
                      </a:lnTo>
                      <a:lnTo>
                        <a:pt x="160" y="84"/>
                      </a:lnTo>
                      <a:lnTo>
                        <a:pt x="162" y="82"/>
                      </a:lnTo>
                      <a:lnTo>
                        <a:pt x="162" y="80"/>
                      </a:lnTo>
                      <a:lnTo>
                        <a:pt x="162" y="78"/>
                      </a:lnTo>
                      <a:lnTo>
                        <a:pt x="162" y="76"/>
                      </a:lnTo>
                      <a:lnTo>
                        <a:pt x="162" y="74"/>
                      </a:lnTo>
                      <a:lnTo>
                        <a:pt x="162" y="72"/>
                      </a:lnTo>
                      <a:lnTo>
                        <a:pt x="162" y="70"/>
                      </a:lnTo>
                      <a:lnTo>
                        <a:pt x="158" y="66"/>
                      </a:lnTo>
                      <a:lnTo>
                        <a:pt x="154" y="62"/>
                      </a:lnTo>
                      <a:lnTo>
                        <a:pt x="150" y="58"/>
                      </a:lnTo>
                      <a:lnTo>
                        <a:pt x="148" y="56"/>
                      </a:lnTo>
                      <a:lnTo>
                        <a:pt x="144" y="54"/>
                      </a:lnTo>
                      <a:lnTo>
                        <a:pt x="142" y="52"/>
                      </a:lnTo>
                      <a:lnTo>
                        <a:pt x="140" y="50"/>
                      </a:lnTo>
                      <a:lnTo>
                        <a:pt x="140" y="48"/>
                      </a:lnTo>
                      <a:lnTo>
                        <a:pt x="138" y="46"/>
                      </a:lnTo>
                      <a:lnTo>
                        <a:pt x="136" y="46"/>
                      </a:lnTo>
                      <a:lnTo>
                        <a:pt x="136" y="44"/>
                      </a:lnTo>
                      <a:lnTo>
                        <a:pt x="138" y="44"/>
                      </a:lnTo>
                      <a:lnTo>
                        <a:pt x="138" y="42"/>
                      </a:lnTo>
                      <a:lnTo>
                        <a:pt x="140" y="42"/>
                      </a:lnTo>
                      <a:lnTo>
                        <a:pt x="140" y="40"/>
                      </a:lnTo>
                      <a:lnTo>
                        <a:pt x="140" y="38"/>
                      </a:lnTo>
                      <a:lnTo>
                        <a:pt x="138" y="38"/>
                      </a:lnTo>
                      <a:lnTo>
                        <a:pt x="138" y="36"/>
                      </a:lnTo>
                      <a:lnTo>
                        <a:pt x="136" y="36"/>
                      </a:lnTo>
                      <a:lnTo>
                        <a:pt x="132" y="34"/>
                      </a:lnTo>
                      <a:lnTo>
                        <a:pt x="126" y="30"/>
                      </a:lnTo>
                      <a:lnTo>
                        <a:pt x="122" y="28"/>
                      </a:lnTo>
                      <a:lnTo>
                        <a:pt x="118" y="24"/>
                      </a:lnTo>
                      <a:lnTo>
                        <a:pt x="112" y="22"/>
                      </a:lnTo>
                      <a:lnTo>
                        <a:pt x="110" y="20"/>
                      </a:lnTo>
                      <a:lnTo>
                        <a:pt x="106" y="18"/>
                      </a:lnTo>
                      <a:lnTo>
                        <a:pt x="102" y="14"/>
                      </a:lnTo>
                      <a:lnTo>
                        <a:pt x="100" y="12"/>
                      </a:lnTo>
                      <a:lnTo>
                        <a:pt x="96" y="12"/>
                      </a:lnTo>
                      <a:lnTo>
                        <a:pt x="92" y="10"/>
                      </a:lnTo>
                      <a:lnTo>
                        <a:pt x="88" y="6"/>
                      </a:lnTo>
                      <a:lnTo>
                        <a:pt x="86" y="4"/>
                      </a:lnTo>
                      <a:lnTo>
                        <a:pt x="84" y="2"/>
                      </a:lnTo>
                      <a:lnTo>
                        <a:pt x="82" y="2"/>
                      </a:lnTo>
                      <a:lnTo>
                        <a:pt x="80" y="0"/>
                      </a:lnTo>
                      <a:lnTo>
                        <a:pt x="78" y="0"/>
                      </a:lnTo>
                      <a:lnTo>
                        <a:pt x="76" y="0"/>
                      </a:lnTo>
                      <a:lnTo>
                        <a:pt x="74" y="0"/>
                      </a:lnTo>
                      <a:lnTo>
                        <a:pt x="74" y="2"/>
                      </a:lnTo>
                      <a:lnTo>
                        <a:pt x="74" y="6"/>
                      </a:lnTo>
                      <a:lnTo>
                        <a:pt x="76" y="6"/>
                      </a:lnTo>
                      <a:lnTo>
                        <a:pt x="76" y="8"/>
                      </a:lnTo>
                      <a:lnTo>
                        <a:pt x="74" y="10"/>
                      </a:lnTo>
                      <a:lnTo>
                        <a:pt x="72" y="10"/>
                      </a:lnTo>
                      <a:lnTo>
                        <a:pt x="70" y="10"/>
                      </a:lnTo>
                      <a:lnTo>
                        <a:pt x="68" y="12"/>
                      </a:lnTo>
                      <a:lnTo>
                        <a:pt x="66" y="14"/>
                      </a:lnTo>
                      <a:lnTo>
                        <a:pt x="64" y="14"/>
                      </a:lnTo>
                      <a:lnTo>
                        <a:pt x="64" y="16"/>
                      </a:lnTo>
                      <a:lnTo>
                        <a:pt x="64" y="18"/>
                      </a:lnTo>
                      <a:lnTo>
                        <a:pt x="62" y="20"/>
                      </a:lnTo>
                      <a:lnTo>
                        <a:pt x="64" y="20"/>
                      </a:lnTo>
                      <a:lnTo>
                        <a:pt x="64" y="22"/>
                      </a:lnTo>
                      <a:lnTo>
                        <a:pt x="66" y="22"/>
                      </a:lnTo>
                      <a:lnTo>
                        <a:pt x="68" y="22"/>
                      </a:lnTo>
                      <a:lnTo>
                        <a:pt x="70" y="22"/>
                      </a:lnTo>
                      <a:lnTo>
                        <a:pt x="72" y="20"/>
                      </a:lnTo>
                      <a:lnTo>
                        <a:pt x="74" y="20"/>
                      </a:lnTo>
                      <a:lnTo>
                        <a:pt x="74" y="22"/>
                      </a:lnTo>
                      <a:lnTo>
                        <a:pt x="72" y="22"/>
                      </a:lnTo>
                      <a:lnTo>
                        <a:pt x="70" y="24"/>
                      </a:lnTo>
                      <a:lnTo>
                        <a:pt x="68" y="26"/>
                      </a:lnTo>
                      <a:lnTo>
                        <a:pt x="66" y="26"/>
                      </a:lnTo>
                      <a:lnTo>
                        <a:pt x="64" y="28"/>
                      </a:lnTo>
                      <a:lnTo>
                        <a:pt x="62" y="26"/>
                      </a:lnTo>
                      <a:lnTo>
                        <a:pt x="60" y="24"/>
                      </a:lnTo>
                      <a:lnTo>
                        <a:pt x="58" y="24"/>
                      </a:lnTo>
                      <a:lnTo>
                        <a:pt x="58" y="26"/>
                      </a:lnTo>
                      <a:lnTo>
                        <a:pt x="56" y="26"/>
                      </a:lnTo>
                      <a:lnTo>
                        <a:pt x="56" y="28"/>
                      </a:lnTo>
                      <a:lnTo>
                        <a:pt x="56" y="30"/>
                      </a:lnTo>
                      <a:lnTo>
                        <a:pt x="56" y="32"/>
                      </a:lnTo>
                      <a:lnTo>
                        <a:pt x="58" y="34"/>
                      </a:lnTo>
                      <a:lnTo>
                        <a:pt x="58" y="36"/>
                      </a:lnTo>
                      <a:lnTo>
                        <a:pt x="56" y="36"/>
                      </a:lnTo>
                      <a:lnTo>
                        <a:pt x="54" y="36"/>
                      </a:lnTo>
                      <a:lnTo>
                        <a:pt x="52" y="34"/>
                      </a:lnTo>
                      <a:lnTo>
                        <a:pt x="52" y="32"/>
                      </a:lnTo>
                      <a:lnTo>
                        <a:pt x="52" y="30"/>
                      </a:lnTo>
                      <a:lnTo>
                        <a:pt x="54" y="28"/>
                      </a:lnTo>
                      <a:lnTo>
                        <a:pt x="54" y="26"/>
                      </a:lnTo>
                      <a:lnTo>
                        <a:pt x="52" y="26"/>
                      </a:lnTo>
                      <a:lnTo>
                        <a:pt x="50" y="28"/>
                      </a:lnTo>
                      <a:lnTo>
                        <a:pt x="50" y="26"/>
                      </a:lnTo>
                      <a:lnTo>
                        <a:pt x="48" y="26"/>
                      </a:lnTo>
                      <a:lnTo>
                        <a:pt x="46" y="24"/>
                      </a:lnTo>
                      <a:lnTo>
                        <a:pt x="46" y="22"/>
                      </a:lnTo>
                      <a:lnTo>
                        <a:pt x="44" y="22"/>
                      </a:lnTo>
                      <a:lnTo>
                        <a:pt x="44" y="24"/>
                      </a:lnTo>
                      <a:lnTo>
                        <a:pt x="42" y="24"/>
                      </a:lnTo>
                      <a:lnTo>
                        <a:pt x="42" y="26"/>
                      </a:lnTo>
                      <a:lnTo>
                        <a:pt x="42" y="28"/>
                      </a:lnTo>
                      <a:lnTo>
                        <a:pt x="40" y="30"/>
                      </a:lnTo>
                      <a:lnTo>
                        <a:pt x="40" y="32"/>
                      </a:lnTo>
                      <a:lnTo>
                        <a:pt x="38" y="32"/>
                      </a:lnTo>
                      <a:lnTo>
                        <a:pt x="38" y="30"/>
                      </a:lnTo>
                      <a:lnTo>
                        <a:pt x="38" y="28"/>
                      </a:lnTo>
                      <a:lnTo>
                        <a:pt x="38" y="26"/>
                      </a:lnTo>
                      <a:lnTo>
                        <a:pt x="38" y="24"/>
                      </a:lnTo>
                      <a:lnTo>
                        <a:pt x="38" y="22"/>
                      </a:lnTo>
                      <a:lnTo>
                        <a:pt x="38" y="18"/>
                      </a:lnTo>
                      <a:lnTo>
                        <a:pt x="38" y="16"/>
                      </a:lnTo>
                      <a:lnTo>
                        <a:pt x="38" y="14"/>
                      </a:lnTo>
                      <a:lnTo>
                        <a:pt x="38" y="10"/>
                      </a:lnTo>
                      <a:lnTo>
                        <a:pt x="38" y="6"/>
                      </a:lnTo>
                      <a:lnTo>
                        <a:pt x="38" y="4"/>
                      </a:lnTo>
                      <a:lnTo>
                        <a:pt x="40" y="2"/>
                      </a:lnTo>
                      <a:lnTo>
                        <a:pt x="40" y="0"/>
                      </a:lnTo>
                      <a:lnTo>
                        <a:pt x="38" y="0"/>
                      </a:lnTo>
                      <a:lnTo>
                        <a:pt x="34" y="0"/>
                      </a:lnTo>
                      <a:lnTo>
                        <a:pt x="30" y="0"/>
                      </a:lnTo>
                      <a:lnTo>
                        <a:pt x="28" y="0"/>
                      </a:lnTo>
                      <a:lnTo>
                        <a:pt x="26" y="0"/>
                      </a:lnTo>
                      <a:lnTo>
                        <a:pt x="24" y="0"/>
                      </a:lnTo>
                      <a:lnTo>
                        <a:pt x="22" y="0"/>
                      </a:lnTo>
                      <a:lnTo>
                        <a:pt x="20" y="0"/>
                      </a:lnTo>
                      <a:lnTo>
                        <a:pt x="18" y="0"/>
                      </a:lnTo>
                      <a:lnTo>
                        <a:pt x="18" y="2"/>
                      </a:lnTo>
                      <a:lnTo>
                        <a:pt x="18" y="4"/>
                      </a:lnTo>
                      <a:lnTo>
                        <a:pt x="16" y="4"/>
                      </a:lnTo>
                      <a:lnTo>
                        <a:pt x="18" y="4"/>
                      </a:lnTo>
                      <a:lnTo>
                        <a:pt x="18" y="6"/>
                      </a:lnTo>
                      <a:lnTo>
                        <a:pt x="20" y="8"/>
                      </a:lnTo>
                      <a:lnTo>
                        <a:pt x="22" y="10"/>
                      </a:lnTo>
                      <a:lnTo>
                        <a:pt x="22" y="12"/>
                      </a:lnTo>
                      <a:lnTo>
                        <a:pt x="22" y="14"/>
                      </a:lnTo>
                      <a:lnTo>
                        <a:pt x="22" y="16"/>
                      </a:lnTo>
                      <a:lnTo>
                        <a:pt x="24" y="20"/>
                      </a:lnTo>
                      <a:lnTo>
                        <a:pt x="24" y="22"/>
                      </a:lnTo>
                      <a:lnTo>
                        <a:pt x="24" y="24"/>
                      </a:lnTo>
                      <a:lnTo>
                        <a:pt x="22" y="24"/>
                      </a:lnTo>
                      <a:lnTo>
                        <a:pt x="22" y="26"/>
                      </a:lnTo>
                      <a:lnTo>
                        <a:pt x="20" y="26"/>
                      </a:lnTo>
                      <a:lnTo>
                        <a:pt x="18" y="26"/>
                      </a:lnTo>
                      <a:lnTo>
                        <a:pt x="16" y="26"/>
                      </a:lnTo>
                      <a:lnTo>
                        <a:pt x="16" y="28"/>
                      </a:lnTo>
                      <a:lnTo>
                        <a:pt x="14" y="32"/>
                      </a:lnTo>
                      <a:lnTo>
                        <a:pt x="14" y="34"/>
                      </a:lnTo>
                      <a:lnTo>
                        <a:pt x="14" y="36"/>
                      </a:lnTo>
                      <a:lnTo>
                        <a:pt x="16" y="36"/>
                      </a:lnTo>
                      <a:lnTo>
                        <a:pt x="18" y="36"/>
                      </a:lnTo>
                      <a:lnTo>
                        <a:pt x="20" y="36"/>
                      </a:lnTo>
                      <a:lnTo>
                        <a:pt x="22" y="36"/>
                      </a:lnTo>
                      <a:lnTo>
                        <a:pt x="22" y="38"/>
                      </a:lnTo>
                      <a:lnTo>
                        <a:pt x="22" y="40"/>
                      </a:lnTo>
                      <a:lnTo>
                        <a:pt x="22" y="42"/>
                      </a:lnTo>
                      <a:lnTo>
                        <a:pt x="20" y="42"/>
                      </a:lnTo>
                      <a:lnTo>
                        <a:pt x="18" y="42"/>
                      </a:lnTo>
                      <a:lnTo>
                        <a:pt x="18" y="44"/>
                      </a:lnTo>
                      <a:lnTo>
                        <a:pt x="20" y="44"/>
                      </a:lnTo>
                      <a:lnTo>
                        <a:pt x="20" y="46"/>
                      </a:lnTo>
                      <a:lnTo>
                        <a:pt x="18" y="46"/>
                      </a:lnTo>
                      <a:lnTo>
                        <a:pt x="16" y="46"/>
                      </a:lnTo>
                      <a:lnTo>
                        <a:pt x="14" y="48"/>
                      </a:lnTo>
                      <a:lnTo>
                        <a:pt x="14" y="50"/>
                      </a:lnTo>
                      <a:lnTo>
                        <a:pt x="12" y="52"/>
                      </a:lnTo>
                      <a:lnTo>
                        <a:pt x="12" y="54"/>
                      </a:lnTo>
                      <a:lnTo>
                        <a:pt x="12" y="56"/>
                      </a:lnTo>
                      <a:lnTo>
                        <a:pt x="12" y="58"/>
                      </a:lnTo>
                      <a:lnTo>
                        <a:pt x="10" y="60"/>
                      </a:lnTo>
                      <a:lnTo>
                        <a:pt x="8" y="62"/>
                      </a:lnTo>
                      <a:lnTo>
                        <a:pt x="6" y="64"/>
                      </a:lnTo>
                      <a:lnTo>
                        <a:pt x="4" y="64"/>
                      </a:lnTo>
                      <a:lnTo>
                        <a:pt x="2" y="64"/>
                      </a:lnTo>
                      <a:lnTo>
                        <a:pt x="2" y="66"/>
                      </a:lnTo>
                      <a:lnTo>
                        <a:pt x="0" y="66"/>
                      </a:lnTo>
                      <a:lnTo>
                        <a:pt x="0" y="68"/>
                      </a:lnTo>
                      <a:lnTo>
                        <a:pt x="2" y="68"/>
                      </a:lnTo>
                      <a:lnTo>
                        <a:pt x="2" y="70"/>
                      </a:lnTo>
                      <a:lnTo>
                        <a:pt x="4" y="72"/>
                      </a:lnTo>
                      <a:lnTo>
                        <a:pt x="4" y="74"/>
                      </a:lnTo>
                      <a:lnTo>
                        <a:pt x="4" y="76"/>
                      </a:lnTo>
                      <a:lnTo>
                        <a:pt x="4" y="78"/>
                      </a:lnTo>
                      <a:lnTo>
                        <a:pt x="4" y="80"/>
                      </a:lnTo>
                      <a:lnTo>
                        <a:pt x="4" y="82"/>
                      </a:lnTo>
                      <a:lnTo>
                        <a:pt x="4" y="84"/>
                      </a:lnTo>
                      <a:lnTo>
                        <a:pt x="6" y="84"/>
                      </a:lnTo>
                      <a:lnTo>
                        <a:pt x="6" y="88"/>
                      </a:lnTo>
                      <a:lnTo>
                        <a:pt x="6" y="90"/>
                      </a:lnTo>
                      <a:lnTo>
                        <a:pt x="6" y="92"/>
                      </a:lnTo>
                      <a:lnTo>
                        <a:pt x="6" y="94"/>
                      </a:lnTo>
                      <a:lnTo>
                        <a:pt x="4" y="94"/>
                      </a:lnTo>
                      <a:lnTo>
                        <a:pt x="4" y="96"/>
                      </a:lnTo>
                      <a:lnTo>
                        <a:pt x="4" y="98"/>
                      </a:lnTo>
                      <a:lnTo>
                        <a:pt x="4" y="102"/>
                      </a:lnTo>
                      <a:lnTo>
                        <a:pt x="6" y="102"/>
                      </a:lnTo>
                      <a:lnTo>
                        <a:pt x="8" y="104"/>
                      </a:lnTo>
                      <a:lnTo>
                        <a:pt x="10" y="106"/>
                      </a:lnTo>
                      <a:lnTo>
                        <a:pt x="12" y="106"/>
                      </a:lnTo>
                      <a:lnTo>
                        <a:pt x="14" y="108"/>
                      </a:lnTo>
                      <a:lnTo>
                        <a:pt x="16" y="112"/>
                      </a:lnTo>
                      <a:lnTo>
                        <a:pt x="18" y="112"/>
                      </a:lnTo>
                      <a:lnTo>
                        <a:pt x="18" y="114"/>
                      </a:lnTo>
                      <a:lnTo>
                        <a:pt x="20" y="114"/>
                      </a:lnTo>
                      <a:lnTo>
                        <a:pt x="20" y="116"/>
                      </a:lnTo>
                      <a:lnTo>
                        <a:pt x="20" y="118"/>
                      </a:lnTo>
                      <a:lnTo>
                        <a:pt x="18" y="120"/>
                      </a:lnTo>
                      <a:lnTo>
                        <a:pt x="18" y="122"/>
                      </a:lnTo>
                      <a:lnTo>
                        <a:pt x="18" y="124"/>
                      </a:lnTo>
                      <a:lnTo>
                        <a:pt x="18" y="128"/>
                      </a:lnTo>
                      <a:lnTo>
                        <a:pt x="20" y="130"/>
                      </a:lnTo>
                      <a:lnTo>
                        <a:pt x="20" y="132"/>
                      </a:lnTo>
                      <a:lnTo>
                        <a:pt x="22" y="134"/>
                      </a:lnTo>
                      <a:lnTo>
                        <a:pt x="24" y="136"/>
                      </a:lnTo>
                      <a:lnTo>
                        <a:pt x="26" y="138"/>
                      </a:lnTo>
                      <a:lnTo>
                        <a:pt x="28" y="140"/>
                      </a:lnTo>
                      <a:lnTo>
                        <a:pt x="26" y="142"/>
                      </a:lnTo>
                      <a:lnTo>
                        <a:pt x="26" y="144"/>
                      </a:lnTo>
                      <a:lnTo>
                        <a:pt x="28" y="144"/>
                      </a:lnTo>
                      <a:lnTo>
                        <a:pt x="30" y="144"/>
                      </a:lnTo>
                      <a:lnTo>
                        <a:pt x="32" y="144"/>
                      </a:lnTo>
                      <a:lnTo>
                        <a:pt x="34" y="146"/>
                      </a:lnTo>
                      <a:lnTo>
                        <a:pt x="34" y="148"/>
                      </a:lnTo>
                      <a:lnTo>
                        <a:pt x="34" y="150"/>
                      </a:lnTo>
                      <a:lnTo>
                        <a:pt x="36" y="150"/>
                      </a:lnTo>
                      <a:lnTo>
                        <a:pt x="38" y="150"/>
                      </a:lnTo>
                      <a:lnTo>
                        <a:pt x="40" y="152"/>
                      </a:lnTo>
                      <a:lnTo>
                        <a:pt x="42" y="152"/>
                      </a:lnTo>
                      <a:lnTo>
                        <a:pt x="42" y="154"/>
                      </a:lnTo>
                      <a:lnTo>
                        <a:pt x="44" y="154"/>
                      </a:lnTo>
                      <a:lnTo>
                        <a:pt x="46" y="154"/>
                      </a:lnTo>
                      <a:lnTo>
                        <a:pt x="48" y="154"/>
                      </a:lnTo>
                      <a:lnTo>
                        <a:pt x="48" y="156"/>
                      </a:lnTo>
                      <a:lnTo>
                        <a:pt x="50" y="156"/>
                      </a:lnTo>
                      <a:lnTo>
                        <a:pt x="52" y="156"/>
                      </a:lnTo>
                      <a:lnTo>
                        <a:pt x="54" y="156"/>
                      </a:lnTo>
                      <a:lnTo>
                        <a:pt x="54" y="158"/>
                      </a:lnTo>
                      <a:lnTo>
                        <a:pt x="56" y="158"/>
                      </a:lnTo>
                      <a:lnTo>
                        <a:pt x="56" y="160"/>
                      </a:lnTo>
                      <a:lnTo>
                        <a:pt x="58" y="160"/>
                      </a:lnTo>
                      <a:lnTo>
                        <a:pt x="60" y="160"/>
                      </a:lnTo>
                      <a:lnTo>
                        <a:pt x="62" y="160"/>
                      </a:lnTo>
                      <a:lnTo>
                        <a:pt x="64" y="162"/>
                      </a:lnTo>
                      <a:lnTo>
                        <a:pt x="64" y="164"/>
                      </a:lnTo>
                      <a:lnTo>
                        <a:pt x="66" y="164"/>
                      </a:lnTo>
                      <a:lnTo>
                        <a:pt x="68" y="164"/>
                      </a:lnTo>
                      <a:lnTo>
                        <a:pt x="70" y="164"/>
                      </a:lnTo>
                      <a:lnTo>
                        <a:pt x="72" y="164"/>
                      </a:lnTo>
                      <a:lnTo>
                        <a:pt x="72" y="162"/>
                      </a:lnTo>
                      <a:lnTo>
                        <a:pt x="74" y="160"/>
                      </a:lnTo>
                      <a:lnTo>
                        <a:pt x="76" y="160"/>
                      </a:lnTo>
                      <a:lnTo>
                        <a:pt x="78" y="162"/>
                      </a:lnTo>
                      <a:lnTo>
                        <a:pt x="80" y="162"/>
                      </a:lnTo>
                      <a:lnTo>
                        <a:pt x="82" y="166"/>
                      </a:lnTo>
                      <a:lnTo>
                        <a:pt x="82" y="168"/>
                      </a:lnTo>
                      <a:lnTo>
                        <a:pt x="84" y="170"/>
                      </a:lnTo>
                      <a:lnTo>
                        <a:pt x="84" y="172"/>
                      </a:lnTo>
                      <a:lnTo>
                        <a:pt x="84" y="174"/>
                      </a:lnTo>
                      <a:lnTo>
                        <a:pt x="84" y="176"/>
                      </a:lnTo>
                      <a:lnTo>
                        <a:pt x="84" y="178"/>
                      </a:lnTo>
                      <a:lnTo>
                        <a:pt x="84" y="180"/>
                      </a:lnTo>
                      <a:lnTo>
                        <a:pt x="84" y="182"/>
                      </a:lnTo>
                      <a:lnTo>
                        <a:pt x="86" y="184"/>
                      </a:lnTo>
                      <a:lnTo>
                        <a:pt x="86" y="186"/>
                      </a:lnTo>
                      <a:lnTo>
                        <a:pt x="86" y="188"/>
                      </a:lnTo>
                      <a:lnTo>
                        <a:pt x="84" y="190"/>
                      </a:lnTo>
                      <a:lnTo>
                        <a:pt x="84" y="192"/>
                      </a:lnTo>
                      <a:lnTo>
                        <a:pt x="84" y="194"/>
                      </a:lnTo>
                      <a:lnTo>
                        <a:pt x="86" y="194"/>
                      </a:lnTo>
                      <a:lnTo>
                        <a:pt x="86" y="196"/>
                      </a:lnTo>
                      <a:lnTo>
                        <a:pt x="88" y="196"/>
                      </a:lnTo>
                      <a:lnTo>
                        <a:pt x="88" y="198"/>
                      </a:lnTo>
                      <a:lnTo>
                        <a:pt x="90" y="198"/>
                      </a:lnTo>
                      <a:lnTo>
                        <a:pt x="90" y="200"/>
                      </a:lnTo>
                      <a:lnTo>
                        <a:pt x="90" y="202"/>
                      </a:lnTo>
                      <a:lnTo>
                        <a:pt x="94" y="202"/>
                      </a:lnTo>
                      <a:lnTo>
                        <a:pt x="96" y="202"/>
                      </a:lnTo>
                      <a:lnTo>
                        <a:pt x="98" y="202"/>
                      </a:lnTo>
                      <a:lnTo>
                        <a:pt x="100" y="202"/>
                      </a:lnTo>
                      <a:lnTo>
                        <a:pt x="102" y="202"/>
                      </a:lnTo>
                      <a:lnTo>
                        <a:pt x="102" y="200"/>
                      </a:lnTo>
                      <a:lnTo>
                        <a:pt x="104" y="198"/>
                      </a:lnTo>
                      <a:lnTo>
                        <a:pt x="106" y="198"/>
                      </a:lnTo>
                      <a:lnTo>
                        <a:pt x="108" y="200"/>
                      </a:lnTo>
                      <a:lnTo>
                        <a:pt x="110" y="200"/>
                      </a:lnTo>
                      <a:lnTo>
                        <a:pt x="110" y="202"/>
                      </a:lnTo>
                      <a:lnTo>
                        <a:pt x="112" y="202"/>
                      </a:lnTo>
                      <a:lnTo>
                        <a:pt x="114" y="204"/>
                      </a:lnTo>
                      <a:lnTo>
                        <a:pt x="116" y="204"/>
                      </a:lnTo>
                      <a:lnTo>
                        <a:pt x="118" y="204"/>
                      </a:lnTo>
                      <a:lnTo>
                        <a:pt x="120" y="202"/>
                      </a:lnTo>
                      <a:lnTo>
                        <a:pt x="122" y="202"/>
                      </a:lnTo>
                      <a:lnTo>
                        <a:pt x="126" y="202"/>
                      </a:lnTo>
                      <a:lnTo>
                        <a:pt x="128" y="202"/>
                      </a:lnTo>
                      <a:lnTo>
                        <a:pt x="128" y="204"/>
                      </a:lnTo>
                      <a:lnTo>
                        <a:pt x="130" y="204"/>
                      </a:lnTo>
                      <a:lnTo>
                        <a:pt x="132" y="202"/>
                      </a:lnTo>
                      <a:lnTo>
                        <a:pt x="134" y="202"/>
                      </a:lnTo>
                      <a:lnTo>
                        <a:pt x="136" y="200"/>
                      </a:lnTo>
                      <a:lnTo>
                        <a:pt x="138" y="198"/>
                      </a:lnTo>
                      <a:lnTo>
                        <a:pt x="138" y="196"/>
                      </a:lnTo>
                      <a:lnTo>
                        <a:pt x="140" y="196"/>
                      </a:lnTo>
                      <a:lnTo>
                        <a:pt x="142" y="196"/>
                      </a:lnTo>
                      <a:lnTo>
                        <a:pt x="144" y="196"/>
                      </a:lnTo>
                      <a:lnTo>
                        <a:pt x="146" y="196"/>
                      </a:lnTo>
                      <a:lnTo>
                        <a:pt x="146" y="198"/>
                      </a:lnTo>
                      <a:lnTo>
                        <a:pt x="148" y="198"/>
                      </a:lnTo>
                      <a:lnTo>
                        <a:pt x="150" y="198"/>
                      </a:lnTo>
                      <a:lnTo>
                        <a:pt x="152" y="196"/>
                      </a:lnTo>
                      <a:lnTo>
                        <a:pt x="154" y="196"/>
                      </a:lnTo>
                      <a:lnTo>
                        <a:pt x="154" y="194"/>
                      </a:lnTo>
                      <a:lnTo>
                        <a:pt x="156" y="194"/>
                      </a:lnTo>
                      <a:lnTo>
                        <a:pt x="158" y="194"/>
                      </a:lnTo>
                      <a:lnTo>
                        <a:pt x="160" y="194"/>
                      </a:lnTo>
                      <a:lnTo>
                        <a:pt x="162" y="192"/>
                      </a:lnTo>
                      <a:lnTo>
                        <a:pt x="164" y="192"/>
                      </a:lnTo>
                      <a:lnTo>
                        <a:pt x="166" y="190"/>
                      </a:lnTo>
                      <a:lnTo>
                        <a:pt x="170" y="188"/>
                      </a:lnTo>
                      <a:lnTo>
                        <a:pt x="172" y="186"/>
                      </a:lnTo>
                      <a:lnTo>
                        <a:pt x="174" y="186"/>
                      </a:lnTo>
                      <a:lnTo>
                        <a:pt x="176" y="184"/>
                      </a:lnTo>
                      <a:lnTo>
                        <a:pt x="178" y="182"/>
                      </a:lnTo>
                      <a:lnTo>
                        <a:pt x="180" y="182"/>
                      </a:lnTo>
                      <a:lnTo>
                        <a:pt x="180" y="180"/>
                      </a:lnTo>
                      <a:lnTo>
                        <a:pt x="182" y="180"/>
                      </a:lnTo>
                      <a:lnTo>
                        <a:pt x="182" y="17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9" name="Freeform 75">
                  <a:extLst>
                    <a:ext uri="{FF2B5EF4-FFF2-40B4-BE49-F238E27FC236}">
                      <a16:creationId xmlns:a16="http://schemas.microsoft.com/office/drawing/2014/main" id="{8DB2755D-F6D7-4405-BAE7-0BF39D9FC9CC}"/>
                    </a:ext>
                  </a:extLst>
                </p:cNvPr>
                <p:cNvSpPr>
                  <a:spLocks noChangeAspect="1"/>
                </p:cNvSpPr>
                <p:nvPr/>
              </p:nvSpPr>
              <p:spPr bwMode="auto">
                <a:xfrm>
                  <a:off x="5356555" y="4096885"/>
                  <a:ext cx="220344" cy="317401"/>
                </a:xfrm>
                <a:custGeom>
                  <a:avLst/>
                  <a:gdLst/>
                  <a:ahLst/>
                  <a:cxnLst>
                    <a:cxn ang="0">
                      <a:pos x="128" y="28"/>
                    </a:cxn>
                    <a:cxn ang="0">
                      <a:pos x="134" y="16"/>
                    </a:cxn>
                    <a:cxn ang="0">
                      <a:pos x="130" y="12"/>
                    </a:cxn>
                    <a:cxn ang="0">
                      <a:pos x="124" y="14"/>
                    </a:cxn>
                    <a:cxn ang="0">
                      <a:pos x="118" y="10"/>
                    </a:cxn>
                    <a:cxn ang="0">
                      <a:pos x="112" y="10"/>
                    </a:cxn>
                    <a:cxn ang="0">
                      <a:pos x="108" y="12"/>
                    </a:cxn>
                    <a:cxn ang="0">
                      <a:pos x="98" y="18"/>
                    </a:cxn>
                    <a:cxn ang="0">
                      <a:pos x="94" y="24"/>
                    </a:cxn>
                    <a:cxn ang="0">
                      <a:pos x="82" y="22"/>
                    </a:cxn>
                    <a:cxn ang="0">
                      <a:pos x="68" y="20"/>
                    </a:cxn>
                    <a:cxn ang="0">
                      <a:pos x="54" y="8"/>
                    </a:cxn>
                    <a:cxn ang="0">
                      <a:pos x="44" y="6"/>
                    </a:cxn>
                    <a:cxn ang="0">
                      <a:pos x="34" y="6"/>
                    </a:cxn>
                    <a:cxn ang="0">
                      <a:pos x="32" y="0"/>
                    </a:cxn>
                    <a:cxn ang="0">
                      <a:pos x="28" y="2"/>
                    </a:cxn>
                    <a:cxn ang="0">
                      <a:pos x="12" y="2"/>
                    </a:cxn>
                    <a:cxn ang="0">
                      <a:pos x="6" y="4"/>
                    </a:cxn>
                    <a:cxn ang="0">
                      <a:pos x="0" y="10"/>
                    </a:cxn>
                    <a:cxn ang="0">
                      <a:pos x="2" y="18"/>
                    </a:cxn>
                    <a:cxn ang="0">
                      <a:pos x="8" y="20"/>
                    </a:cxn>
                    <a:cxn ang="0">
                      <a:pos x="6" y="26"/>
                    </a:cxn>
                    <a:cxn ang="0">
                      <a:pos x="10" y="32"/>
                    </a:cxn>
                    <a:cxn ang="0">
                      <a:pos x="16" y="40"/>
                    </a:cxn>
                    <a:cxn ang="0">
                      <a:pos x="14" y="46"/>
                    </a:cxn>
                    <a:cxn ang="0">
                      <a:pos x="20" y="56"/>
                    </a:cxn>
                    <a:cxn ang="0">
                      <a:pos x="16" y="62"/>
                    </a:cxn>
                    <a:cxn ang="0">
                      <a:pos x="14" y="68"/>
                    </a:cxn>
                    <a:cxn ang="0">
                      <a:pos x="8" y="70"/>
                    </a:cxn>
                    <a:cxn ang="0">
                      <a:pos x="6" y="76"/>
                    </a:cxn>
                    <a:cxn ang="0">
                      <a:pos x="4" y="80"/>
                    </a:cxn>
                    <a:cxn ang="0">
                      <a:pos x="0" y="86"/>
                    </a:cxn>
                    <a:cxn ang="0">
                      <a:pos x="4" y="96"/>
                    </a:cxn>
                    <a:cxn ang="0">
                      <a:pos x="8" y="94"/>
                    </a:cxn>
                    <a:cxn ang="0">
                      <a:pos x="12" y="94"/>
                    </a:cxn>
                    <a:cxn ang="0">
                      <a:pos x="12" y="98"/>
                    </a:cxn>
                    <a:cxn ang="0">
                      <a:pos x="8" y="100"/>
                    </a:cxn>
                    <a:cxn ang="0">
                      <a:pos x="4" y="100"/>
                    </a:cxn>
                    <a:cxn ang="0">
                      <a:pos x="2" y="106"/>
                    </a:cxn>
                    <a:cxn ang="0">
                      <a:pos x="2" y="110"/>
                    </a:cxn>
                    <a:cxn ang="0">
                      <a:pos x="30" y="128"/>
                    </a:cxn>
                    <a:cxn ang="0">
                      <a:pos x="52" y="142"/>
                    </a:cxn>
                    <a:cxn ang="0">
                      <a:pos x="62" y="148"/>
                    </a:cxn>
                    <a:cxn ang="0">
                      <a:pos x="64" y="152"/>
                    </a:cxn>
                    <a:cxn ang="0">
                      <a:pos x="66" y="160"/>
                    </a:cxn>
                    <a:cxn ang="0">
                      <a:pos x="84" y="178"/>
                    </a:cxn>
                    <a:cxn ang="0">
                      <a:pos x="88" y="180"/>
                    </a:cxn>
                    <a:cxn ang="0">
                      <a:pos x="94" y="178"/>
                    </a:cxn>
                    <a:cxn ang="0">
                      <a:pos x="100" y="166"/>
                    </a:cxn>
                    <a:cxn ang="0">
                      <a:pos x="100" y="162"/>
                    </a:cxn>
                    <a:cxn ang="0">
                      <a:pos x="104" y="154"/>
                    </a:cxn>
                    <a:cxn ang="0">
                      <a:pos x="106" y="144"/>
                    </a:cxn>
                    <a:cxn ang="0">
                      <a:pos x="114" y="138"/>
                    </a:cxn>
                    <a:cxn ang="0">
                      <a:pos x="116" y="128"/>
                    </a:cxn>
                    <a:cxn ang="0">
                      <a:pos x="124" y="128"/>
                    </a:cxn>
                    <a:cxn ang="0">
                      <a:pos x="126" y="118"/>
                    </a:cxn>
                    <a:cxn ang="0">
                      <a:pos x="120" y="108"/>
                    </a:cxn>
                  </a:cxnLst>
                  <a:rect l="0" t="0" r="r" b="b"/>
                  <a:pathLst>
                    <a:path w="134" h="182">
                      <a:moveTo>
                        <a:pt x="120" y="34"/>
                      </a:moveTo>
                      <a:lnTo>
                        <a:pt x="120" y="34"/>
                      </a:lnTo>
                      <a:lnTo>
                        <a:pt x="122" y="34"/>
                      </a:lnTo>
                      <a:lnTo>
                        <a:pt x="122" y="32"/>
                      </a:lnTo>
                      <a:lnTo>
                        <a:pt x="126" y="30"/>
                      </a:lnTo>
                      <a:lnTo>
                        <a:pt x="128" y="28"/>
                      </a:lnTo>
                      <a:lnTo>
                        <a:pt x="128" y="26"/>
                      </a:lnTo>
                      <a:lnTo>
                        <a:pt x="130" y="24"/>
                      </a:lnTo>
                      <a:lnTo>
                        <a:pt x="130" y="22"/>
                      </a:lnTo>
                      <a:lnTo>
                        <a:pt x="132" y="20"/>
                      </a:lnTo>
                      <a:lnTo>
                        <a:pt x="132" y="18"/>
                      </a:lnTo>
                      <a:lnTo>
                        <a:pt x="134" y="16"/>
                      </a:lnTo>
                      <a:lnTo>
                        <a:pt x="134" y="14"/>
                      </a:lnTo>
                      <a:lnTo>
                        <a:pt x="132" y="14"/>
                      </a:lnTo>
                      <a:lnTo>
                        <a:pt x="130" y="14"/>
                      </a:lnTo>
                      <a:lnTo>
                        <a:pt x="130" y="12"/>
                      </a:lnTo>
                      <a:lnTo>
                        <a:pt x="128" y="14"/>
                      </a:lnTo>
                      <a:lnTo>
                        <a:pt x="126" y="14"/>
                      </a:lnTo>
                      <a:lnTo>
                        <a:pt x="124" y="14"/>
                      </a:lnTo>
                      <a:lnTo>
                        <a:pt x="122" y="14"/>
                      </a:lnTo>
                      <a:lnTo>
                        <a:pt x="120" y="12"/>
                      </a:lnTo>
                      <a:lnTo>
                        <a:pt x="118" y="10"/>
                      </a:lnTo>
                      <a:lnTo>
                        <a:pt x="116" y="8"/>
                      </a:lnTo>
                      <a:lnTo>
                        <a:pt x="114" y="8"/>
                      </a:lnTo>
                      <a:lnTo>
                        <a:pt x="112" y="10"/>
                      </a:lnTo>
                      <a:lnTo>
                        <a:pt x="110" y="10"/>
                      </a:lnTo>
                      <a:lnTo>
                        <a:pt x="110" y="12"/>
                      </a:lnTo>
                      <a:lnTo>
                        <a:pt x="108" y="12"/>
                      </a:lnTo>
                      <a:lnTo>
                        <a:pt x="106" y="12"/>
                      </a:lnTo>
                      <a:lnTo>
                        <a:pt x="104" y="14"/>
                      </a:lnTo>
                      <a:lnTo>
                        <a:pt x="102" y="14"/>
                      </a:lnTo>
                      <a:lnTo>
                        <a:pt x="100" y="16"/>
                      </a:lnTo>
                      <a:lnTo>
                        <a:pt x="100" y="18"/>
                      </a:lnTo>
                      <a:lnTo>
                        <a:pt x="98" y="18"/>
                      </a:lnTo>
                      <a:lnTo>
                        <a:pt x="98" y="20"/>
                      </a:lnTo>
                      <a:lnTo>
                        <a:pt x="98" y="22"/>
                      </a:lnTo>
                      <a:lnTo>
                        <a:pt x="96" y="22"/>
                      </a:lnTo>
                      <a:lnTo>
                        <a:pt x="96" y="24"/>
                      </a:lnTo>
                      <a:lnTo>
                        <a:pt x="94" y="24"/>
                      </a:lnTo>
                      <a:lnTo>
                        <a:pt x="92" y="24"/>
                      </a:lnTo>
                      <a:lnTo>
                        <a:pt x="90" y="24"/>
                      </a:lnTo>
                      <a:lnTo>
                        <a:pt x="86" y="22"/>
                      </a:lnTo>
                      <a:lnTo>
                        <a:pt x="82" y="22"/>
                      </a:lnTo>
                      <a:lnTo>
                        <a:pt x="78" y="20"/>
                      </a:lnTo>
                      <a:lnTo>
                        <a:pt x="74" y="20"/>
                      </a:lnTo>
                      <a:lnTo>
                        <a:pt x="72" y="20"/>
                      </a:lnTo>
                      <a:lnTo>
                        <a:pt x="70" y="20"/>
                      </a:lnTo>
                      <a:lnTo>
                        <a:pt x="68" y="20"/>
                      </a:lnTo>
                      <a:lnTo>
                        <a:pt x="66" y="18"/>
                      </a:lnTo>
                      <a:lnTo>
                        <a:pt x="62" y="14"/>
                      </a:lnTo>
                      <a:lnTo>
                        <a:pt x="60" y="12"/>
                      </a:lnTo>
                      <a:lnTo>
                        <a:pt x="58" y="12"/>
                      </a:lnTo>
                      <a:lnTo>
                        <a:pt x="56" y="10"/>
                      </a:lnTo>
                      <a:lnTo>
                        <a:pt x="56" y="8"/>
                      </a:lnTo>
                      <a:lnTo>
                        <a:pt x="54" y="8"/>
                      </a:lnTo>
                      <a:lnTo>
                        <a:pt x="52" y="6"/>
                      </a:lnTo>
                      <a:lnTo>
                        <a:pt x="50" y="6"/>
                      </a:lnTo>
                      <a:lnTo>
                        <a:pt x="48" y="6"/>
                      </a:lnTo>
                      <a:lnTo>
                        <a:pt x="44" y="6"/>
                      </a:lnTo>
                      <a:lnTo>
                        <a:pt x="42" y="6"/>
                      </a:lnTo>
                      <a:lnTo>
                        <a:pt x="40" y="6"/>
                      </a:lnTo>
                      <a:lnTo>
                        <a:pt x="38" y="6"/>
                      </a:lnTo>
                      <a:lnTo>
                        <a:pt x="36" y="6"/>
                      </a:lnTo>
                      <a:lnTo>
                        <a:pt x="34" y="6"/>
                      </a:lnTo>
                      <a:lnTo>
                        <a:pt x="34" y="4"/>
                      </a:lnTo>
                      <a:lnTo>
                        <a:pt x="32" y="2"/>
                      </a:lnTo>
                      <a:lnTo>
                        <a:pt x="32" y="0"/>
                      </a:lnTo>
                      <a:lnTo>
                        <a:pt x="30" y="0"/>
                      </a:lnTo>
                      <a:lnTo>
                        <a:pt x="28" y="2"/>
                      </a:lnTo>
                      <a:lnTo>
                        <a:pt x="26" y="2"/>
                      </a:lnTo>
                      <a:lnTo>
                        <a:pt x="22" y="2"/>
                      </a:lnTo>
                      <a:lnTo>
                        <a:pt x="20" y="2"/>
                      </a:lnTo>
                      <a:lnTo>
                        <a:pt x="16" y="2"/>
                      </a:lnTo>
                      <a:lnTo>
                        <a:pt x="14" y="2"/>
                      </a:lnTo>
                      <a:lnTo>
                        <a:pt x="12" y="2"/>
                      </a:lnTo>
                      <a:lnTo>
                        <a:pt x="10" y="2"/>
                      </a:lnTo>
                      <a:lnTo>
                        <a:pt x="8" y="2"/>
                      </a:lnTo>
                      <a:lnTo>
                        <a:pt x="6" y="4"/>
                      </a:lnTo>
                      <a:lnTo>
                        <a:pt x="4" y="6"/>
                      </a:lnTo>
                      <a:lnTo>
                        <a:pt x="2" y="6"/>
                      </a:lnTo>
                      <a:lnTo>
                        <a:pt x="2" y="8"/>
                      </a:lnTo>
                      <a:lnTo>
                        <a:pt x="0" y="8"/>
                      </a:lnTo>
                      <a:lnTo>
                        <a:pt x="0" y="10"/>
                      </a:lnTo>
                      <a:lnTo>
                        <a:pt x="2" y="12"/>
                      </a:lnTo>
                      <a:lnTo>
                        <a:pt x="2" y="14"/>
                      </a:lnTo>
                      <a:lnTo>
                        <a:pt x="2" y="18"/>
                      </a:lnTo>
                      <a:lnTo>
                        <a:pt x="2" y="20"/>
                      </a:lnTo>
                      <a:lnTo>
                        <a:pt x="4" y="20"/>
                      </a:lnTo>
                      <a:lnTo>
                        <a:pt x="6" y="20"/>
                      </a:lnTo>
                      <a:lnTo>
                        <a:pt x="8" y="20"/>
                      </a:lnTo>
                      <a:lnTo>
                        <a:pt x="8" y="22"/>
                      </a:lnTo>
                      <a:lnTo>
                        <a:pt x="8" y="24"/>
                      </a:lnTo>
                      <a:lnTo>
                        <a:pt x="6" y="26"/>
                      </a:lnTo>
                      <a:lnTo>
                        <a:pt x="8" y="28"/>
                      </a:lnTo>
                      <a:lnTo>
                        <a:pt x="10" y="30"/>
                      </a:lnTo>
                      <a:lnTo>
                        <a:pt x="10" y="32"/>
                      </a:lnTo>
                      <a:lnTo>
                        <a:pt x="12" y="34"/>
                      </a:lnTo>
                      <a:lnTo>
                        <a:pt x="14" y="36"/>
                      </a:lnTo>
                      <a:lnTo>
                        <a:pt x="14" y="38"/>
                      </a:lnTo>
                      <a:lnTo>
                        <a:pt x="16" y="40"/>
                      </a:lnTo>
                      <a:lnTo>
                        <a:pt x="16" y="42"/>
                      </a:lnTo>
                      <a:lnTo>
                        <a:pt x="14" y="42"/>
                      </a:lnTo>
                      <a:lnTo>
                        <a:pt x="14" y="44"/>
                      </a:lnTo>
                      <a:lnTo>
                        <a:pt x="14" y="46"/>
                      </a:lnTo>
                      <a:lnTo>
                        <a:pt x="14" y="48"/>
                      </a:lnTo>
                      <a:lnTo>
                        <a:pt x="16" y="50"/>
                      </a:lnTo>
                      <a:lnTo>
                        <a:pt x="18" y="54"/>
                      </a:lnTo>
                      <a:lnTo>
                        <a:pt x="20" y="54"/>
                      </a:lnTo>
                      <a:lnTo>
                        <a:pt x="20" y="56"/>
                      </a:lnTo>
                      <a:lnTo>
                        <a:pt x="18" y="58"/>
                      </a:lnTo>
                      <a:lnTo>
                        <a:pt x="16" y="60"/>
                      </a:lnTo>
                      <a:lnTo>
                        <a:pt x="16" y="62"/>
                      </a:lnTo>
                      <a:lnTo>
                        <a:pt x="14" y="64"/>
                      </a:lnTo>
                      <a:lnTo>
                        <a:pt x="14" y="66"/>
                      </a:lnTo>
                      <a:lnTo>
                        <a:pt x="14" y="68"/>
                      </a:lnTo>
                      <a:lnTo>
                        <a:pt x="14" y="66"/>
                      </a:lnTo>
                      <a:lnTo>
                        <a:pt x="12" y="66"/>
                      </a:lnTo>
                      <a:lnTo>
                        <a:pt x="10" y="68"/>
                      </a:lnTo>
                      <a:lnTo>
                        <a:pt x="8" y="70"/>
                      </a:lnTo>
                      <a:lnTo>
                        <a:pt x="8" y="72"/>
                      </a:lnTo>
                      <a:lnTo>
                        <a:pt x="8" y="74"/>
                      </a:lnTo>
                      <a:lnTo>
                        <a:pt x="8" y="76"/>
                      </a:lnTo>
                      <a:lnTo>
                        <a:pt x="6" y="76"/>
                      </a:lnTo>
                      <a:lnTo>
                        <a:pt x="6" y="78"/>
                      </a:lnTo>
                      <a:lnTo>
                        <a:pt x="4" y="78"/>
                      </a:lnTo>
                      <a:lnTo>
                        <a:pt x="4" y="80"/>
                      </a:lnTo>
                      <a:lnTo>
                        <a:pt x="4" y="82"/>
                      </a:lnTo>
                      <a:lnTo>
                        <a:pt x="2" y="84"/>
                      </a:lnTo>
                      <a:lnTo>
                        <a:pt x="0" y="86"/>
                      </a:lnTo>
                      <a:lnTo>
                        <a:pt x="0" y="88"/>
                      </a:lnTo>
                      <a:lnTo>
                        <a:pt x="0" y="90"/>
                      </a:lnTo>
                      <a:lnTo>
                        <a:pt x="2" y="94"/>
                      </a:lnTo>
                      <a:lnTo>
                        <a:pt x="4" y="96"/>
                      </a:lnTo>
                      <a:lnTo>
                        <a:pt x="6" y="96"/>
                      </a:lnTo>
                      <a:lnTo>
                        <a:pt x="8" y="96"/>
                      </a:lnTo>
                      <a:lnTo>
                        <a:pt x="8" y="94"/>
                      </a:lnTo>
                      <a:lnTo>
                        <a:pt x="10" y="94"/>
                      </a:lnTo>
                      <a:lnTo>
                        <a:pt x="12" y="92"/>
                      </a:lnTo>
                      <a:lnTo>
                        <a:pt x="12" y="94"/>
                      </a:lnTo>
                      <a:lnTo>
                        <a:pt x="14" y="96"/>
                      </a:lnTo>
                      <a:lnTo>
                        <a:pt x="14" y="98"/>
                      </a:lnTo>
                      <a:lnTo>
                        <a:pt x="12" y="98"/>
                      </a:lnTo>
                      <a:lnTo>
                        <a:pt x="10" y="98"/>
                      </a:lnTo>
                      <a:lnTo>
                        <a:pt x="10" y="100"/>
                      </a:lnTo>
                      <a:lnTo>
                        <a:pt x="8" y="100"/>
                      </a:lnTo>
                      <a:lnTo>
                        <a:pt x="6" y="100"/>
                      </a:lnTo>
                      <a:lnTo>
                        <a:pt x="4" y="100"/>
                      </a:lnTo>
                      <a:lnTo>
                        <a:pt x="2" y="100"/>
                      </a:lnTo>
                      <a:lnTo>
                        <a:pt x="2" y="102"/>
                      </a:lnTo>
                      <a:lnTo>
                        <a:pt x="0" y="102"/>
                      </a:lnTo>
                      <a:lnTo>
                        <a:pt x="2" y="104"/>
                      </a:lnTo>
                      <a:lnTo>
                        <a:pt x="2" y="106"/>
                      </a:lnTo>
                      <a:lnTo>
                        <a:pt x="4" y="106"/>
                      </a:lnTo>
                      <a:lnTo>
                        <a:pt x="4" y="108"/>
                      </a:lnTo>
                      <a:lnTo>
                        <a:pt x="2" y="110"/>
                      </a:lnTo>
                      <a:lnTo>
                        <a:pt x="8" y="114"/>
                      </a:lnTo>
                      <a:lnTo>
                        <a:pt x="12" y="118"/>
                      </a:lnTo>
                      <a:lnTo>
                        <a:pt x="18" y="120"/>
                      </a:lnTo>
                      <a:lnTo>
                        <a:pt x="22" y="124"/>
                      </a:lnTo>
                      <a:lnTo>
                        <a:pt x="26" y="126"/>
                      </a:lnTo>
                      <a:lnTo>
                        <a:pt x="30" y="128"/>
                      </a:lnTo>
                      <a:lnTo>
                        <a:pt x="34" y="130"/>
                      </a:lnTo>
                      <a:lnTo>
                        <a:pt x="36" y="132"/>
                      </a:lnTo>
                      <a:lnTo>
                        <a:pt x="40" y="134"/>
                      </a:lnTo>
                      <a:lnTo>
                        <a:pt x="42" y="136"/>
                      </a:lnTo>
                      <a:lnTo>
                        <a:pt x="44" y="138"/>
                      </a:lnTo>
                      <a:lnTo>
                        <a:pt x="48" y="140"/>
                      </a:lnTo>
                      <a:lnTo>
                        <a:pt x="52" y="142"/>
                      </a:lnTo>
                      <a:lnTo>
                        <a:pt x="54" y="144"/>
                      </a:lnTo>
                      <a:lnTo>
                        <a:pt x="58" y="146"/>
                      </a:lnTo>
                      <a:lnTo>
                        <a:pt x="60" y="148"/>
                      </a:lnTo>
                      <a:lnTo>
                        <a:pt x="62" y="148"/>
                      </a:lnTo>
                      <a:lnTo>
                        <a:pt x="64" y="150"/>
                      </a:lnTo>
                      <a:lnTo>
                        <a:pt x="64" y="152"/>
                      </a:lnTo>
                      <a:lnTo>
                        <a:pt x="64" y="154"/>
                      </a:lnTo>
                      <a:lnTo>
                        <a:pt x="62" y="154"/>
                      </a:lnTo>
                      <a:lnTo>
                        <a:pt x="62" y="156"/>
                      </a:lnTo>
                      <a:lnTo>
                        <a:pt x="60" y="156"/>
                      </a:lnTo>
                      <a:lnTo>
                        <a:pt x="66" y="160"/>
                      </a:lnTo>
                      <a:lnTo>
                        <a:pt x="70" y="164"/>
                      </a:lnTo>
                      <a:lnTo>
                        <a:pt x="74" y="168"/>
                      </a:lnTo>
                      <a:lnTo>
                        <a:pt x="76" y="172"/>
                      </a:lnTo>
                      <a:lnTo>
                        <a:pt x="80" y="172"/>
                      </a:lnTo>
                      <a:lnTo>
                        <a:pt x="82" y="174"/>
                      </a:lnTo>
                      <a:lnTo>
                        <a:pt x="82" y="176"/>
                      </a:lnTo>
                      <a:lnTo>
                        <a:pt x="84" y="178"/>
                      </a:lnTo>
                      <a:lnTo>
                        <a:pt x="86" y="180"/>
                      </a:lnTo>
                      <a:lnTo>
                        <a:pt x="88" y="180"/>
                      </a:lnTo>
                      <a:lnTo>
                        <a:pt x="88" y="182"/>
                      </a:lnTo>
                      <a:lnTo>
                        <a:pt x="88" y="180"/>
                      </a:lnTo>
                      <a:lnTo>
                        <a:pt x="90" y="180"/>
                      </a:lnTo>
                      <a:lnTo>
                        <a:pt x="92" y="180"/>
                      </a:lnTo>
                      <a:lnTo>
                        <a:pt x="94" y="178"/>
                      </a:lnTo>
                      <a:lnTo>
                        <a:pt x="94" y="174"/>
                      </a:lnTo>
                      <a:lnTo>
                        <a:pt x="96" y="172"/>
                      </a:lnTo>
                      <a:lnTo>
                        <a:pt x="98" y="170"/>
                      </a:lnTo>
                      <a:lnTo>
                        <a:pt x="98" y="168"/>
                      </a:lnTo>
                      <a:lnTo>
                        <a:pt x="100" y="168"/>
                      </a:lnTo>
                      <a:lnTo>
                        <a:pt x="100" y="166"/>
                      </a:lnTo>
                      <a:lnTo>
                        <a:pt x="100" y="164"/>
                      </a:lnTo>
                      <a:lnTo>
                        <a:pt x="100" y="162"/>
                      </a:lnTo>
                      <a:lnTo>
                        <a:pt x="100" y="160"/>
                      </a:lnTo>
                      <a:lnTo>
                        <a:pt x="100" y="158"/>
                      </a:lnTo>
                      <a:lnTo>
                        <a:pt x="100" y="156"/>
                      </a:lnTo>
                      <a:lnTo>
                        <a:pt x="102" y="154"/>
                      </a:lnTo>
                      <a:lnTo>
                        <a:pt x="104" y="154"/>
                      </a:lnTo>
                      <a:lnTo>
                        <a:pt x="106" y="152"/>
                      </a:lnTo>
                      <a:lnTo>
                        <a:pt x="106" y="150"/>
                      </a:lnTo>
                      <a:lnTo>
                        <a:pt x="106" y="148"/>
                      </a:lnTo>
                      <a:lnTo>
                        <a:pt x="106" y="146"/>
                      </a:lnTo>
                      <a:lnTo>
                        <a:pt x="106" y="144"/>
                      </a:lnTo>
                      <a:lnTo>
                        <a:pt x="106" y="142"/>
                      </a:lnTo>
                      <a:lnTo>
                        <a:pt x="110" y="140"/>
                      </a:lnTo>
                      <a:lnTo>
                        <a:pt x="112" y="140"/>
                      </a:lnTo>
                      <a:lnTo>
                        <a:pt x="114" y="140"/>
                      </a:lnTo>
                      <a:lnTo>
                        <a:pt x="114" y="138"/>
                      </a:lnTo>
                      <a:lnTo>
                        <a:pt x="116" y="138"/>
                      </a:lnTo>
                      <a:lnTo>
                        <a:pt x="116" y="134"/>
                      </a:lnTo>
                      <a:lnTo>
                        <a:pt x="116" y="132"/>
                      </a:lnTo>
                      <a:lnTo>
                        <a:pt x="116" y="130"/>
                      </a:lnTo>
                      <a:lnTo>
                        <a:pt x="116" y="128"/>
                      </a:lnTo>
                      <a:lnTo>
                        <a:pt x="118" y="128"/>
                      </a:lnTo>
                      <a:lnTo>
                        <a:pt x="120" y="128"/>
                      </a:lnTo>
                      <a:lnTo>
                        <a:pt x="122" y="128"/>
                      </a:lnTo>
                      <a:lnTo>
                        <a:pt x="124" y="128"/>
                      </a:lnTo>
                      <a:lnTo>
                        <a:pt x="126" y="128"/>
                      </a:lnTo>
                      <a:lnTo>
                        <a:pt x="128" y="126"/>
                      </a:lnTo>
                      <a:lnTo>
                        <a:pt x="128" y="124"/>
                      </a:lnTo>
                      <a:lnTo>
                        <a:pt x="130" y="124"/>
                      </a:lnTo>
                      <a:lnTo>
                        <a:pt x="130" y="122"/>
                      </a:lnTo>
                      <a:lnTo>
                        <a:pt x="128" y="120"/>
                      </a:lnTo>
                      <a:lnTo>
                        <a:pt x="126" y="118"/>
                      </a:lnTo>
                      <a:lnTo>
                        <a:pt x="126" y="116"/>
                      </a:lnTo>
                      <a:lnTo>
                        <a:pt x="124" y="114"/>
                      </a:lnTo>
                      <a:lnTo>
                        <a:pt x="124" y="112"/>
                      </a:lnTo>
                      <a:lnTo>
                        <a:pt x="122" y="112"/>
                      </a:lnTo>
                      <a:lnTo>
                        <a:pt x="120" y="110"/>
                      </a:lnTo>
                      <a:lnTo>
                        <a:pt x="120" y="108"/>
                      </a:lnTo>
                      <a:lnTo>
                        <a:pt x="120" y="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0" name="Freeform 76">
                  <a:extLst>
                    <a:ext uri="{FF2B5EF4-FFF2-40B4-BE49-F238E27FC236}">
                      <a16:creationId xmlns:a16="http://schemas.microsoft.com/office/drawing/2014/main" id="{DCEA4820-AC81-46E4-91B2-299D400DD3F5}"/>
                    </a:ext>
                  </a:extLst>
                </p:cNvPr>
                <p:cNvSpPr>
                  <a:spLocks noChangeAspect="1"/>
                </p:cNvSpPr>
                <p:nvPr/>
              </p:nvSpPr>
              <p:spPr bwMode="auto">
                <a:xfrm>
                  <a:off x="5142787" y="5214766"/>
                  <a:ext cx="65775" cy="69759"/>
                </a:xfrm>
                <a:custGeom>
                  <a:avLst/>
                  <a:gdLst/>
                  <a:ahLst/>
                  <a:cxnLst>
                    <a:cxn ang="0">
                      <a:pos x="2" y="22"/>
                    </a:cxn>
                    <a:cxn ang="0">
                      <a:pos x="4" y="26"/>
                    </a:cxn>
                    <a:cxn ang="0">
                      <a:pos x="6" y="28"/>
                    </a:cxn>
                    <a:cxn ang="0">
                      <a:pos x="6" y="28"/>
                    </a:cxn>
                    <a:cxn ang="0">
                      <a:pos x="6" y="30"/>
                    </a:cxn>
                    <a:cxn ang="0">
                      <a:pos x="6" y="32"/>
                    </a:cxn>
                    <a:cxn ang="0">
                      <a:pos x="6" y="32"/>
                    </a:cxn>
                    <a:cxn ang="0">
                      <a:pos x="10" y="36"/>
                    </a:cxn>
                    <a:cxn ang="0">
                      <a:pos x="12" y="38"/>
                    </a:cxn>
                    <a:cxn ang="0">
                      <a:pos x="12" y="38"/>
                    </a:cxn>
                    <a:cxn ang="0">
                      <a:pos x="14" y="38"/>
                    </a:cxn>
                    <a:cxn ang="0">
                      <a:pos x="16" y="38"/>
                    </a:cxn>
                    <a:cxn ang="0">
                      <a:pos x="18" y="38"/>
                    </a:cxn>
                    <a:cxn ang="0">
                      <a:pos x="18" y="38"/>
                    </a:cxn>
                    <a:cxn ang="0">
                      <a:pos x="18" y="38"/>
                    </a:cxn>
                    <a:cxn ang="0">
                      <a:pos x="18" y="34"/>
                    </a:cxn>
                    <a:cxn ang="0">
                      <a:pos x="20" y="32"/>
                    </a:cxn>
                    <a:cxn ang="0">
                      <a:pos x="24" y="30"/>
                    </a:cxn>
                    <a:cxn ang="0">
                      <a:pos x="28" y="30"/>
                    </a:cxn>
                    <a:cxn ang="0">
                      <a:pos x="32" y="28"/>
                    </a:cxn>
                    <a:cxn ang="0">
                      <a:pos x="34" y="26"/>
                    </a:cxn>
                    <a:cxn ang="0">
                      <a:pos x="36" y="26"/>
                    </a:cxn>
                    <a:cxn ang="0">
                      <a:pos x="34" y="24"/>
                    </a:cxn>
                    <a:cxn ang="0">
                      <a:pos x="34" y="22"/>
                    </a:cxn>
                    <a:cxn ang="0">
                      <a:pos x="34" y="22"/>
                    </a:cxn>
                    <a:cxn ang="0">
                      <a:pos x="38" y="18"/>
                    </a:cxn>
                    <a:cxn ang="0">
                      <a:pos x="40" y="18"/>
                    </a:cxn>
                    <a:cxn ang="0">
                      <a:pos x="40" y="16"/>
                    </a:cxn>
                    <a:cxn ang="0">
                      <a:pos x="40" y="14"/>
                    </a:cxn>
                    <a:cxn ang="0">
                      <a:pos x="40" y="12"/>
                    </a:cxn>
                    <a:cxn ang="0">
                      <a:pos x="40" y="12"/>
                    </a:cxn>
                    <a:cxn ang="0">
                      <a:pos x="40" y="10"/>
                    </a:cxn>
                    <a:cxn ang="0">
                      <a:pos x="38" y="10"/>
                    </a:cxn>
                    <a:cxn ang="0">
                      <a:pos x="36" y="10"/>
                    </a:cxn>
                    <a:cxn ang="0">
                      <a:pos x="36" y="10"/>
                    </a:cxn>
                    <a:cxn ang="0">
                      <a:pos x="36" y="8"/>
                    </a:cxn>
                    <a:cxn ang="0">
                      <a:pos x="34" y="6"/>
                    </a:cxn>
                    <a:cxn ang="0">
                      <a:pos x="30" y="2"/>
                    </a:cxn>
                    <a:cxn ang="0">
                      <a:pos x="28" y="0"/>
                    </a:cxn>
                    <a:cxn ang="0">
                      <a:pos x="24" y="0"/>
                    </a:cxn>
                    <a:cxn ang="0">
                      <a:pos x="22" y="0"/>
                    </a:cxn>
                    <a:cxn ang="0">
                      <a:pos x="22" y="2"/>
                    </a:cxn>
                    <a:cxn ang="0">
                      <a:pos x="20" y="2"/>
                    </a:cxn>
                    <a:cxn ang="0">
                      <a:pos x="20" y="2"/>
                    </a:cxn>
                    <a:cxn ang="0">
                      <a:pos x="20" y="4"/>
                    </a:cxn>
                    <a:cxn ang="0">
                      <a:pos x="20" y="6"/>
                    </a:cxn>
                    <a:cxn ang="0">
                      <a:pos x="20" y="6"/>
                    </a:cxn>
                    <a:cxn ang="0">
                      <a:pos x="20" y="6"/>
                    </a:cxn>
                    <a:cxn ang="0">
                      <a:pos x="18" y="6"/>
                    </a:cxn>
                    <a:cxn ang="0">
                      <a:pos x="14" y="6"/>
                    </a:cxn>
                    <a:cxn ang="0">
                      <a:pos x="12" y="8"/>
                    </a:cxn>
                    <a:cxn ang="0">
                      <a:pos x="12" y="10"/>
                    </a:cxn>
                    <a:cxn ang="0">
                      <a:pos x="10" y="12"/>
                    </a:cxn>
                    <a:cxn ang="0">
                      <a:pos x="8" y="14"/>
                    </a:cxn>
                    <a:cxn ang="0">
                      <a:pos x="6" y="16"/>
                    </a:cxn>
                    <a:cxn ang="0">
                      <a:pos x="6" y="16"/>
                    </a:cxn>
                    <a:cxn ang="0">
                      <a:pos x="6" y="18"/>
                    </a:cxn>
                    <a:cxn ang="0">
                      <a:pos x="6" y="18"/>
                    </a:cxn>
                    <a:cxn ang="0">
                      <a:pos x="0" y="20"/>
                    </a:cxn>
                    <a:cxn ang="0">
                      <a:pos x="0" y="20"/>
                    </a:cxn>
                  </a:cxnLst>
                  <a:rect l="0" t="0" r="r" b="b"/>
                  <a:pathLst>
                    <a:path w="40" h="40">
                      <a:moveTo>
                        <a:pt x="0" y="20"/>
                      </a:moveTo>
                      <a:lnTo>
                        <a:pt x="2" y="22"/>
                      </a:lnTo>
                      <a:lnTo>
                        <a:pt x="4" y="24"/>
                      </a:lnTo>
                      <a:lnTo>
                        <a:pt x="4" y="26"/>
                      </a:lnTo>
                      <a:lnTo>
                        <a:pt x="4" y="28"/>
                      </a:lnTo>
                      <a:lnTo>
                        <a:pt x="6" y="28"/>
                      </a:lnTo>
                      <a:lnTo>
                        <a:pt x="6" y="30"/>
                      </a:lnTo>
                      <a:lnTo>
                        <a:pt x="6" y="32"/>
                      </a:lnTo>
                      <a:lnTo>
                        <a:pt x="8" y="34"/>
                      </a:lnTo>
                      <a:lnTo>
                        <a:pt x="10" y="36"/>
                      </a:lnTo>
                      <a:lnTo>
                        <a:pt x="10" y="38"/>
                      </a:lnTo>
                      <a:lnTo>
                        <a:pt x="12" y="38"/>
                      </a:lnTo>
                      <a:lnTo>
                        <a:pt x="12" y="40"/>
                      </a:lnTo>
                      <a:lnTo>
                        <a:pt x="14" y="38"/>
                      </a:lnTo>
                      <a:lnTo>
                        <a:pt x="16" y="38"/>
                      </a:lnTo>
                      <a:lnTo>
                        <a:pt x="18" y="38"/>
                      </a:lnTo>
                      <a:lnTo>
                        <a:pt x="18" y="36"/>
                      </a:lnTo>
                      <a:lnTo>
                        <a:pt x="18" y="34"/>
                      </a:lnTo>
                      <a:lnTo>
                        <a:pt x="20" y="32"/>
                      </a:lnTo>
                      <a:lnTo>
                        <a:pt x="22" y="30"/>
                      </a:lnTo>
                      <a:lnTo>
                        <a:pt x="24" y="30"/>
                      </a:lnTo>
                      <a:lnTo>
                        <a:pt x="26" y="30"/>
                      </a:lnTo>
                      <a:lnTo>
                        <a:pt x="28" y="30"/>
                      </a:lnTo>
                      <a:lnTo>
                        <a:pt x="30" y="30"/>
                      </a:lnTo>
                      <a:lnTo>
                        <a:pt x="32" y="28"/>
                      </a:lnTo>
                      <a:lnTo>
                        <a:pt x="34" y="28"/>
                      </a:lnTo>
                      <a:lnTo>
                        <a:pt x="34" y="26"/>
                      </a:lnTo>
                      <a:lnTo>
                        <a:pt x="36" y="26"/>
                      </a:lnTo>
                      <a:lnTo>
                        <a:pt x="36" y="24"/>
                      </a:lnTo>
                      <a:lnTo>
                        <a:pt x="34" y="24"/>
                      </a:lnTo>
                      <a:lnTo>
                        <a:pt x="34" y="22"/>
                      </a:lnTo>
                      <a:lnTo>
                        <a:pt x="36" y="20"/>
                      </a:lnTo>
                      <a:lnTo>
                        <a:pt x="38" y="18"/>
                      </a:lnTo>
                      <a:lnTo>
                        <a:pt x="40" y="18"/>
                      </a:lnTo>
                      <a:lnTo>
                        <a:pt x="40" y="16"/>
                      </a:lnTo>
                      <a:lnTo>
                        <a:pt x="40" y="14"/>
                      </a:lnTo>
                      <a:lnTo>
                        <a:pt x="40" y="12"/>
                      </a:lnTo>
                      <a:lnTo>
                        <a:pt x="40" y="10"/>
                      </a:lnTo>
                      <a:lnTo>
                        <a:pt x="38" y="10"/>
                      </a:lnTo>
                      <a:lnTo>
                        <a:pt x="36" y="10"/>
                      </a:lnTo>
                      <a:lnTo>
                        <a:pt x="36" y="8"/>
                      </a:lnTo>
                      <a:lnTo>
                        <a:pt x="34" y="8"/>
                      </a:lnTo>
                      <a:lnTo>
                        <a:pt x="34" y="6"/>
                      </a:lnTo>
                      <a:lnTo>
                        <a:pt x="32" y="4"/>
                      </a:lnTo>
                      <a:lnTo>
                        <a:pt x="30" y="2"/>
                      </a:lnTo>
                      <a:lnTo>
                        <a:pt x="28" y="0"/>
                      </a:lnTo>
                      <a:lnTo>
                        <a:pt x="24" y="0"/>
                      </a:lnTo>
                      <a:lnTo>
                        <a:pt x="22" y="0"/>
                      </a:lnTo>
                      <a:lnTo>
                        <a:pt x="22" y="2"/>
                      </a:lnTo>
                      <a:lnTo>
                        <a:pt x="20" y="2"/>
                      </a:lnTo>
                      <a:lnTo>
                        <a:pt x="20" y="4"/>
                      </a:lnTo>
                      <a:lnTo>
                        <a:pt x="20" y="6"/>
                      </a:lnTo>
                      <a:lnTo>
                        <a:pt x="18" y="6"/>
                      </a:lnTo>
                      <a:lnTo>
                        <a:pt x="16" y="6"/>
                      </a:lnTo>
                      <a:lnTo>
                        <a:pt x="14" y="6"/>
                      </a:lnTo>
                      <a:lnTo>
                        <a:pt x="12" y="8"/>
                      </a:lnTo>
                      <a:lnTo>
                        <a:pt x="12" y="10"/>
                      </a:lnTo>
                      <a:lnTo>
                        <a:pt x="10" y="12"/>
                      </a:lnTo>
                      <a:lnTo>
                        <a:pt x="8" y="14"/>
                      </a:lnTo>
                      <a:lnTo>
                        <a:pt x="6" y="16"/>
                      </a:lnTo>
                      <a:lnTo>
                        <a:pt x="6" y="18"/>
                      </a:lnTo>
                      <a:lnTo>
                        <a:pt x="0" y="2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1" name="Freeform 77">
                  <a:extLst>
                    <a:ext uri="{FF2B5EF4-FFF2-40B4-BE49-F238E27FC236}">
                      <a16:creationId xmlns:a16="http://schemas.microsoft.com/office/drawing/2014/main" id="{958FDD55-F1A0-4035-8550-BBFE788AF328}"/>
                    </a:ext>
                  </a:extLst>
                </p:cNvPr>
                <p:cNvSpPr>
                  <a:spLocks noChangeAspect="1" noEditPoints="1"/>
                </p:cNvSpPr>
                <p:nvPr/>
              </p:nvSpPr>
              <p:spPr bwMode="auto">
                <a:xfrm>
                  <a:off x="4859958" y="4998514"/>
                  <a:ext cx="443978" cy="425527"/>
                </a:xfrm>
                <a:custGeom>
                  <a:avLst/>
                  <a:gdLst/>
                  <a:ahLst/>
                  <a:cxnLst>
                    <a:cxn ang="0">
                      <a:pos x="260" y="90"/>
                    </a:cxn>
                    <a:cxn ang="0">
                      <a:pos x="246" y="100"/>
                    </a:cxn>
                    <a:cxn ang="0">
                      <a:pos x="238" y="84"/>
                    </a:cxn>
                    <a:cxn ang="0">
                      <a:pos x="244" y="70"/>
                    </a:cxn>
                    <a:cxn ang="0">
                      <a:pos x="254" y="72"/>
                    </a:cxn>
                    <a:cxn ang="0">
                      <a:pos x="256" y="36"/>
                    </a:cxn>
                    <a:cxn ang="0">
                      <a:pos x="250" y="14"/>
                    </a:cxn>
                    <a:cxn ang="0">
                      <a:pos x="228" y="2"/>
                    </a:cxn>
                    <a:cxn ang="0">
                      <a:pos x="204" y="6"/>
                    </a:cxn>
                    <a:cxn ang="0">
                      <a:pos x="192" y="14"/>
                    </a:cxn>
                    <a:cxn ang="0">
                      <a:pos x="178" y="26"/>
                    </a:cxn>
                    <a:cxn ang="0">
                      <a:pos x="172" y="42"/>
                    </a:cxn>
                    <a:cxn ang="0">
                      <a:pos x="162" y="50"/>
                    </a:cxn>
                    <a:cxn ang="0">
                      <a:pos x="154" y="60"/>
                    </a:cxn>
                    <a:cxn ang="0">
                      <a:pos x="144" y="70"/>
                    </a:cxn>
                    <a:cxn ang="0">
                      <a:pos x="130" y="68"/>
                    </a:cxn>
                    <a:cxn ang="0">
                      <a:pos x="118" y="62"/>
                    </a:cxn>
                    <a:cxn ang="0">
                      <a:pos x="106" y="64"/>
                    </a:cxn>
                    <a:cxn ang="0">
                      <a:pos x="96" y="80"/>
                    </a:cxn>
                    <a:cxn ang="0">
                      <a:pos x="86" y="90"/>
                    </a:cxn>
                    <a:cxn ang="0">
                      <a:pos x="70" y="80"/>
                    </a:cxn>
                    <a:cxn ang="0">
                      <a:pos x="70" y="64"/>
                    </a:cxn>
                    <a:cxn ang="0">
                      <a:pos x="58" y="108"/>
                    </a:cxn>
                    <a:cxn ang="0">
                      <a:pos x="46" y="132"/>
                    </a:cxn>
                    <a:cxn ang="0">
                      <a:pos x="36" y="130"/>
                    </a:cxn>
                    <a:cxn ang="0">
                      <a:pos x="22" y="128"/>
                    </a:cxn>
                    <a:cxn ang="0">
                      <a:pos x="10" y="114"/>
                    </a:cxn>
                    <a:cxn ang="0">
                      <a:pos x="0" y="126"/>
                    </a:cxn>
                    <a:cxn ang="0">
                      <a:pos x="6" y="136"/>
                    </a:cxn>
                    <a:cxn ang="0">
                      <a:pos x="16" y="168"/>
                    </a:cxn>
                    <a:cxn ang="0">
                      <a:pos x="30" y="190"/>
                    </a:cxn>
                    <a:cxn ang="0">
                      <a:pos x="22" y="204"/>
                    </a:cxn>
                    <a:cxn ang="0">
                      <a:pos x="28" y="222"/>
                    </a:cxn>
                    <a:cxn ang="0">
                      <a:pos x="34" y="230"/>
                    </a:cxn>
                    <a:cxn ang="0">
                      <a:pos x="44" y="236"/>
                    </a:cxn>
                    <a:cxn ang="0">
                      <a:pos x="58" y="240"/>
                    </a:cxn>
                    <a:cxn ang="0">
                      <a:pos x="82" y="236"/>
                    </a:cxn>
                    <a:cxn ang="0">
                      <a:pos x="100" y="228"/>
                    </a:cxn>
                    <a:cxn ang="0">
                      <a:pos x="110" y="228"/>
                    </a:cxn>
                    <a:cxn ang="0">
                      <a:pos x="136" y="228"/>
                    </a:cxn>
                    <a:cxn ang="0">
                      <a:pos x="150" y="224"/>
                    </a:cxn>
                    <a:cxn ang="0">
                      <a:pos x="168" y="222"/>
                    </a:cxn>
                    <a:cxn ang="0">
                      <a:pos x="190" y="204"/>
                    </a:cxn>
                    <a:cxn ang="0">
                      <a:pos x="208" y="184"/>
                    </a:cxn>
                    <a:cxn ang="0">
                      <a:pos x="222" y="174"/>
                    </a:cxn>
                    <a:cxn ang="0">
                      <a:pos x="234" y="154"/>
                    </a:cxn>
                    <a:cxn ang="0">
                      <a:pos x="244" y="136"/>
                    </a:cxn>
                    <a:cxn ang="0">
                      <a:pos x="260" y="126"/>
                    </a:cxn>
                    <a:cxn ang="0">
                      <a:pos x="266" y="108"/>
                    </a:cxn>
                    <a:cxn ang="0">
                      <a:pos x="212" y="140"/>
                    </a:cxn>
                    <a:cxn ang="0">
                      <a:pos x="206" y="152"/>
                    </a:cxn>
                    <a:cxn ang="0">
                      <a:pos x="190" y="162"/>
                    </a:cxn>
                    <a:cxn ang="0">
                      <a:pos x="178" y="156"/>
                    </a:cxn>
                    <a:cxn ang="0">
                      <a:pos x="178" y="142"/>
                    </a:cxn>
                    <a:cxn ang="0">
                      <a:pos x="184" y="132"/>
                    </a:cxn>
                    <a:cxn ang="0">
                      <a:pos x="194" y="126"/>
                    </a:cxn>
                    <a:cxn ang="0">
                      <a:pos x="208" y="134"/>
                    </a:cxn>
                  </a:cxnLst>
                  <a:rect l="0" t="0" r="r" b="b"/>
                  <a:pathLst>
                    <a:path w="270" h="244">
                      <a:moveTo>
                        <a:pt x="270" y="92"/>
                      </a:moveTo>
                      <a:lnTo>
                        <a:pt x="268" y="92"/>
                      </a:lnTo>
                      <a:lnTo>
                        <a:pt x="266" y="90"/>
                      </a:lnTo>
                      <a:lnTo>
                        <a:pt x="264" y="90"/>
                      </a:lnTo>
                      <a:lnTo>
                        <a:pt x="264" y="88"/>
                      </a:lnTo>
                      <a:lnTo>
                        <a:pt x="262" y="90"/>
                      </a:lnTo>
                      <a:lnTo>
                        <a:pt x="260" y="90"/>
                      </a:lnTo>
                      <a:lnTo>
                        <a:pt x="258" y="90"/>
                      </a:lnTo>
                      <a:lnTo>
                        <a:pt x="258" y="94"/>
                      </a:lnTo>
                      <a:lnTo>
                        <a:pt x="258" y="96"/>
                      </a:lnTo>
                      <a:lnTo>
                        <a:pt x="256" y="98"/>
                      </a:lnTo>
                      <a:lnTo>
                        <a:pt x="256" y="100"/>
                      </a:lnTo>
                      <a:lnTo>
                        <a:pt x="254" y="100"/>
                      </a:lnTo>
                      <a:lnTo>
                        <a:pt x="246" y="100"/>
                      </a:lnTo>
                      <a:lnTo>
                        <a:pt x="246" y="98"/>
                      </a:lnTo>
                      <a:lnTo>
                        <a:pt x="244" y="98"/>
                      </a:lnTo>
                      <a:lnTo>
                        <a:pt x="242" y="96"/>
                      </a:lnTo>
                      <a:lnTo>
                        <a:pt x="240" y="94"/>
                      </a:lnTo>
                      <a:lnTo>
                        <a:pt x="238" y="92"/>
                      </a:lnTo>
                      <a:lnTo>
                        <a:pt x="238" y="86"/>
                      </a:lnTo>
                      <a:lnTo>
                        <a:pt x="238" y="84"/>
                      </a:lnTo>
                      <a:lnTo>
                        <a:pt x="240" y="82"/>
                      </a:lnTo>
                      <a:lnTo>
                        <a:pt x="240" y="80"/>
                      </a:lnTo>
                      <a:lnTo>
                        <a:pt x="240" y="78"/>
                      </a:lnTo>
                      <a:lnTo>
                        <a:pt x="242" y="76"/>
                      </a:lnTo>
                      <a:lnTo>
                        <a:pt x="242" y="74"/>
                      </a:lnTo>
                      <a:lnTo>
                        <a:pt x="242" y="72"/>
                      </a:lnTo>
                      <a:lnTo>
                        <a:pt x="244" y="70"/>
                      </a:lnTo>
                      <a:lnTo>
                        <a:pt x="246" y="68"/>
                      </a:lnTo>
                      <a:lnTo>
                        <a:pt x="250" y="72"/>
                      </a:lnTo>
                      <a:lnTo>
                        <a:pt x="252" y="74"/>
                      </a:lnTo>
                      <a:lnTo>
                        <a:pt x="254" y="72"/>
                      </a:lnTo>
                      <a:lnTo>
                        <a:pt x="256" y="68"/>
                      </a:lnTo>
                      <a:lnTo>
                        <a:pt x="258" y="66"/>
                      </a:lnTo>
                      <a:lnTo>
                        <a:pt x="260" y="66"/>
                      </a:lnTo>
                      <a:lnTo>
                        <a:pt x="260" y="44"/>
                      </a:lnTo>
                      <a:lnTo>
                        <a:pt x="258" y="40"/>
                      </a:lnTo>
                      <a:lnTo>
                        <a:pt x="258" y="38"/>
                      </a:lnTo>
                      <a:lnTo>
                        <a:pt x="256" y="36"/>
                      </a:lnTo>
                      <a:lnTo>
                        <a:pt x="254" y="34"/>
                      </a:lnTo>
                      <a:lnTo>
                        <a:pt x="254" y="32"/>
                      </a:lnTo>
                      <a:lnTo>
                        <a:pt x="252" y="28"/>
                      </a:lnTo>
                      <a:lnTo>
                        <a:pt x="252" y="26"/>
                      </a:lnTo>
                      <a:lnTo>
                        <a:pt x="250" y="24"/>
                      </a:lnTo>
                      <a:lnTo>
                        <a:pt x="250" y="22"/>
                      </a:lnTo>
                      <a:lnTo>
                        <a:pt x="250" y="18"/>
                      </a:lnTo>
                      <a:lnTo>
                        <a:pt x="250" y="14"/>
                      </a:lnTo>
                      <a:lnTo>
                        <a:pt x="248" y="12"/>
                      </a:lnTo>
                      <a:lnTo>
                        <a:pt x="248" y="6"/>
                      </a:lnTo>
                      <a:lnTo>
                        <a:pt x="246" y="4"/>
                      </a:lnTo>
                      <a:lnTo>
                        <a:pt x="244" y="4"/>
                      </a:lnTo>
                      <a:lnTo>
                        <a:pt x="232" y="4"/>
                      </a:lnTo>
                      <a:lnTo>
                        <a:pt x="230" y="2"/>
                      </a:lnTo>
                      <a:lnTo>
                        <a:pt x="228" y="2"/>
                      </a:lnTo>
                      <a:lnTo>
                        <a:pt x="226" y="2"/>
                      </a:lnTo>
                      <a:lnTo>
                        <a:pt x="224" y="0"/>
                      </a:lnTo>
                      <a:lnTo>
                        <a:pt x="210" y="0"/>
                      </a:lnTo>
                      <a:lnTo>
                        <a:pt x="208" y="2"/>
                      </a:lnTo>
                      <a:lnTo>
                        <a:pt x="208" y="4"/>
                      </a:lnTo>
                      <a:lnTo>
                        <a:pt x="206" y="6"/>
                      </a:lnTo>
                      <a:lnTo>
                        <a:pt x="204" y="6"/>
                      </a:lnTo>
                      <a:lnTo>
                        <a:pt x="204" y="8"/>
                      </a:lnTo>
                      <a:lnTo>
                        <a:pt x="200" y="8"/>
                      </a:lnTo>
                      <a:lnTo>
                        <a:pt x="198" y="8"/>
                      </a:lnTo>
                      <a:lnTo>
                        <a:pt x="196" y="8"/>
                      </a:lnTo>
                      <a:lnTo>
                        <a:pt x="196" y="10"/>
                      </a:lnTo>
                      <a:lnTo>
                        <a:pt x="194" y="10"/>
                      </a:lnTo>
                      <a:lnTo>
                        <a:pt x="194" y="12"/>
                      </a:lnTo>
                      <a:lnTo>
                        <a:pt x="192" y="14"/>
                      </a:lnTo>
                      <a:lnTo>
                        <a:pt x="192" y="16"/>
                      </a:lnTo>
                      <a:lnTo>
                        <a:pt x="190" y="18"/>
                      </a:lnTo>
                      <a:lnTo>
                        <a:pt x="186" y="22"/>
                      </a:lnTo>
                      <a:lnTo>
                        <a:pt x="186" y="24"/>
                      </a:lnTo>
                      <a:lnTo>
                        <a:pt x="184" y="24"/>
                      </a:lnTo>
                      <a:lnTo>
                        <a:pt x="182" y="24"/>
                      </a:lnTo>
                      <a:lnTo>
                        <a:pt x="180" y="26"/>
                      </a:lnTo>
                      <a:lnTo>
                        <a:pt x="178" y="26"/>
                      </a:lnTo>
                      <a:lnTo>
                        <a:pt x="178" y="28"/>
                      </a:lnTo>
                      <a:lnTo>
                        <a:pt x="176" y="28"/>
                      </a:lnTo>
                      <a:lnTo>
                        <a:pt x="176" y="30"/>
                      </a:lnTo>
                      <a:lnTo>
                        <a:pt x="174" y="30"/>
                      </a:lnTo>
                      <a:lnTo>
                        <a:pt x="174" y="32"/>
                      </a:lnTo>
                      <a:lnTo>
                        <a:pt x="172" y="34"/>
                      </a:lnTo>
                      <a:lnTo>
                        <a:pt x="172" y="40"/>
                      </a:lnTo>
                      <a:lnTo>
                        <a:pt x="172" y="42"/>
                      </a:lnTo>
                      <a:lnTo>
                        <a:pt x="170" y="42"/>
                      </a:lnTo>
                      <a:lnTo>
                        <a:pt x="170" y="44"/>
                      </a:lnTo>
                      <a:lnTo>
                        <a:pt x="168" y="46"/>
                      </a:lnTo>
                      <a:lnTo>
                        <a:pt x="168" y="48"/>
                      </a:lnTo>
                      <a:lnTo>
                        <a:pt x="166" y="48"/>
                      </a:lnTo>
                      <a:lnTo>
                        <a:pt x="164" y="50"/>
                      </a:lnTo>
                      <a:lnTo>
                        <a:pt x="162" y="50"/>
                      </a:lnTo>
                      <a:lnTo>
                        <a:pt x="160" y="50"/>
                      </a:lnTo>
                      <a:lnTo>
                        <a:pt x="158" y="52"/>
                      </a:lnTo>
                      <a:lnTo>
                        <a:pt x="156" y="54"/>
                      </a:lnTo>
                      <a:lnTo>
                        <a:pt x="156" y="56"/>
                      </a:lnTo>
                      <a:lnTo>
                        <a:pt x="154" y="58"/>
                      </a:lnTo>
                      <a:lnTo>
                        <a:pt x="154" y="60"/>
                      </a:lnTo>
                      <a:lnTo>
                        <a:pt x="154" y="62"/>
                      </a:lnTo>
                      <a:lnTo>
                        <a:pt x="152" y="66"/>
                      </a:lnTo>
                      <a:lnTo>
                        <a:pt x="152" y="68"/>
                      </a:lnTo>
                      <a:lnTo>
                        <a:pt x="150" y="68"/>
                      </a:lnTo>
                      <a:lnTo>
                        <a:pt x="148" y="70"/>
                      </a:lnTo>
                      <a:lnTo>
                        <a:pt x="144" y="70"/>
                      </a:lnTo>
                      <a:lnTo>
                        <a:pt x="144" y="68"/>
                      </a:lnTo>
                      <a:lnTo>
                        <a:pt x="144" y="70"/>
                      </a:lnTo>
                      <a:lnTo>
                        <a:pt x="142" y="70"/>
                      </a:lnTo>
                      <a:lnTo>
                        <a:pt x="138" y="72"/>
                      </a:lnTo>
                      <a:lnTo>
                        <a:pt x="136" y="72"/>
                      </a:lnTo>
                      <a:lnTo>
                        <a:pt x="132" y="70"/>
                      </a:lnTo>
                      <a:lnTo>
                        <a:pt x="130" y="68"/>
                      </a:lnTo>
                      <a:lnTo>
                        <a:pt x="128" y="68"/>
                      </a:lnTo>
                      <a:lnTo>
                        <a:pt x="124" y="68"/>
                      </a:lnTo>
                      <a:lnTo>
                        <a:pt x="122" y="66"/>
                      </a:lnTo>
                      <a:lnTo>
                        <a:pt x="122" y="64"/>
                      </a:lnTo>
                      <a:lnTo>
                        <a:pt x="120" y="64"/>
                      </a:lnTo>
                      <a:lnTo>
                        <a:pt x="118" y="62"/>
                      </a:lnTo>
                      <a:lnTo>
                        <a:pt x="116" y="62"/>
                      </a:lnTo>
                      <a:lnTo>
                        <a:pt x="114" y="60"/>
                      </a:lnTo>
                      <a:lnTo>
                        <a:pt x="112" y="60"/>
                      </a:lnTo>
                      <a:lnTo>
                        <a:pt x="108" y="60"/>
                      </a:lnTo>
                      <a:lnTo>
                        <a:pt x="106" y="62"/>
                      </a:lnTo>
                      <a:lnTo>
                        <a:pt x="106" y="64"/>
                      </a:lnTo>
                      <a:lnTo>
                        <a:pt x="104" y="66"/>
                      </a:lnTo>
                      <a:lnTo>
                        <a:pt x="104" y="70"/>
                      </a:lnTo>
                      <a:lnTo>
                        <a:pt x="104" y="76"/>
                      </a:lnTo>
                      <a:lnTo>
                        <a:pt x="102" y="78"/>
                      </a:lnTo>
                      <a:lnTo>
                        <a:pt x="100" y="78"/>
                      </a:lnTo>
                      <a:lnTo>
                        <a:pt x="98" y="78"/>
                      </a:lnTo>
                      <a:lnTo>
                        <a:pt x="98" y="80"/>
                      </a:lnTo>
                      <a:lnTo>
                        <a:pt x="96" y="80"/>
                      </a:lnTo>
                      <a:lnTo>
                        <a:pt x="94" y="84"/>
                      </a:lnTo>
                      <a:lnTo>
                        <a:pt x="94" y="86"/>
                      </a:lnTo>
                      <a:lnTo>
                        <a:pt x="88" y="86"/>
                      </a:lnTo>
                      <a:lnTo>
                        <a:pt x="88" y="88"/>
                      </a:lnTo>
                      <a:lnTo>
                        <a:pt x="86" y="90"/>
                      </a:lnTo>
                      <a:lnTo>
                        <a:pt x="84" y="90"/>
                      </a:lnTo>
                      <a:lnTo>
                        <a:pt x="70" y="90"/>
                      </a:lnTo>
                      <a:lnTo>
                        <a:pt x="68" y="90"/>
                      </a:lnTo>
                      <a:lnTo>
                        <a:pt x="68" y="84"/>
                      </a:lnTo>
                      <a:lnTo>
                        <a:pt x="70" y="84"/>
                      </a:lnTo>
                      <a:lnTo>
                        <a:pt x="70" y="82"/>
                      </a:lnTo>
                      <a:lnTo>
                        <a:pt x="70" y="80"/>
                      </a:lnTo>
                      <a:lnTo>
                        <a:pt x="72" y="78"/>
                      </a:lnTo>
                      <a:lnTo>
                        <a:pt x="72" y="76"/>
                      </a:lnTo>
                      <a:lnTo>
                        <a:pt x="72" y="72"/>
                      </a:lnTo>
                      <a:lnTo>
                        <a:pt x="72" y="70"/>
                      </a:lnTo>
                      <a:lnTo>
                        <a:pt x="70" y="68"/>
                      </a:lnTo>
                      <a:lnTo>
                        <a:pt x="70" y="66"/>
                      </a:lnTo>
                      <a:lnTo>
                        <a:pt x="70" y="64"/>
                      </a:lnTo>
                      <a:lnTo>
                        <a:pt x="70" y="62"/>
                      </a:lnTo>
                      <a:lnTo>
                        <a:pt x="68" y="60"/>
                      </a:lnTo>
                      <a:lnTo>
                        <a:pt x="68" y="58"/>
                      </a:lnTo>
                      <a:lnTo>
                        <a:pt x="66" y="56"/>
                      </a:lnTo>
                      <a:lnTo>
                        <a:pt x="64" y="54"/>
                      </a:lnTo>
                      <a:lnTo>
                        <a:pt x="62" y="52"/>
                      </a:lnTo>
                      <a:lnTo>
                        <a:pt x="58" y="52"/>
                      </a:lnTo>
                      <a:lnTo>
                        <a:pt x="58" y="108"/>
                      </a:lnTo>
                      <a:lnTo>
                        <a:pt x="58" y="122"/>
                      </a:lnTo>
                      <a:lnTo>
                        <a:pt x="54" y="122"/>
                      </a:lnTo>
                      <a:lnTo>
                        <a:pt x="50" y="124"/>
                      </a:lnTo>
                      <a:lnTo>
                        <a:pt x="50" y="126"/>
                      </a:lnTo>
                      <a:lnTo>
                        <a:pt x="46" y="126"/>
                      </a:lnTo>
                      <a:lnTo>
                        <a:pt x="46" y="132"/>
                      </a:lnTo>
                      <a:lnTo>
                        <a:pt x="40" y="132"/>
                      </a:lnTo>
                      <a:lnTo>
                        <a:pt x="40" y="130"/>
                      </a:lnTo>
                      <a:lnTo>
                        <a:pt x="38" y="130"/>
                      </a:lnTo>
                      <a:lnTo>
                        <a:pt x="36" y="130"/>
                      </a:lnTo>
                      <a:lnTo>
                        <a:pt x="34" y="130"/>
                      </a:lnTo>
                      <a:lnTo>
                        <a:pt x="32" y="132"/>
                      </a:lnTo>
                      <a:lnTo>
                        <a:pt x="26" y="132"/>
                      </a:lnTo>
                      <a:lnTo>
                        <a:pt x="26" y="130"/>
                      </a:lnTo>
                      <a:lnTo>
                        <a:pt x="24" y="128"/>
                      </a:lnTo>
                      <a:lnTo>
                        <a:pt x="22" y="128"/>
                      </a:lnTo>
                      <a:lnTo>
                        <a:pt x="16" y="128"/>
                      </a:lnTo>
                      <a:lnTo>
                        <a:pt x="16" y="126"/>
                      </a:lnTo>
                      <a:lnTo>
                        <a:pt x="14" y="124"/>
                      </a:lnTo>
                      <a:lnTo>
                        <a:pt x="14" y="118"/>
                      </a:lnTo>
                      <a:lnTo>
                        <a:pt x="12" y="116"/>
                      </a:lnTo>
                      <a:lnTo>
                        <a:pt x="10" y="114"/>
                      </a:lnTo>
                      <a:lnTo>
                        <a:pt x="8" y="114"/>
                      </a:lnTo>
                      <a:lnTo>
                        <a:pt x="6" y="116"/>
                      </a:lnTo>
                      <a:lnTo>
                        <a:pt x="6" y="118"/>
                      </a:lnTo>
                      <a:lnTo>
                        <a:pt x="6" y="120"/>
                      </a:lnTo>
                      <a:lnTo>
                        <a:pt x="2" y="124"/>
                      </a:lnTo>
                      <a:lnTo>
                        <a:pt x="0" y="124"/>
                      </a:lnTo>
                      <a:lnTo>
                        <a:pt x="0" y="126"/>
                      </a:lnTo>
                      <a:lnTo>
                        <a:pt x="2" y="126"/>
                      </a:lnTo>
                      <a:lnTo>
                        <a:pt x="2" y="128"/>
                      </a:lnTo>
                      <a:lnTo>
                        <a:pt x="2" y="130"/>
                      </a:lnTo>
                      <a:lnTo>
                        <a:pt x="2" y="132"/>
                      </a:lnTo>
                      <a:lnTo>
                        <a:pt x="4" y="132"/>
                      </a:lnTo>
                      <a:lnTo>
                        <a:pt x="6" y="134"/>
                      </a:lnTo>
                      <a:lnTo>
                        <a:pt x="6" y="136"/>
                      </a:lnTo>
                      <a:lnTo>
                        <a:pt x="8" y="140"/>
                      </a:lnTo>
                      <a:lnTo>
                        <a:pt x="10" y="142"/>
                      </a:lnTo>
                      <a:lnTo>
                        <a:pt x="10" y="144"/>
                      </a:lnTo>
                      <a:lnTo>
                        <a:pt x="10" y="158"/>
                      </a:lnTo>
                      <a:lnTo>
                        <a:pt x="12" y="160"/>
                      </a:lnTo>
                      <a:lnTo>
                        <a:pt x="12" y="162"/>
                      </a:lnTo>
                      <a:lnTo>
                        <a:pt x="14" y="166"/>
                      </a:lnTo>
                      <a:lnTo>
                        <a:pt x="16" y="168"/>
                      </a:lnTo>
                      <a:lnTo>
                        <a:pt x="18" y="170"/>
                      </a:lnTo>
                      <a:lnTo>
                        <a:pt x="24" y="176"/>
                      </a:lnTo>
                      <a:lnTo>
                        <a:pt x="26" y="180"/>
                      </a:lnTo>
                      <a:lnTo>
                        <a:pt x="26" y="182"/>
                      </a:lnTo>
                      <a:lnTo>
                        <a:pt x="28" y="184"/>
                      </a:lnTo>
                      <a:lnTo>
                        <a:pt x="28" y="186"/>
                      </a:lnTo>
                      <a:lnTo>
                        <a:pt x="30" y="188"/>
                      </a:lnTo>
                      <a:lnTo>
                        <a:pt x="30" y="190"/>
                      </a:lnTo>
                      <a:lnTo>
                        <a:pt x="28" y="192"/>
                      </a:lnTo>
                      <a:lnTo>
                        <a:pt x="28" y="202"/>
                      </a:lnTo>
                      <a:lnTo>
                        <a:pt x="28" y="204"/>
                      </a:lnTo>
                      <a:lnTo>
                        <a:pt x="26" y="204"/>
                      </a:lnTo>
                      <a:lnTo>
                        <a:pt x="24" y="204"/>
                      </a:lnTo>
                      <a:lnTo>
                        <a:pt x="22" y="204"/>
                      </a:lnTo>
                      <a:lnTo>
                        <a:pt x="22" y="206"/>
                      </a:lnTo>
                      <a:lnTo>
                        <a:pt x="22" y="210"/>
                      </a:lnTo>
                      <a:lnTo>
                        <a:pt x="24" y="212"/>
                      </a:lnTo>
                      <a:lnTo>
                        <a:pt x="26" y="214"/>
                      </a:lnTo>
                      <a:lnTo>
                        <a:pt x="26" y="216"/>
                      </a:lnTo>
                      <a:lnTo>
                        <a:pt x="26" y="220"/>
                      </a:lnTo>
                      <a:lnTo>
                        <a:pt x="28" y="222"/>
                      </a:lnTo>
                      <a:lnTo>
                        <a:pt x="28" y="230"/>
                      </a:lnTo>
                      <a:lnTo>
                        <a:pt x="28" y="232"/>
                      </a:lnTo>
                      <a:lnTo>
                        <a:pt x="30" y="234"/>
                      </a:lnTo>
                      <a:lnTo>
                        <a:pt x="30" y="232"/>
                      </a:lnTo>
                      <a:lnTo>
                        <a:pt x="30" y="230"/>
                      </a:lnTo>
                      <a:lnTo>
                        <a:pt x="32" y="230"/>
                      </a:lnTo>
                      <a:lnTo>
                        <a:pt x="34" y="230"/>
                      </a:lnTo>
                      <a:lnTo>
                        <a:pt x="36" y="232"/>
                      </a:lnTo>
                      <a:lnTo>
                        <a:pt x="38" y="234"/>
                      </a:lnTo>
                      <a:lnTo>
                        <a:pt x="40" y="234"/>
                      </a:lnTo>
                      <a:lnTo>
                        <a:pt x="42" y="234"/>
                      </a:lnTo>
                      <a:lnTo>
                        <a:pt x="44" y="234"/>
                      </a:lnTo>
                      <a:lnTo>
                        <a:pt x="44" y="236"/>
                      </a:lnTo>
                      <a:lnTo>
                        <a:pt x="44" y="238"/>
                      </a:lnTo>
                      <a:lnTo>
                        <a:pt x="44" y="240"/>
                      </a:lnTo>
                      <a:lnTo>
                        <a:pt x="48" y="242"/>
                      </a:lnTo>
                      <a:lnTo>
                        <a:pt x="50" y="244"/>
                      </a:lnTo>
                      <a:lnTo>
                        <a:pt x="52" y="244"/>
                      </a:lnTo>
                      <a:lnTo>
                        <a:pt x="56" y="242"/>
                      </a:lnTo>
                      <a:lnTo>
                        <a:pt x="56" y="240"/>
                      </a:lnTo>
                      <a:lnTo>
                        <a:pt x="58" y="240"/>
                      </a:lnTo>
                      <a:lnTo>
                        <a:pt x="60" y="238"/>
                      </a:lnTo>
                      <a:lnTo>
                        <a:pt x="62" y="236"/>
                      </a:lnTo>
                      <a:lnTo>
                        <a:pt x="64" y="236"/>
                      </a:lnTo>
                      <a:lnTo>
                        <a:pt x="70" y="236"/>
                      </a:lnTo>
                      <a:lnTo>
                        <a:pt x="74" y="236"/>
                      </a:lnTo>
                      <a:lnTo>
                        <a:pt x="78" y="236"/>
                      </a:lnTo>
                      <a:lnTo>
                        <a:pt x="82" y="238"/>
                      </a:lnTo>
                      <a:lnTo>
                        <a:pt x="82" y="236"/>
                      </a:lnTo>
                      <a:lnTo>
                        <a:pt x="84" y="236"/>
                      </a:lnTo>
                      <a:lnTo>
                        <a:pt x="86" y="234"/>
                      </a:lnTo>
                      <a:lnTo>
                        <a:pt x="86" y="232"/>
                      </a:lnTo>
                      <a:lnTo>
                        <a:pt x="88" y="230"/>
                      </a:lnTo>
                      <a:lnTo>
                        <a:pt x="90" y="228"/>
                      </a:lnTo>
                      <a:lnTo>
                        <a:pt x="100" y="228"/>
                      </a:lnTo>
                      <a:lnTo>
                        <a:pt x="102" y="230"/>
                      </a:lnTo>
                      <a:lnTo>
                        <a:pt x="104" y="230"/>
                      </a:lnTo>
                      <a:lnTo>
                        <a:pt x="106" y="230"/>
                      </a:lnTo>
                      <a:lnTo>
                        <a:pt x="106" y="228"/>
                      </a:lnTo>
                      <a:lnTo>
                        <a:pt x="108" y="228"/>
                      </a:lnTo>
                      <a:lnTo>
                        <a:pt x="110" y="228"/>
                      </a:lnTo>
                      <a:lnTo>
                        <a:pt x="120" y="228"/>
                      </a:lnTo>
                      <a:lnTo>
                        <a:pt x="122" y="228"/>
                      </a:lnTo>
                      <a:lnTo>
                        <a:pt x="124" y="228"/>
                      </a:lnTo>
                      <a:lnTo>
                        <a:pt x="126" y="230"/>
                      </a:lnTo>
                      <a:lnTo>
                        <a:pt x="128" y="230"/>
                      </a:lnTo>
                      <a:lnTo>
                        <a:pt x="132" y="230"/>
                      </a:lnTo>
                      <a:lnTo>
                        <a:pt x="134" y="228"/>
                      </a:lnTo>
                      <a:lnTo>
                        <a:pt x="136" y="228"/>
                      </a:lnTo>
                      <a:lnTo>
                        <a:pt x="140" y="228"/>
                      </a:lnTo>
                      <a:lnTo>
                        <a:pt x="142" y="228"/>
                      </a:lnTo>
                      <a:lnTo>
                        <a:pt x="144" y="228"/>
                      </a:lnTo>
                      <a:lnTo>
                        <a:pt x="146" y="228"/>
                      </a:lnTo>
                      <a:lnTo>
                        <a:pt x="146" y="226"/>
                      </a:lnTo>
                      <a:lnTo>
                        <a:pt x="150" y="226"/>
                      </a:lnTo>
                      <a:lnTo>
                        <a:pt x="150" y="224"/>
                      </a:lnTo>
                      <a:lnTo>
                        <a:pt x="152" y="224"/>
                      </a:lnTo>
                      <a:lnTo>
                        <a:pt x="154" y="224"/>
                      </a:lnTo>
                      <a:lnTo>
                        <a:pt x="160" y="224"/>
                      </a:lnTo>
                      <a:lnTo>
                        <a:pt x="162" y="224"/>
                      </a:lnTo>
                      <a:lnTo>
                        <a:pt x="166" y="222"/>
                      </a:lnTo>
                      <a:lnTo>
                        <a:pt x="168" y="222"/>
                      </a:lnTo>
                      <a:lnTo>
                        <a:pt x="172" y="218"/>
                      </a:lnTo>
                      <a:lnTo>
                        <a:pt x="174" y="216"/>
                      </a:lnTo>
                      <a:lnTo>
                        <a:pt x="180" y="210"/>
                      </a:lnTo>
                      <a:lnTo>
                        <a:pt x="184" y="208"/>
                      </a:lnTo>
                      <a:lnTo>
                        <a:pt x="186" y="206"/>
                      </a:lnTo>
                      <a:lnTo>
                        <a:pt x="188" y="206"/>
                      </a:lnTo>
                      <a:lnTo>
                        <a:pt x="188" y="204"/>
                      </a:lnTo>
                      <a:lnTo>
                        <a:pt x="190" y="204"/>
                      </a:lnTo>
                      <a:lnTo>
                        <a:pt x="192" y="202"/>
                      </a:lnTo>
                      <a:lnTo>
                        <a:pt x="196" y="198"/>
                      </a:lnTo>
                      <a:lnTo>
                        <a:pt x="198" y="194"/>
                      </a:lnTo>
                      <a:lnTo>
                        <a:pt x="202" y="192"/>
                      </a:lnTo>
                      <a:lnTo>
                        <a:pt x="204" y="188"/>
                      </a:lnTo>
                      <a:lnTo>
                        <a:pt x="206" y="186"/>
                      </a:lnTo>
                      <a:lnTo>
                        <a:pt x="208" y="184"/>
                      </a:lnTo>
                      <a:lnTo>
                        <a:pt x="210" y="182"/>
                      </a:lnTo>
                      <a:lnTo>
                        <a:pt x="212" y="182"/>
                      </a:lnTo>
                      <a:lnTo>
                        <a:pt x="212" y="180"/>
                      </a:lnTo>
                      <a:lnTo>
                        <a:pt x="214" y="180"/>
                      </a:lnTo>
                      <a:lnTo>
                        <a:pt x="220" y="180"/>
                      </a:lnTo>
                      <a:lnTo>
                        <a:pt x="220" y="178"/>
                      </a:lnTo>
                      <a:lnTo>
                        <a:pt x="222" y="176"/>
                      </a:lnTo>
                      <a:lnTo>
                        <a:pt x="222" y="174"/>
                      </a:lnTo>
                      <a:lnTo>
                        <a:pt x="224" y="174"/>
                      </a:lnTo>
                      <a:lnTo>
                        <a:pt x="226" y="170"/>
                      </a:lnTo>
                      <a:lnTo>
                        <a:pt x="228" y="166"/>
                      </a:lnTo>
                      <a:lnTo>
                        <a:pt x="232" y="162"/>
                      </a:lnTo>
                      <a:lnTo>
                        <a:pt x="234" y="158"/>
                      </a:lnTo>
                      <a:lnTo>
                        <a:pt x="234" y="156"/>
                      </a:lnTo>
                      <a:lnTo>
                        <a:pt x="234" y="154"/>
                      </a:lnTo>
                      <a:lnTo>
                        <a:pt x="236" y="152"/>
                      </a:lnTo>
                      <a:lnTo>
                        <a:pt x="238" y="148"/>
                      </a:lnTo>
                      <a:lnTo>
                        <a:pt x="240" y="144"/>
                      </a:lnTo>
                      <a:lnTo>
                        <a:pt x="240" y="142"/>
                      </a:lnTo>
                      <a:lnTo>
                        <a:pt x="242" y="138"/>
                      </a:lnTo>
                      <a:lnTo>
                        <a:pt x="244" y="136"/>
                      </a:lnTo>
                      <a:lnTo>
                        <a:pt x="246" y="134"/>
                      </a:lnTo>
                      <a:lnTo>
                        <a:pt x="248" y="134"/>
                      </a:lnTo>
                      <a:lnTo>
                        <a:pt x="250" y="132"/>
                      </a:lnTo>
                      <a:lnTo>
                        <a:pt x="254" y="132"/>
                      </a:lnTo>
                      <a:lnTo>
                        <a:pt x="256" y="130"/>
                      </a:lnTo>
                      <a:lnTo>
                        <a:pt x="258" y="128"/>
                      </a:lnTo>
                      <a:lnTo>
                        <a:pt x="260" y="126"/>
                      </a:lnTo>
                      <a:lnTo>
                        <a:pt x="260" y="124"/>
                      </a:lnTo>
                      <a:lnTo>
                        <a:pt x="262" y="120"/>
                      </a:lnTo>
                      <a:lnTo>
                        <a:pt x="264" y="118"/>
                      </a:lnTo>
                      <a:lnTo>
                        <a:pt x="264" y="114"/>
                      </a:lnTo>
                      <a:lnTo>
                        <a:pt x="264" y="110"/>
                      </a:lnTo>
                      <a:lnTo>
                        <a:pt x="266" y="108"/>
                      </a:lnTo>
                      <a:lnTo>
                        <a:pt x="266" y="106"/>
                      </a:lnTo>
                      <a:lnTo>
                        <a:pt x="268" y="104"/>
                      </a:lnTo>
                      <a:lnTo>
                        <a:pt x="268" y="102"/>
                      </a:lnTo>
                      <a:lnTo>
                        <a:pt x="270" y="100"/>
                      </a:lnTo>
                      <a:lnTo>
                        <a:pt x="270" y="94"/>
                      </a:lnTo>
                      <a:lnTo>
                        <a:pt x="270" y="92"/>
                      </a:lnTo>
                      <a:close/>
                      <a:moveTo>
                        <a:pt x="212" y="140"/>
                      </a:moveTo>
                      <a:lnTo>
                        <a:pt x="212" y="142"/>
                      </a:lnTo>
                      <a:lnTo>
                        <a:pt x="210" y="142"/>
                      </a:lnTo>
                      <a:lnTo>
                        <a:pt x="206" y="146"/>
                      </a:lnTo>
                      <a:lnTo>
                        <a:pt x="206" y="148"/>
                      </a:lnTo>
                      <a:lnTo>
                        <a:pt x="208" y="148"/>
                      </a:lnTo>
                      <a:lnTo>
                        <a:pt x="208" y="150"/>
                      </a:lnTo>
                      <a:lnTo>
                        <a:pt x="206" y="152"/>
                      </a:lnTo>
                      <a:lnTo>
                        <a:pt x="204" y="152"/>
                      </a:lnTo>
                      <a:lnTo>
                        <a:pt x="202" y="154"/>
                      </a:lnTo>
                      <a:lnTo>
                        <a:pt x="198" y="154"/>
                      </a:lnTo>
                      <a:lnTo>
                        <a:pt x="196" y="154"/>
                      </a:lnTo>
                      <a:lnTo>
                        <a:pt x="194" y="154"/>
                      </a:lnTo>
                      <a:lnTo>
                        <a:pt x="192" y="156"/>
                      </a:lnTo>
                      <a:lnTo>
                        <a:pt x="190" y="158"/>
                      </a:lnTo>
                      <a:lnTo>
                        <a:pt x="190" y="162"/>
                      </a:lnTo>
                      <a:lnTo>
                        <a:pt x="186" y="162"/>
                      </a:lnTo>
                      <a:lnTo>
                        <a:pt x="184" y="164"/>
                      </a:lnTo>
                      <a:lnTo>
                        <a:pt x="184" y="162"/>
                      </a:lnTo>
                      <a:lnTo>
                        <a:pt x="182" y="162"/>
                      </a:lnTo>
                      <a:lnTo>
                        <a:pt x="182" y="160"/>
                      </a:lnTo>
                      <a:lnTo>
                        <a:pt x="180" y="158"/>
                      </a:lnTo>
                      <a:lnTo>
                        <a:pt x="178" y="156"/>
                      </a:lnTo>
                      <a:lnTo>
                        <a:pt x="178" y="152"/>
                      </a:lnTo>
                      <a:lnTo>
                        <a:pt x="176" y="152"/>
                      </a:lnTo>
                      <a:lnTo>
                        <a:pt x="176" y="150"/>
                      </a:lnTo>
                      <a:lnTo>
                        <a:pt x="176" y="148"/>
                      </a:lnTo>
                      <a:lnTo>
                        <a:pt x="174" y="146"/>
                      </a:lnTo>
                      <a:lnTo>
                        <a:pt x="172" y="144"/>
                      </a:lnTo>
                      <a:lnTo>
                        <a:pt x="178" y="142"/>
                      </a:lnTo>
                      <a:lnTo>
                        <a:pt x="178" y="140"/>
                      </a:lnTo>
                      <a:lnTo>
                        <a:pt x="180" y="138"/>
                      </a:lnTo>
                      <a:lnTo>
                        <a:pt x="182" y="136"/>
                      </a:lnTo>
                      <a:lnTo>
                        <a:pt x="184" y="134"/>
                      </a:lnTo>
                      <a:lnTo>
                        <a:pt x="184" y="132"/>
                      </a:lnTo>
                      <a:lnTo>
                        <a:pt x="186" y="130"/>
                      </a:lnTo>
                      <a:lnTo>
                        <a:pt x="188" y="130"/>
                      </a:lnTo>
                      <a:lnTo>
                        <a:pt x="192" y="130"/>
                      </a:lnTo>
                      <a:lnTo>
                        <a:pt x="192" y="126"/>
                      </a:lnTo>
                      <a:lnTo>
                        <a:pt x="194" y="126"/>
                      </a:lnTo>
                      <a:lnTo>
                        <a:pt x="194" y="124"/>
                      </a:lnTo>
                      <a:lnTo>
                        <a:pt x="200" y="124"/>
                      </a:lnTo>
                      <a:lnTo>
                        <a:pt x="202" y="126"/>
                      </a:lnTo>
                      <a:lnTo>
                        <a:pt x="204" y="128"/>
                      </a:lnTo>
                      <a:lnTo>
                        <a:pt x="206" y="130"/>
                      </a:lnTo>
                      <a:lnTo>
                        <a:pt x="206" y="132"/>
                      </a:lnTo>
                      <a:lnTo>
                        <a:pt x="208" y="132"/>
                      </a:lnTo>
                      <a:lnTo>
                        <a:pt x="208" y="134"/>
                      </a:lnTo>
                      <a:lnTo>
                        <a:pt x="210" y="134"/>
                      </a:lnTo>
                      <a:lnTo>
                        <a:pt x="212" y="134"/>
                      </a:lnTo>
                      <a:lnTo>
                        <a:pt x="212" y="138"/>
                      </a:lnTo>
                      <a:lnTo>
                        <a:pt x="212" y="1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2" name="Freeform 78">
                  <a:extLst>
                    <a:ext uri="{FF2B5EF4-FFF2-40B4-BE49-F238E27FC236}">
                      <a16:creationId xmlns:a16="http://schemas.microsoft.com/office/drawing/2014/main" id="{B6294DFD-1867-4AD1-81AD-58B823B0B08D}"/>
                    </a:ext>
                  </a:extLst>
                </p:cNvPr>
                <p:cNvSpPr>
                  <a:spLocks noChangeAspect="1"/>
                </p:cNvSpPr>
                <p:nvPr/>
              </p:nvSpPr>
              <p:spPr bwMode="auto">
                <a:xfrm>
                  <a:off x="3948981" y="3326054"/>
                  <a:ext cx="236788" cy="216252"/>
                </a:xfrm>
                <a:custGeom>
                  <a:avLst/>
                  <a:gdLst/>
                  <a:ahLst/>
                  <a:cxnLst>
                    <a:cxn ang="0">
                      <a:pos x="110" y="0"/>
                    </a:cxn>
                    <a:cxn ang="0">
                      <a:pos x="92" y="0"/>
                    </a:cxn>
                    <a:cxn ang="0">
                      <a:pos x="76" y="0"/>
                    </a:cxn>
                    <a:cxn ang="0">
                      <a:pos x="70" y="0"/>
                    </a:cxn>
                    <a:cxn ang="0">
                      <a:pos x="66" y="4"/>
                    </a:cxn>
                    <a:cxn ang="0">
                      <a:pos x="64" y="16"/>
                    </a:cxn>
                    <a:cxn ang="0">
                      <a:pos x="60" y="20"/>
                    </a:cxn>
                    <a:cxn ang="0">
                      <a:pos x="56" y="22"/>
                    </a:cxn>
                    <a:cxn ang="0">
                      <a:pos x="50" y="24"/>
                    </a:cxn>
                    <a:cxn ang="0">
                      <a:pos x="46" y="24"/>
                    </a:cxn>
                    <a:cxn ang="0">
                      <a:pos x="44" y="34"/>
                    </a:cxn>
                    <a:cxn ang="0">
                      <a:pos x="44" y="36"/>
                    </a:cxn>
                    <a:cxn ang="0">
                      <a:pos x="38" y="44"/>
                    </a:cxn>
                    <a:cxn ang="0">
                      <a:pos x="40" y="52"/>
                    </a:cxn>
                    <a:cxn ang="0">
                      <a:pos x="36" y="60"/>
                    </a:cxn>
                    <a:cxn ang="0">
                      <a:pos x="32" y="62"/>
                    </a:cxn>
                    <a:cxn ang="0">
                      <a:pos x="30" y="68"/>
                    </a:cxn>
                    <a:cxn ang="0">
                      <a:pos x="22" y="72"/>
                    </a:cxn>
                    <a:cxn ang="0">
                      <a:pos x="18" y="76"/>
                    </a:cxn>
                    <a:cxn ang="0">
                      <a:pos x="22" y="78"/>
                    </a:cxn>
                    <a:cxn ang="0">
                      <a:pos x="18" y="82"/>
                    </a:cxn>
                    <a:cxn ang="0">
                      <a:pos x="14" y="92"/>
                    </a:cxn>
                    <a:cxn ang="0">
                      <a:pos x="12" y="94"/>
                    </a:cxn>
                    <a:cxn ang="0">
                      <a:pos x="12" y="94"/>
                    </a:cxn>
                    <a:cxn ang="0">
                      <a:pos x="10" y="102"/>
                    </a:cxn>
                    <a:cxn ang="0">
                      <a:pos x="6" y="104"/>
                    </a:cxn>
                    <a:cxn ang="0">
                      <a:pos x="4" y="108"/>
                    </a:cxn>
                    <a:cxn ang="0">
                      <a:pos x="0" y="116"/>
                    </a:cxn>
                    <a:cxn ang="0">
                      <a:pos x="12" y="124"/>
                    </a:cxn>
                    <a:cxn ang="0">
                      <a:pos x="34" y="124"/>
                    </a:cxn>
                    <a:cxn ang="0">
                      <a:pos x="50" y="122"/>
                    </a:cxn>
                    <a:cxn ang="0">
                      <a:pos x="62" y="122"/>
                    </a:cxn>
                    <a:cxn ang="0">
                      <a:pos x="66" y="122"/>
                    </a:cxn>
                    <a:cxn ang="0">
                      <a:pos x="66" y="106"/>
                    </a:cxn>
                    <a:cxn ang="0">
                      <a:pos x="68" y="100"/>
                    </a:cxn>
                    <a:cxn ang="0">
                      <a:pos x="66" y="96"/>
                    </a:cxn>
                    <a:cxn ang="0">
                      <a:pos x="66" y="92"/>
                    </a:cxn>
                    <a:cxn ang="0">
                      <a:pos x="74" y="86"/>
                    </a:cxn>
                    <a:cxn ang="0">
                      <a:pos x="78" y="86"/>
                    </a:cxn>
                    <a:cxn ang="0">
                      <a:pos x="84" y="84"/>
                    </a:cxn>
                    <a:cxn ang="0">
                      <a:pos x="84" y="76"/>
                    </a:cxn>
                    <a:cxn ang="0">
                      <a:pos x="84" y="50"/>
                    </a:cxn>
                    <a:cxn ang="0">
                      <a:pos x="86" y="38"/>
                    </a:cxn>
                    <a:cxn ang="0">
                      <a:pos x="86" y="36"/>
                    </a:cxn>
                    <a:cxn ang="0">
                      <a:pos x="88" y="32"/>
                    </a:cxn>
                    <a:cxn ang="0">
                      <a:pos x="102" y="32"/>
                    </a:cxn>
                    <a:cxn ang="0">
                      <a:pos x="118" y="32"/>
                    </a:cxn>
                    <a:cxn ang="0">
                      <a:pos x="136" y="32"/>
                    </a:cxn>
                    <a:cxn ang="0">
                      <a:pos x="140" y="32"/>
                    </a:cxn>
                    <a:cxn ang="0">
                      <a:pos x="140" y="24"/>
                    </a:cxn>
                    <a:cxn ang="0">
                      <a:pos x="142" y="22"/>
                    </a:cxn>
                    <a:cxn ang="0">
                      <a:pos x="144" y="12"/>
                    </a:cxn>
                    <a:cxn ang="0">
                      <a:pos x="144" y="4"/>
                    </a:cxn>
                    <a:cxn ang="0">
                      <a:pos x="130" y="0"/>
                    </a:cxn>
                  </a:cxnLst>
                  <a:rect l="0" t="0" r="r" b="b"/>
                  <a:pathLst>
                    <a:path w="144" h="124">
                      <a:moveTo>
                        <a:pt x="130" y="0"/>
                      </a:moveTo>
                      <a:lnTo>
                        <a:pt x="126" y="0"/>
                      </a:lnTo>
                      <a:lnTo>
                        <a:pt x="120" y="0"/>
                      </a:lnTo>
                      <a:lnTo>
                        <a:pt x="114" y="0"/>
                      </a:lnTo>
                      <a:lnTo>
                        <a:pt x="110" y="0"/>
                      </a:lnTo>
                      <a:lnTo>
                        <a:pt x="106" y="0"/>
                      </a:lnTo>
                      <a:lnTo>
                        <a:pt x="102" y="0"/>
                      </a:lnTo>
                      <a:lnTo>
                        <a:pt x="98" y="0"/>
                      </a:lnTo>
                      <a:lnTo>
                        <a:pt x="96" y="0"/>
                      </a:lnTo>
                      <a:lnTo>
                        <a:pt x="92" y="0"/>
                      </a:lnTo>
                      <a:lnTo>
                        <a:pt x="88" y="0"/>
                      </a:lnTo>
                      <a:lnTo>
                        <a:pt x="86" y="0"/>
                      </a:lnTo>
                      <a:lnTo>
                        <a:pt x="84" y="0"/>
                      </a:lnTo>
                      <a:lnTo>
                        <a:pt x="80" y="0"/>
                      </a:lnTo>
                      <a:lnTo>
                        <a:pt x="76" y="0"/>
                      </a:lnTo>
                      <a:lnTo>
                        <a:pt x="74" y="0"/>
                      </a:lnTo>
                      <a:lnTo>
                        <a:pt x="72" y="0"/>
                      </a:lnTo>
                      <a:lnTo>
                        <a:pt x="70" y="0"/>
                      </a:lnTo>
                      <a:lnTo>
                        <a:pt x="68" y="0"/>
                      </a:lnTo>
                      <a:lnTo>
                        <a:pt x="68" y="2"/>
                      </a:lnTo>
                      <a:lnTo>
                        <a:pt x="66" y="4"/>
                      </a:lnTo>
                      <a:lnTo>
                        <a:pt x="66" y="6"/>
                      </a:lnTo>
                      <a:lnTo>
                        <a:pt x="66" y="8"/>
                      </a:lnTo>
                      <a:lnTo>
                        <a:pt x="64" y="14"/>
                      </a:lnTo>
                      <a:lnTo>
                        <a:pt x="64" y="16"/>
                      </a:lnTo>
                      <a:lnTo>
                        <a:pt x="62" y="18"/>
                      </a:lnTo>
                      <a:lnTo>
                        <a:pt x="60" y="20"/>
                      </a:lnTo>
                      <a:lnTo>
                        <a:pt x="58" y="20"/>
                      </a:lnTo>
                      <a:lnTo>
                        <a:pt x="58" y="22"/>
                      </a:lnTo>
                      <a:lnTo>
                        <a:pt x="56" y="22"/>
                      </a:lnTo>
                      <a:lnTo>
                        <a:pt x="54" y="24"/>
                      </a:lnTo>
                      <a:lnTo>
                        <a:pt x="52" y="24"/>
                      </a:lnTo>
                      <a:lnTo>
                        <a:pt x="50" y="24"/>
                      </a:lnTo>
                      <a:lnTo>
                        <a:pt x="48" y="24"/>
                      </a:lnTo>
                      <a:lnTo>
                        <a:pt x="46" y="24"/>
                      </a:lnTo>
                      <a:lnTo>
                        <a:pt x="46" y="26"/>
                      </a:lnTo>
                      <a:lnTo>
                        <a:pt x="44" y="26"/>
                      </a:lnTo>
                      <a:lnTo>
                        <a:pt x="44" y="30"/>
                      </a:lnTo>
                      <a:lnTo>
                        <a:pt x="44" y="32"/>
                      </a:lnTo>
                      <a:lnTo>
                        <a:pt x="44" y="34"/>
                      </a:lnTo>
                      <a:lnTo>
                        <a:pt x="44" y="36"/>
                      </a:lnTo>
                      <a:lnTo>
                        <a:pt x="42" y="38"/>
                      </a:lnTo>
                      <a:lnTo>
                        <a:pt x="40" y="40"/>
                      </a:lnTo>
                      <a:lnTo>
                        <a:pt x="38" y="42"/>
                      </a:lnTo>
                      <a:lnTo>
                        <a:pt x="38" y="44"/>
                      </a:lnTo>
                      <a:lnTo>
                        <a:pt x="38" y="46"/>
                      </a:lnTo>
                      <a:lnTo>
                        <a:pt x="38" y="50"/>
                      </a:lnTo>
                      <a:lnTo>
                        <a:pt x="40" y="52"/>
                      </a:lnTo>
                      <a:lnTo>
                        <a:pt x="40" y="54"/>
                      </a:lnTo>
                      <a:lnTo>
                        <a:pt x="40" y="56"/>
                      </a:lnTo>
                      <a:lnTo>
                        <a:pt x="38" y="58"/>
                      </a:lnTo>
                      <a:lnTo>
                        <a:pt x="36" y="60"/>
                      </a:lnTo>
                      <a:lnTo>
                        <a:pt x="34" y="62"/>
                      </a:lnTo>
                      <a:lnTo>
                        <a:pt x="32" y="62"/>
                      </a:lnTo>
                      <a:lnTo>
                        <a:pt x="32" y="64"/>
                      </a:lnTo>
                      <a:lnTo>
                        <a:pt x="30" y="66"/>
                      </a:lnTo>
                      <a:lnTo>
                        <a:pt x="30" y="68"/>
                      </a:lnTo>
                      <a:lnTo>
                        <a:pt x="28" y="68"/>
                      </a:lnTo>
                      <a:lnTo>
                        <a:pt x="26" y="70"/>
                      </a:lnTo>
                      <a:lnTo>
                        <a:pt x="24" y="70"/>
                      </a:lnTo>
                      <a:lnTo>
                        <a:pt x="22" y="72"/>
                      </a:lnTo>
                      <a:lnTo>
                        <a:pt x="20" y="72"/>
                      </a:lnTo>
                      <a:lnTo>
                        <a:pt x="20" y="74"/>
                      </a:lnTo>
                      <a:lnTo>
                        <a:pt x="20" y="76"/>
                      </a:lnTo>
                      <a:lnTo>
                        <a:pt x="18" y="76"/>
                      </a:lnTo>
                      <a:lnTo>
                        <a:pt x="20" y="78"/>
                      </a:lnTo>
                      <a:lnTo>
                        <a:pt x="22" y="78"/>
                      </a:lnTo>
                      <a:lnTo>
                        <a:pt x="20" y="78"/>
                      </a:lnTo>
                      <a:lnTo>
                        <a:pt x="20" y="80"/>
                      </a:lnTo>
                      <a:lnTo>
                        <a:pt x="18" y="82"/>
                      </a:lnTo>
                      <a:lnTo>
                        <a:pt x="16" y="86"/>
                      </a:lnTo>
                      <a:lnTo>
                        <a:pt x="16" y="88"/>
                      </a:lnTo>
                      <a:lnTo>
                        <a:pt x="14" y="92"/>
                      </a:lnTo>
                      <a:lnTo>
                        <a:pt x="14" y="94"/>
                      </a:lnTo>
                      <a:lnTo>
                        <a:pt x="12" y="94"/>
                      </a:lnTo>
                      <a:lnTo>
                        <a:pt x="12" y="96"/>
                      </a:lnTo>
                      <a:lnTo>
                        <a:pt x="12" y="98"/>
                      </a:lnTo>
                      <a:lnTo>
                        <a:pt x="12" y="100"/>
                      </a:lnTo>
                      <a:lnTo>
                        <a:pt x="10" y="102"/>
                      </a:lnTo>
                      <a:lnTo>
                        <a:pt x="8" y="104"/>
                      </a:lnTo>
                      <a:lnTo>
                        <a:pt x="6" y="104"/>
                      </a:lnTo>
                      <a:lnTo>
                        <a:pt x="4" y="106"/>
                      </a:lnTo>
                      <a:lnTo>
                        <a:pt x="4" y="108"/>
                      </a:lnTo>
                      <a:lnTo>
                        <a:pt x="2" y="110"/>
                      </a:lnTo>
                      <a:lnTo>
                        <a:pt x="2" y="112"/>
                      </a:lnTo>
                      <a:lnTo>
                        <a:pt x="0" y="114"/>
                      </a:lnTo>
                      <a:lnTo>
                        <a:pt x="0" y="116"/>
                      </a:lnTo>
                      <a:lnTo>
                        <a:pt x="0" y="118"/>
                      </a:lnTo>
                      <a:lnTo>
                        <a:pt x="0" y="122"/>
                      </a:lnTo>
                      <a:lnTo>
                        <a:pt x="0" y="124"/>
                      </a:lnTo>
                      <a:lnTo>
                        <a:pt x="6" y="124"/>
                      </a:lnTo>
                      <a:lnTo>
                        <a:pt x="12" y="124"/>
                      </a:lnTo>
                      <a:lnTo>
                        <a:pt x="16" y="124"/>
                      </a:lnTo>
                      <a:lnTo>
                        <a:pt x="22" y="124"/>
                      </a:lnTo>
                      <a:lnTo>
                        <a:pt x="26" y="124"/>
                      </a:lnTo>
                      <a:lnTo>
                        <a:pt x="30" y="124"/>
                      </a:lnTo>
                      <a:lnTo>
                        <a:pt x="34" y="124"/>
                      </a:lnTo>
                      <a:lnTo>
                        <a:pt x="38" y="122"/>
                      </a:lnTo>
                      <a:lnTo>
                        <a:pt x="42" y="122"/>
                      </a:lnTo>
                      <a:lnTo>
                        <a:pt x="46" y="122"/>
                      </a:lnTo>
                      <a:lnTo>
                        <a:pt x="48" y="122"/>
                      </a:lnTo>
                      <a:lnTo>
                        <a:pt x="50" y="122"/>
                      </a:lnTo>
                      <a:lnTo>
                        <a:pt x="54" y="122"/>
                      </a:lnTo>
                      <a:lnTo>
                        <a:pt x="58" y="122"/>
                      </a:lnTo>
                      <a:lnTo>
                        <a:pt x="60" y="122"/>
                      </a:lnTo>
                      <a:lnTo>
                        <a:pt x="62" y="122"/>
                      </a:lnTo>
                      <a:lnTo>
                        <a:pt x="64" y="122"/>
                      </a:lnTo>
                      <a:lnTo>
                        <a:pt x="66" y="122"/>
                      </a:lnTo>
                      <a:lnTo>
                        <a:pt x="66" y="118"/>
                      </a:lnTo>
                      <a:lnTo>
                        <a:pt x="66" y="114"/>
                      </a:lnTo>
                      <a:lnTo>
                        <a:pt x="66" y="112"/>
                      </a:lnTo>
                      <a:lnTo>
                        <a:pt x="66" y="108"/>
                      </a:lnTo>
                      <a:lnTo>
                        <a:pt x="66" y="106"/>
                      </a:lnTo>
                      <a:lnTo>
                        <a:pt x="66" y="104"/>
                      </a:lnTo>
                      <a:lnTo>
                        <a:pt x="66" y="102"/>
                      </a:lnTo>
                      <a:lnTo>
                        <a:pt x="66" y="100"/>
                      </a:lnTo>
                      <a:lnTo>
                        <a:pt x="68" y="100"/>
                      </a:lnTo>
                      <a:lnTo>
                        <a:pt x="68" y="98"/>
                      </a:lnTo>
                      <a:lnTo>
                        <a:pt x="66" y="98"/>
                      </a:lnTo>
                      <a:lnTo>
                        <a:pt x="66" y="96"/>
                      </a:lnTo>
                      <a:lnTo>
                        <a:pt x="66" y="94"/>
                      </a:lnTo>
                      <a:lnTo>
                        <a:pt x="66" y="92"/>
                      </a:lnTo>
                      <a:lnTo>
                        <a:pt x="68" y="90"/>
                      </a:lnTo>
                      <a:lnTo>
                        <a:pt x="70" y="88"/>
                      </a:lnTo>
                      <a:lnTo>
                        <a:pt x="72" y="86"/>
                      </a:lnTo>
                      <a:lnTo>
                        <a:pt x="74" y="86"/>
                      </a:lnTo>
                      <a:lnTo>
                        <a:pt x="76" y="86"/>
                      </a:lnTo>
                      <a:lnTo>
                        <a:pt x="78" y="86"/>
                      </a:lnTo>
                      <a:lnTo>
                        <a:pt x="80" y="86"/>
                      </a:lnTo>
                      <a:lnTo>
                        <a:pt x="82" y="84"/>
                      </a:lnTo>
                      <a:lnTo>
                        <a:pt x="84" y="84"/>
                      </a:lnTo>
                      <a:lnTo>
                        <a:pt x="84" y="82"/>
                      </a:lnTo>
                      <a:lnTo>
                        <a:pt x="84" y="80"/>
                      </a:lnTo>
                      <a:lnTo>
                        <a:pt x="84" y="78"/>
                      </a:lnTo>
                      <a:lnTo>
                        <a:pt x="84" y="76"/>
                      </a:lnTo>
                      <a:lnTo>
                        <a:pt x="84" y="72"/>
                      </a:lnTo>
                      <a:lnTo>
                        <a:pt x="84" y="68"/>
                      </a:lnTo>
                      <a:lnTo>
                        <a:pt x="84" y="60"/>
                      </a:lnTo>
                      <a:lnTo>
                        <a:pt x="84" y="56"/>
                      </a:lnTo>
                      <a:lnTo>
                        <a:pt x="84" y="50"/>
                      </a:lnTo>
                      <a:lnTo>
                        <a:pt x="86" y="46"/>
                      </a:lnTo>
                      <a:lnTo>
                        <a:pt x="86" y="44"/>
                      </a:lnTo>
                      <a:lnTo>
                        <a:pt x="86" y="42"/>
                      </a:lnTo>
                      <a:lnTo>
                        <a:pt x="86" y="40"/>
                      </a:lnTo>
                      <a:lnTo>
                        <a:pt x="86" y="38"/>
                      </a:lnTo>
                      <a:lnTo>
                        <a:pt x="86" y="36"/>
                      </a:lnTo>
                      <a:lnTo>
                        <a:pt x="88" y="36"/>
                      </a:lnTo>
                      <a:lnTo>
                        <a:pt x="88" y="34"/>
                      </a:lnTo>
                      <a:lnTo>
                        <a:pt x="88" y="32"/>
                      </a:lnTo>
                      <a:lnTo>
                        <a:pt x="92" y="32"/>
                      </a:lnTo>
                      <a:lnTo>
                        <a:pt x="96" y="32"/>
                      </a:lnTo>
                      <a:lnTo>
                        <a:pt x="102" y="32"/>
                      </a:lnTo>
                      <a:lnTo>
                        <a:pt x="104" y="32"/>
                      </a:lnTo>
                      <a:lnTo>
                        <a:pt x="108" y="32"/>
                      </a:lnTo>
                      <a:lnTo>
                        <a:pt x="112" y="32"/>
                      </a:lnTo>
                      <a:lnTo>
                        <a:pt x="114" y="32"/>
                      </a:lnTo>
                      <a:lnTo>
                        <a:pt x="118" y="32"/>
                      </a:lnTo>
                      <a:lnTo>
                        <a:pt x="124" y="32"/>
                      </a:lnTo>
                      <a:lnTo>
                        <a:pt x="126" y="32"/>
                      </a:lnTo>
                      <a:lnTo>
                        <a:pt x="130" y="32"/>
                      </a:lnTo>
                      <a:lnTo>
                        <a:pt x="134" y="32"/>
                      </a:lnTo>
                      <a:lnTo>
                        <a:pt x="136" y="32"/>
                      </a:lnTo>
                      <a:lnTo>
                        <a:pt x="138" y="32"/>
                      </a:lnTo>
                      <a:lnTo>
                        <a:pt x="140" y="32"/>
                      </a:lnTo>
                      <a:lnTo>
                        <a:pt x="140" y="28"/>
                      </a:lnTo>
                      <a:lnTo>
                        <a:pt x="140" y="26"/>
                      </a:lnTo>
                      <a:lnTo>
                        <a:pt x="140" y="24"/>
                      </a:lnTo>
                      <a:lnTo>
                        <a:pt x="140" y="22"/>
                      </a:lnTo>
                      <a:lnTo>
                        <a:pt x="142" y="22"/>
                      </a:lnTo>
                      <a:lnTo>
                        <a:pt x="142" y="20"/>
                      </a:lnTo>
                      <a:lnTo>
                        <a:pt x="142" y="18"/>
                      </a:lnTo>
                      <a:lnTo>
                        <a:pt x="144" y="16"/>
                      </a:lnTo>
                      <a:lnTo>
                        <a:pt x="144" y="12"/>
                      </a:lnTo>
                      <a:lnTo>
                        <a:pt x="144" y="10"/>
                      </a:lnTo>
                      <a:lnTo>
                        <a:pt x="144" y="8"/>
                      </a:lnTo>
                      <a:lnTo>
                        <a:pt x="144" y="6"/>
                      </a:lnTo>
                      <a:lnTo>
                        <a:pt x="144" y="4"/>
                      </a:lnTo>
                      <a:lnTo>
                        <a:pt x="144" y="2"/>
                      </a:lnTo>
                      <a:lnTo>
                        <a:pt x="13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3" name="Freeform 79">
                  <a:extLst>
                    <a:ext uri="{FF2B5EF4-FFF2-40B4-BE49-F238E27FC236}">
                      <a16:creationId xmlns:a16="http://schemas.microsoft.com/office/drawing/2014/main" id="{1B9BBE78-47B3-4570-9B4A-51BDADC28AFB}"/>
                    </a:ext>
                  </a:extLst>
                </p:cNvPr>
                <p:cNvSpPr>
                  <a:spLocks noChangeAspect="1"/>
                </p:cNvSpPr>
                <p:nvPr/>
              </p:nvSpPr>
              <p:spPr bwMode="auto">
                <a:xfrm>
                  <a:off x="5251316" y="5117103"/>
                  <a:ext cx="42754" cy="55807"/>
                </a:xfrm>
                <a:custGeom>
                  <a:avLst/>
                  <a:gdLst/>
                  <a:ahLst/>
                  <a:cxnLst>
                    <a:cxn ang="0">
                      <a:pos x="20" y="12"/>
                    </a:cxn>
                    <a:cxn ang="0">
                      <a:pos x="20" y="8"/>
                    </a:cxn>
                    <a:cxn ang="0">
                      <a:pos x="20" y="6"/>
                    </a:cxn>
                    <a:cxn ang="0">
                      <a:pos x="22" y="4"/>
                    </a:cxn>
                    <a:cxn ang="0">
                      <a:pos x="18" y="4"/>
                    </a:cxn>
                    <a:cxn ang="0">
                      <a:pos x="16" y="6"/>
                    </a:cxn>
                    <a:cxn ang="0">
                      <a:pos x="16" y="6"/>
                    </a:cxn>
                    <a:cxn ang="0">
                      <a:pos x="14" y="6"/>
                    </a:cxn>
                    <a:cxn ang="0">
                      <a:pos x="14" y="4"/>
                    </a:cxn>
                    <a:cxn ang="0">
                      <a:pos x="12" y="2"/>
                    </a:cxn>
                    <a:cxn ang="0">
                      <a:pos x="10" y="0"/>
                    </a:cxn>
                    <a:cxn ang="0">
                      <a:pos x="8" y="0"/>
                    </a:cxn>
                    <a:cxn ang="0">
                      <a:pos x="6" y="4"/>
                    </a:cxn>
                    <a:cxn ang="0">
                      <a:pos x="4" y="6"/>
                    </a:cxn>
                    <a:cxn ang="0">
                      <a:pos x="2" y="10"/>
                    </a:cxn>
                    <a:cxn ang="0">
                      <a:pos x="2" y="12"/>
                    </a:cxn>
                    <a:cxn ang="0">
                      <a:pos x="0" y="16"/>
                    </a:cxn>
                    <a:cxn ang="0">
                      <a:pos x="0" y="20"/>
                    </a:cxn>
                    <a:cxn ang="0">
                      <a:pos x="0" y="24"/>
                    </a:cxn>
                    <a:cxn ang="0">
                      <a:pos x="2" y="26"/>
                    </a:cxn>
                    <a:cxn ang="0">
                      <a:pos x="6" y="30"/>
                    </a:cxn>
                    <a:cxn ang="0">
                      <a:pos x="10" y="32"/>
                    </a:cxn>
                    <a:cxn ang="0">
                      <a:pos x="12" y="32"/>
                    </a:cxn>
                    <a:cxn ang="0">
                      <a:pos x="16" y="32"/>
                    </a:cxn>
                    <a:cxn ang="0">
                      <a:pos x="18" y="32"/>
                    </a:cxn>
                    <a:cxn ang="0">
                      <a:pos x="18" y="32"/>
                    </a:cxn>
                    <a:cxn ang="0">
                      <a:pos x="20" y="26"/>
                    </a:cxn>
                    <a:cxn ang="0">
                      <a:pos x="22" y="24"/>
                    </a:cxn>
                    <a:cxn ang="0">
                      <a:pos x="22" y="22"/>
                    </a:cxn>
                    <a:cxn ang="0">
                      <a:pos x="22" y="22"/>
                    </a:cxn>
                    <a:cxn ang="0">
                      <a:pos x="24" y="22"/>
                    </a:cxn>
                    <a:cxn ang="0">
                      <a:pos x="24" y="20"/>
                    </a:cxn>
                    <a:cxn ang="0">
                      <a:pos x="24" y="16"/>
                    </a:cxn>
                    <a:cxn ang="0">
                      <a:pos x="24" y="16"/>
                    </a:cxn>
                    <a:cxn ang="0">
                      <a:pos x="24" y="16"/>
                    </a:cxn>
                    <a:cxn ang="0">
                      <a:pos x="22" y="16"/>
                    </a:cxn>
                    <a:cxn ang="0">
                      <a:pos x="20" y="14"/>
                    </a:cxn>
                    <a:cxn ang="0">
                      <a:pos x="20" y="14"/>
                    </a:cxn>
                  </a:cxnLst>
                  <a:rect l="0" t="0" r="r" b="b"/>
                  <a:pathLst>
                    <a:path w="26" h="32">
                      <a:moveTo>
                        <a:pt x="20" y="14"/>
                      </a:moveTo>
                      <a:lnTo>
                        <a:pt x="20" y="12"/>
                      </a:lnTo>
                      <a:lnTo>
                        <a:pt x="20" y="10"/>
                      </a:lnTo>
                      <a:lnTo>
                        <a:pt x="20" y="8"/>
                      </a:lnTo>
                      <a:lnTo>
                        <a:pt x="20" y="6"/>
                      </a:lnTo>
                      <a:lnTo>
                        <a:pt x="20" y="4"/>
                      </a:lnTo>
                      <a:lnTo>
                        <a:pt x="22" y="4"/>
                      </a:lnTo>
                      <a:lnTo>
                        <a:pt x="20" y="4"/>
                      </a:lnTo>
                      <a:lnTo>
                        <a:pt x="18" y="4"/>
                      </a:lnTo>
                      <a:lnTo>
                        <a:pt x="16" y="6"/>
                      </a:lnTo>
                      <a:lnTo>
                        <a:pt x="14" y="6"/>
                      </a:lnTo>
                      <a:lnTo>
                        <a:pt x="14" y="4"/>
                      </a:lnTo>
                      <a:lnTo>
                        <a:pt x="12" y="2"/>
                      </a:lnTo>
                      <a:lnTo>
                        <a:pt x="10" y="0"/>
                      </a:lnTo>
                      <a:lnTo>
                        <a:pt x="8" y="0"/>
                      </a:lnTo>
                      <a:lnTo>
                        <a:pt x="6" y="2"/>
                      </a:lnTo>
                      <a:lnTo>
                        <a:pt x="6" y="4"/>
                      </a:lnTo>
                      <a:lnTo>
                        <a:pt x="4" y="6"/>
                      </a:lnTo>
                      <a:lnTo>
                        <a:pt x="4" y="8"/>
                      </a:lnTo>
                      <a:lnTo>
                        <a:pt x="2" y="10"/>
                      </a:lnTo>
                      <a:lnTo>
                        <a:pt x="2" y="12"/>
                      </a:lnTo>
                      <a:lnTo>
                        <a:pt x="0" y="16"/>
                      </a:lnTo>
                      <a:lnTo>
                        <a:pt x="0" y="18"/>
                      </a:lnTo>
                      <a:lnTo>
                        <a:pt x="0" y="20"/>
                      </a:lnTo>
                      <a:lnTo>
                        <a:pt x="0" y="22"/>
                      </a:lnTo>
                      <a:lnTo>
                        <a:pt x="0" y="24"/>
                      </a:lnTo>
                      <a:lnTo>
                        <a:pt x="2" y="24"/>
                      </a:lnTo>
                      <a:lnTo>
                        <a:pt x="2" y="26"/>
                      </a:lnTo>
                      <a:lnTo>
                        <a:pt x="4" y="28"/>
                      </a:lnTo>
                      <a:lnTo>
                        <a:pt x="6" y="30"/>
                      </a:lnTo>
                      <a:lnTo>
                        <a:pt x="8" y="30"/>
                      </a:lnTo>
                      <a:lnTo>
                        <a:pt x="10" y="32"/>
                      </a:lnTo>
                      <a:lnTo>
                        <a:pt x="12" y="32"/>
                      </a:lnTo>
                      <a:lnTo>
                        <a:pt x="14" y="32"/>
                      </a:lnTo>
                      <a:lnTo>
                        <a:pt x="16" y="32"/>
                      </a:lnTo>
                      <a:lnTo>
                        <a:pt x="18" y="32"/>
                      </a:lnTo>
                      <a:lnTo>
                        <a:pt x="20" y="30"/>
                      </a:lnTo>
                      <a:lnTo>
                        <a:pt x="20" y="26"/>
                      </a:lnTo>
                      <a:lnTo>
                        <a:pt x="22" y="24"/>
                      </a:lnTo>
                      <a:lnTo>
                        <a:pt x="22" y="22"/>
                      </a:lnTo>
                      <a:lnTo>
                        <a:pt x="24" y="22"/>
                      </a:lnTo>
                      <a:lnTo>
                        <a:pt x="26" y="22"/>
                      </a:lnTo>
                      <a:lnTo>
                        <a:pt x="24" y="20"/>
                      </a:lnTo>
                      <a:lnTo>
                        <a:pt x="24" y="18"/>
                      </a:lnTo>
                      <a:lnTo>
                        <a:pt x="24" y="16"/>
                      </a:lnTo>
                      <a:lnTo>
                        <a:pt x="22" y="16"/>
                      </a:lnTo>
                      <a:lnTo>
                        <a:pt x="22" y="14"/>
                      </a:lnTo>
                      <a:lnTo>
                        <a:pt x="20"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4" name="Freeform 80">
                  <a:extLst>
                    <a:ext uri="{FF2B5EF4-FFF2-40B4-BE49-F238E27FC236}">
                      <a16:creationId xmlns:a16="http://schemas.microsoft.com/office/drawing/2014/main" id="{9EE97A25-7FAF-4FD1-A49C-59BF6C9B1116}"/>
                    </a:ext>
                  </a:extLst>
                </p:cNvPr>
                <p:cNvSpPr>
                  <a:spLocks noChangeAspect="1"/>
                </p:cNvSpPr>
                <p:nvPr/>
              </p:nvSpPr>
              <p:spPr bwMode="auto">
                <a:xfrm>
                  <a:off x="4317318" y="3884121"/>
                  <a:ext cx="124972" cy="212764"/>
                </a:xfrm>
                <a:custGeom>
                  <a:avLst/>
                  <a:gdLst/>
                  <a:ahLst/>
                  <a:cxnLst>
                    <a:cxn ang="0">
                      <a:pos x="68" y="78"/>
                    </a:cxn>
                    <a:cxn ang="0">
                      <a:pos x="68" y="72"/>
                    </a:cxn>
                    <a:cxn ang="0">
                      <a:pos x="66" y="68"/>
                    </a:cxn>
                    <a:cxn ang="0">
                      <a:pos x="68" y="62"/>
                    </a:cxn>
                    <a:cxn ang="0">
                      <a:pos x="68" y="56"/>
                    </a:cxn>
                    <a:cxn ang="0">
                      <a:pos x="68" y="54"/>
                    </a:cxn>
                    <a:cxn ang="0">
                      <a:pos x="66" y="48"/>
                    </a:cxn>
                    <a:cxn ang="0">
                      <a:pos x="62" y="48"/>
                    </a:cxn>
                    <a:cxn ang="0">
                      <a:pos x="68" y="44"/>
                    </a:cxn>
                    <a:cxn ang="0">
                      <a:pos x="64" y="40"/>
                    </a:cxn>
                    <a:cxn ang="0">
                      <a:pos x="66" y="36"/>
                    </a:cxn>
                    <a:cxn ang="0">
                      <a:pos x="64" y="30"/>
                    </a:cxn>
                    <a:cxn ang="0">
                      <a:pos x="60" y="32"/>
                    </a:cxn>
                    <a:cxn ang="0">
                      <a:pos x="62" y="20"/>
                    </a:cxn>
                    <a:cxn ang="0">
                      <a:pos x="62" y="14"/>
                    </a:cxn>
                    <a:cxn ang="0">
                      <a:pos x="56" y="10"/>
                    </a:cxn>
                    <a:cxn ang="0">
                      <a:pos x="56" y="8"/>
                    </a:cxn>
                    <a:cxn ang="0">
                      <a:pos x="58" y="4"/>
                    </a:cxn>
                    <a:cxn ang="0">
                      <a:pos x="58" y="2"/>
                    </a:cxn>
                    <a:cxn ang="0">
                      <a:pos x="52" y="0"/>
                    </a:cxn>
                    <a:cxn ang="0">
                      <a:pos x="46" y="2"/>
                    </a:cxn>
                    <a:cxn ang="0">
                      <a:pos x="42" y="2"/>
                    </a:cxn>
                    <a:cxn ang="0">
                      <a:pos x="40" y="2"/>
                    </a:cxn>
                    <a:cxn ang="0">
                      <a:pos x="36" y="4"/>
                    </a:cxn>
                    <a:cxn ang="0">
                      <a:pos x="32" y="2"/>
                    </a:cxn>
                    <a:cxn ang="0">
                      <a:pos x="28" y="4"/>
                    </a:cxn>
                    <a:cxn ang="0">
                      <a:pos x="18" y="2"/>
                    </a:cxn>
                    <a:cxn ang="0">
                      <a:pos x="10" y="2"/>
                    </a:cxn>
                    <a:cxn ang="0">
                      <a:pos x="8" y="2"/>
                    </a:cxn>
                    <a:cxn ang="0">
                      <a:pos x="6" y="10"/>
                    </a:cxn>
                    <a:cxn ang="0">
                      <a:pos x="8" y="14"/>
                    </a:cxn>
                    <a:cxn ang="0">
                      <a:pos x="8" y="18"/>
                    </a:cxn>
                    <a:cxn ang="0">
                      <a:pos x="10" y="28"/>
                    </a:cxn>
                    <a:cxn ang="0">
                      <a:pos x="10" y="30"/>
                    </a:cxn>
                    <a:cxn ang="0">
                      <a:pos x="12" y="32"/>
                    </a:cxn>
                    <a:cxn ang="0">
                      <a:pos x="12" y="36"/>
                    </a:cxn>
                    <a:cxn ang="0">
                      <a:pos x="10" y="36"/>
                    </a:cxn>
                    <a:cxn ang="0">
                      <a:pos x="10" y="42"/>
                    </a:cxn>
                    <a:cxn ang="0">
                      <a:pos x="14" y="54"/>
                    </a:cxn>
                    <a:cxn ang="0">
                      <a:pos x="10" y="60"/>
                    </a:cxn>
                    <a:cxn ang="0">
                      <a:pos x="8" y="66"/>
                    </a:cxn>
                    <a:cxn ang="0">
                      <a:pos x="8" y="74"/>
                    </a:cxn>
                    <a:cxn ang="0">
                      <a:pos x="2" y="80"/>
                    </a:cxn>
                    <a:cxn ang="0">
                      <a:pos x="0" y="90"/>
                    </a:cxn>
                    <a:cxn ang="0">
                      <a:pos x="4" y="102"/>
                    </a:cxn>
                    <a:cxn ang="0">
                      <a:pos x="8" y="104"/>
                    </a:cxn>
                    <a:cxn ang="0">
                      <a:pos x="12" y="104"/>
                    </a:cxn>
                    <a:cxn ang="0">
                      <a:pos x="12" y="114"/>
                    </a:cxn>
                    <a:cxn ang="0">
                      <a:pos x="12" y="118"/>
                    </a:cxn>
                    <a:cxn ang="0">
                      <a:pos x="18" y="118"/>
                    </a:cxn>
                    <a:cxn ang="0">
                      <a:pos x="20" y="122"/>
                    </a:cxn>
                    <a:cxn ang="0">
                      <a:pos x="32" y="116"/>
                    </a:cxn>
                    <a:cxn ang="0">
                      <a:pos x="40" y="114"/>
                    </a:cxn>
                    <a:cxn ang="0">
                      <a:pos x="42" y="114"/>
                    </a:cxn>
                    <a:cxn ang="0">
                      <a:pos x="48" y="108"/>
                    </a:cxn>
                    <a:cxn ang="0">
                      <a:pos x="54" y="106"/>
                    </a:cxn>
                    <a:cxn ang="0">
                      <a:pos x="58" y="104"/>
                    </a:cxn>
                    <a:cxn ang="0">
                      <a:pos x="60" y="100"/>
                    </a:cxn>
                    <a:cxn ang="0">
                      <a:pos x="68" y="102"/>
                    </a:cxn>
                    <a:cxn ang="0">
                      <a:pos x="74" y="100"/>
                    </a:cxn>
                    <a:cxn ang="0">
                      <a:pos x="70" y="92"/>
                    </a:cxn>
                    <a:cxn ang="0">
                      <a:pos x="68" y="80"/>
                    </a:cxn>
                  </a:cxnLst>
                  <a:rect l="0" t="0" r="r" b="b"/>
                  <a:pathLst>
                    <a:path w="76" h="122">
                      <a:moveTo>
                        <a:pt x="68" y="80"/>
                      </a:moveTo>
                      <a:lnTo>
                        <a:pt x="68" y="80"/>
                      </a:lnTo>
                      <a:lnTo>
                        <a:pt x="68" y="78"/>
                      </a:lnTo>
                      <a:lnTo>
                        <a:pt x="68" y="74"/>
                      </a:lnTo>
                      <a:lnTo>
                        <a:pt x="68" y="72"/>
                      </a:lnTo>
                      <a:lnTo>
                        <a:pt x="66" y="70"/>
                      </a:lnTo>
                      <a:lnTo>
                        <a:pt x="66" y="68"/>
                      </a:lnTo>
                      <a:lnTo>
                        <a:pt x="66" y="66"/>
                      </a:lnTo>
                      <a:lnTo>
                        <a:pt x="68" y="66"/>
                      </a:lnTo>
                      <a:lnTo>
                        <a:pt x="68" y="64"/>
                      </a:lnTo>
                      <a:lnTo>
                        <a:pt x="68" y="62"/>
                      </a:lnTo>
                      <a:lnTo>
                        <a:pt x="68" y="60"/>
                      </a:lnTo>
                      <a:lnTo>
                        <a:pt x="68" y="58"/>
                      </a:lnTo>
                      <a:lnTo>
                        <a:pt x="68" y="56"/>
                      </a:lnTo>
                      <a:lnTo>
                        <a:pt x="68" y="54"/>
                      </a:lnTo>
                      <a:lnTo>
                        <a:pt x="68" y="52"/>
                      </a:lnTo>
                      <a:lnTo>
                        <a:pt x="68" y="50"/>
                      </a:lnTo>
                      <a:lnTo>
                        <a:pt x="66" y="48"/>
                      </a:lnTo>
                      <a:lnTo>
                        <a:pt x="64" y="48"/>
                      </a:lnTo>
                      <a:lnTo>
                        <a:pt x="62" y="48"/>
                      </a:lnTo>
                      <a:lnTo>
                        <a:pt x="64" y="46"/>
                      </a:lnTo>
                      <a:lnTo>
                        <a:pt x="66" y="44"/>
                      </a:lnTo>
                      <a:lnTo>
                        <a:pt x="68" y="44"/>
                      </a:lnTo>
                      <a:lnTo>
                        <a:pt x="68" y="42"/>
                      </a:lnTo>
                      <a:lnTo>
                        <a:pt x="66" y="42"/>
                      </a:lnTo>
                      <a:lnTo>
                        <a:pt x="66" y="40"/>
                      </a:lnTo>
                      <a:lnTo>
                        <a:pt x="64" y="40"/>
                      </a:lnTo>
                      <a:lnTo>
                        <a:pt x="64" y="38"/>
                      </a:lnTo>
                      <a:lnTo>
                        <a:pt x="66" y="38"/>
                      </a:lnTo>
                      <a:lnTo>
                        <a:pt x="66" y="36"/>
                      </a:lnTo>
                      <a:lnTo>
                        <a:pt x="66" y="32"/>
                      </a:lnTo>
                      <a:lnTo>
                        <a:pt x="66" y="30"/>
                      </a:lnTo>
                      <a:lnTo>
                        <a:pt x="64" y="30"/>
                      </a:lnTo>
                      <a:lnTo>
                        <a:pt x="62" y="30"/>
                      </a:lnTo>
                      <a:lnTo>
                        <a:pt x="60" y="32"/>
                      </a:lnTo>
                      <a:lnTo>
                        <a:pt x="60" y="30"/>
                      </a:lnTo>
                      <a:lnTo>
                        <a:pt x="62" y="26"/>
                      </a:lnTo>
                      <a:lnTo>
                        <a:pt x="62" y="24"/>
                      </a:lnTo>
                      <a:lnTo>
                        <a:pt x="62" y="22"/>
                      </a:lnTo>
                      <a:lnTo>
                        <a:pt x="62" y="20"/>
                      </a:lnTo>
                      <a:lnTo>
                        <a:pt x="62" y="18"/>
                      </a:lnTo>
                      <a:lnTo>
                        <a:pt x="62" y="16"/>
                      </a:lnTo>
                      <a:lnTo>
                        <a:pt x="62" y="14"/>
                      </a:lnTo>
                      <a:lnTo>
                        <a:pt x="64" y="14"/>
                      </a:lnTo>
                      <a:lnTo>
                        <a:pt x="60" y="12"/>
                      </a:lnTo>
                      <a:lnTo>
                        <a:pt x="58" y="10"/>
                      </a:lnTo>
                      <a:lnTo>
                        <a:pt x="56" y="10"/>
                      </a:lnTo>
                      <a:lnTo>
                        <a:pt x="56" y="8"/>
                      </a:lnTo>
                      <a:lnTo>
                        <a:pt x="54" y="8"/>
                      </a:lnTo>
                      <a:lnTo>
                        <a:pt x="56" y="8"/>
                      </a:lnTo>
                      <a:lnTo>
                        <a:pt x="56" y="6"/>
                      </a:lnTo>
                      <a:lnTo>
                        <a:pt x="58" y="6"/>
                      </a:lnTo>
                      <a:lnTo>
                        <a:pt x="58" y="4"/>
                      </a:lnTo>
                      <a:lnTo>
                        <a:pt x="58" y="2"/>
                      </a:lnTo>
                      <a:lnTo>
                        <a:pt x="56" y="0"/>
                      </a:lnTo>
                      <a:lnTo>
                        <a:pt x="54" y="0"/>
                      </a:lnTo>
                      <a:lnTo>
                        <a:pt x="52" y="0"/>
                      </a:lnTo>
                      <a:lnTo>
                        <a:pt x="50" y="0"/>
                      </a:lnTo>
                      <a:lnTo>
                        <a:pt x="48" y="2"/>
                      </a:lnTo>
                      <a:lnTo>
                        <a:pt x="46" y="2"/>
                      </a:lnTo>
                      <a:lnTo>
                        <a:pt x="46" y="4"/>
                      </a:lnTo>
                      <a:lnTo>
                        <a:pt x="44" y="2"/>
                      </a:lnTo>
                      <a:lnTo>
                        <a:pt x="42" y="2"/>
                      </a:lnTo>
                      <a:lnTo>
                        <a:pt x="40" y="2"/>
                      </a:lnTo>
                      <a:lnTo>
                        <a:pt x="38" y="2"/>
                      </a:lnTo>
                      <a:lnTo>
                        <a:pt x="36" y="2"/>
                      </a:lnTo>
                      <a:lnTo>
                        <a:pt x="36" y="4"/>
                      </a:lnTo>
                      <a:lnTo>
                        <a:pt x="34" y="2"/>
                      </a:lnTo>
                      <a:lnTo>
                        <a:pt x="32" y="2"/>
                      </a:lnTo>
                      <a:lnTo>
                        <a:pt x="30" y="2"/>
                      </a:lnTo>
                      <a:lnTo>
                        <a:pt x="30" y="4"/>
                      </a:lnTo>
                      <a:lnTo>
                        <a:pt x="28" y="4"/>
                      </a:lnTo>
                      <a:lnTo>
                        <a:pt x="26" y="4"/>
                      </a:lnTo>
                      <a:lnTo>
                        <a:pt x="22" y="2"/>
                      </a:lnTo>
                      <a:lnTo>
                        <a:pt x="20" y="2"/>
                      </a:lnTo>
                      <a:lnTo>
                        <a:pt x="18" y="2"/>
                      </a:lnTo>
                      <a:lnTo>
                        <a:pt x="16" y="2"/>
                      </a:lnTo>
                      <a:lnTo>
                        <a:pt x="14" y="2"/>
                      </a:lnTo>
                      <a:lnTo>
                        <a:pt x="12" y="2"/>
                      </a:lnTo>
                      <a:lnTo>
                        <a:pt x="10" y="2"/>
                      </a:lnTo>
                      <a:lnTo>
                        <a:pt x="8" y="2"/>
                      </a:lnTo>
                      <a:lnTo>
                        <a:pt x="8" y="4"/>
                      </a:lnTo>
                      <a:lnTo>
                        <a:pt x="6" y="6"/>
                      </a:lnTo>
                      <a:lnTo>
                        <a:pt x="6" y="8"/>
                      </a:lnTo>
                      <a:lnTo>
                        <a:pt x="6" y="10"/>
                      </a:lnTo>
                      <a:lnTo>
                        <a:pt x="8" y="10"/>
                      </a:lnTo>
                      <a:lnTo>
                        <a:pt x="8" y="12"/>
                      </a:lnTo>
                      <a:lnTo>
                        <a:pt x="8" y="14"/>
                      </a:lnTo>
                      <a:lnTo>
                        <a:pt x="8" y="16"/>
                      </a:lnTo>
                      <a:lnTo>
                        <a:pt x="8" y="18"/>
                      </a:lnTo>
                      <a:lnTo>
                        <a:pt x="8" y="20"/>
                      </a:lnTo>
                      <a:lnTo>
                        <a:pt x="10" y="22"/>
                      </a:lnTo>
                      <a:lnTo>
                        <a:pt x="10" y="24"/>
                      </a:lnTo>
                      <a:lnTo>
                        <a:pt x="10" y="26"/>
                      </a:lnTo>
                      <a:lnTo>
                        <a:pt x="10" y="28"/>
                      </a:lnTo>
                      <a:lnTo>
                        <a:pt x="10" y="30"/>
                      </a:lnTo>
                      <a:lnTo>
                        <a:pt x="12" y="32"/>
                      </a:lnTo>
                      <a:lnTo>
                        <a:pt x="12" y="34"/>
                      </a:lnTo>
                      <a:lnTo>
                        <a:pt x="12" y="36"/>
                      </a:lnTo>
                      <a:lnTo>
                        <a:pt x="10" y="36"/>
                      </a:lnTo>
                      <a:lnTo>
                        <a:pt x="10" y="38"/>
                      </a:lnTo>
                      <a:lnTo>
                        <a:pt x="10" y="42"/>
                      </a:lnTo>
                      <a:lnTo>
                        <a:pt x="12" y="44"/>
                      </a:lnTo>
                      <a:lnTo>
                        <a:pt x="12" y="46"/>
                      </a:lnTo>
                      <a:lnTo>
                        <a:pt x="14" y="50"/>
                      </a:lnTo>
                      <a:lnTo>
                        <a:pt x="14" y="52"/>
                      </a:lnTo>
                      <a:lnTo>
                        <a:pt x="14" y="54"/>
                      </a:lnTo>
                      <a:lnTo>
                        <a:pt x="14" y="56"/>
                      </a:lnTo>
                      <a:lnTo>
                        <a:pt x="12" y="56"/>
                      </a:lnTo>
                      <a:lnTo>
                        <a:pt x="12" y="58"/>
                      </a:lnTo>
                      <a:lnTo>
                        <a:pt x="10" y="58"/>
                      </a:lnTo>
                      <a:lnTo>
                        <a:pt x="10" y="60"/>
                      </a:lnTo>
                      <a:lnTo>
                        <a:pt x="8" y="60"/>
                      </a:lnTo>
                      <a:lnTo>
                        <a:pt x="8" y="62"/>
                      </a:lnTo>
                      <a:lnTo>
                        <a:pt x="8" y="64"/>
                      </a:lnTo>
                      <a:lnTo>
                        <a:pt x="8" y="66"/>
                      </a:lnTo>
                      <a:lnTo>
                        <a:pt x="8" y="70"/>
                      </a:lnTo>
                      <a:lnTo>
                        <a:pt x="8" y="72"/>
                      </a:lnTo>
                      <a:lnTo>
                        <a:pt x="8" y="74"/>
                      </a:lnTo>
                      <a:lnTo>
                        <a:pt x="6" y="74"/>
                      </a:lnTo>
                      <a:lnTo>
                        <a:pt x="6" y="76"/>
                      </a:lnTo>
                      <a:lnTo>
                        <a:pt x="4" y="76"/>
                      </a:lnTo>
                      <a:lnTo>
                        <a:pt x="4" y="78"/>
                      </a:lnTo>
                      <a:lnTo>
                        <a:pt x="2" y="80"/>
                      </a:lnTo>
                      <a:lnTo>
                        <a:pt x="0" y="80"/>
                      </a:lnTo>
                      <a:lnTo>
                        <a:pt x="0" y="82"/>
                      </a:lnTo>
                      <a:lnTo>
                        <a:pt x="0" y="84"/>
                      </a:lnTo>
                      <a:lnTo>
                        <a:pt x="0" y="88"/>
                      </a:lnTo>
                      <a:lnTo>
                        <a:pt x="0" y="90"/>
                      </a:lnTo>
                      <a:lnTo>
                        <a:pt x="0" y="92"/>
                      </a:lnTo>
                      <a:lnTo>
                        <a:pt x="2" y="96"/>
                      </a:lnTo>
                      <a:lnTo>
                        <a:pt x="2" y="98"/>
                      </a:lnTo>
                      <a:lnTo>
                        <a:pt x="4" y="102"/>
                      </a:lnTo>
                      <a:lnTo>
                        <a:pt x="4" y="104"/>
                      </a:lnTo>
                      <a:lnTo>
                        <a:pt x="6" y="104"/>
                      </a:lnTo>
                      <a:lnTo>
                        <a:pt x="8" y="104"/>
                      </a:lnTo>
                      <a:lnTo>
                        <a:pt x="10" y="104"/>
                      </a:lnTo>
                      <a:lnTo>
                        <a:pt x="12" y="104"/>
                      </a:lnTo>
                      <a:lnTo>
                        <a:pt x="12" y="106"/>
                      </a:lnTo>
                      <a:lnTo>
                        <a:pt x="12" y="108"/>
                      </a:lnTo>
                      <a:lnTo>
                        <a:pt x="12" y="110"/>
                      </a:lnTo>
                      <a:lnTo>
                        <a:pt x="12" y="112"/>
                      </a:lnTo>
                      <a:lnTo>
                        <a:pt x="12" y="114"/>
                      </a:lnTo>
                      <a:lnTo>
                        <a:pt x="12" y="116"/>
                      </a:lnTo>
                      <a:lnTo>
                        <a:pt x="12" y="118"/>
                      </a:lnTo>
                      <a:lnTo>
                        <a:pt x="14" y="118"/>
                      </a:lnTo>
                      <a:lnTo>
                        <a:pt x="16" y="118"/>
                      </a:lnTo>
                      <a:lnTo>
                        <a:pt x="18" y="118"/>
                      </a:lnTo>
                      <a:lnTo>
                        <a:pt x="18" y="120"/>
                      </a:lnTo>
                      <a:lnTo>
                        <a:pt x="20" y="122"/>
                      </a:lnTo>
                      <a:lnTo>
                        <a:pt x="22" y="122"/>
                      </a:lnTo>
                      <a:lnTo>
                        <a:pt x="24" y="120"/>
                      </a:lnTo>
                      <a:lnTo>
                        <a:pt x="30" y="118"/>
                      </a:lnTo>
                      <a:lnTo>
                        <a:pt x="32" y="116"/>
                      </a:lnTo>
                      <a:lnTo>
                        <a:pt x="32" y="114"/>
                      </a:lnTo>
                      <a:lnTo>
                        <a:pt x="34" y="114"/>
                      </a:lnTo>
                      <a:lnTo>
                        <a:pt x="36" y="114"/>
                      </a:lnTo>
                      <a:lnTo>
                        <a:pt x="38" y="114"/>
                      </a:lnTo>
                      <a:lnTo>
                        <a:pt x="40" y="114"/>
                      </a:lnTo>
                      <a:lnTo>
                        <a:pt x="42" y="114"/>
                      </a:lnTo>
                      <a:lnTo>
                        <a:pt x="44" y="112"/>
                      </a:lnTo>
                      <a:lnTo>
                        <a:pt x="46" y="110"/>
                      </a:lnTo>
                      <a:lnTo>
                        <a:pt x="48" y="108"/>
                      </a:lnTo>
                      <a:lnTo>
                        <a:pt x="50" y="106"/>
                      </a:lnTo>
                      <a:lnTo>
                        <a:pt x="52" y="106"/>
                      </a:lnTo>
                      <a:lnTo>
                        <a:pt x="54" y="106"/>
                      </a:lnTo>
                      <a:lnTo>
                        <a:pt x="56" y="106"/>
                      </a:lnTo>
                      <a:lnTo>
                        <a:pt x="58" y="104"/>
                      </a:lnTo>
                      <a:lnTo>
                        <a:pt x="58" y="102"/>
                      </a:lnTo>
                      <a:lnTo>
                        <a:pt x="60" y="102"/>
                      </a:lnTo>
                      <a:lnTo>
                        <a:pt x="60" y="100"/>
                      </a:lnTo>
                      <a:lnTo>
                        <a:pt x="62" y="100"/>
                      </a:lnTo>
                      <a:lnTo>
                        <a:pt x="64" y="100"/>
                      </a:lnTo>
                      <a:lnTo>
                        <a:pt x="66" y="102"/>
                      </a:lnTo>
                      <a:lnTo>
                        <a:pt x="68" y="102"/>
                      </a:lnTo>
                      <a:lnTo>
                        <a:pt x="70" y="102"/>
                      </a:lnTo>
                      <a:lnTo>
                        <a:pt x="72" y="100"/>
                      </a:lnTo>
                      <a:lnTo>
                        <a:pt x="74" y="100"/>
                      </a:lnTo>
                      <a:lnTo>
                        <a:pt x="76" y="96"/>
                      </a:lnTo>
                      <a:lnTo>
                        <a:pt x="74" y="94"/>
                      </a:lnTo>
                      <a:lnTo>
                        <a:pt x="72" y="92"/>
                      </a:lnTo>
                      <a:lnTo>
                        <a:pt x="70" y="92"/>
                      </a:lnTo>
                      <a:lnTo>
                        <a:pt x="70" y="90"/>
                      </a:lnTo>
                      <a:lnTo>
                        <a:pt x="68" y="8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5" name="Freeform 81">
                  <a:extLst>
                    <a:ext uri="{FF2B5EF4-FFF2-40B4-BE49-F238E27FC236}">
                      <a16:creationId xmlns:a16="http://schemas.microsoft.com/office/drawing/2014/main" id="{1B99CFED-FEDC-4BEB-82D9-4E008114CE41}"/>
                    </a:ext>
                  </a:extLst>
                </p:cNvPr>
                <p:cNvSpPr>
                  <a:spLocks noChangeAspect="1"/>
                </p:cNvSpPr>
                <p:nvPr/>
              </p:nvSpPr>
              <p:spPr bwMode="auto">
                <a:xfrm>
                  <a:off x="4485043" y="3793437"/>
                  <a:ext cx="332161" cy="313913"/>
                </a:xfrm>
                <a:custGeom>
                  <a:avLst/>
                  <a:gdLst/>
                  <a:ahLst/>
                  <a:cxnLst>
                    <a:cxn ang="0">
                      <a:pos x="104" y="166"/>
                    </a:cxn>
                    <a:cxn ang="0">
                      <a:pos x="106" y="150"/>
                    </a:cxn>
                    <a:cxn ang="0">
                      <a:pos x="118" y="140"/>
                    </a:cxn>
                    <a:cxn ang="0">
                      <a:pos x="126" y="130"/>
                    </a:cxn>
                    <a:cxn ang="0">
                      <a:pos x="134" y="132"/>
                    </a:cxn>
                    <a:cxn ang="0">
                      <a:pos x="138" y="132"/>
                    </a:cxn>
                    <a:cxn ang="0">
                      <a:pos x="142" y="140"/>
                    </a:cxn>
                    <a:cxn ang="0">
                      <a:pos x="150" y="134"/>
                    </a:cxn>
                    <a:cxn ang="0">
                      <a:pos x="156" y="128"/>
                    </a:cxn>
                    <a:cxn ang="0">
                      <a:pos x="160" y="116"/>
                    </a:cxn>
                    <a:cxn ang="0">
                      <a:pos x="164" y="104"/>
                    </a:cxn>
                    <a:cxn ang="0">
                      <a:pos x="172" y="98"/>
                    </a:cxn>
                    <a:cxn ang="0">
                      <a:pos x="174" y="84"/>
                    </a:cxn>
                    <a:cxn ang="0">
                      <a:pos x="180" y="74"/>
                    </a:cxn>
                    <a:cxn ang="0">
                      <a:pos x="182" y="66"/>
                    </a:cxn>
                    <a:cxn ang="0">
                      <a:pos x="186" y="58"/>
                    </a:cxn>
                    <a:cxn ang="0">
                      <a:pos x="190" y="50"/>
                    </a:cxn>
                    <a:cxn ang="0">
                      <a:pos x="202" y="42"/>
                    </a:cxn>
                    <a:cxn ang="0">
                      <a:pos x="202" y="34"/>
                    </a:cxn>
                    <a:cxn ang="0">
                      <a:pos x="194" y="30"/>
                    </a:cxn>
                    <a:cxn ang="0">
                      <a:pos x="192" y="14"/>
                    </a:cxn>
                    <a:cxn ang="0">
                      <a:pos x="184" y="2"/>
                    </a:cxn>
                    <a:cxn ang="0">
                      <a:pos x="180" y="4"/>
                    </a:cxn>
                    <a:cxn ang="0">
                      <a:pos x="172" y="8"/>
                    </a:cxn>
                    <a:cxn ang="0">
                      <a:pos x="158" y="14"/>
                    </a:cxn>
                    <a:cxn ang="0">
                      <a:pos x="150" y="10"/>
                    </a:cxn>
                    <a:cxn ang="0">
                      <a:pos x="120" y="16"/>
                    </a:cxn>
                    <a:cxn ang="0">
                      <a:pos x="112" y="20"/>
                    </a:cxn>
                    <a:cxn ang="0">
                      <a:pos x="90" y="10"/>
                    </a:cxn>
                    <a:cxn ang="0">
                      <a:pos x="74" y="16"/>
                    </a:cxn>
                    <a:cxn ang="0">
                      <a:pos x="66" y="8"/>
                    </a:cxn>
                    <a:cxn ang="0">
                      <a:pos x="62" y="4"/>
                    </a:cxn>
                    <a:cxn ang="0">
                      <a:pos x="50" y="0"/>
                    </a:cxn>
                    <a:cxn ang="0">
                      <a:pos x="38" y="2"/>
                    </a:cxn>
                    <a:cxn ang="0">
                      <a:pos x="30" y="4"/>
                    </a:cxn>
                    <a:cxn ang="0">
                      <a:pos x="24" y="10"/>
                    </a:cxn>
                    <a:cxn ang="0">
                      <a:pos x="18" y="26"/>
                    </a:cxn>
                    <a:cxn ang="0">
                      <a:pos x="16" y="38"/>
                    </a:cxn>
                    <a:cxn ang="0">
                      <a:pos x="14" y="44"/>
                    </a:cxn>
                    <a:cxn ang="0">
                      <a:pos x="18" y="54"/>
                    </a:cxn>
                    <a:cxn ang="0">
                      <a:pos x="20" y="62"/>
                    </a:cxn>
                    <a:cxn ang="0">
                      <a:pos x="14" y="72"/>
                    </a:cxn>
                    <a:cxn ang="0">
                      <a:pos x="10" y="80"/>
                    </a:cxn>
                    <a:cxn ang="0">
                      <a:pos x="6" y="92"/>
                    </a:cxn>
                    <a:cxn ang="0">
                      <a:pos x="0" y="100"/>
                    </a:cxn>
                    <a:cxn ang="0">
                      <a:pos x="2" y="108"/>
                    </a:cxn>
                    <a:cxn ang="0">
                      <a:pos x="0" y="116"/>
                    </a:cxn>
                    <a:cxn ang="0">
                      <a:pos x="2" y="134"/>
                    </a:cxn>
                    <a:cxn ang="0">
                      <a:pos x="0" y="142"/>
                    </a:cxn>
                    <a:cxn ang="0">
                      <a:pos x="14" y="140"/>
                    </a:cxn>
                    <a:cxn ang="0">
                      <a:pos x="16" y="142"/>
                    </a:cxn>
                    <a:cxn ang="0">
                      <a:pos x="38" y="152"/>
                    </a:cxn>
                    <a:cxn ang="0">
                      <a:pos x="44" y="156"/>
                    </a:cxn>
                    <a:cxn ang="0">
                      <a:pos x="42" y="162"/>
                    </a:cxn>
                    <a:cxn ang="0">
                      <a:pos x="46" y="164"/>
                    </a:cxn>
                    <a:cxn ang="0">
                      <a:pos x="54" y="180"/>
                    </a:cxn>
                    <a:cxn ang="0">
                      <a:pos x="68" y="180"/>
                    </a:cxn>
                    <a:cxn ang="0">
                      <a:pos x="72" y="176"/>
                    </a:cxn>
                    <a:cxn ang="0">
                      <a:pos x="82" y="176"/>
                    </a:cxn>
                    <a:cxn ang="0">
                      <a:pos x="88" y="180"/>
                    </a:cxn>
                    <a:cxn ang="0">
                      <a:pos x="94" y="174"/>
                    </a:cxn>
                    <a:cxn ang="0">
                      <a:pos x="100" y="174"/>
                    </a:cxn>
                  </a:cxnLst>
                  <a:rect l="0" t="0" r="r" b="b"/>
                  <a:pathLst>
                    <a:path w="202" h="180">
                      <a:moveTo>
                        <a:pt x="100" y="174"/>
                      </a:moveTo>
                      <a:lnTo>
                        <a:pt x="100" y="174"/>
                      </a:lnTo>
                      <a:lnTo>
                        <a:pt x="102" y="172"/>
                      </a:lnTo>
                      <a:lnTo>
                        <a:pt x="104" y="168"/>
                      </a:lnTo>
                      <a:lnTo>
                        <a:pt x="104" y="166"/>
                      </a:lnTo>
                      <a:lnTo>
                        <a:pt x="104" y="164"/>
                      </a:lnTo>
                      <a:lnTo>
                        <a:pt x="104" y="160"/>
                      </a:lnTo>
                      <a:lnTo>
                        <a:pt x="104" y="158"/>
                      </a:lnTo>
                      <a:lnTo>
                        <a:pt x="104" y="156"/>
                      </a:lnTo>
                      <a:lnTo>
                        <a:pt x="104" y="154"/>
                      </a:lnTo>
                      <a:lnTo>
                        <a:pt x="106" y="150"/>
                      </a:lnTo>
                      <a:lnTo>
                        <a:pt x="110" y="148"/>
                      </a:lnTo>
                      <a:lnTo>
                        <a:pt x="110" y="146"/>
                      </a:lnTo>
                      <a:lnTo>
                        <a:pt x="112" y="146"/>
                      </a:lnTo>
                      <a:lnTo>
                        <a:pt x="114" y="144"/>
                      </a:lnTo>
                      <a:lnTo>
                        <a:pt x="114" y="142"/>
                      </a:lnTo>
                      <a:lnTo>
                        <a:pt x="116" y="142"/>
                      </a:lnTo>
                      <a:lnTo>
                        <a:pt x="118" y="140"/>
                      </a:lnTo>
                      <a:lnTo>
                        <a:pt x="120" y="140"/>
                      </a:lnTo>
                      <a:lnTo>
                        <a:pt x="120" y="138"/>
                      </a:lnTo>
                      <a:lnTo>
                        <a:pt x="122" y="136"/>
                      </a:lnTo>
                      <a:lnTo>
                        <a:pt x="124" y="132"/>
                      </a:lnTo>
                      <a:lnTo>
                        <a:pt x="126" y="130"/>
                      </a:lnTo>
                      <a:lnTo>
                        <a:pt x="128" y="132"/>
                      </a:lnTo>
                      <a:lnTo>
                        <a:pt x="130" y="132"/>
                      </a:lnTo>
                      <a:lnTo>
                        <a:pt x="132" y="132"/>
                      </a:lnTo>
                      <a:lnTo>
                        <a:pt x="134" y="132"/>
                      </a:lnTo>
                      <a:lnTo>
                        <a:pt x="134" y="130"/>
                      </a:lnTo>
                      <a:lnTo>
                        <a:pt x="134" y="128"/>
                      </a:lnTo>
                      <a:lnTo>
                        <a:pt x="136" y="130"/>
                      </a:lnTo>
                      <a:lnTo>
                        <a:pt x="138" y="130"/>
                      </a:lnTo>
                      <a:lnTo>
                        <a:pt x="138" y="132"/>
                      </a:lnTo>
                      <a:lnTo>
                        <a:pt x="140" y="132"/>
                      </a:lnTo>
                      <a:lnTo>
                        <a:pt x="140" y="134"/>
                      </a:lnTo>
                      <a:lnTo>
                        <a:pt x="142" y="136"/>
                      </a:lnTo>
                      <a:lnTo>
                        <a:pt x="142" y="138"/>
                      </a:lnTo>
                      <a:lnTo>
                        <a:pt x="142" y="140"/>
                      </a:lnTo>
                      <a:lnTo>
                        <a:pt x="144" y="142"/>
                      </a:lnTo>
                      <a:lnTo>
                        <a:pt x="146" y="142"/>
                      </a:lnTo>
                      <a:lnTo>
                        <a:pt x="148" y="140"/>
                      </a:lnTo>
                      <a:lnTo>
                        <a:pt x="148" y="138"/>
                      </a:lnTo>
                      <a:lnTo>
                        <a:pt x="150" y="136"/>
                      </a:lnTo>
                      <a:lnTo>
                        <a:pt x="150" y="134"/>
                      </a:lnTo>
                      <a:lnTo>
                        <a:pt x="152" y="132"/>
                      </a:lnTo>
                      <a:lnTo>
                        <a:pt x="154" y="130"/>
                      </a:lnTo>
                      <a:lnTo>
                        <a:pt x="156" y="130"/>
                      </a:lnTo>
                      <a:lnTo>
                        <a:pt x="156" y="128"/>
                      </a:lnTo>
                      <a:lnTo>
                        <a:pt x="156" y="124"/>
                      </a:lnTo>
                      <a:lnTo>
                        <a:pt x="156" y="122"/>
                      </a:lnTo>
                      <a:lnTo>
                        <a:pt x="158" y="120"/>
                      </a:lnTo>
                      <a:lnTo>
                        <a:pt x="158" y="118"/>
                      </a:lnTo>
                      <a:lnTo>
                        <a:pt x="160" y="116"/>
                      </a:lnTo>
                      <a:lnTo>
                        <a:pt x="160" y="114"/>
                      </a:lnTo>
                      <a:lnTo>
                        <a:pt x="162" y="112"/>
                      </a:lnTo>
                      <a:lnTo>
                        <a:pt x="162" y="110"/>
                      </a:lnTo>
                      <a:lnTo>
                        <a:pt x="162" y="108"/>
                      </a:lnTo>
                      <a:lnTo>
                        <a:pt x="162" y="106"/>
                      </a:lnTo>
                      <a:lnTo>
                        <a:pt x="164" y="104"/>
                      </a:lnTo>
                      <a:lnTo>
                        <a:pt x="164" y="102"/>
                      </a:lnTo>
                      <a:lnTo>
                        <a:pt x="166" y="102"/>
                      </a:lnTo>
                      <a:lnTo>
                        <a:pt x="168" y="102"/>
                      </a:lnTo>
                      <a:lnTo>
                        <a:pt x="170" y="100"/>
                      </a:lnTo>
                      <a:lnTo>
                        <a:pt x="172" y="98"/>
                      </a:lnTo>
                      <a:lnTo>
                        <a:pt x="174" y="96"/>
                      </a:lnTo>
                      <a:lnTo>
                        <a:pt x="174" y="94"/>
                      </a:lnTo>
                      <a:lnTo>
                        <a:pt x="174" y="90"/>
                      </a:lnTo>
                      <a:lnTo>
                        <a:pt x="174" y="86"/>
                      </a:lnTo>
                      <a:lnTo>
                        <a:pt x="174" y="84"/>
                      </a:lnTo>
                      <a:lnTo>
                        <a:pt x="176" y="84"/>
                      </a:lnTo>
                      <a:lnTo>
                        <a:pt x="178" y="84"/>
                      </a:lnTo>
                      <a:lnTo>
                        <a:pt x="178" y="82"/>
                      </a:lnTo>
                      <a:lnTo>
                        <a:pt x="180" y="82"/>
                      </a:lnTo>
                      <a:lnTo>
                        <a:pt x="180" y="80"/>
                      </a:lnTo>
                      <a:lnTo>
                        <a:pt x="180" y="78"/>
                      </a:lnTo>
                      <a:lnTo>
                        <a:pt x="180" y="74"/>
                      </a:lnTo>
                      <a:lnTo>
                        <a:pt x="180" y="72"/>
                      </a:lnTo>
                      <a:lnTo>
                        <a:pt x="180" y="70"/>
                      </a:lnTo>
                      <a:lnTo>
                        <a:pt x="182" y="70"/>
                      </a:lnTo>
                      <a:lnTo>
                        <a:pt x="182" y="66"/>
                      </a:lnTo>
                      <a:lnTo>
                        <a:pt x="182" y="64"/>
                      </a:lnTo>
                      <a:lnTo>
                        <a:pt x="182" y="62"/>
                      </a:lnTo>
                      <a:lnTo>
                        <a:pt x="184" y="62"/>
                      </a:lnTo>
                      <a:lnTo>
                        <a:pt x="184" y="60"/>
                      </a:lnTo>
                      <a:lnTo>
                        <a:pt x="186" y="58"/>
                      </a:lnTo>
                      <a:lnTo>
                        <a:pt x="188" y="58"/>
                      </a:lnTo>
                      <a:lnTo>
                        <a:pt x="188" y="56"/>
                      </a:lnTo>
                      <a:lnTo>
                        <a:pt x="188" y="54"/>
                      </a:lnTo>
                      <a:lnTo>
                        <a:pt x="190" y="52"/>
                      </a:lnTo>
                      <a:lnTo>
                        <a:pt x="190" y="50"/>
                      </a:lnTo>
                      <a:lnTo>
                        <a:pt x="192" y="50"/>
                      </a:lnTo>
                      <a:lnTo>
                        <a:pt x="194" y="48"/>
                      </a:lnTo>
                      <a:lnTo>
                        <a:pt x="196" y="48"/>
                      </a:lnTo>
                      <a:lnTo>
                        <a:pt x="200" y="46"/>
                      </a:lnTo>
                      <a:lnTo>
                        <a:pt x="200" y="44"/>
                      </a:lnTo>
                      <a:lnTo>
                        <a:pt x="202" y="42"/>
                      </a:lnTo>
                      <a:lnTo>
                        <a:pt x="202" y="40"/>
                      </a:lnTo>
                      <a:lnTo>
                        <a:pt x="200" y="40"/>
                      </a:lnTo>
                      <a:lnTo>
                        <a:pt x="200" y="38"/>
                      </a:lnTo>
                      <a:lnTo>
                        <a:pt x="200" y="36"/>
                      </a:lnTo>
                      <a:lnTo>
                        <a:pt x="202" y="34"/>
                      </a:lnTo>
                      <a:lnTo>
                        <a:pt x="202" y="30"/>
                      </a:lnTo>
                      <a:lnTo>
                        <a:pt x="200" y="30"/>
                      </a:lnTo>
                      <a:lnTo>
                        <a:pt x="200" y="28"/>
                      </a:lnTo>
                      <a:lnTo>
                        <a:pt x="198" y="28"/>
                      </a:lnTo>
                      <a:lnTo>
                        <a:pt x="198" y="30"/>
                      </a:lnTo>
                      <a:lnTo>
                        <a:pt x="196" y="30"/>
                      </a:lnTo>
                      <a:lnTo>
                        <a:pt x="194" y="30"/>
                      </a:lnTo>
                      <a:lnTo>
                        <a:pt x="192" y="28"/>
                      </a:lnTo>
                      <a:lnTo>
                        <a:pt x="192" y="26"/>
                      </a:lnTo>
                      <a:lnTo>
                        <a:pt x="192" y="24"/>
                      </a:lnTo>
                      <a:lnTo>
                        <a:pt x="192" y="22"/>
                      </a:lnTo>
                      <a:lnTo>
                        <a:pt x="192" y="18"/>
                      </a:lnTo>
                      <a:lnTo>
                        <a:pt x="192" y="16"/>
                      </a:lnTo>
                      <a:lnTo>
                        <a:pt x="192" y="14"/>
                      </a:lnTo>
                      <a:lnTo>
                        <a:pt x="190" y="12"/>
                      </a:lnTo>
                      <a:lnTo>
                        <a:pt x="190" y="10"/>
                      </a:lnTo>
                      <a:lnTo>
                        <a:pt x="188" y="8"/>
                      </a:lnTo>
                      <a:lnTo>
                        <a:pt x="186" y="6"/>
                      </a:lnTo>
                      <a:lnTo>
                        <a:pt x="186" y="4"/>
                      </a:lnTo>
                      <a:lnTo>
                        <a:pt x="184" y="4"/>
                      </a:lnTo>
                      <a:lnTo>
                        <a:pt x="184" y="2"/>
                      </a:lnTo>
                      <a:lnTo>
                        <a:pt x="182" y="2"/>
                      </a:lnTo>
                      <a:lnTo>
                        <a:pt x="180" y="4"/>
                      </a:lnTo>
                      <a:lnTo>
                        <a:pt x="180" y="6"/>
                      </a:lnTo>
                      <a:lnTo>
                        <a:pt x="178" y="8"/>
                      </a:lnTo>
                      <a:lnTo>
                        <a:pt x="176" y="8"/>
                      </a:lnTo>
                      <a:lnTo>
                        <a:pt x="174" y="8"/>
                      </a:lnTo>
                      <a:lnTo>
                        <a:pt x="172" y="8"/>
                      </a:lnTo>
                      <a:lnTo>
                        <a:pt x="170" y="10"/>
                      </a:lnTo>
                      <a:lnTo>
                        <a:pt x="168" y="12"/>
                      </a:lnTo>
                      <a:lnTo>
                        <a:pt x="166" y="12"/>
                      </a:lnTo>
                      <a:lnTo>
                        <a:pt x="164" y="14"/>
                      </a:lnTo>
                      <a:lnTo>
                        <a:pt x="162" y="14"/>
                      </a:lnTo>
                      <a:lnTo>
                        <a:pt x="160" y="14"/>
                      </a:lnTo>
                      <a:lnTo>
                        <a:pt x="158" y="14"/>
                      </a:lnTo>
                      <a:lnTo>
                        <a:pt x="156" y="14"/>
                      </a:lnTo>
                      <a:lnTo>
                        <a:pt x="156" y="12"/>
                      </a:lnTo>
                      <a:lnTo>
                        <a:pt x="152" y="12"/>
                      </a:lnTo>
                      <a:lnTo>
                        <a:pt x="150" y="10"/>
                      </a:lnTo>
                      <a:lnTo>
                        <a:pt x="146" y="10"/>
                      </a:lnTo>
                      <a:lnTo>
                        <a:pt x="142" y="8"/>
                      </a:lnTo>
                      <a:lnTo>
                        <a:pt x="136" y="8"/>
                      </a:lnTo>
                      <a:lnTo>
                        <a:pt x="134" y="8"/>
                      </a:lnTo>
                      <a:lnTo>
                        <a:pt x="132" y="10"/>
                      </a:lnTo>
                      <a:lnTo>
                        <a:pt x="128" y="10"/>
                      </a:lnTo>
                      <a:lnTo>
                        <a:pt x="124" y="12"/>
                      </a:lnTo>
                      <a:lnTo>
                        <a:pt x="122" y="14"/>
                      </a:lnTo>
                      <a:lnTo>
                        <a:pt x="120" y="16"/>
                      </a:lnTo>
                      <a:lnTo>
                        <a:pt x="118" y="18"/>
                      </a:lnTo>
                      <a:lnTo>
                        <a:pt x="118" y="20"/>
                      </a:lnTo>
                      <a:lnTo>
                        <a:pt x="116" y="20"/>
                      </a:lnTo>
                      <a:lnTo>
                        <a:pt x="114" y="20"/>
                      </a:lnTo>
                      <a:lnTo>
                        <a:pt x="112" y="20"/>
                      </a:lnTo>
                      <a:lnTo>
                        <a:pt x="110" y="20"/>
                      </a:lnTo>
                      <a:lnTo>
                        <a:pt x="106" y="18"/>
                      </a:lnTo>
                      <a:lnTo>
                        <a:pt x="102" y="18"/>
                      </a:lnTo>
                      <a:lnTo>
                        <a:pt x="100" y="16"/>
                      </a:lnTo>
                      <a:lnTo>
                        <a:pt x="98" y="16"/>
                      </a:lnTo>
                      <a:lnTo>
                        <a:pt x="96" y="14"/>
                      </a:lnTo>
                      <a:lnTo>
                        <a:pt x="94" y="12"/>
                      </a:lnTo>
                      <a:lnTo>
                        <a:pt x="92" y="10"/>
                      </a:lnTo>
                      <a:lnTo>
                        <a:pt x="90" y="10"/>
                      </a:lnTo>
                      <a:lnTo>
                        <a:pt x="88" y="10"/>
                      </a:lnTo>
                      <a:lnTo>
                        <a:pt x="86" y="10"/>
                      </a:lnTo>
                      <a:lnTo>
                        <a:pt x="84" y="12"/>
                      </a:lnTo>
                      <a:lnTo>
                        <a:pt x="82" y="12"/>
                      </a:lnTo>
                      <a:lnTo>
                        <a:pt x="78" y="14"/>
                      </a:lnTo>
                      <a:lnTo>
                        <a:pt x="76" y="14"/>
                      </a:lnTo>
                      <a:lnTo>
                        <a:pt x="74" y="16"/>
                      </a:lnTo>
                      <a:lnTo>
                        <a:pt x="72" y="16"/>
                      </a:lnTo>
                      <a:lnTo>
                        <a:pt x="70" y="14"/>
                      </a:lnTo>
                      <a:lnTo>
                        <a:pt x="68" y="12"/>
                      </a:lnTo>
                      <a:lnTo>
                        <a:pt x="68" y="10"/>
                      </a:lnTo>
                      <a:lnTo>
                        <a:pt x="66" y="8"/>
                      </a:lnTo>
                      <a:lnTo>
                        <a:pt x="64" y="6"/>
                      </a:lnTo>
                      <a:lnTo>
                        <a:pt x="62" y="4"/>
                      </a:lnTo>
                      <a:lnTo>
                        <a:pt x="60" y="4"/>
                      </a:lnTo>
                      <a:lnTo>
                        <a:pt x="58" y="4"/>
                      </a:lnTo>
                      <a:lnTo>
                        <a:pt x="56" y="4"/>
                      </a:lnTo>
                      <a:lnTo>
                        <a:pt x="54" y="4"/>
                      </a:lnTo>
                      <a:lnTo>
                        <a:pt x="54" y="2"/>
                      </a:lnTo>
                      <a:lnTo>
                        <a:pt x="52" y="2"/>
                      </a:lnTo>
                      <a:lnTo>
                        <a:pt x="52" y="0"/>
                      </a:lnTo>
                      <a:lnTo>
                        <a:pt x="50" y="0"/>
                      </a:lnTo>
                      <a:lnTo>
                        <a:pt x="48" y="0"/>
                      </a:lnTo>
                      <a:lnTo>
                        <a:pt x="46" y="0"/>
                      </a:lnTo>
                      <a:lnTo>
                        <a:pt x="44" y="0"/>
                      </a:lnTo>
                      <a:lnTo>
                        <a:pt x="44" y="2"/>
                      </a:lnTo>
                      <a:lnTo>
                        <a:pt x="40" y="2"/>
                      </a:lnTo>
                      <a:lnTo>
                        <a:pt x="38" y="2"/>
                      </a:lnTo>
                      <a:lnTo>
                        <a:pt x="36" y="2"/>
                      </a:lnTo>
                      <a:lnTo>
                        <a:pt x="34" y="2"/>
                      </a:lnTo>
                      <a:lnTo>
                        <a:pt x="32" y="2"/>
                      </a:lnTo>
                      <a:lnTo>
                        <a:pt x="30" y="4"/>
                      </a:lnTo>
                      <a:lnTo>
                        <a:pt x="28" y="6"/>
                      </a:lnTo>
                      <a:lnTo>
                        <a:pt x="26" y="6"/>
                      </a:lnTo>
                      <a:lnTo>
                        <a:pt x="26" y="8"/>
                      </a:lnTo>
                      <a:lnTo>
                        <a:pt x="24" y="8"/>
                      </a:lnTo>
                      <a:lnTo>
                        <a:pt x="24" y="10"/>
                      </a:lnTo>
                      <a:lnTo>
                        <a:pt x="24" y="12"/>
                      </a:lnTo>
                      <a:lnTo>
                        <a:pt x="24" y="14"/>
                      </a:lnTo>
                      <a:lnTo>
                        <a:pt x="24" y="18"/>
                      </a:lnTo>
                      <a:lnTo>
                        <a:pt x="24" y="20"/>
                      </a:lnTo>
                      <a:lnTo>
                        <a:pt x="22" y="20"/>
                      </a:lnTo>
                      <a:lnTo>
                        <a:pt x="22" y="22"/>
                      </a:lnTo>
                      <a:lnTo>
                        <a:pt x="20" y="24"/>
                      </a:lnTo>
                      <a:lnTo>
                        <a:pt x="18" y="26"/>
                      </a:lnTo>
                      <a:lnTo>
                        <a:pt x="16" y="26"/>
                      </a:lnTo>
                      <a:lnTo>
                        <a:pt x="16" y="28"/>
                      </a:lnTo>
                      <a:lnTo>
                        <a:pt x="16" y="30"/>
                      </a:lnTo>
                      <a:lnTo>
                        <a:pt x="16" y="32"/>
                      </a:lnTo>
                      <a:lnTo>
                        <a:pt x="16" y="34"/>
                      </a:lnTo>
                      <a:lnTo>
                        <a:pt x="16" y="36"/>
                      </a:lnTo>
                      <a:lnTo>
                        <a:pt x="16" y="38"/>
                      </a:lnTo>
                      <a:lnTo>
                        <a:pt x="16" y="40"/>
                      </a:lnTo>
                      <a:lnTo>
                        <a:pt x="14" y="44"/>
                      </a:lnTo>
                      <a:lnTo>
                        <a:pt x="14" y="46"/>
                      </a:lnTo>
                      <a:lnTo>
                        <a:pt x="14" y="48"/>
                      </a:lnTo>
                      <a:lnTo>
                        <a:pt x="16" y="50"/>
                      </a:lnTo>
                      <a:lnTo>
                        <a:pt x="18" y="52"/>
                      </a:lnTo>
                      <a:lnTo>
                        <a:pt x="18" y="54"/>
                      </a:lnTo>
                      <a:lnTo>
                        <a:pt x="18" y="56"/>
                      </a:lnTo>
                      <a:lnTo>
                        <a:pt x="18" y="58"/>
                      </a:lnTo>
                      <a:lnTo>
                        <a:pt x="20" y="60"/>
                      </a:lnTo>
                      <a:lnTo>
                        <a:pt x="20" y="62"/>
                      </a:lnTo>
                      <a:lnTo>
                        <a:pt x="18" y="62"/>
                      </a:lnTo>
                      <a:lnTo>
                        <a:pt x="18" y="64"/>
                      </a:lnTo>
                      <a:lnTo>
                        <a:pt x="16" y="64"/>
                      </a:lnTo>
                      <a:lnTo>
                        <a:pt x="14" y="68"/>
                      </a:lnTo>
                      <a:lnTo>
                        <a:pt x="14" y="70"/>
                      </a:lnTo>
                      <a:lnTo>
                        <a:pt x="14" y="72"/>
                      </a:lnTo>
                      <a:lnTo>
                        <a:pt x="14" y="74"/>
                      </a:lnTo>
                      <a:lnTo>
                        <a:pt x="14" y="76"/>
                      </a:lnTo>
                      <a:lnTo>
                        <a:pt x="12" y="78"/>
                      </a:lnTo>
                      <a:lnTo>
                        <a:pt x="10" y="80"/>
                      </a:lnTo>
                      <a:lnTo>
                        <a:pt x="10" y="82"/>
                      </a:lnTo>
                      <a:lnTo>
                        <a:pt x="10" y="84"/>
                      </a:lnTo>
                      <a:lnTo>
                        <a:pt x="10" y="86"/>
                      </a:lnTo>
                      <a:lnTo>
                        <a:pt x="8" y="88"/>
                      </a:lnTo>
                      <a:lnTo>
                        <a:pt x="8" y="90"/>
                      </a:lnTo>
                      <a:lnTo>
                        <a:pt x="6" y="92"/>
                      </a:lnTo>
                      <a:lnTo>
                        <a:pt x="4" y="92"/>
                      </a:lnTo>
                      <a:lnTo>
                        <a:pt x="2" y="92"/>
                      </a:lnTo>
                      <a:lnTo>
                        <a:pt x="2" y="96"/>
                      </a:lnTo>
                      <a:lnTo>
                        <a:pt x="2" y="98"/>
                      </a:lnTo>
                      <a:lnTo>
                        <a:pt x="0" y="100"/>
                      </a:lnTo>
                      <a:lnTo>
                        <a:pt x="0" y="102"/>
                      </a:lnTo>
                      <a:lnTo>
                        <a:pt x="2" y="104"/>
                      </a:lnTo>
                      <a:lnTo>
                        <a:pt x="2" y="106"/>
                      </a:lnTo>
                      <a:lnTo>
                        <a:pt x="2" y="108"/>
                      </a:lnTo>
                      <a:lnTo>
                        <a:pt x="2" y="110"/>
                      </a:lnTo>
                      <a:lnTo>
                        <a:pt x="2" y="112"/>
                      </a:lnTo>
                      <a:lnTo>
                        <a:pt x="2" y="114"/>
                      </a:lnTo>
                      <a:lnTo>
                        <a:pt x="0" y="114"/>
                      </a:lnTo>
                      <a:lnTo>
                        <a:pt x="0" y="116"/>
                      </a:lnTo>
                      <a:lnTo>
                        <a:pt x="0" y="120"/>
                      </a:lnTo>
                      <a:lnTo>
                        <a:pt x="0" y="122"/>
                      </a:lnTo>
                      <a:lnTo>
                        <a:pt x="0" y="126"/>
                      </a:lnTo>
                      <a:lnTo>
                        <a:pt x="0" y="128"/>
                      </a:lnTo>
                      <a:lnTo>
                        <a:pt x="2" y="130"/>
                      </a:lnTo>
                      <a:lnTo>
                        <a:pt x="2" y="132"/>
                      </a:lnTo>
                      <a:lnTo>
                        <a:pt x="2" y="134"/>
                      </a:lnTo>
                      <a:lnTo>
                        <a:pt x="2" y="136"/>
                      </a:lnTo>
                      <a:lnTo>
                        <a:pt x="0" y="138"/>
                      </a:lnTo>
                      <a:lnTo>
                        <a:pt x="0" y="140"/>
                      </a:lnTo>
                      <a:lnTo>
                        <a:pt x="0" y="142"/>
                      </a:lnTo>
                      <a:lnTo>
                        <a:pt x="2" y="144"/>
                      </a:lnTo>
                      <a:lnTo>
                        <a:pt x="4" y="144"/>
                      </a:lnTo>
                      <a:lnTo>
                        <a:pt x="6" y="144"/>
                      </a:lnTo>
                      <a:lnTo>
                        <a:pt x="8" y="144"/>
                      </a:lnTo>
                      <a:lnTo>
                        <a:pt x="12" y="142"/>
                      </a:lnTo>
                      <a:lnTo>
                        <a:pt x="14" y="142"/>
                      </a:lnTo>
                      <a:lnTo>
                        <a:pt x="14" y="140"/>
                      </a:lnTo>
                      <a:lnTo>
                        <a:pt x="16" y="140"/>
                      </a:lnTo>
                      <a:lnTo>
                        <a:pt x="16" y="142"/>
                      </a:lnTo>
                      <a:lnTo>
                        <a:pt x="18" y="142"/>
                      </a:lnTo>
                      <a:lnTo>
                        <a:pt x="20" y="142"/>
                      </a:lnTo>
                      <a:lnTo>
                        <a:pt x="24" y="142"/>
                      </a:lnTo>
                      <a:lnTo>
                        <a:pt x="26" y="142"/>
                      </a:lnTo>
                      <a:lnTo>
                        <a:pt x="30" y="142"/>
                      </a:lnTo>
                      <a:lnTo>
                        <a:pt x="32" y="144"/>
                      </a:lnTo>
                      <a:lnTo>
                        <a:pt x="34" y="146"/>
                      </a:lnTo>
                      <a:lnTo>
                        <a:pt x="36" y="150"/>
                      </a:lnTo>
                      <a:lnTo>
                        <a:pt x="38" y="152"/>
                      </a:lnTo>
                      <a:lnTo>
                        <a:pt x="38" y="154"/>
                      </a:lnTo>
                      <a:lnTo>
                        <a:pt x="40" y="156"/>
                      </a:lnTo>
                      <a:lnTo>
                        <a:pt x="42" y="156"/>
                      </a:lnTo>
                      <a:lnTo>
                        <a:pt x="44" y="156"/>
                      </a:lnTo>
                      <a:lnTo>
                        <a:pt x="46" y="156"/>
                      </a:lnTo>
                      <a:lnTo>
                        <a:pt x="44" y="156"/>
                      </a:lnTo>
                      <a:lnTo>
                        <a:pt x="44" y="158"/>
                      </a:lnTo>
                      <a:lnTo>
                        <a:pt x="42" y="160"/>
                      </a:lnTo>
                      <a:lnTo>
                        <a:pt x="42" y="162"/>
                      </a:lnTo>
                      <a:lnTo>
                        <a:pt x="44" y="162"/>
                      </a:lnTo>
                      <a:lnTo>
                        <a:pt x="46" y="160"/>
                      </a:lnTo>
                      <a:lnTo>
                        <a:pt x="48" y="160"/>
                      </a:lnTo>
                      <a:lnTo>
                        <a:pt x="46" y="162"/>
                      </a:lnTo>
                      <a:lnTo>
                        <a:pt x="46" y="164"/>
                      </a:lnTo>
                      <a:lnTo>
                        <a:pt x="46" y="166"/>
                      </a:lnTo>
                      <a:lnTo>
                        <a:pt x="46" y="168"/>
                      </a:lnTo>
                      <a:lnTo>
                        <a:pt x="46" y="170"/>
                      </a:lnTo>
                      <a:lnTo>
                        <a:pt x="46" y="174"/>
                      </a:lnTo>
                      <a:lnTo>
                        <a:pt x="48" y="176"/>
                      </a:lnTo>
                      <a:lnTo>
                        <a:pt x="50" y="178"/>
                      </a:lnTo>
                      <a:lnTo>
                        <a:pt x="52" y="180"/>
                      </a:lnTo>
                      <a:lnTo>
                        <a:pt x="54" y="180"/>
                      </a:lnTo>
                      <a:lnTo>
                        <a:pt x="56" y="180"/>
                      </a:lnTo>
                      <a:lnTo>
                        <a:pt x="60" y="180"/>
                      </a:lnTo>
                      <a:lnTo>
                        <a:pt x="62" y="180"/>
                      </a:lnTo>
                      <a:lnTo>
                        <a:pt x="64" y="180"/>
                      </a:lnTo>
                      <a:lnTo>
                        <a:pt x="66" y="180"/>
                      </a:lnTo>
                      <a:lnTo>
                        <a:pt x="68" y="180"/>
                      </a:lnTo>
                      <a:lnTo>
                        <a:pt x="68" y="178"/>
                      </a:lnTo>
                      <a:lnTo>
                        <a:pt x="68" y="176"/>
                      </a:lnTo>
                      <a:lnTo>
                        <a:pt x="68" y="174"/>
                      </a:lnTo>
                      <a:lnTo>
                        <a:pt x="70" y="174"/>
                      </a:lnTo>
                      <a:lnTo>
                        <a:pt x="72" y="176"/>
                      </a:lnTo>
                      <a:lnTo>
                        <a:pt x="74" y="178"/>
                      </a:lnTo>
                      <a:lnTo>
                        <a:pt x="76" y="178"/>
                      </a:lnTo>
                      <a:lnTo>
                        <a:pt x="78" y="178"/>
                      </a:lnTo>
                      <a:lnTo>
                        <a:pt x="80" y="178"/>
                      </a:lnTo>
                      <a:lnTo>
                        <a:pt x="80" y="176"/>
                      </a:lnTo>
                      <a:lnTo>
                        <a:pt x="82" y="176"/>
                      </a:lnTo>
                      <a:lnTo>
                        <a:pt x="82" y="178"/>
                      </a:lnTo>
                      <a:lnTo>
                        <a:pt x="84" y="178"/>
                      </a:lnTo>
                      <a:lnTo>
                        <a:pt x="84" y="180"/>
                      </a:lnTo>
                      <a:lnTo>
                        <a:pt x="86" y="180"/>
                      </a:lnTo>
                      <a:lnTo>
                        <a:pt x="88" y="180"/>
                      </a:lnTo>
                      <a:lnTo>
                        <a:pt x="90" y="180"/>
                      </a:lnTo>
                      <a:lnTo>
                        <a:pt x="92" y="180"/>
                      </a:lnTo>
                      <a:lnTo>
                        <a:pt x="94" y="180"/>
                      </a:lnTo>
                      <a:lnTo>
                        <a:pt x="94" y="178"/>
                      </a:lnTo>
                      <a:lnTo>
                        <a:pt x="94" y="176"/>
                      </a:lnTo>
                      <a:lnTo>
                        <a:pt x="94" y="174"/>
                      </a:lnTo>
                      <a:lnTo>
                        <a:pt x="96" y="174"/>
                      </a:lnTo>
                      <a:lnTo>
                        <a:pt x="98" y="174"/>
                      </a:lnTo>
                      <a:lnTo>
                        <a:pt x="100" y="17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6" name="Freeform 82">
                  <a:extLst>
                    <a:ext uri="{FF2B5EF4-FFF2-40B4-BE49-F238E27FC236}">
                      <a16:creationId xmlns:a16="http://schemas.microsoft.com/office/drawing/2014/main" id="{5A6EC6EF-7B4B-4B71-8F17-F39D1743093F}"/>
                    </a:ext>
                  </a:extLst>
                </p:cNvPr>
                <p:cNvSpPr>
                  <a:spLocks noChangeAspect="1"/>
                </p:cNvSpPr>
                <p:nvPr/>
              </p:nvSpPr>
              <p:spPr bwMode="auto">
                <a:xfrm>
                  <a:off x="4070664" y="3416739"/>
                  <a:ext cx="457132" cy="498774"/>
                </a:xfrm>
                <a:custGeom>
                  <a:avLst/>
                  <a:gdLst/>
                  <a:ahLst/>
                  <a:cxnLst>
                    <a:cxn ang="0">
                      <a:pos x="152" y="218"/>
                    </a:cxn>
                    <a:cxn ang="0">
                      <a:pos x="158" y="214"/>
                    </a:cxn>
                    <a:cxn ang="0">
                      <a:pos x="172" y="208"/>
                    </a:cxn>
                    <a:cxn ang="0">
                      <a:pos x="178" y="202"/>
                    </a:cxn>
                    <a:cxn ang="0">
                      <a:pos x="186" y="196"/>
                    </a:cxn>
                    <a:cxn ang="0">
                      <a:pos x="200" y="192"/>
                    </a:cxn>
                    <a:cxn ang="0">
                      <a:pos x="210" y="194"/>
                    </a:cxn>
                    <a:cxn ang="0">
                      <a:pos x="226" y="188"/>
                    </a:cxn>
                    <a:cxn ang="0">
                      <a:pos x="242" y="188"/>
                    </a:cxn>
                    <a:cxn ang="0">
                      <a:pos x="250" y="184"/>
                    </a:cxn>
                    <a:cxn ang="0">
                      <a:pos x="258" y="184"/>
                    </a:cxn>
                    <a:cxn ang="0">
                      <a:pos x="274" y="168"/>
                    </a:cxn>
                    <a:cxn ang="0">
                      <a:pos x="278" y="154"/>
                    </a:cxn>
                    <a:cxn ang="0">
                      <a:pos x="278" y="114"/>
                    </a:cxn>
                    <a:cxn ang="0">
                      <a:pos x="270" y="114"/>
                    </a:cxn>
                    <a:cxn ang="0">
                      <a:pos x="264" y="108"/>
                    </a:cxn>
                    <a:cxn ang="0">
                      <a:pos x="256" y="96"/>
                    </a:cxn>
                    <a:cxn ang="0">
                      <a:pos x="246" y="90"/>
                    </a:cxn>
                    <a:cxn ang="0">
                      <a:pos x="236" y="84"/>
                    </a:cxn>
                    <a:cxn ang="0">
                      <a:pos x="228" y="76"/>
                    </a:cxn>
                    <a:cxn ang="0">
                      <a:pos x="168" y="28"/>
                    </a:cxn>
                    <a:cxn ang="0">
                      <a:pos x="134" y="2"/>
                    </a:cxn>
                    <a:cxn ang="0">
                      <a:pos x="106" y="0"/>
                    </a:cxn>
                    <a:cxn ang="0">
                      <a:pos x="104" y="54"/>
                    </a:cxn>
                    <a:cxn ang="0">
                      <a:pos x="112" y="144"/>
                    </a:cxn>
                    <a:cxn ang="0">
                      <a:pos x="112" y="164"/>
                    </a:cxn>
                    <a:cxn ang="0">
                      <a:pos x="116" y="176"/>
                    </a:cxn>
                    <a:cxn ang="0">
                      <a:pos x="84" y="182"/>
                    </a:cxn>
                    <a:cxn ang="0">
                      <a:pos x="52" y="182"/>
                    </a:cxn>
                    <a:cxn ang="0">
                      <a:pos x="48" y="182"/>
                    </a:cxn>
                    <a:cxn ang="0">
                      <a:pos x="34" y="184"/>
                    </a:cxn>
                    <a:cxn ang="0">
                      <a:pos x="24" y="188"/>
                    </a:cxn>
                    <a:cxn ang="0">
                      <a:pos x="14" y="182"/>
                    </a:cxn>
                    <a:cxn ang="0">
                      <a:pos x="8" y="194"/>
                    </a:cxn>
                    <a:cxn ang="0">
                      <a:pos x="0" y="202"/>
                    </a:cxn>
                    <a:cxn ang="0">
                      <a:pos x="4" y="206"/>
                    </a:cxn>
                    <a:cxn ang="0">
                      <a:pos x="4" y="222"/>
                    </a:cxn>
                    <a:cxn ang="0">
                      <a:pos x="12" y="230"/>
                    </a:cxn>
                    <a:cxn ang="0">
                      <a:pos x="12" y="242"/>
                    </a:cxn>
                    <a:cxn ang="0">
                      <a:pos x="18" y="248"/>
                    </a:cxn>
                    <a:cxn ang="0">
                      <a:pos x="26" y="252"/>
                    </a:cxn>
                    <a:cxn ang="0">
                      <a:pos x="38" y="248"/>
                    </a:cxn>
                    <a:cxn ang="0">
                      <a:pos x="48" y="244"/>
                    </a:cxn>
                    <a:cxn ang="0">
                      <a:pos x="56" y="244"/>
                    </a:cxn>
                    <a:cxn ang="0">
                      <a:pos x="56" y="254"/>
                    </a:cxn>
                    <a:cxn ang="0">
                      <a:pos x="60" y="266"/>
                    </a:cxn>
                    <a:cxn ang="0">
                      <a:pos x="66" y="272"/>
                    </a:cxn>
                    <a:cxn ang="0">
                      <a:pos x="72" y="284"/>
                    </a:cxn>
                    <a:cxn ang="0">
                      <a:pos x="76" y="280"/>
                    </a:cxn>
                    <a:cxn ang="0">
                      <a:pos x="90" y="282"/>
                    </a:cxn>
                    <a:cxn ang="0">
                      <a:pos x="94" y="276"/>
                    </a:cxn>
                    <a:cxn ang="0">
                      <a:pos x="98" y="276"/>
                    </a:cxn>
                    <a:cxn ang="0">
                      <a:pos x="102" y="284"/>
                    </a:cxn>
                    <a:cxn ang="0">
                      <a:pos x="110" y="280"/>
                    </a:cxn>
                    <a:cxn ang="0">
                      <a:pos x="112" y="266"/>
                    </a:cxn>
                    <a:cxn ang="0">
                      <a:pos x="120" y="260"/>
                    </a:cxn>
                    <a:cxn ang="0">
                      <a:pos x="118" y="250"/>
                    </a:cxn>
                    <a:cxn ang="0">
                      <a:pos x="130" y="248"/>
                    </a:cxn>
                    <a:cxn ang="0">
                      <a:pos x="132" y="236"/>
                    </a:cxn>
                    <a:cxn ang="0">
                      <a:pos x="136" y="230"/>
                    </a:cxn>
                    <a:cxn ang="0">
                      <a:pos x="146" y="228"/>
                    </a:cxn>
                  </a:cxnLst>
                  <a:rect l="0" t="0" r="r" b="b"/>
                  <a:pathLst>
                    <a:path w="278" h="286">
                      <a:moveTo>
                        <a:pt x="146" y="228"/>
                      </a:moveTo>
                      <a:lnTo>
                        <a:pt x="148" y="226"/>
                      </a:lnTo>
                      <a:lnTo>
                        <a:pt x="150" y="226"/>
                      </a:lnTo>
                      <a:lnTo>
                        <a:pt x="152" y="226"/>
                      </a:lnTo>
                      <a:lnTo>
                        <a:pt x="152" y="222"/>
                      </a:lnTo>
                      <a:lnTo>
                        <a:pt x="152" y="220"/>
                      </a:lnTo>
                      <a:lnTo>
                        <a:pt x="152" y="218"/>
                      </a:lnTo>
                      <a:lnTo>
                        <a:pt x="152" y="216"/>
                      </a:lnTo>
                      <a:lnTo>
                        <a:pt x="154" y="216"/>
                      </a:lnTo>
                      <a:lnTo>
                        <a:pt x="156" y="216"/>
                      </a:lnTo>
                      <a:lnTo>
                        <a:pt x="158" y="214"/>
                      </a:lnTo>
                      <a:lnTo>
                        <a:pt x="158" y="212"/>
                      </a:lnTo>
                      <a:lnTo>
                        <a:pt x="160" y="210"/>
                      </a:lnTo>
                      <a:lnTo>
                        <a:pt x="162" y="208"/>
                      </a:lnTo>
                      <a:lnTo>
                        <a:pt x="164" y="206"/>
                      </a:lnTo>
                      <a:lnTo>
                        <a:pt x="166" y="206"/>
                      </a:lnTo>
                      <a:lnTo>
                        <a:pt x="168" y="206"/>
                      </a:lnTo>
                      <a:lnTo>
                        <a:pt x="170" y="206"/>
                      </a:lnTo>
                      <a:lnTo>
                        <a:pt x="170" y="208"/>
                      </a:lnTo>
                      <a:lnTo>
                        <a:pt x="172" y="208"/>
                      </a:lnTo>
                      <a:lnTo>
                        <a:pt x="172" y="206"/>
                      </a:lnTo>
                      <a:lnTo>
                        <a:pt x="174" y="206"/>
                      </a:lnTo>
                      <a:lnTo>
                        <a:pt x="174" y="204"/>
                      </a:lnTo>
                      <a:lnTo>
                        <a:pt x="174" y="202"/>
                      </a:lnTo>
                      <a:lnTo>
                        <a:pt x="176" y="202"/>
                      </a:lnTo>
                      <a:lnTo>
                        <a:pt x="178" y="202"/>
                      </a:lnTo>
                      <a:lnTo>
                        <a:pt x="180" y="202"/>
                      </a:lnTo>
                      <a:lnTo>
                        <a:pt x="182" y="200"/>
                      </a:lnTo>
                      <a:lnTo>
                        <a:pt x="182" y="198"/>
                      </a:lnTo>
                      <a:lnTo>
                        <a:pt x="184" y="196"/>
                      </a:lnTo>
                      <a:lnTo>
                        <a:pt x="186" y="196"/>
                      </a:lnTo>
                      <a:lnTo>
                        <a:pt x="190" y="196"/>
                      </a:lnTo>
                      <a:lnTo>
                        <a:pt x="190" y="194"/>
                      </a:lnTo>
                      <a:lnTo>
                        <a:pt x="192" y="194"/>
                      </a:lnTo>
                      <a:lnTo>
                        <a:pt x="192" y="192"/>
                      </a:lnTo>
                      <a:lnTo>
                        <a:pt x="194" y="192"/>
                      </a:lnTo>
                      <a:lnTo>
                        <a:pt x="194" y="190"/>
                      </a:lnTo>
                      <a:lnTo>
                        <a:pt x="196" y="190"/>
                      </a:lnTo>
                      <a:lnTo>
                        <a:pt x="198" y="190"/>
                      </a:lnTo>
                      <a:lnTo>
                        <a:pt x="200" y="192"/>
                      </a:lnTo>
                      <a:lnTo>
                        <a:pt x="202" y="192"/>
                      </a:lnTo>
                      <a:lnTo>
                        <a:pt x="204" y="192"/>
                      </a:lnTo>
                      <a:lnTo>
                        <a:pt x="206" y="192"/>
                      </a:lnTo>
                      <a:lnTo>
                        <a:pt x="208" y="192"/>
                      </a:lnTo>
                      <a:lnTo>
                        <a:pt x="210" y="194"/>
                      </a:lnTo>
                      <a:lnTo>
                        <a:pt x="212" y="194"/>
                      </a:lnTo>
                      <a:lnTo>
                        <a:pt x="214" y="194"/>
                      </a:lnTo>
                      <a:lnTo>
                        <a:pt x="218" y="192"/>
                      </a:lnTo>
                      <a:lnTo>
                        <a:pt x="220" y="192"/>
                      </a:lnTo>
                      <a:lnTo>
                        <a:pt x="222" y="192"/>
                      </a:lnTo>
                      <a:lnTo>
                        <a:pt x="224" y="190"/>
                      </a:lnTo>
                      <a:lnTo>
                        <a:pt x="226" y="188"/>
                      </a:lnTo>
                      <a:lnTo>
                        <a:pt x="228" y="188"/>
                      </a:lnTo>
                      <a:lnTo>
                        <a:pt x="228" y="186"/>
                      </a:lnTo>
                      <a:lnTo>
                        <a:pt x="232" y="186"/>
                      </a:lnTo>
                      <a:lnTo>
                        <a:pt x="234" y="188"/>
                      </a:lnTo>
                      <a:lnTo>
                        <a:pt x="236" y="188"/>
                      </a:lnTo>
                      <a:lnTo>
                        <a:pt x="238" y="188"/>
                      </a:lnTo>
                      <a:lnTo>
                        <a:pt x="240" y="188"/>
                      </a:lnTo>
                      <a:lnTo>
                        <a:pt x="242" y="188"/>
                      </a:lnTo>
                      <a:lnTo>
                        <a:pt x="244" y="188"/>
                      </a:lnTo>
                      <a:lnTo>
                        <a:pt x="244" y="186"/>
                      </a:lnTo>
                      <a:lnTo>
                        <a:pt x="244" y="184"/>
                      </a:lnTo>
                      <a:lnTo>
                        <a:pt x="246" y="184"/>
                      </a:lnTo>
                      <a:lnTo>
                        <a:pt x="248" y="184"/>
                      </a:lnTo>
                      <a:lnTo>
                        <a:pt x="250" y="184"/>
                      </a:lnTo>
                      <a:lnTo>
                        <a:pt x="252" y="184"/>
                      </a:lnTo>
                      <a:lnTo>
                        <a:pt x="254" y="184"/>
                      </a:lnTo>
                      <a:lnTo>
                        <a:pt x="256" y="184"/>
                      </a:lnTo>
                      <a:lnTo>
                        <a:pt x="258" y="184"/>
                      </a:lnTo>
                      <a:lnTo>
                        <a:pt x="258" y="182"/>
                      </a:lnTo>
                      <a:lnTo>
                        <a:pt x="258" y="184"/>
                      </a:lnTo>
                      <a:lnTo>
                        <a:pt x="260" y="184"/>
                      </a:lnTo>
                      <a:lnTo>
                        <a:pt x="262" y="184"/>
                      </a:lnTo>
                      <a:lnTo>
                        <a:pt x="264" y="182"/>
                      </a:lnTo>
                      <a:lnTo>
                        <a:pt x="266" y="182"/>
                      </a:lnTo>
                      <a:lnTo>
                        <a:pt x="268" y="182"/>
                      </a:lnTo>
                      <a:lnTo>
                        <a:pt x="270" y="180"/>
                      </a:lnTo>
                      <a:lnTo>
                        <a:pt x="270" y="178"/>
                      </a:lnTo>
                      <a:lnTo>
                        <a:pt x="272" y="176"/>
                      </a:lnTo>
                      <a:lnTo>
                        <a:pt x="272" y="174"/>
                      </a:lnTo>
                      <a:lnTo>
                        <a:pt x="272" y="172"/>
                      </a:lnTo>
                      <a:lnTo>
                        <a:pt x="274" y="168"/>
                      </a:lnTo>
                      <a:lnTo>
                        <a:pt x="276" y="166"/>
                      </a:lnTo>
                      <a:lnTo>
                        <a:pt x="276" y="164"/>
                      </a:lnTo>
                      <a:lnTo>
                        <a:pt x="278" y="162"/>
                      </a:lnTo>
                      <a:lnTo>
                        <a:pt x="278" y="158"/>
                      </a:lnTo>
                      <a:lnTo>
                        <a:pt x="278" y="154"/>
                      </a:lnTo>
                      <a:lnTo>
                        <a:pt x="278" y="150"/>
                      </a:lnTo>
                      <a:lnTo>
                        <a:pt x="278" y="146"/>
                      </a:lnTo>
                      <a:lnTo>
                        <a:pt x="278" y="142"/>
                      </a:lnTo>
                      <a:lnTo>
                        <a:pt x="278" y="138"/>
                      </a:lnTo>
                      <a:lnTo>
                        <a:pt x="278" y="134"/>
                      </a:lnTo>
                      <a:lnTo>
                        <a:pt x="278" y="130"/>
                      </a:lnTo>
                      <a:lnTo>
                        <a:pt x="278" y="124"/>
                      </a:lnTo>
                      <a:lnTo>
                        <a:pt x="278" y="122"/>
                      </a:lnTo>
                      <a:lnTo>
                        <a:pt x="278" y="118"/>
                      </a:lnTo>
                      <a:lnTo>
                        <a:pt x="278" y="116"/>
                      </a:lnTo>
                      <a:lnTo>
                        <a:pt x="278" y="114"/>
                      </a:lnTo>
                      <a:lnTo>
                        <a:pt x="278" y="112"/>
                      </a:lnTo>
                      <a:lnTo>
                        <a:pt x="276" y="114"/>
                      </a:lnTo>
                      <a:lnTo>
                        <a:pt x="274" y="114"/>
                      </a:lnTo>
                      <a:lnTo>
                        <a:pt x="272" y="114"/>
                      </a:lnTo>
                      <a:lnTo>
                        <a:pt x="270" y="114"/>
                      </a:lnTo>
                      <a:lnTo>
                        <a:pt x="268" y="114"/>
                      </a:lnTo>
                      <a:lnTo>
                        <a:pt x="266" y="114"/>
                      </a:lnTo>
                      <a:lnTo>
                        <a:pt x="264" y="114"/>
                      </a:lnTo>
                      <a:lnTo>
                        <a:pt x="262" y="114"/>
                      </a:lnTo>
                      <a:lnTo>
                        <a:pt x="260" y="114"/>
                      </a:lnTo>
                      <a:lnTo>
                        <a:pt x="260" y="112"/>
                      </a:lnTo>
                      <a:lnTo>
                        <a:pt x="260" y="110"/>
                      </a:lnTo>
                      <a:lnTo>
                        <a:pt x="262" y="110"/>
                      </a:lnTo>
                      <a:lnTo>
                        <a:pt x="262" y="108"/>
                      </a:lnTo>
                      <a:lnTo>
                        <a:pt x="264" y="108"/>
                      </a:lnTo>
                      <a:lnTo>
                        <a:pt x="264" y="106"/>
                      </a:lnTo>
                      <a:lnTo>
                        <a:pt x="264" y="104"/>
                      </a:lnTo>
                      <a:lnTo>
                        <a:pt x="262" y="100"/>
                      </a:lnTo>
                      <a:lnTo>
                        <a:pt x="262" y="98"/>
                      </a:lnTo>
                      <a:lnTo>
                        <a:pt x="260" y="96"/>
                      </a:lnTo>
                      <a:lnTo>
                        <a:pt x="258" y="96"/>
                      </a:lnTo>
                      <a:lnTo>
                        <a:pt x="256" y="96"/>
                      </a:lnTo>
                      <a:lnTo>
                        <a:pt x="254" y="96"/>
                      </a:lnTo>
                      <a:lnTo>
                        <a:pt x="252" y="96"/>
                      </a:lnTo>
                      <a:lnTo>
                        <a:pt x="250" y="96"/>
                      </a:lnTo>
                      <a:lnTo>
                        <a:pt x="248" y="96"/>
                      </a:lnTo>
                      <a:lnTo>
                        <a:pt x="248" y="94"/>
                      </a:lnTo>
                      <a:lnTo>
                        <a:pt x="248" y="92"/>
                      </a:lnTo>
                      <a:lnTo>
                        <a:pt x="246" y="90"/>
                      </a:lnTo>
                      <a:lnTo>
                        <a:pt x="244" y="90"/>
                      </a:lnTo>
                      <a:lnTo>
                        <a:pt x="242" y="90"/>
                      </a:lnTo>
                      <a:lnTo>
                        <a:pt x="240" y="88"/>
                      </a:lnTo>
                      <a:lnTo>
                        <a:pt x="238" y="88"/>
                      </a:lnTo>
                      <a:lnTo>
                        <a:pt x="236" y="88"/>
                      </a:lnTo>
                      <a:lnTo>
                        <a:pt x="236" y="86"/>
                      </a:lnTo>
                      <a:lnTo>
                        <a:pt x="236" y="84"/>
                      </a:lnTo>
                      <a:lnTo>
                        <a:pt x="234" y="82"/>
                      </a:lnTo>
                      <a:lnTo>
                        <a:pt x="232" y="82"/>
                      </a:lnTo>
                      <a:lnTo>
                        <a:pt x="230" y="82"/>
                      </a:lnTo>
                      <a:lnTo>
                        <a:pt x="228" y="82"/>
                      </a:lnTo>
                      <a:lnTo>
                        <a:pt x="228" y="80"/>
                      </a:lnTo>
                      <a:lnTo>
                        <a:pt x="228" y="78"/>
                      </a:lnTo>
                      <a:lnTo>
                        <a:pt x="228" y="76"/>
                      </a:lnTo>
                      <a:lnTo>
                        <a:pt x="220" y="68"/>
                      </a:lnTo>
                      <a:lnTo>
                        <a:pt x="212" y="62"/>
                      </a:lnTo>
                      <a:lnTo>
                        <a:pt x="204" y="56"/>
                      </a:lnTo>
                      <a:lnTo>
                        <a:pt x="196" y="50"/>
                      </a:lnTo>
                      <a:lnTo>
                        <a:pt x="190" y="46"/>
                      </a:lnTo>
                      <a:lnTo>
                        <a:pt x="184" y="40"/>
                      </a:lnTo>
                      <a:lnTo>
                        <a:pt x="176" y="36"/>
                      </a:lnTo>
                      <a:lnTo>
                        <a:pt x="172" y="32"/>
                      </a:lnTo>
                      <a:lnTo>
                        <a:pt x="168" y="28"/>
                      </a:lnTo>
                      <a:lnTo>
                        <a:pt x="162" y="24"/>
                      </a:lnTo>
                      <a:lnTo>
                        <a:pt x="158" y="22"/>
                      </a:lnTo>
                      <a:lnTo>
                        <a:pt x="154" y="18"/>
                      </a:lnTo>
                      <a:lnTo>
                        <a:pt x="150" y="16"/>
                      </a:lnTo>
                      <a:lnTo>
                        <a:pt x="148" y="14"/>
                      </a:lnTo>
                      <a:lnTo>
                        <a:pt x="146" y="12"/>
                      </a:lnTo>
                      <a:lnTo>
                        <a:pt x="142" y="10"/>
                      </a:lnTo>
                      <a:lnTo>
                        <a:pt x="140" y="8"/>
                      </a:lnTo>
                      <a:lnTo>
                        <a:pt x="138" y="8"/>
                      </a:lnTo>
                      <a:lnTo>
                        <a:pt x="138" y="6"/>
                      </a:lnTo>
                      <a:lnTo>
                        <a:pt x="136" y="4"/>
                      </a:lnTo>
                      <a:lnTo>
                        <a:pt x="134" y="2"/>
                      </a:lnTo>
                      <a:lnTo>
                        <a:pt x="132" y="2"/>
                      </a:lnTo>
                      <a:lnTo>
                        <a:pt x="130" y="2"/>
                      </a:lnTo>
                      <a:lnTo>
                        <a:pt x="130" y="0"/>
                      </a:lnTo>
                      <a:lnTo>
                        <a:pt x="124" y="0"/>
                      </a:lnTo>
                      <a:lnTo>
                        <a:pt x="122" y="0"/>
                      </a:lnTo>
                      <a:lnTo>
                        <a:pt x="118" y="0"/>
                      </a:lnTo>
                      <a:lnTo>
                        <a:pt x="114" y="0"/>
                      </a:lnTo>
                      <a:lnTo>
                        <a:pt x="110" y="0"/>
                      </a:lnTo>
                      <a:lnTo>
                        <a:pt x="108" y="0"/>
                      </a:lnTo>
                      <a:lnTo>
                        <a:pt x="106" y="0"/>
                      </a:lnTo>
                      <a:lnTo>
                        <a:pt x="104" y="0"/>
                      </a:lnTo>
                      <a:lnTo>
                        <a:pt x="102" y="0"/>
                      </a:lnTo>
                      <a:lnTo>
                        <a:pt x="100" y="0"/>
                      </a:lnTo>
                      <a:lnTo>
                        <a:pt x="102" y="8"/>
                      </a:lnTo>
                      <a:lnTo>
                        <a:pt x="102" y="14"/>
                      </a:lnTo>
                      <a:lnTo>
                        <a:pt x="102" y="28"/>
                      </a:lnTo>
                      <a:lnTo>
                        <a:pt x="104" y="42"/>
                      </a:lnTo>
                      <a:lnTo>
                        <a:pt x="104" y="54"/>
                      </a:lnTo>
                      <a:lnTo>
                        <a:pt x="106" y="64"/>
                      </a:lnTo>
                      <a:lnTo>
                        <a:pt x="106" y="76"/>
                      </a:lnTo>
                      <a:lnTo>
                        <a:pt x="106" y="86"/>
                      </a:lnTo>
                      <a:lnTo>
                        <a:pt x="108" y="94"/>
                      </a:lnTo>
                      <a:lnTo>
                        <a:pt x="108" y="102"/>
                      </a:lnTo>
                      <a:lnTo>
                        <a:pt x="108" y="110"/>
                      </a:lnTo>
                      <a:lnTo>
                        <a:pt x="110" y="118"/>
                      </a:lnTo>
                      <a:lnTo>
                        <a:pt x="110" y="124"/>
                      </a:lnTo>
                      <a:lnTo>
                        <a:pt x="110" y="130"/>
                      </a:lnTo>
                      <a:lnTo>
                        <a:pt x="110" y="134"/>
                      </a:lnTo>
                      <a:lnTo>
                        <a:pt x="110" y="138"/>
                      </a:lnTo>
                      <a:lnTo>
                        <a:pt x="112" y="144"/>
                      </a:lnTo>
                      <a:lnTo>
                        <a:pt x="112" y="146"/>
                      </a:lnTo>
                      <a:lnTo>
                        <a:pt x="112" y="150"/>
                      </a:lnTo>
                      <a:lnTo>
                        <a:pt x="112" y="152"/>
                      </a:lnTo>
                      <a:lnTo>
                        <a:pt x="112" y="156"/>
                      </a:lnTo>
                      <a:lnTo>
                        <a:pt x="112" y="158"/>
                      </a:lnTo>
                      <a:lnTo>
                        <a:pt x="112" y="160"/>
                      </a:lnTo>
                      <a:lnTo>
                        <a:pt x="112" y="162"/>
                      </a:lnTo>
                      <a:lnTo>
                        <a:pt x="112" y="164"/>
                      </a:lnTo>
                      <a:lnTo>
                        <a:pt x="114" y="164"/>
                      </a:lnTo>
                      <a:lnTo>
                        <a:pt x="116" y="164"/>
                      </a:lnTo>
                      <a:lnTo>
                        <a:pt x="116" y="166"/>
                      </a:lnTo>
                      <a:lnTo>
                        <a:pt x="118" y="168"/>
                      </a:lnTo>
                      <a:lnTo>
                        <a:pt x="118" y="170"/>
                      </a:lnTo>
                      <a:lnTo>
                        <a:pt x="116" y="172"/>
                      </a:lnTo>
                      <a:lnTo>
                        <a:pt x="116" y="176"/>
                      </a:lnTo>
                      <a:lnTo>
                        <a:pt x="114" y="178"/>
                      </a:lnTo>
                      <a:lnTo>
                        <a:pt x="114" y="180"/>
                      </a:lnTo>
                      <a:lnTo>
                        <a:pt x="114" y="182"/>
                      </a:lnTo>
                      <a:lnTo>
                        <a:pt x="108" y="182"/>
                      </a:lnTo>
                      <a:lnTo>
                        <a:pt x="102" y="182"/>
                      </a:lnTo>
                      <a:lnTo>
                        <a:pt x="98" y="182"/>
                      </a:lnTo>
                      <a:lnTo>
                        <a:pt x="94" y="182"/>
                      </a:lnTo>
                      <a:lnTo>
                        <a:pt x="88" y="182"/>
                      </a:lnTo>
                      <a:lnTo>
                        <a:pt x="84" y="182"/>
                      </a:lnTo>
                      <a:lnTo>
                        <a:pt x="80" y="182"/>
                      </a:lnTo>
                      <a:lnTo>
                        <a:pt x="76" y="182"/>
                      </a:lnTo>
                      <a:lnTo>
                        <a:pt x="74" y="182"/>
                      </a:lnTo>
                      <a:lnTo>
                        <a:pt x="72" y="182"/>
                      </a:lnTo>
                      <a:lnTo>
                        <a:pt x="68" y="182"/>
                      </a:lnTo>
                      <a:lnTo>
                        <a:pt x="66" y="182"/>
                      </a:lnTo>
                      <a:lnTo>
                        <a:pt x="62" y="182"/>
                      </a:lnTo>
                      <a:lnTo>
                        <a:pt x="58" y="182"/>
                      </a:lnTo>
                      <a:lnTo>
                        <a:pt x="56" y="182"/>
                      </a:lnTo>
                      <a:lnTo>
                        <a:pt x="54" y="182"/>
                      </a:lnTo>
                      <a:lnTo>
                        <a:pt x="52" y="182"/>
                      </a:lnTo>
                      <a:lnTo>
                        <a:pt x="50" y="182"/>
                      </a:lnTo>
                      <a:lnTo>
                        <a:pt x="50" y="180"/>
                      </a:lnTo>
                      <a:lnTo>
                        <a:pt x="48" y="180"/>
                      </a:lnTo>
                      <a:lnTo>
                        <a:pt x="48" y="182"/>
                      </a:lnTo>
                      <a:lnTo>
                        <a:pt x="46" y="184"/>
                      </a:lnTo>
                      <a:lnTo>
                        <a:pt x="44" y="184"/>
                      </a:lnTo>
                      <a:lnTo>
                        <a:pt x="42" y="184"/>
                      </a:lnTo>
                      <a:lnTo>
                        <a:pt x="40" y="184"/>
                      </a:lnTo>
                      <a:lnTo>
                        <a:pt x="38" y="186"/>
                      </a:lnTo>
                      <a:lnTo>
                        <a:pt x="36" y="186"/>
                      </a:lnTo>
                      <a:lnTo>
                        <a:pt x="34" y="184"/>
                      </a:lnTo>
                      <a:lnTo>
                        <a:pt x="32" y="184"/>
                      </a:lnTo>
                      <a:lnTo>
                        <a:pt x="30" y="184"/>
                      </a:lnTo>
                      <a:lnTo>
                        <a:pt x="28" y="184"/>
                      </a:lnTo>
                      <a:lnTo>
                        <a:pt x="26" y="184"/>
                      </a:lnTo>
                      <a:lnTo>
                        <a:pt x="26" y="186"/>
                      </a:lnTo>
                      <a:lnTo>
                        <a:pt x="24" y="186"/>
                      </a:lnTo>
                      <a:lnTo>
                        <a:pt x="24" y="188"/>
                      </a:lnTo>
                      <a:lnTo>
                        <a:pt x="24" y="190"/>
                      </a:lnTo>
                      <a:lnTo>
                        <a:pt x="22" y="190"/>
                      </a:lnTo>
                      <a:lnTo>
                        <a:pt x="22" y="188"/>
                      </a:lnTo>
                      <a:lnTo>
                        <a:pt x="22" y="186"/>
                      </a:lnTo>
                      <a:lnTo>
                        <a:pt x="20" y="184"/>
                      </a:lnTo>
                      <a:lnTo>
                        <a:pt x="18" y="184"/>
                      </a:lnTo>
                      <a:lnTo>
                        <a:pt x="18" y="182"/>
                      </a:lnTo>
                      <a:lnTo>
                        <a:pt x="16" y="182"/>
                      </a:lnTo>
                      <a:lnTo>
                        <a:pt x="14" y="182"/>
                      </a:lnTo>
                      <a:lnTo>
                        <a:pt x="12" y="182"/>
                      </a:lnTo>
                      <a:lnTo>
                        <a:pt x="10" y="182"/>
                      </a:lnTo>
                      <a:lnTo>
                        <a:pt x="8" y="184"/>
                      </a:lnTo>
                      <a:lnTo>
                        <a:pt x="8" y="186"/>
                      </a:lnTo>
                      <a:lnTo>
                        <a:pt x="8" y="188"/>
                      </a:lnTo>
                      <a:lnTo>
                        <a:pt x="8" y="190"/>
                      </a:lnTo>
                      <a:lnTo>
                        <a:pt x="8" y="192"/>
                      </a:lnTo>
                      <a:lnTo>
                        <a:pt x="8" y="194"/>
                      </a:lnTo>
                      <a:lnTo>
                        <a:pt x="8" y="196"/>
                      </a:lnTo>
                      <a:lnTo>
                        <a:pt x="6" y="196"/>
                      </a:lnTo>
                      <a:lnTo>
                        <a:pt x="4" y="196"/>
                      </a:lnTo>
                      <a:lnTo>
                        <a:pt x="2" y="196"/>
                      </a:lnTo>
                      <a:lnTo>
                        <a:pt x="0" y="196"/>
                      </a:lnTo>
                      <a:lnTo>
                        <a:pt x="0" y="198"/>
                      </a:lnTo>
                      <a:lnTo>
                        <a:pt x="0" y="200"/>
                      </a:lnTo>
                      <a:lnTo>
                        <a:pt x="0" y="202"/>
                      </a:lnTo>
                      <a:lnTo>
                        <a:pt x="2" y="204"/>
                      </a:lnTo>
                      <a:lnTo>
                        <a:pt x="2" y="206"/>
                      </a:lnTo>
                      <a:lnTo>
                        <a:pt x="4" y="206"/>
                      </a:lnTo>
                      <a:lnTo>
                        <a:pt x="4" y="208"/>
                      </a:lnTo>
                      <a:lnTo>
                        <a:pt x="4" y="210"/>
                      </a:lnTo>
                      <a:lnTo>
                        <a:pt x="6" y="212"/>
                      </a:lnTo>
                      <a:lnTo>
                        <a:pt x="6" y="214"/>
                      </a:lnTo>
                      <a:lnTo>
                        <a:pt x="6" y="216"/>
                      </a:lnTo>
                      <a:lnTo>
                        <a:pt x="4" y="216"/>
                      </a:lnTo>
                      <a:lnTo>
                        <a:pt x="4" y="218"/>
                      </a:lnTo>
                      <a:lnTo>
                        <a:pt x="4" y="220"/>
                      </a:lnTo>
                      <a:lnTo>
                        <a:pt x="4" y="222"/>
                      </a:lnTo>
                      <a:lnTo>
                        <a:pt x="6" y="224"/>
                      </a:lnTo>
                      <a:lnTo>
                        <a:pt x="8" y="224"/>
                      </a:lnTo>
                      <a:lnTo>
                        <a:pt x="10" y="224"/>
                      </a:lnTo>
                      <a:lnTo>
                        <a:pt x="10" y="222"/>
                      </a:lnTo>
                      <a:lnTo>
                        <a:pt x="10" y="224"/>
                      </a:lnTo>
                      <a:lnTo>
                        <a:pt x="12" y="224"/>
                      </a:lnTo>
                      <a:lnTo>
                        <a:pt x="12" y="228"/>
                      </a:lnTo>
                      <a:lnTo>
                        <a:pt x="12" y="230"/>
                      </a:lnTo>
                      <a:lnTo>
                        <a:pt x="14" y="230"/>
                      </a:lnTo>
                      <a:lnTo>
                        <a:pt x="12" y="232"/>
                      </a:lnTo>
                      <a:lnTo>
                        <a:pt x="12" y="234"/>
                      </a:lnTo>
                      <a:lnTo>
                        <a:pt x="12" y="236"/>
                      </a:lnTo>
                      <a:lnTo>
                        <a:pt x="12" y="238"/>
                      </a:lnTo>
                      <a:lnTo>
                        <a:pt x="12" y="240"/>
                      </a:lnTo>
                      <a:lnTo>
                        <a:pt x="12" y="242"/>
                      </a:lnTo>
                      <a:lnTo>
                        <a:pt x="12" y="244"/>
                      </a:lnTo>
                      <a:lnTo>
                        <a:pt x="14" y="246"/>
                      </a:lnTo>
                      <a:lnTo>
                        <a:pt x="14" y="248"/>
                      </a:lnTo>
                      <a:lnTo>
                        <a:pt x="14" y="250"/>
                      </a:lnTo>
                      <a:lnTo>
                        <a:pt x="16" y="250"/>
                      </a:lnTo>
                      <a:lnTo>
                        <a:pt x="16" y="252"/>
                      </a:lnTo>
                      <a:lnTo>
                        <a:pt x="16" y="250"/>
                      </a:lnTo>
                      <a:lnTo>
                        <a:pt x="18" y="248"/>
                      </a:lnTo>
                      <a:lnTo>
                        <a:pt x="18" y="246"/>
                      </a:lnTo>
                      <a:lnTo>
                        <a:pt x="20" y="246"/>
                      </a:lnTo>
                      <a:lnTo>
                        <a:pt x="20" y="244"/>
                      </a:lnTo>
                      <a:lnTo>
                        <a:pt x="22" y="244"/>
                      </a:lnTo>
                      <a:lnTo>
                        <a:pt x="24" y="244"/>
                      </a:lnTo>
                      <a:lnTo>
                        <a:pt x="24" y="246"/>
                      </a:lnTo>
                      <a:lnTo>
                        <a:pt x="26" y="248"/>
                      </a:lnTo>
                      <a:lnTo>
                        <a:pt x="26" y="250"/>
                      </a:lnTo>
                      <a:lnTo>
                        <a:pt x="26" y="252"/>
                      </a:lnTo>
                      <a:lnTo>
                        <a:pt x="28" y="250"/>
                      </a:lnTo>
                      <a:lnTo>
                        <a:pt x="28" y="248"/>
                      </a:lnTo>
                      <a:lnTo>
                        <a:pt x="30" y="246"/>
                      </a:lnTo>
                      <a:lnTo>
                        <a:pt x="32" y="244"/>
                      </a:lnTo>
                      <a:lnTo>
                        <a:pt x="34" y="244"/>
                      </a:lnTo>
                      <a:lnTo>
                        <a:pt x="34" y="246"/>
                      </a:lnTo>
                      <a:lnTo>
                        <a:pt x="36" y="246"/>
                      </a:lnTo>
                      <a:lnTo>
                        <a:pt x="38" y="248"/>
                      </a:lnTo>
                      <a:lnTo>
                        <a:pt x="40" y="248"/>
                      </a:lnTo>
                      <a:lnTo>
                        <a:pt x="42" y="248"/>
                      </a:lnTo>
                      <a:lnTo>
                        <a:pt x="42" y="250"/>
                      </a:lnTo>
                      <a:lnTo>
                        <a:pt x="44" y="248"/>
                      </a:lnTo>
                      <a:lnTo>
                        <a:pt x="46" y="248"/>
                      </a:lnTo>
                      <a:lnTo>
                        <a:pt x="46" y="246"/>
                      </a:lnTo>
                      <a:lnTo>
                        <a:pt x="48" y="246"/>
                      </a:lnTo>
                      <a:lnTo>
                        <a:pt x="48" y="244"/>
                      </a:lnTo>
                      <a:lnTo>
                        <a:pt x="48" y="242"/>
                      </a:lnTo>
                      <a:lnTo>
                        <a:pt x="48" y="240"/>
                      </a:lnTo>
                      <a:lnTo>
                        <a:pt x="50" y="240"/>
                      </a:lnTo>
                      <a:lnTo>
                        <a:pt x="52" y="240"/>
                      </a:lnTo>
                      <a:lnTo>
                        <a:pt x="54" y="242"/>
                      </a:lnTo>
                      <a:lnTo>
                        <a:pt x="56" y="244"/>
                      </a:lnTo>
                      <a:lnTo>
                        <a:pt x="56" y="246"/>
                      </a:lnTo>
                      <a:lnTo>
                        <a:pt x="54" y="246"/>
                      </a:lnTo>
                      <a:lnTo>
                        <a:pt x="56" y="246"/>
                      </a:lnTo>
                      <a:lnTo>
                        <a:pt x="56" y="248"/>
                      </a:lnTo>
                      <a:lnTo>
                        <a:pt x="58" y="248"/>
                      </a:lnTo>
                      <a:lnTo>
                        <a:pt x="58" y="250"/>
                      </a:lnTo>
                      <a:lnTo>
                        <a:pt x="58" y="252"/>
                      </a:lnTo>
                      <a:lnTo>
                        <a:pt x="56" y="252"/>
                      </a:lnTo>
                      <a:lnTo>
                        <a:pt x="56" y="254"/>
                      </a:lnTo>
                      <a:lnTo>
                        <a:pt x="58" y="256"/>
                      </a:lnTo>
                      <a:lnTo>
                        <a:pt x="60" y="258"/>
                      </a:lnTo>
                      <a:lnTo>
                        <a:pt x="62" y="258"/>
                      </a:lnTo>
                      <a:lnTo>
                        <a:pt x="64" y="260"/>
                      </a:lnTo>
                      <a:lnTo>
                        <a:pt x="62" y="264"/>
                      </a:lnTo>
                      <a:lnTo>
                        <a:pt x="60" y="266"/>
                      </a:lnTo>
                      <a:lnTo>
                        <a:pt x="58" y="268"/>
                      </a:lnTo>
                      <a:lnTo>
                        <a:pt x="60" y="268"/>
                      </a:lnTo>
                      <a:lnTo>
                        <a:pt x="62" y="268"/>
                      </a:lnTo>
                      <a:lnTo>
                        <a:pt x="64" y="268"/>
                      </a:lnTo>
                      <a:lnTo>
                        <a:pt x="66" y="268"/>
                      </a:lnTo>
                      <a:lnTo>
                        <a:pt x="66" y="272"/>
                      </a:lnTo>
                      <a:lnTo>
                        <a:pt x="66" y="274"/>
                      </a:lnTo>
                      <a:lnTo>
                        <a:pt x="66" y="276"/>
                      </a:lnTo>
                      <a:lnTo>
                        <a:pt x="68" y="280"/>
                      </a:lnTo>
                      <a:lnTo>
                        <a:pt x="70" y="280"/>
                      </a:lnTo>
                      <a:lnTo>
                        <a:pt x="70" y="282"/>
                      </a:lnTo>
                      <a:lnTo>
                        <a:pt x="72" y="284"/>
                      </a:lnTo>
                      <a:lnTo>
                        <a:pt x="74" y="284"/>
                      </a:lnTo>
                      <a:lnTo>
                        <a:pt x="74" y="282"/>
                      </a:lnTo>
                      <a:lnTo>
                        <a:pt x="76" y="280"/>
                      </a:lnTo>
                      <a:lnTo>
                        <a:pt x="78" y="280"/>
                      </a:lnTo>
                      <a:lnTo>
                        <a:pt x="80" y="280"/>
                      </a:lnTo>
                      <a:lnTo>
                        <a:pt x="82" y="280"/>
                      </a:lnTo>
                      <a:lnTo>
                        <a:pt x="84" y="282"/>
                      </a:lnTo>
                      <a:lnTo>
                        <a:pt x="86" y="282"/>
                      </a:lnTo>
                      <a:lnTo>
                        <a:pt x="86" y="284"/>
                      </a:lnTo>
                      <a:lnTo>
                        <a:pt x="88" y="284"/>
                      </a:lnTo>
                      <a:lnTo>
                        <a:pt x="88" y="286"/>
                      </a:lnTo>
                      <a:lnTo>
                        <a:pt x="88" y="284"/>
                      </a:lnTo>
                      <a:lnTo>
                        <a:pt x="90" y="282"/>
                      </a:lnTo>
                      <a:lnTo>
                        <a:pt x="90" y="280"/>
                      </a:lnTo>
                      <a:lnTo>
                        <a:pt x="92" y="280"/>
                      </a:lnTo>
                      <a:lnTo>
                        <a:pt x="94" y="280"/>
                      </a:lnTo>
                      <a:lnTo>
                        <a:pt x="94" y="278"/>
                      </a:lnTo>
                      <a:lnTo>
                        <a:pt x="94" y="276"/>
                      </a:lnTo>
                      <a:lnTo>
                        <a:pt x="96" y="276"/>
                      </a:lnTo>
                      <a:lnTo>
                        <a:pt x="98" y="278"/>
                      </a:lnTo>
                      <a:lnTo>
                        <a:pt x="98" y="276"/>
                      </a:lnTo>
                      <a:lnTo>
                        <a:pt x="100" y="276"/>
                      </a:lnTo>
                      <a:lnTo>
                        <a:pt x="100" y="274"/>
                      </a:lnTo>
                      <a:lnTo>
                        <a:pt x="100" y="276"/>
                      </a:lnTo>
                      <a:lnTo>
                        <a:pt x="100" y="278"/>
                      </a:lnTo>
                      <a:lnTo>
                        <a:pt x="100" y="280"/>
                      </a:lnTo>
                      <a:lnTo>
                        <a:pt x="100" y="282"/>
                      </a:lnTo>
                      <a:lnTo>
                        <a:pt x="102" y="284"/>
                      </a:lnTo>
                      <a:lnTo>
                        <a:pt x="104" y="284"/>
                      </a:lnTo>
                      <a:lnTo>
                        <a:pt x="106" y="284"/>
                      </a:lnTo>
                      <a:lnTo>
                        <a:pt x="106" y="282"/>
                      </a:lnTo>
                      <a:lnTo>
                        <a:pt x="108" y="280"/>
                      </a:lnTo>
                      <a:lnTo>
                        <a:pt x="110" y="280"/>
                      </a:lnTo>
                      <a:lnTo>
                        <a:pt x="110" y="278"/>
                      </a:lnTo>
                      <a:lnTo>
                        <a:pt x="112" y="278"/>
                      </a:lnTo>
                      <a:lnTo>
                        <a:pt x="112" y="276"/>
                      </a:lnTo>
                      <a:lnTo>
                        <a:pt x="112" y="274"/>
                      </a:lnTo>
                      <a:lnTo>
                        <a:pt x="112" y="272"/>
                      </a:lnTo>
                      <a:lnTo>
                        <a:pt x="112" y="268"/>
                      </a:lnTo>
                      <a:lnTo>
                        <a:pt x="112" y="266"/>
                      </a:lnTo>
                      <a:lnTo>
                        <a:pt x="114" y="266"/>
                      </a:lnTo>
                      <a:lnTo>
                        <a:pt x="116" y="266"/>
                      </a:lnTo>
                      <a:lnTo>
                        <a:pt x="118" y="266"/>
                      </a:lnTo>
                      <a:lnTo>
                        <a:pt x="118" y="264"/>
                      </a:lnTo>
                      <a:lnTo>
                        <a:pt x="120" y="262"/>
                      </a:lnTo>
                      <a:lnTo>
                        <a:pt x="120" y="260"/>
                      </a:lnTo>
                      <a:lnTo>
                        <a:pt x="118" y="258"/>
                      </a:lnTo>
                      <a:lnTo>
                        <a:pt x="118" y="256"/>
                      </a:lnTo>
                      <a:lnTo>
                        <a:pt x="116" y="254"/>
                      </a:lnTo>
                      <a:lnTo>
                        <a:pt x="114" y="254"/>
                      </a:lnTo>
                      <a:lnTo>
                        <a:pt x="116" y="252"/>
                      </a:lnTo>
                      <a:lnTo>
                        <a:pt x="118" y="252"/>
                      </a:lnTo>
                      <a:lnTo>
                        <a:pt x="118" y="250"/>
                      </a:lnTo>
                      <a:lnTo>
                        <a:pt x="120" y="250"/>
                      </a:lnTo>
                      <a:lnTo>
                        <a:pt x="122" y="250"/>
                      </a:lnTo>
                      <a:lnTo>
                        <a:pt x="126" y="250"/>
                      </a:lnTo>
                      <a:lnTo>
                        <a:pt x="128" y="248"/>
                      </a:lnTo>
                      <a:lnTo>
                        <a:pt x="130" y="248"/>
                      </a:lnTo>
                      <a:lnTo>
                        <a:pt x="130" y="246"/>
                      </a:lnTo>
                      <a:lnTo>
                        <a:pt x="128" y="246"/>
                      </a:lnTo>
                      <a:lnTo>
                        <a:pt x="128" y="244"/>
                      </a:lnTo>
                      <a:lnTo>
                        <a:pt x="130" y="244"/>
                      </a:lnTo>
                      <a:lnTo>
                        <a:pt x="132" y="242"/>
                      </a:lnTo>
                      <a:lnTo>
                        <a:pt x="132" y="240"/>
                      </a:lnTo>
                      <a:lnTo>
                        <a:pt x="132" y="238"/>
                      </a:lnTo>
                      <a:lnTo>
                        <a:pt x="132" y="236"/>
                      </a:lnTo>
                      <a:lnTo>
                        <a:pt x="132" y="234"/>
                      </a:lnTo>
                      <a:lnTo>
                        <a:pt x="134" y="234"/>
                      </a:lnTo>
                      <a:lnTo>
                        <a:pt x="136" y="234"/>
                      </a:lnTo>
                      <a:lnTo>
                        <a:pt x="136" y="232"/>
                      </a:lnTo>
                      <a:lnTo>
                        <a:pt x="136" y="230"/>
                      </a:lnTo>
                      <a:lnTo>
                        <a:pt x="134" y="228"/>
                      </a:lnTo>
                      <a:lnTo>
                        <a:pt x="136" y="226"/>
                      </a:lnTo>
                      <a:lnTo>
                        <a:pt x="138" y="224"/>
                      </a:lnTo>
                      <a:lnTo>
                        <a:pt x="138" y="222"/>
                      </a:lnTo>
                      <a:lnTo>
                        <a:pt x="138" y="220"/>
                      </a:lnTo>
                      <a:lnTo>
                        <a:pt x="140" y="220"/>
                      </a:lnTo>
                      <a:lnTo>
                        <a:pt x="146" y="2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7" name="Freeform 83">
                  <a:extLst>
                    <a:ext uri="{FF2B5EF4-FFF2-40B4-BE49-F238E27FC236}">
                      <a16:creationId xmlns:a16="http://schemas.microsoft.com/office/drawing/2014/main" id="{3D4D8522-E44B-4481-8D5B-12FC2A0BE31B}"/>
                    </a:ext>
                  </a:extLst>
                </p:cNvPr>
                <p:cNvSpPr>
                  <a:spLocks noChangeAspect="1"/>
                </p:cNvSpPr>
                <p:nvPr/>
              </p:nvSpPr>
              <p:spPr bwMode="auto">
                <a:xfrm>
                  <a:off x="3929249" y="3692286"/>
                  <a:ext cx="164436" cy="153469"/>
                </a:xfrm>
                <a:custGeom>
                  <a:avLst/>
                  <a:gdLst/>
                  <a:ahLst/>
                  <a:cxnLst>
                    <a:cxn ang="0">
                      <a:pos x="92" y="68"/>
                    </a:cxn>
                    <a:cxn ang="0">
                      <a:pos x="90" y="60"/>
                    </a:cxn>
                    <a:cxn ang="0">
                      <a:pos x="92" y="52"/>
                    </a:cxn>
                    <a:cxn ang="0">
                      <a:pos x="88" y="48"/>
                    </a:cxn>
                    <a:cxn ang="0">
                      <a:pos x="88" y="42"/>
                    </a:cxn>
                    <a:cxn ang="0">
                      <a:pos x="86" y="38"/>
                    </a:cxn>
                    <a:cxn ang="0">
                      <a:pos x="82" y="32"/>
                    </a:cxn>
                    <a:cxn ang="0">
                      <a:pos x="78" y="32"/>
                    </a:cxn>
                    <a:cxn ang="0">
                      <a:pos x="76" y="26"/>
                    </a:cxn>
                    <a:cxn ang="0">
                      <a:pos x="72" y="24"/>
                    </a:cxn>
                    <a:cxn ang="0">
                      <a:pos x="70" y="18"/>
                    </a:cxn>
                    <a:cxn ang="0">
                      <a:pos x="66" y="12"/>
                    </a:cxn>
                    <a:cxn ang="0">
                      <a:pos x="60" y="12"/>
                    </a:cxn>
                    <a:cxn ang="0">
                      <a:pos x="54" y="4"/>
                    </a:cxn>
                    <a:cxn ang="0">
                      <a:pos x="44" y="2"/>
                    </a:cxn>
                    <a:cxn ang="0">
                      <a:pos x="40" y="0"/>
                    </a:cxn>
                    <a:cxn ang="0">
                      <a:pos x="40" y="4"/>
                    </a:cxn>
                    <a:cxn ang="0">
                      <a:pos x="32" y="4"/>
                    </a:cxn>
                    <a:cxn ang="0">
                      <a:pos x="28" y="4"/>
                    </a:cxn>
                    <a:cxn ang="0">
                      <a:pos x="26" y="4"/>
                    </a:cxn>
                    <a:cxn ang="0">
                      <a:pos x="20" y="8"/>
                    </a:cxn>
                    <a:cxn ang="0">
                      <a:pos x="16" y="18"/>
                    </a:cxn>
                    <a:cxn ang="0">
                      <a:pos x="14" y="24"/>
                    </a:cxn>
                    <a:cxn ang="0">
                      <a:pos x="2" y="38"/>
                    </a:cxn>
                    <a:cxn ang="0">
                      <a:pos x="2" y="42"/>
                    </a:cxn>
                    <a:cxn ang="0">
                      <a:pos x="4" y="42"/>
                    </a:cxn>
                    <a:cxn ang="0">
                      <a:pos x="8" y="48"/>
                    </a:cxn>
                    <a:cxn ang="0">
                      <a:pos x="12" y="54"/>
                    </a:cxn>
                    <a:cxn ang="0">
                      <a:pos x="12" y="58"/>
                    </a:cxn>
                    <a:cxn ang="0">
                      <a:pos x="18" y="62"/>
                    </a:cxn>
                    <a:cxn ang="0">
                      <a:pos x="28" y="62"/>
                    </a:cxn>
                    <a:cxn ang="0">
                      <a:pos x="32" y="60"/>
                    </a:cxn>
                    <a:cxn ang="0">
                      <a:pos x="32" y="58"/>
                    </a:cxn>
                    <a:cxn ang="0">
                      <a:pos x="42" y="58"/>
                    </a:cxn>
                    <a:cxn ang="0">
                      <a:pos x="44" y="60"/>
                    </a:cxn>
                    <a:cxn ang="0">
                      <a:pos x="48" y="60"/>
                    </a:cxn>
                    <a:cxn ang="0">
                      <a:pos x="52" y="64"/>
                    </a:cxn>
                    <a:cxn ang="0">
                      <a:pos x="60" y="62"/>
                    </a:cxn>
                    <a:cxn ang="0">
                      <a:pos x="58" y="68"/>
                    </a:cxn>
                    <a:cxn ang="0">
                      <a:pos x="46" y="68"/>
                    </a:cxn>
                    <a:cxn ang="0">
                      <a:pos x="40" y="62"/>
                    </a:cxn>
                    <a:cxn ang="0">
                      <a:pos x="34" y="68"/>
                    </a:cxn>
                    <a:cxn ang="0">
                      <a:pos x="26" y="68"/>
                    </a:cxn>
                    <a:cxn ang="0">
                      <a:pos x="26" y="72"/>
                    </a:cxn>
                    <a:cxn ang="0">
                      <a:pos x="12" y="72"/>
                    </a:cxn>
                    <a:cxn ang="0">
                      <a:pos x="10" y="76"/>
                    </a:cxn>
                    <a:cxn ang="0">
                      <a:pos x="8" y="80"/>
                    </a:cxn>
                    <a:cxn ang="0">
                      <a:pos x="14" y="88"/>
                    </a:cxn>
                    <a:cxn ang="0">
                      <a:pos x="18" y="88"/>
                    </a:cxn>
                    <a:cxn ang="0">
                      <a:pos x="22" y="84"/>
                    </a:cxn>
                    <a:cxn ang="0">
                      <a:pos x="32" y="84"/>
                    </a:cxn>
                    <a:cxn ang="0">
                      <a:pos x="38" y="78"/>
                    </a:cxn>
                    <a:cxn ang="0">
                      <a:pos x="58" y="80"/>
                    </a:cxn>
                    <a:cxn ang="0">
                      <a:pos x="70" y="80"/>
                    </a:cxn>
                    <a:cxn ang="0">
                      <a:pos x="70" y="80"/>
                    </a:cxn>
                    <a:cxn ang="0">
                      <a:pos x="76" y="84"/>
                    </a:cxn>
                    <a:cxn ang="0">
                      <a:pos x="78" y="84"/>
                    </a:cxn>
                    <a:cxn ang="0">
                      <a:pos x="84" y="88"/>
                    </a:cxn>
                    <a:cxn ang="0">
                      <a:pos x="92" y="86"/>
                    </a:cxn>
                    <a:cxn ang="0">
                      <a:pos x="100" y="86"/>
                    </a:cxn>
                    <a:cxn ang="0">
                      <a:pos x="100" y="74"/>
                    </a:cxn>
                    <a:cxn ang="0">
                      <a:pos x="100" y="72"/>
                    </a:cxn>
                    <a:cxn ang="0">
                      <a:pos x="98" y="66"/>
                    </a:cxn>
                  </a:cxnLst>
                  <a:rect l="0" t="0" r="r" b="b"/>
                  <a:pathLst>
                    <a:path w="100" h="88">
                      <a:moveTo>
                        <a:pt x="98" y="66"/>
                      </a:moveTo>
                      <a:lnTo>
                        <a:pt x="96" y="66"/>
                      </a:lnTo>
                      <a:lnTo>
                        <a:pt x="94" y="68"/>
                      </a:lnTo>
                      <a:lnTo>
                        <a:pt x="92" y="68"/>
                      </a:lnTo>
                      <a:lnTo>
                        <a:pt x="92" y="66"/>
                      </a:lnTo>
                      <a:lnTo>
                        <a:pt x="90" y="64"/>
                      </a:lnTo>
                      <a:lnTo>
                        <a:pt x="90" y="62"/>
                      </a:lnTo>
                      <a:lnTo>
                        <a:pt x="90" y="60"/>
                      </a:lnTo>
                      <a:lnTo>
                        <a:pt x="92" y="58"/>
                      </a:lnTo>
                      <a:lnTo>
                        <a:pt x="92" y="56"/>
                      </a:lnTo>
                      <a:lnTo>
                        <a:pt x="92" y="54"/>
                      </a:lnTo>
                      <a:lnTo>
                        <a:pt x="92" y="52"/>
                      </a:lnTo>
                      <a:lnTo>
                        <a:pt x="90" y="52"/>
                      </a:lnTo>
                      <a:lnTo>
                        <a:pt x="90" y="50"/>
                      </a:lnTo>
                      <a:lnTo>
                        <a:pt x="90" y="48"/>
                      </a:lnTo>
                      <a:lnTo>
                        <a:pt x="88" y="48"/>
                      </a:lnTo>
                      <a:lnTo>
                        <a:pt x="88" y="46"/>
                      </a:lnTo>
                      <a:lnTo>
                        <a:pt x="88" y="44"/>
                      </a:lnTo>
                      <a:lnTo>
                        <a:pt x="88" y="42"/>
                      </a:lnTo>
                      <a:lnTo>
                        <a:pt x="88" y="40"/>
                      </a:lnTo>
                      <a:lnTo>
                        <a:pt x="86" y="38"/>
                      </a:lnTo>
                      <a:lnTo>
                        <a:pt x="86" y="36"/>
                      </a:lnTo>
                      <a:lnTo>
                        <a:pt x="84" y="36"/>
                      </a:lnTo>
                      <a:lnTo>
                        <a:pt x="84" y="34"/>
                      </a:lnTo>
                      <a:lnTo>
                        <a:pt x="82" y="32"/>
                      </a:lnTo>
                      <a:lnTo>
                        <a:pt x="80" y="32"/>
                      </a:lnTo>
                      <a:lnTo>
                        <a:pt x="78" y="32"/>
                      </a:lnTo>
                      <a:lnTo>
                        <a:pt x="78" y="30"/>
                      </a:lnTo>
                      <a:lnTo>
                        <a:pt x="78" y="28"/>
                      </a:lnTo>
                      <a:lnTo>
                        <a:pt x="76" y="26"/>
                      </a:lnTo>
                      <a:lnTo>
                        <a:pt x="74" y="26"/>
                      </a:lnTo>
                      <a:lnTo>
                        <a:pt x="74" y="24"/>
                      </a:lnTo>
                      <a:lnTo>
                        <a:pt x="72" y="24"/>
                      </a:lnTo>
                      <a:lnTo>
                        <a:pt x="70" y="24"/>
                      </a:lnTo>
                      <a:lnTo>
                        <a:pt x="70" y="22"/>
                      </a:lnTo>
                      <a:lnTo>
                        <a:pt x="70" y="18"/>
                      </a:lnTo>
                      <a:lnTo>
                        <a:pt x="70" y="16"/>
                      </a:lnTo>
                      <a:lnTo>
                        <a:pt x="70" y="14"/>
                      </a:lnTo>
                      <a:lnTo>
                        <a:pt x="68" y="12"/>
                      </a:lnTo>
                      <a:lnTo>
                        <a:pt x="66" y="12"/>
                      </a:lnTo>
                      <a:lnTo>
                        <a:pt x="64" y="12"/>
                      </a:lnTo>
                      <a:lnTo>
                        <a:pt x="62" y="12"/>
                      </a:lnTo>
                      <a:lnTo>
                        <a:pt x="60" y="12"/>
                      </a:lnTo>
                      <a:lnTo>
                        <a:pt x="60" y="10"/>
                      </a:lnTo>
                      <a:lnTo>
                        <a:pt x="58" y="8"/>
                      </a:lnTo>
                      <a:lnTo>
                        <a:pt x="58" y="6"/>
                      </a:lnTo>
                      <a:lnTo>
                        <a:pt x="56" y="6"/>
                      </a:lnTo>
                      <a:lnTo>
                        <a:pt x="54" y="4"/>
                      </a:lnTo>
                      <a:lnTo>
                        <a:pt x="50" y="4"/>
                      </a:lnTo>
                      <a:lnTo>
                        <a:pt x="48" y="2"/>
                      </a:lnTo>
                      <a:lnTo>
                        <a:pt x="46" y="2"/>
                      </a:lnTo>
                      <a:lnTo>
                        <a:pt x="44" y="2"/>
                      </a:lnTo>
                      <a:lnTo>
                        <a:pt x="42" y="2"/>
                      </a:lnTo>
                      <a:lnTo>
                        <a:pt x="42" y="0"/>
                      </a:lnTo>
                      <a:lnTo>
                        <a:pt x="40" y="0"/>
                      </a:lnTo>
                      <a:lnTo>
                        <a:pt x="40" y="2"/>
                      </a:lnTo>
                      <a:lnTo>
                        <a:pt x="40" y="4"/>
                      </a:lnTo>
                      <a:lnTo>
                        <a:pt x="38" y="4"/>
                      </a:lnTo>
                      <a:lnTo>
                        <a:pt x="36" y="4"/>
                      </a:lnTo>
                      <a:lnTo>
                        <a:pt x="34" y="4"/>
                      </a:lnTo>
                      <a:lnTo>
                        <a:pt x="32" y="4"/>
                      </a:lnTo>
                      <a:lnTo>
                        <a:pt x="30" y="4"/>
                      </a:lnTo>
                      <a:lnTo>
                        <a:pt x="28" y="4"/>
                      </a:lnTo>
                      <a:lnTo>
                        <a:pt x="26" y="4"/>
                      </a:lnTo>
                      <a:lnTo>
                        <a:pt x="24" y="4"/>
                      </a:lnTo>
                      <a:lnTo>
                        <a:pt x="22" y="4"/>
                      </a:lnTo>
                      <a:lnTo>
                        <a:pt x="20" y="6"/>
                      </a:lnTo>
                      <a:lnTo>
                        <a:pt x="20" y="8"/>
                      </a:lnTo>
                      <a:lnTo>
                        <a:pt x="18" y="10"/>
                      </a:lnTo>
                      <a:lnTo>
                        <a:pt x="18" y="12"/>
                      </a:lnTo>
                      <a:lnTo>
                        <a:pt x="18" y="14"/>
                      </a:lnTo>
                      <a:lnTo>
                        <a:pt x="18" y="16"/>
                      </a:lnTo>
                      <a:lnTo>
                        <a:pt x="16" y="16"/>
                      </a:lnTo>
                      <a:lnTo>
                        <a:pt x="16" y="18"/>
                      </a:lnTo>
                      <a:lnTo>
                        <a:pt x="16" y="20"/>
                      </a:lnTo>
                      <a:lnTo>
                        <a:pt x="16" y="22"/>
                      </a:lnTo>
                      <a:lnTo>
                        <a:pt x="14" y="22"/>
                      </a:lnTo>
                      <a:lnTo>
                        <a:pt x="14" y="24"/>
                      </a:lnTo>
                      <a:lnTo>
                        <a:pt x="12" y="26"/>
                      </a:lnTo>
                      <a:lnTo>
                        <a:pt x="8" y="30"/>
                      </a:lnTo>
                      <a:lnTo>
                        <a:pt x="8" y="32"/>
                      </a:lnTo>
                      <a:lnTo>
                        <a:pt x="6" y="32"/>
                      </a:lnTo>
                      <a:lnTo>
                        <a:pt x="4" y="36"/>
                      </a:lnTo>
                      <a:lnTo>
                        <a:pt x="2" y="38"/>
                      </a:lnTo>
                      <a:lnTo>
                        <a:pt x="0" y="38"/>
                      </a:lnTo>
                      <a:lnTo>
                        <a:pt x="0" y="40"/>
                      </a:lnTo>
                      <a:lnTo>
                        <a:pt x="2" y="40"/>
                      </a:lnTo>
                      <a:lnTo>
                        <a:pt x="2" y="42"/>
                      </a:lnTo>
                      <a:lnTo>
                        <a:pt x="4" y="42"/>
                      </a:lnTo>
                      <a:lnTo>
                        <a:pt x="6" y="44"/>
                      </a:lnTo>
                      <a:lnTo>
                        <a:pt x="6" y="46"/>
                      </a:lnTo>
                      <a:lnTo>
                        <a:pt x="8" y="48"/>
                      </a:lnTo>
                      <a:lnTo>
                        <a:pt x="8" y="50"/>
                      </a:lnTo>
                      <a:lnTo>
                        <a:pt x="8" y="52"/>
                      </a:lnTo>
                      <a:lnTo>
                        <a:pt x="10" y="52"/>
                      </a:lnTo>
                      <a:lnTo>
                        <a:pt x="12" y="54"/>
                      </a:lnTo>
                      <a:lnTo>
                        <a:pt x="12" y="56"/>
                      </a:lnTo>
                      <a:lnTo>
                        <a:pt x="12" y="58"/>
                      </a:lnTo>
                      <a:lnTo>
                        <a:pt x="12" y="60"/>
                      </a:lnTo>
                      <a:lnTo>
                        <a:pt x="14" y="62"/>
                      </a:lnTo>
                      <a:lnTo>
                        <a:pt x="16" y="62"/>
                      </a:lnTo>
                      <a:lnTo>
                        <a:pt x="18" y="62"/>
                      </a:lnTo>
                      <a:lnTo>
                        <a:pt x="22" y="62"/>
                      </a:lnTo>
                      <a:lnTo>
                        <a:pt x="24" y="62"/>
                      </a:lnTo>
                      <a:lnTo>
                        <a:pt x="26" y="62"/>
                      </a:lnTo>
                      <a:lnTo>
                        <a:pt x="28" y="62"/>
                      </a:lnTo>
                      <a:lnTo>
                        <a:pt x="30" y="62"/>
                      </a:lnTo>
                      <a:lnTo>
                        <a:pt x="32" y="62"/>
                      </a:lnTo>
                      <a:lnTo>
                        <a:pt x="32" y="60"/>
                      </a:lnTo>
                      <a:lnTo>
                        <a:pt x="32" y="58"/>
                      </a:lnTo>
                      <a:lnTo>
                        <a:pt x="34" y="58"/>
                      </a:lnTo>
                      <a:lnTo>
                        <a:pt x="36" y="58"/>
                      </a:lnTo>
                      <a:lnTo>
                        <a:pt x="40" y="58"/>
                      </a:lnTo>
                      <a:lnTo>
                        <a:pt x="42" y="58"/>
                      </a:lnTo>
                      <a:lnTo>
                        <a:pt x="44" y="58"/>
                      </a:lnTo>
                      <a:lnTo>
                        <a:pt x="44" y="60"/>
                      </a:lnTo>
                      <a:lnTo>
                        <a:pt x="46" y="60"/>
                      </a:lnTo>
                      <a:lnTo>
                        <a:pt x="48" y="60"/>
                      </a:lnTo>
                      <a:lnTo>
                        <a:pt x="48" y="62"/>
                      </a:lnTo>
                      <a:lnTo>
                        <a:pt x="50" y="64"/>
                      </a:lnTo>
                      <a:lnTo>
                        <a:pt x="52" y="64"/>
                      </a:lnTo>
                      <a:lnTo>
                        <a:pt x="54" y="64"/>
                      </a:lnTo>
                      <a:lnTo>
                        <a:pt x="54" y="62"/>
                      </a:lnTo>
                      <a:lnTo>
                        <a:pt x="56" y="62"/>
                      </a:lnTo>
                      <a:lnTo>
                        <a:pt x="58" y="62"/>
                      </a:lnTo>
                      <a:lnTo>
                        <a:pt x="60" y="62"/>
                      </a:lnTo>
                      <a:lnTo>
                        <a:pt x="60" y="64"/>
                      </a:lnTo>
                      <a:lnTo>
                        <a:pt x="62" y="64"/>
                      </a:lnTo>
                      <a:lnTo>
                        <a:pt x="62" y="66"/>
                      </a:lnTo>
                      <a:lnTo>
                        <a:pt x="60" y="66"/>
                      </a:lnTo>
                      <a:lnTo>
                        <a:pt x="58" y="68"/>
                      </a:lnTo>
                      <a:lnTo>
                        <a:pt x="56" y="68"/>
                      </a:lnTo>
                      <a:lnTo>
                        <a:pt x="54" y="70"/>
                      </a:lnTo>
                      <a:lnTo>
                        <a:pt x="52" y="70"/>
                      </a:lnTo>
                      <a:lnTo>
                        <a:pt x="50" y="70"/>
                      </a:lnTo>
                      <a:lnTo>
                        <a:pt x="48" y="68"/>
                      </a:lnTo>
                      <a:lnTo>
                        <a:pt x="46" y="68"/>
                      </a:lnTo>
                      <a:lnTo>
                        <a:pt x="44" y="66"/>
                      </a:lnTo>
                      <a:lnTo>
                        <a:pt x="42" y="64"/>
                      </a:lnTo>
                      <a:lnTo>
                        <a:pt x="40" y="62"/>
                      </a:lnTo>
                      <a:lnTo>
                        <a:pt x="40" y="64"/>
                      </a:lnTo>
                      <a:lnTo>
                        <a:pt x="38" y="64"/>
                      </a:lnTo>
                      <a:lnTo>
                        <a:pt x="38" y="66"/>
                      </a:lnTo>
                      <a:lnTo>
                        <a:pt x="36" y="66"/>
                      </a:lnTo>
                      <a:lnTo>
                        <a:pt x="36" y="68"/>
                      </a:lnTo>
                      <a:lnTo>
                        <a:pt x="34" y="68"/>
                      </a:lnTo>
                      <a:lnTo>
                        <a:pt x="30" y="68"/>
                      </a:lnTo>
                      <a:lnTo>
                        <a:pt x="28" y="68"/>
                      </a:lnTo>
                      <a:lnTo>
                        <a:pt x="26" y="68"/>
                      </a:lnTo>
                      <a:lnTo>
                        <a:pt x="26" y="70"/>
                      </a:lnTo>
                      <a:lnTo>
                        <a:pt x="26" y="72"/>
                      </a:lnTo>
                      <a:lnTo>
                        <a:pt x="24" y="72"/>
                      </a:lnTo>
                      <a:lnTo>
                        <a:pt x="22" y="72"/>
                      </a:lnTo>
                      <a:lnTo>
                        <a:pt x="20" y="72"/>
                      </a:lnTo>
                      <a:lnTo>
                        <a:pt x="18" y="72"/>
                      </a:lnTo>
                      <a:lnTo>
                        <a:pt x="14" y="72"/>
                      </a:lnTo>
                      <a:lnTo>
                        <a:pt x="12" y="72"/>
                      </a:lnTo>
                      <a:lnTo>
                        <a:pt x="10" y="72"/>
                      </a:lnTo>
                      <a:lnTo>
                        <a:pt x="10" y="74"/>
                      </a:lnTo>
                      <a:lnTo>
                        <a:pt x="10" y="76"/>
                      </a:lnTo>
                      <a:lnTo>
                        <a:pt x="8" y="78"/>
                      </a:lnTo>
                      <a:lnTo>
                        <a:pt x="8" y="80"/>
                      </a:lnTo>
                      <a:lnTo>
                        <a:pt x="8" y="82"/>
                      </a:lnTo>
                      <a:lnTo>
                        <a:pt x="10" y="86"/>
                      </a:lnTo>
                      <a:lnTo>
                        <a:pt x="12" y="86"/>
                      </a:lnTo>
                      <a:lnTo>
                        <a:pt x="12" y="88"/>
                      </a:lnTo>
                      <a:lnTo>
                        <a:pt x="14" y="88"/>
                      </a:lnTo>
                      <a:lnTo>
                        <a:pt x="18" y="88"/>
                      </a:lnTo>
                      <a:lnTo>
                        <a:pt x="20" y="86"/>
                      </a:lnTo>
                      <a:lnTo>
                        <a:pt x="22" y="84"/>
                      </a:lnTo>
                      <a:lnTo>
                        <a:pt x="24" y="84"/>
                      </a:lnTo>
                      <a:lnTo>
                        <a:pt x="28" y="84"/>
                      </a:lnTo>
                      <a:lnTo>
                        <a:pt x="30" y="84"/>
                      </a:lnTo>
                      <a:lnTo>
                        <a:pt x="32" y="84"/>
                      </a:lnTo>
                      <a:lnTo>
                        <a:pt x="34" y="82"/>
                      </a:lnTo>
                      <a:lnTo>
                        <a:pt x="36" y="80"/>
                      </a:lnTo>
                      <a:lnTo>
                        <a:pt x="38" y="78"/>
                      </a:lnTo>
                      <a:lnTo>
                        <a:pt x="42" y="78"/>
                      </a:lnTo>
                      <a:lnTo>
                        <a:pt x="48" y="78"/>
                      </a:lnTo>
                      <a:lnTo>
                        <a:pt x="54" y="78"/>
                      </a:lnTo>
                      <a:lnTo>
                        <a:pt x="58" y="80"/>
                      </a:lnTo>
                      <a:lnTo>
                        <a:pt x="60" y="80"/>
                      </a:lnTo>
                      <a:lnTo>
                        <a:pt x="64" y="80"/>
                      </a:lnTo>
                      <a:lnTo>
                        <a:pt x="66" y="80"/>
                      </a:lnTo>
                      <a:lnTo>
                        <a:pt x="68" y="80"/>
                      </a:lnTo>
                      <a:lnTo>
                        <a:pt x="70" y="80"/>
                      </a:lnTo>
                      <a:lnTo>
                        <a:pt x="72" y="82"/>
                      </a:lnTo>
                      <a:lnTo>
                        <a:pt x="72" y="84"/>
                      </a:lnTo>
                      <a:lnTo>
                        <a:pt x="74" y="84"/>
                      </a:lnTo>
                      <a:lnTo>
                        <a:pt x="76" y="84"/>
                      </a:lnTo>
                      <a:lnTo>
                        <a:pt x="78" y="84"/>
                      </a:lnTo>
                      <a:lnTo>
                        <a:pt x="78" y="82"/>
                      </a:lnTo>
                      <a:lnTo>
                        <a:pt x="78" y="84"/>
                      </a:lnTo>
                      <a:lnTo>
                        <a:pt x="80" y="84"/>
                      </a:lnTo>
                      <a:lnTo>
                        <a:pt x="80" y="86"/>
                      </a:lnTo>
                      <a:lnTo>
                        <a:pt x="82" y="88"/>
                      </a:lnTo>
                      <a:lnTo>
                        <a:pt x="84" y="88"/>
                      </a:lnTo>
                      <a:lnTo>
                        <a:pt x="86" y="88"/>
                      </a:lnTo>
                      <a:lnTo>
                        <a:pt x="88" y="86"/>
                      </a:lnTo>
                      <a:lnTo>
                        <a:pt x="90" y="86"/>
                      </a:lnTo>
                      <a:lnTo>
                        <a:pt x="92" y="86"/>
                      </a:lnTo>
                      <a:lnTo>
                        <a:pt x="94" y="86"/>
                      </a:lnTo>
                      <a:lnTo>
                        <a:pt x="96" y="86"/>
                      </a:lnTo>
                      <a:lnTo>
                        <a:pt x="98" y="86"/>
                      </a:lnTo>
                      <a:lnTo>
                        <a:pt x="100" y="86"/>
                      </a:lnTo>
                      <a:lnTo>
                        <a:pt x="100" y="84"/>
                      </a:lnTo>
                      <a:lnTo>
                        <a:pt x="100" y="82"/>
                      </a:lnTo>
                      <a:lnTo>
                        <a:pt x="100" y="80"/>
                      </a:lnTo>
                      <a:lnTo>
                        <a:pt x="100" y="78"/>
                      </a:lnTo>
                      <a:lnTo>
                        <a:pt x="100" y="76"/>
                      </a:lnTo>
                      <a:lnTo>
                        <a:pt x="100" y="74"/>
                      </a:lnTo>
                      <a:lnTo>
                        <a:pt x="100" y="72"/>
                      </a:lnTo>
                      <a:lnTo>
                        <a:pt x="100" y="70"/>
                      </a:lnTo>
                      <a:lnTo>
                        <a:pt x="98" y="68"/>
                      </a:lnTo>
                      <a:lnTo>
                        <a:pt x="98" y="6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8" name="Freeform 84">
                  <a:extLst>
                    <a:ext uri="{FF2B5EF4-FFF2-40B4-BE49-F238E27FC236}">
                      <a16:creationId xmlns:a16="http://schemas.microsoft.com/office/drawing/2014/main" id="{E62CDFD1-FBF1-4737-A6FE-08200DB7FCAB}"/>
                    </a:ext>
                  </a:extLst>
                </p:cNvPr>
                <p:cNvSpPr>
                  <a:spLocks noChangeAspect="1"/>
                </p:cNvSpPr>
                <p:nvPr/>
              </p:nvSpPr>
              <p:spPr bwMode="auto">
                <a:xfrm>
                  <a:off x="3995024" y="3831803"/>
                  <a:ext cx="203901" cy="184860"/>
                </a:xfrm>
                <a:custGeom>
                  <a:avLst/>
                  <a:gdLst/>
                  <a:ahLst/>
                  <a:cxnLst>
                    <a:cxn ang="0">
                      <a:pos x="22" y="6"/>
                    </a:cxn>
                    <a:cxn ang="0">
                      <a:pos x="16" y="10"/>
                    </a:cxn>
                    <a:cxn ang="0">
                      <a:pos x="22" y="16"/>
                    </a:cxn>
                    <a:cxn ang="0">
                      <a:pos x="12" y="20"/>
                    </a:cxn>
                    <a:cxn ang="0">
                      <a:pos x="2" y="22"/>
                    </a:cxn>
                    <a:cxn ang="0">
                      <a:pos x="0" y="30"/>
                    </a:cxn>
                    <a:cxn ang="0">
                      <a:pos x="4" y="36"/>
                    </a:cxn>
                    <a:cxn ang="0">
                      <a:pos x="6" y="42"/>
                    </a:cxn>
                    <a:cxn ang="0">
                      <a:pos x="16" y="48"/>
                    </a:cxn>
                    <a:cxn ang="0">
                      <a:pos x="16" y="54"/>
                    </a:cxn>
                    <a:cxn ang="0">
                      <a:pos x="22" y="54"/>
                    </a:cxn>
                    <a:cxn ang="0">
                      <a:pos x="26" y="64"/>
                    </a:cxn>
                    <a:cxn ang="0">
                      <a:pos x="34" y="68"/>
                    </a:cxn>
                    <a:cxn ang="0">
                      <a:pos x="42" y="54"/>
                    </a:cxn>
                    <a:cxn ang="0">
                      <a:pos x="50" y="54"/>
                    </a:cxn>
                    <a:cxn ang="0">
                      <a:pos x="58" y="50"/>
                    </a:cxn>
                    <a:cxn ang="0">
                      <a:pos x="66" y="56"/>
                    </a:cxn>
                    <a:cxn ang="0">
                      <a:pos x="72" y="64"/>
                    </a:cxn>
                    <a:cxn ang="0">
                      <a:pos x="72" y="68"/>
                    </a:cxn>
                    <a:cxn ang="0">
                      <a:pos x="72" y="80"/>
                    </a:cxn>
                    <a:cxn ang="0">
                      <a:pos x="70" y="86"/>
                    </a:cxn>
                    <a:cxn ang="0">
                      <a:pos x="78" y="82"/>
                    </a:cxn>
                    <a:cxn ang="0">
                      <a:pos x="82" y="82"/>
                    </a:cxn>
                    <a:cxn ang="0">
                      <a:pos x="90" y="82"/>
                    </a:cxn>
                    <a:cxn ang="0">
                      <a:pos x="92" y="102"/>
                    </a:cxn>
                    <a:cxn ang="0">
                      <a:pos x="96" y="102"/>
                    </a:cxn>
                    <a:cxn ang="0">
                      <a:pos x="102" y="104"/>
                    </a:cxn>
                    <a:cxn ang="0">
                      <a:pos x="108" y="96"/>
                    </a:cxn>
                    <a:cxn ang="0">
                      <a:pos x="116" y="96"/>
                    </a:cxn>
                    <a:cxn ang="0">
                      <a:pos x="118" y="90"/>
                    </a:cxn>
                    <a:cxn ang="0">
                      <a:pos x="116" y="86"/>
                    </a:cxn>
                    <a:cxn ang="0">
                      <a:pos x="116" y="80"/>
                    </a:cxn>
                    <a:cxn ang="0">
                      <a:pos x="124" y="82"/>
                    </a:cxn>
                    <a:cxn ang="0">
                      <a:pos x="118" y="76"/>
                    </a:cxn>
                    <a:cxn ang="0">
                      <a:pos x="120" y="68"/>
                    </a:cxn>
                    <a:cxn ang="0">
                      <a:pos x="120" y="64"/>
                    </a:cxn>
                    <a:cxn ang="0">
                      <a:pos x="116" y="62"/>
                    </a:cxn>
                    <a:cxn ang="0">
                      <a:pos x="114" y="52"/>
                    </a:cxn>
                    <a:cxn ang="0">
                      <a:pos x="116" y="44"/>
                    </a:cxn>
                    <a:cxn ang="0">
                      <a:pos x="112" y="34"/>
                    </a:cxn>
                    <a:cxn ang="0">
                      <a:pos x="106" y="32"/>
                    </a:cxn>
                    <a:cxn ang="0">
                      <a:pos x="112" y="24"/>
                    </a:cxn>
                    <a:cxn ang="0">
                      <a:pos x="102" y="18"/>
                    </a:cxn>
                    <a:cxn ang="0">
                      <a:pos x="106" y="12"/>
                    </a:cxn>
                    <a:cxn ang="0">
                      <a:pos x="102" y="8"/>
                    </a:cxn>
                    <a:cxn ang="0">
                      <a:pos x="94" y="4"/>
                    </a:cxn>
                    <a:cxn ang="0">
                      <a:pos x="90" y="12"/>
                    </a:cxn>
                    <a:cxn ang="0">
                      <a:pos x="84" y="10"/>
                    </a:cxn>
                    <a:cxn ang="0">
                      <a:pos x="74" y="14"/>
                    </a:cxn>
                    <a:cxn ang="0">
                      <a:pos x="72" y="10"/>
                    </a:cxn>
                    <a:cxn ang="0">
                      <a:pos x="64" y="14"/>
                    </a:cxn>
                    <a:cxn ang="0">
                      <a:pos x="60" y="8"/>
                    </a:cxn>
                    <a:cxn ang="0">
                      <a:pos x="50" y="6"/>
                    </a:cxn>
                    <a:cxn ang="0">
                      <a:pos x="44" y="8"/>
                    </a:cxn>
                    <a:cxn ang="0">
                      <a:pos x="38" y="2"/>
                    </a:cxn>
                    <a:cxn ang="0">
                      <a:pos x="32" y="2"/>
                    </a:cxn>
                  </a:cxnLst>
                  <a:rect l="0" t="0" r="r" b="b"/>
                  <a:pathLst>
                    <a:path w="124" h="106">
                      <a:moveTo>
                        <a:pt x="22" y="0"/>
                      </a:moveTo>
                      <a:lnTo>
                        <a:pt x="22" y="2"/>
                      </a:lnTo>
                      <a:lnTo>
                        <a:pt x="22" y="4"/>
                      </a:lnTo>
                      <a:lnTo>
                        <a:pt x="22" y="6"/>
                      </a:lnTo>
                      <a:lnTo>
                        <a:pt x="20" y="6"/>
                      </a:lnTo>
                      <a:lnTo>
                        <a:pt x="18" y="6"/>
                      </a:lnTo>
                      <a:lnTo>
                        <a:pt x="16" y="8"/>
                      </a:lnTo>
                      <a:lnTo>
                        <a:pt x="16" y="10"/>
                      </a:lnTo>
                      <a:lnTo>
                        <a:pt x="18" y="12"/>
                      </a:lnTo>
                      <a:lnTo>
                        <a:pt x="20" y="12"/>
                      </a:lnTo>
                      <a:lnTo>
                        <a:pt x="20" y="14"/>
                      </a:lnTo>
                      <a:lnTo>
                        <a:pt x="22" y="14"/>
                      </a:lnTo>
                      <a:lnTo>
                        <a:pt x="22" y="16"/>
                      </a:lnTo>
                      <a:lnTo>
                        <a:pt x="22" y="18"/>
                      </a:lnTo>
                      <a:lnTo>
                        <a:pt x="20" y="20"/>
                      </a:lnTo>
                      <a:lnTo>
                        <a:pt x="18" y="20"/>
                      </a:lnTo>
                      <a:lnTo>
                        <a:pt x="16" y="20"/>
                      </a:lnTo>
                      <a:lnTo>
                        <a:pt x="14" y="20"/>
                      </a:lnTo>
                      <a:lnTo>
                        <a:pt x="12" y="20"/>
                      </a:lnTo>
                      <a:lnTo>
                        <a:pt x="10" y="22"/>
                      </a:lnTo>
                      <a:lnTo>
                        <a:pt x="8" y="22"/>
                      </a:lnTo>
                      <a:lnTo>
                        <a:pt x="6" y="22"/>
                      </a:lnTo>
                      <a:lnTo>
                        <a:pt x="4" y="22"/>
                      </a:lnTo>
                      <a:lnTo>
                        <a:pt x="2" y="22"/>
                      </a:lnTo>
                      <a:lnTo>
                        <a:pt x="2" y="26"/>
                      </a:lnTo>
                      <a:lnTo>
                        <a:pt x="2" y="28"/>
                      </a:lnTo>
                      <a:lnTo>
                        <a:pt x="0" y="30"/>
                      </a:lnTo>
                      <a:lnTo>
                        <a:pt x="0" y="32"/>
                      </a:lnTo>
                      <a:lnTo>
                        <a:pt x="2" y="34"/>
                      </a:lnTo>
                      <a:lnTo>
                        <a:pt x="2" y="36"/>
                      </a:lnTo>
                      <a:lnTo>
                        <a:pt x="4" y="36"/>
                      </a:lnTo>
                      <a:lnTo>
                        <a:pt x="6" y="36"/>
                      </a:lnTo>
                      <a:lnTo>
                        <a:pt x="6" y="38"/>
                      </a:lnTo>
                      <a:lnTo>
                        <a:pt x="6" y="40"/>
                      </a:lnTo>
                      <a:lnTo>
                        <a:pt x="6" y="42"/>
                      </a:lnTo>
                      <a:lnTo>
                        <a:pt x="6" y="44"/>
                      </a:lnTo>
                      <a:lnTo>
                        <a:pt x="6" y="46"/>
                      </a:lnTo>
                      <a:lnTo>
                        <a:pt x="8" y="48"/>
                      </a:lnTo>
                      <a:lnTo>
                        <a:pt x="10" y="48"/>
                      </a:lnTo>
                      <a:lnTo>
                        <a:pt x="12" y="48"/>
                      </a:lnTo>
                      <a:lnTo>
                        <a:pt x="14" y="48"/>
                      </a:lnTo>
                      <a:lnTo>
                        <a:pt x="14" y="50"/>
                      </a:lnTo>
                      <a:lnTo>
                        <a:pt x="16" y="48"/>
                      </a:lnTo>
                      <a:lnTo>
                        <a:pt x="16" y="50"/>
                      </a:lnTo>
                      <a:lnTo>
                        <a:pt x="16" y="52"/>
                      </a:lnTo>
                      <a:lnTo>
                        <a:pt x="16" y="54"/>
                      </a:lnTo>
                      <a:lnTo>
                        <a:pt x="18" y="56"/>
                      </a:lnTo>
                      <a:lnTo>
                        <a:pt x="18" y="54"/>
                      </a:lnTo>
                      <a:lnTo>
                        <a:pt x="20" y="54"/>
                      </a:lnTo>
                      <a:lnTo>
                        <a:pt x="22" y="54"/>
                      </a:lnTo>
                      <a:lnTo>
                        <a:pt x="22" y="52"/>
                      </a:lnTo>
                      <a:lnTo>
                        <a:pt x="22" y="54"/>
                      </a:lnTo>
                      <a:lnTo>
                        <a:pt x="22" y="56"/>
                      </a:lnTo>
                      <a:lnTo>
                        <a:pt x="24" y="60"/>
                      </a:lnTo>
                      <a:lnTo>
                        <a:pt x="24" y="62"/>
                      </a:lnTo>
                      <a:lnTo>
                        <a:pt x="26" y="64"/>
                      </a:lnTo>
                      <a:lnTo>
                        <a:pt x="28" y="66"/>
                      </a:lnTo>
                      <a:lnTo>
                        <a:pt x="28" y="68"/>
                      </a:lnTo>
                      <a:lnTo>
                        <a:pt x="30" y="68"/>
                      </a:lnTo>
                      <a:lnTo>
                        <a:pt x="32" y="68"/>
                      </a:lnTo>
                      <a:lnTo>
                        <a:pt x="34" y="68"/>
                      </a:lnTo>
                      <a:lnTo>
                        <a:pt x="34" y="66"/>
                      </a:lnTo>
                      <a:lnTo>
                        <a:pt x="36" y="64"/>
                      </a:lnTo>
                      <a:lnTo>
                        <a:pt x="38" y="62"/>
                      </a:lnTo>
                      <a:lnTo>
                        <a:pt x="40" y="58"/>
                      </a:lnTo>
                      <a:lnTo>
                        <a:pt x="40" y="56"/>
                      </a:lnTo>
                      <a:lnTo>
                        <a:pt x="42" y="56"/>
                      </a:lnTo>
                      <a:lnTo>
                        <a:pt x="42" y="54"/>
                      </a:lnTo>
                      <a:lnTo>
                        <a:pt x="46" y="54"/>
                      </a:lnTo>
                      <a:lnTo>
                        <a:pt x="48" y="54"/>
                      </a:lnTo>
                      <a:lnTo>
                        <a:pt x="50" y="54"/>
                      </a:lnTo>
                      <a:lnTo>
                        <a:pt x="50" y="52"/>
                      </a:lnTo>
                      <a:lnTo>
                        <a:pt x="52" y="52"/>
                      </a:lnTo>
                      <a:lnTo>
                        <a:pt x="52" y="50"/>
                      </a:lnTo>
                      <a:lnTo>
                        <a:pt x="56" y="50"/>
                      </a:lnTo>
                      <a:lnTo>
                        <a:pt x="58" y="50"/>
                      </a:lnTo>
                      <a:lnTo>
                        <a:pt x="60" y="50"/>
                      </a:lnTo>
                      <a:lnTo>
                        <a:pt x="62" y="50"/>
                      </a:lnTo>
                      <a:lnTo>
                        <a:pt x="64" y="52"/>
                      </a:lnTo>
                      <a:lnTo>
                        <a:pt x="66" y="54"/>
                      </a:lnTo>
                      <a:lnTo>
                        <a:pt x="66" y="56"/>
                      </a:lnTo>
                      <a:lnTo>
                        <a:pt x="68" y="58"/>
                      </a:lnTo>
                      <a:lnTo>
                        <a:pt x="68" y="60"/>
                      </a:lnTo>
                      <a:lnTo>
                        <a:pt x="70" y="62"/>
                      </a:lnTo>
                      <a:lnTo>
                        <a:pt x="72" y="64"/>
                      </a:lnTo>
                      <a:lnTo>
                        <a:pt x="72" y="66"/>
                      </a:lnTo>
                      <a:lnTo>
                        <a:pt x="72" y="68"/>
                      </a:lnTo>
                      <a:lnTo>
                        <a:pt x="74" y="70"/>
                      </a:lnTo>
                      <a:lnTo>
                        <a:pt x="74" y="72"/>
                      </a:lnTo>
                      <a:lnTo>
                        <a:pt x="74" y="74"/>
                      </a:lnTo>
                      <a:lnTo>
                        <a:pt x="74" y="76"/>
                      </a:lnTo>
                      <a:lnTo>
                        <a:pt x="74" y="78"/>
                      </a:lnTo>
                      <a:lnTo>
                        <a:pt x="72" y="80"/>
                      </a:lnTo>
                      <a:lnTo>
                        <a:pt x="70" y="82"/>
                      </a:lnTo>
                      <a:lnTo>
                        <a:pt x="70" y="84"/>
                      </a:lnTo>
                      <a:lnTo>
                        <a:pt x="70" y="86"/>
                      </a:lnTo>
                      <a:lnTo>
                        <a:pt x="72" y="84"/>
                      </a:lnTo>
                      <a:lnTo>
                        <a:pt x="74" y="84"/>
                      </a:lnTo>
                      <a:lnTo>
                        <a:pt x="76" y="82"/>
                      </a:lnTo>
                      <a:lnTo>
                        <a:pt x="78" y="82"/>
                      </a:lnTo>
                      <a:lnTo>
                        <a:pt x="80" y="82"/>
                      </a:lnTo>
                      <a:lnTo>
                        <a:pt x="82" y="82"/>
                      </a:lnTo>
                      <a:lnTo>
                        <a:pt x="84" y="80"/>
                      </a:lnTo>
                      <a:lnTo>
                        <a:pt x="86" y="80"/>
                      </a:lnTo>
                      <a:lnTo>
                        <a:pt x="88" y="80"/>
                      </a:lnTo>
                      <a:lnTo>
                        <a:pt x="88" y="82"/>
                      </a:lnTo>
                      <a:lnTo>
                        <a:pt x="90" y="82"/>
                      </a:lnTo>
                      <a:lnTo>
                        <a:pt x="90" y="84"/>
                      </a:lnTo>
                      <a:lnTo>
                        <a:pt x="92" y="86"/>
                      </a:lnTo>
                      <a:lnTo>
                        <a:pt x="94" y="90"/>
                      </a:lnTo>
                      <a:lnTo>
                        <a:pt x="94" y="92"/>
                      </a:lnTo>
                      <a:lnTo>
                        <a:pt x="94" y="96"/>
                      </a:lnTo>
                      <a:lnTo>
                        <a:pt x="92" y="100"/>
                      </a:lnTo>
                      <a:lnTo>
                        <a:pt x="92" y="102"/>
                      </a:lnTo>
                      <a:lnTo>
                        <a:pt x="94" y="102"/>
                      </a:lnTo>
                      <a:lnTo>
                        <a:pt x="96" y="102"/>
                      </a:lnTo>
                      <a:lnTo>
                        <a:pt x="96" y="104"/>
                      </a:lnTo>
                      <a:lnTo>
                        <a:pt x="98" y="106"/>
                      </a:lnTo>
                      <a:lnTo>
                        <a:pt x="100" y="106"/>
                      </a:lnTo>
                      <a:lnTo>
                        <a:pt x="102" y="104"/>
                      </a:lnTo>
                      <a:lnTo>
                        <a:pt x="102" y="102"/>
                      </a:lnTo>
                      <a:lnTo>
                        <a:pt x="104" y="100"/>
                      </a:lnTo>
                      <a:lnTo>
                        <a:pt x="104" y="98"/>
                      </a:lnTo>
                      <a:lnTo>
                        <a:pt x="104" y="96"/>
                      </a:lnTo>
                      <a:lnTo>
                        <a:pt x="106" y="96"/>
                      </a:lnTo>
                      <a:lnTo>
                        <a:pt x="108" y="96"/>
                      </a:lnTo>
                      <a:lnTo>
                        <a:pt x="110" y="98"/>
                      </a:lnTo>
                      <a:lnTo>
                        <a:pt x="112" y="98"/>
                      </a:lnTo>
                      <a:lnTo>
                        <a:pt x="114" y="98"/>
                      </a:lnTo>
                      <a:lnTo>
                        <a:pt x="116" y="98"/>
                      </a:lnTo>
                      <a:lnTo>
                        <a:pt x="116" y="96"/>
                      </a:lnTo>
                      <a:lnTo>
                        <a:pt x="116" y="94"/>
                      </a:lnTo>
                      <a:lnTo>
                        <a:pt x="116" y="92"/>
                      </a:lnTo>
                      <a:lnTo>
                        <a:pt x="116" y="90"/>
                      </a:lnTo>
                      <a:lnTo>
                        <a:pt x="118" y="90"/>
                      </a:lnTo>
                      <a:lnTo>
                        <a:pt x="120" y="90"/>
                      </a:lnTo>
                      <a:lnTo>
                        <a:pt x="118" y="88"/>
                      </a:lnTo>
                      <a:lnTo>
                        <a:pt x="116" y="86"/>
                      </a:lnTo>
                      <a:lnTo>
                        <a:pt x="114" y="84"/>
                      </a:lnTo>
                      <a:lnTo>
                        <a:pt x="112" y="82"/>
                      </a:lnTo>
                      <a:lnTo>
                        <a:pt x="114" y="82"/>
                      </a:lnTo>
                      <a:lnTo>
                        <a:pt x="114" y="80"/>
                      </a:lnTo>
                      <a:lnTo>
                        <a:pt x="116" y="80"/>
                      </a:lnTo>
                      <a:lnTo>
                        <a:pt x="118" y="82"/>
                      </a:lnTo>
                      <a:lnTo>
                        <a:pt x="120" y="82"/>
                      </a:lnTo>
                      <a:lnTo>
                        <a:pt x="122" y="82"/>
                      </a:lnTo>
                      <a:lnTo>
                        <a:pt x="122" y="84"/>
                      </a:lnTo>
                      <a:lnTo>
                        <a:pt x="124" y="84"/>
                      </a:lnTo>
                      <a:lnTo>
                        <a:pt x="124" y="82"/>
                      </a:lnTo>
                      <a:lnTo>
                        <a:pt x="124" y="80"/>
                      </a:lnTo>
                      <a:lnTo>
                        <a:pt x="124" y="78"/>
                      </a:lnTo>
                      <a:lnTo>
                        <a:pt x="122" y="78"/>
                      </a:lnTo>
                      <a:lnTo>
                        <a:pt x="122" y="76"/>
                      </a:lnTo>
                      <a:lnTo>
                        <a:pt x="120" y="76"/>
                      </a:lnTo>
                      <a:lnTo>
                        <a:pt x="118" y="76"/>
                      </a:lnTo>
                      <a:lnTo>
                        <a:pt x="118" y="74"/>
                      </a:lnTo>
                      <a:lnTo>
                        <a:pt x="118" y="72"/>
                      </a:lnTo>
                      <a:lnTo>
                        <a:pt x="120" y="70"/>
                      </a:lnTo>
                      <a:lnTo>
                        <a:pt x="122" y="68"/>
                      </a:lnTo>
                      <a:lnTo>
                        <a:pt x="120" y="68"/>
                      </a:lnTo>
                      <a:lnTo>
                        <a:pt x="118" y="66"/>
                      </a:lnTo>
                      <a:lnTo>
                        <a:pt x="120" y="66"/>
                      </a:lnTo>
                      <a:lnTo>
                        <a:pt x="120" y="64"/>
                      </a:lnTo>
                      <a:lnTo>
                        <a:pt x="120" y="62"/>
                      </a:lnTo>
                      <a:lnTo>
                        <a:pt x="118" y="62"/>
                      </a:lnTo>
                      <a:lnTo>
                        <a:pt x="116" y="62"/>
                      </a:lnTo>
                      <a:lnTo>
                        <a:pt x="116" y="60"/>
                      </a:lnTo>
                      <a:lnTo>
                        <a:pt x="116" y="56"/>
                      </a:lnTo>
                      <a:lnTo>
                        <a:pt x="114" y="54"/>
                      </a:lnTo>
                      <a:lnTo>
                        <a:pt x="114" y="52"/>
                      </a:lnTo>
                      <a:lnTo>
                        <a:pt x="116" y="50"/>
                      </a:lnTo>
                      <a:lnTo>
                        <a:pt x="118" y="50"/>
                      </a:lnTo>
                      <a:lnTo>
                        <a:pt x="118" y="48"/>
                      </a:lnTo>
                      <a:lnTo>
                        <a:pt x="120" y="48"/>
                      </a:lnTo>
                      <a:lnTo>
                        <a:pt x="116" y="44"/>
                      </a:lnTo>
                      <a:lnTo>
                        <a:pt x="114" y="42"/>
                      </a:lnTo>
                      <a:lnTo>
                        <a:pt x="112" y="40"/>
                      </a:lnTo>
                      <a:lnTo>
                        <a:pt x="112" y="38"/>
                      </a:lnTo>
                      <a:lnTo>
                        <a:pt x="112" y="36"/>
                      </a:lnTo>
                      <a:lnTo>
                        <a:pt x="112" y="34"/>
                      </a:lnTo>
                      <a:lnTo>
                        <a:pt x="112" y="32"/>
                      </a:lnTo>
                      <a:lnTo>
                        <a:pt x="110" y="32"/>
                      </a:lnTo>
                      <a:lnTo>
                        <a:pt x="108" y="32"/>
                      </a:lnTo>
                      <a:lnTo>
                        <a:pt x="106" y="32"/>
                      </a:lnTo>
                      <a:lnTo>
                        <a:pt x="108" y="30"/>
                      </a:lnTo>
                      <a:lnTo>
                        <a:pt x="108" y="28"/>
                      </a:lnTo>
                      <a:lnTo>
                        <a:pt x="110" y="26"/>
                      </a:lnTo>
                      <a:lnTo>
                        <a:pt x="110" y="24"/>
                      </a:lnTo>
                      <a:lnTo>
                        <a:pt x="112" y="24"/>
                      </a:lnTo>
                      <a:lnTo>
                        <a:pt x="108" y="22"/>
                      </a:lnTo>
                      <a:lnTo>
                        <a:pt x="106" y="20"/>
                      </a:lnTo>
                      <a:lnTo>
                        <a:pt x="104" y="20"/>
                      </a:lnTo>
                      <a:lnTo>
                        <a:pt x="104" y="18"/>
                      </a:lnTo>
                      <a:lnTo>
                        <a:pt x="102" y="18"/>
                      </a:lnTo>
                      <a:lnTo>
                        <a:pt x="104" y="16"/>
                      </a:lnTo>
                      <a:lnTo>
                        <a:pt x="104" y="14"/>
                      </a:lnTo>
                      <a:lnTo>
                        <a:pt x="104" y="12"/>
                      </a:lnTo>
                      <a:lnTo>
                        <a:pt x="106" y="12"/>
                      </a:lnTo>
                      <a:lnTo>
                        <a:pt x="104" y="12"/>
                      </a:lnTo>
                      <a:lnTo>
                        <a:pt x="104" y="10"/>
                      </a:lnTo>
                      <a:lnTo>
                        <a:pt x="102" y="10"/>
                      </a:lnTo>
                      <a:lnTo>
                        <a:pt x="102" y="8"/>
                      </a:lnTo>
                      <a:lnTo>
                        <a:pt x="102" y="6"/>
                      </a:lnTo>
                      <a:lnTo>
                        <a:pt x="100" y="4"/>
                      </a:lnTo>
                      <a:lnTo>
                        <a:pt x="98" y="4"/>
                      </a:lnTo>
                      <a:lnTo>
                        <a:pt x="98" y="2"/>
                      </a:lnTo>
                      <a:lnTo>
                        <a:pt x="96" y="4"/>
                      </a:lnTo>
                      <a:lnTo>
                        <a:pt x="94" y="4"/>
                      </a:lnTo>
                      <a:lnTo>
                        <a:pt x="94" y="6"/>
                      </a:lnTo>
                      <a:lnTo>
                        <a:pt x="94" y="8"/>
                      </a:lnTo>
                      <a:lnTo>
                        <a:pt x="94" y="10"/>
                      </a:lnTo>
                      <a:lnTo>
                        <a:pt x="92" y="10"/>
                      </a:lnTo>
                      <a:lnTo>
                        <a:pt x="92" y="12"/>
                      </a:lnTo>
                      <a:lnTo>
                        <a:pt x="90" y="12"/>
                      </a:lnTo>
                      <a:lnTo>
                        <a:pt x="88" y="12"/>
                      </a:lnTo>
                      <a:lnTo>
                        <a:pt x="86" y="12"/>
                      </a:lnTo>
                      <a:lnTo>
                        <a:pt x="86" y="10"/>
                      </a:lnTo>
                      <a:lnTo>
                        <a:pt x="84" y="10"/>
                      </a:lnTo>
                      <a:lnTo>
                        <a:pt x="82" y="8"/>
                      </a:lnTo>
                      <a:lnTo>
                        <a:pt x="80" y="8"/>
                      </a:lnTo>
                      <a:lnTo>
                        <a:pt x="78" y="8"/>
                      </a:lnTo>
                      <a:lnTo>
                        <a:pt x="76" y="10"/>
                      </a:lnTo>
                      <a:lnTo>
                        <a:pt x="76" y="12"/>
                      </a:lnTo>
                      <a:lnTo>
                        <a:pt x="74" y="14"/>
                      </a:lnTo>
                      <a:lnTo>
                        <a:pt x="74" y="16"/>
                      </a:lnTo>
                      <a:lnTo>
                        <a:pt x="74" y="14"/>
                      </a:lnTo>
                      <a:lnTo>
                        <a:pt x="72" y="14"/>
                      </a:lnTo>
                      <a:lnTo>
                        <a:pt x="72" y="12"/>
                      </a:lnTo>
                      <a:lnTo>
                        <a:pt x="72" y="10"/>
                      </a:lnTo>
                      <a:lnTo>
                        <a:pt x="70" y="10"/>
                      </a:lnTo>
                      <a:lnTo>
                        <a:pt x="70" y="8"/>
                      </a:lnTo>
                      <a:lnTo>
                        <a:pt x="68" y="8"/>
                      </a:lnTo>
                      <a:lnTo>
                        <a:pt x="66" y="8"/>
                      </a:lnTo>
                      <a:lnTo>
                        <a:pt x="66" y="10"/>
                      </a:lnTo>
                      <a:lnTo>
                        <a:pt x="64" y="10"/>
                      </a:lnTo>
                      <a:lnTo>
                        <a:pt x="64" y="14"/>
                      </a:lnTo>
                      <a:lnTo>
                        <a:pt x="62" y="14"/>
                      </a:lnTo>
                      <a:lnTo>
                        <a:pt x="60" y="12"/>
                      </a:lnTo>
                      <a:lnTo>
                        <a:pt x="60" y="10"/>
                      </a:lnTo>
                      <a:lnTo>
                        <a:pt x="60" y="8"/>
                      </a:lnTo>
                      <a:lnTo>
                        <a:pt x="60" y="6"/>
                      </a:lnTo>
                      <a:lnTo>
                        <a:pt x="56" y="6"/>
                      </a:lnTo>
                      <a:lnTo>
                        <a:pt x="54" y="6"/>
                      </a:lnTo>
                      <a:lnTo>
                        <a:pt x="52" y="6"/>
                      </a:lnTo>
                      <a:lnTo>
                        <a:pt x="50" y="6"/>
                      </a:lnTo>
                      <a:lnTo>
                        <a:pt x="48" y="6"/>
                      </a:lnTo>
                      <a:lnTo>
                        <a:pt x="46" y="8"/>
                      </a:lnTo>
                      <a:lnTo>
                        <a:pt x="44" y="8"/>
                      </a:lnTo>
                      <a:lnTo>
                        <a:pt x="42" y="8"/>
                      </a:lnTo>
                      <a:lnTo>
                        <a:pt x="40" y="6"/>
                      </a:lnTo>
                      <a:lnTo>
                        <a:pt x="40" y="4"/>
                      </a:lnTo>
                      <a:lnTo>
                        <a:pt x="38" y="4"/>
                      </a:lnTo>
                      <a:lnTo>
                        <a:pt x="38" y="2"/>
                      </a:lnTo>
                      <a:lnTo>
                        <a:pt x="38" y="4"/>
                      </a:lnTo>
                      <a:lnTo>
                        <a:pt x="36" y="4"/>
                      </a:lnTo>
                      <a:lnTo>
                        <a:pt x="34" y="4"/>
                      </a:lnTo>
                      <a:lnTo>
                        <a:pt x="32" y="4"/>
                      </a:lnTo>
                      <a:lnTo>
                        <a:pt x="32" y="2"/>
                      </a:lnTo>
                      <a:lnTo>
                        <a:pt x="30" y="0"/>
                      </a:lnTo>
                      <a:lnTo>
                        <a:pt x="2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9" name="Freeform 85">
                  <a:extLst>
                    <a:ext uri="{FF2B5EF4-FFF2-40B4-BE49-F238E27FC236}">
                      <a16:creationId xmlns:a16="http://schemas.microsoft.com/office/drawing/2014/main" id="{F6572D5F-4352-43E2-B933-60BC169162A1}"/>
                    </a:ext>
                  </a:extLst>
                </p:cNvPr>
                <p:cNvSpPr>
                  <a:spLocks noChangeAspect="1"/>
                </p:cNvSpPr>
                <p:nvPr/>
              </p:nvSpPr>
              <p:spPr bwMode="auto">
                <a:xfrm>
                  <a:off x="3948981" y="3343493"/>
                  <a:ext cx="335449" cy="418551"/>
                </a:xfrm>
                <a:custGeom>
                  <a:avLst/>
                  <a:gdLst/>
                  <a:ahLst/>
                  <a:cxnLst>
                    <a:cxn ang="0">
                      <a:pos x="4" y="120"/>
                    </a:cxn>
                    <a:cxn ang="0">
                      <a:pos x="6" y="128"/>
                    </a:cxn>
                    <a:cxn ang="0">
                      <a:pos x="10" y="132"/>
                    </a:cxn>
                    <a:cxn ang="0">
                      <a:pos x="10" y="142"/>
                    </a:cxn>
                    <a:cxn ang="0">
                      <a:pos x="8" y="144"/>
                    </a:cxn>
                    <a:cxn ang="0">
                      <a:pos x="8" y="150"/>
                    </a:cxn>
                    <a:cxn ang="0">
                      <a:pos x="8" y="154"/>
                    </a:cxn>
                    <a:cxn ang="0">
                      <a:pos x="12" y="176"/>
                    </a:cxn>
                    <a:cxn ang="0">
                      <a:pos x="10" y="190"/>
                    </a:cxn>
                    <a:cxn ang="0">
                      <a:pos x="8" y="194"/>
                    </a:cxn>
                    <a:cxn ang="0">
                      <a:pos x="4" y="214"/>
                    </a:cxn>
                    <a:cxn ang="0">
                      <a:pos x="8" y="206"/>
                    </a:cxn>
                    <a:cxn ang="0">
                      <a:pos x="16" y="206"/>
                    </a:cxn>
                    <a:cxn ang="0">
                      <a:pos x="24" y="204"/>
                    </a:cxn>
                    <a:cxn ang="0">
                      <a:pos x="28" y="202"/>
                    </a:cxn>
                    <a:cxn ang="0">
                      <a:pos x="32" y="202"/>
                    </a:cxn>
                    <a:cxn ang="0">
                      <a:pos x="42" y="204"/>
                    </a:cxn>
                    <a:cxn ang="0">
                      <a:pos x="50" y="212"/>
                    </a:cxn>
                    <a:cxn ang="0">
                      <a:pos x="58" y="214"/>
                    </a:cxn>
                    <a:cxn ang="0">
                      <a:pos x="58" y="224"/>
                    </a:cxn>
                    <a:cxn ang="0">
                      <a:pos x="64" y="228"/>
                    </a:cxn>
                    <a:cxn ang="0">
                      <a:pos x="70" y="234"/>
                    </a:cxn>
                    <a:cxn ang="0">
                      <a:pos x="74" y="238"/>
                    </a:cxn>
                    <a:cxn ang="0">
                      <a:pos x="82" y="238"/>
                    </a:cxn>
                    <a:cxn ang="0">
                      <a:pos x="82" y="228"/>
                    </a:cxn>
                    <a:cxn ang="0">
                      <a:pos x="92" y="224"/>
                    </a:cxn>
                    <a:cxn ang="0">
                      <a:pos x="100" y="228"/>
                    </a:cxn>
                    <a:cxn ang="0">
                      <a:pos x="106" y="226"/>
                    </a:cxn>
                    <a:cxn ang="0">
                      <a:pos x="110" y="228"/>
                    </a:cxn>
                    <a:cxn ang="0">
                      <a:pos x="122" y="226"/>
                    </a:cxn>
                    <a:cxn ang="0">
                      <a:pos x="126" y="224"/>
                    </a:cxn>
                    <a:cxn ang="0">
                      <a:pos x="150" y="224"/>
                    </a:cxn>
                    <a:cxn ang="0">
                      <a:pos x="176" y="224"/>
                    </a:cxn>
                    <a:cxn ang="0">
                      <a:pos x="188" y="224"/>
                    </a:cxn>
                    <a:cxn ang="0">
                      <a:pos x="190" y="214"/>
                    </a:cxn>
                    <a:cxn ang="0">
                      <a:pos x="188" y="206"/>
                    </a:cxn>
                    <a:cxn ang="0">
                      <a:pos x="182" y="130"/>
                    </a:cxn>
                    <a:cxn ang="0">
                      <a:pos x="178" y="72"/>
                    </a:cxn>
                    <a:cxn ang="0">
                      <a:pos x="176" y="46"/>
                    </a:cxn>
                    <a:cxn ang="0">
                      <a:pos x="180" y="42"/>
                    </a:cxn>
                    <a:cxn ang="0">
                      <a:pos x="202" y="42"/>
                    </a:cxn>
                    <a:cxn ang="0">
                      <a:pos x="190" y="32"/>
                    </a:cxn>
                    <a:cxn ang="0">
                      <a:pos x="160" y="12"/>
                    </a:cxn>
                    <a:cxn ang="0">
                      <a:pos x="144" y="0"/>
                    </a:cxn>
                    <a:cxn ang="0">
                      <a:pos x="142" y="10"/>
                    </a:cxn>
                    <a:cxn ang="0">
                      <a:pos x="140" y="12"/>
                    </a:cxn>
                    <a:cxn ang="0">
                      <a:pos x="136" y="22"/>
                    </a:cxn>
                    <a:cxn ang="0">
                      <a:pos x="104" y="22"/>
                    </a:cxn>
                    <a:cxn ang="0">
                      <a:pos x="88" y="22"/>
                    </a:cxn>
                    <a:cxn ang="0">
                      <a:pos x="86" y="26"/>
                    </a:cxn>
                    <a:cxn ang="0">
                      <a:pos x="84" y="32"/>
                    </a:cxn>
                    <a:cxn ang="0">
                      <a:pos x="84" y="66"/>
                    </a:cxn>
                    <a:cxn ang="0">
                      <a:pos x="80" y="76"/>
                    </a:cxn>
                    <a:cxn ang="0">
                      <a:pos x="72" y="76"/>
                    </a:cxn>
                    <a:cxn ang="0">
                      <a:pos x="66" y="86"/>
                    </a:cxn>
                    <a:cxn ang="0">
                      <a:pos x="66" y="104"/>
                    </a:cxn>
                    <a:cxn ang="0">
                      <a:pos x="66" y="112"/>
                    </a:cxn>
                    <a:cxn ang="0">
                      <a:pos x="28" y="114"/>
                    </a:cxn>
                    <a:cxn ang="0">
                      <a:pos x="6" y="114"/>
                    </a:cxn>
                    <a:cxn ang="0">
                      <a:pos x="0" y="116"/>
                    </a:cxn>
                  </a:cxnLst>
                  <a:rect l="0" t="0" r="r" b="b"/>
                  <a:pathLst>
                    <a:path w="204" h="240">
                      <a:moveTo>
                        <a:pt x="0" y="118"/>
                      </a:moveTo>
                      <a:lnTo>
                        <a:pt x="0" y="118"/>
                      </a:lnTo>
                      <a:lnTo>
                        <a:pt x="2" y="118"/>
                      </a:lnTo>
                      <a:lnTo>
                        <a:pt x="4" y="118"/>
                      </a:lnTo>
                      <a:lnTo>
                        <a:pt x="4" y="120"/>
                      </a:lnTo>
                      <a:lnTo>
                        <a:pt x="4" y="122"/>
                      </a:lnTo>
                      <a:lnTo>
                        <a:pt x="4" y="124"/>
                      </a:lnTo>
                      <a:lnTo>
                        <a:pt x="4" y="126"/>
                      </a:lnTo>
                      <a:lnTo>
                        <a:pt x="6" y="128"/>
                      </a:lnTo>
                      <a:lnTo>
                        <a:pt x="6" y="126"/>
                      </a:lnTo>
                      <a:lnTo>
                        <a:pt x="8" y="126"/>
                      </a:lnTo>
                      <a:lnTo>
                        <a:pt x="8" y="124"/>
                      </a:lnTo>
                      <a:lnTo>
                        <a:pt x="10" y="128"/>
                      </a:lnTo>
                      <a:lnTo>
                        <a:pt x="10" y="130"/>
                      </a:lnTo>
                      <a:lnTo>
                        <a:pt x="10" y="132"/>
                      </a:lnTo>
                      <a:lnTo>
                        <a:pt x="12" y="132"/>
                      </a:lnTo>
                      <a:lnTo>
                        <a:pt x="10" y="134"/>
                      </a:lnTo>
                      <a:lnTo>
                        <a:pt x="10" y="136"/>
                      </a:lnTo>
                      <a:lnTo>
                        <a:pt x="10" y="140"/>
                      </a:lnTo>
                      <a:lnTo>
                        <a:pt x="10" y="142"/>
                      </a:lnTo>
                      <a:lnTo>
                        <a:pt x="10" y="144"/>
                      </a:lnTo>
                      <a:lnTo>
                        <a:pt x="8" y="144"/>
                      </a:lnTo>
                      <a:lnTo>
                        <a:pt x="8" y="146"/>
                      </a:lnTo>
                      <a:lnTo>
                        <a:pt x="8" y="148"/>
                      </a:lnTo>
                      <a:lnTo>
                        <a:pt x="8" y="150"/>
                      </a:lnTo>
                      <a:lnTo>
                        <a:pt x="6" y="150"/>
                      </a:lnTo>
                      <a:lnTo>
                        <a:pt x="6" y="152"/>
                      </a:lnTo>
                      <a:lnTo>
                        <a:pt x="8" y="154"/>
                      </a:lnTo>
                      <a:lnTo>
                        <a:pt x="10" y="156"/>
                      </a:lnTo>
                      <a:lnTo>
                        <a:pt x="10" y="160"/>
                      </a:lnTo>
                      <a:lnTo>
                        <a:pt x="12" y="162"/>
                      </a:lnTo>
                      <a:lnTo>
                        <a:pt x="14" y="166"/>
                      </a:lnTo>
                      <a:lnTo>
                        <a:pt x="14" y="168"/>
                      </a:lnTo>
                      <a:lnTo>
                        <a:pt x="14" y="174"/>
                      </a:lnTo>
                      <a:lnTo>
                        <a:pt x="12" y="176"/>
                      </a:lnTo>
                      <a:lnTo>
                        <a:pt x="12" y="178"/>
                      </a:lnTo>
                      <a:lnTo>
                        <a:pt x="12" y="180"/>
                      </a:lnTo>
                      <a:lnTo>
                        <a:pt x="12" y="182"/>
                      </a:lnTo>
                      <a:lnTo>
                        <a:pt x="12" y="184"/>
                      </a:lnTo>
                      <a:lnTo>
                        <a:pt x="12" y="186"/>
                      </a:lnTo>
                      <a:lnTo>
                        <a:pt x="10" y="188"/>
                      </a:lnTo>
                      <a:lnTo>
                        <a:pt x="10" y="190"/>
                      </a:lnTo>
                      <a:lnTo>
                        <a:pt x="10" y="192"/>
                      </a:lnTo>
                      <a:lnTo>
                        <a:pt x="10" y="194"/>
                      </a:lnTo>
                      <a:lnTo>
                        <a:pt x="8" y="194"/>
                      </a:lnTo>
                      <a:lnTo>
                        <a:pt x="8" y="196"/>
                      </a:lnTo>
                      <a:lnTo>
                        <a:pt x="6" y="198"/>
                      </a:lnTo>
                      <a:lnTo>
                        <a:pt x="6" y="200"/>
                      </a:lnTo>
                      <a:lnTo>
                        <a:pt x="6" y="202"/>
                      </a:lnTo>
                      <a:lnTo>
                        <a:pt x="4" y="204"/>
                      </a:lnTo>
                      <a:lnTo>
                        <a:pt x="4" y="206"/>
                      </a:lnTo>
                      <a:lnTo>
                        <a:pt x="4" y="210"/>
                      </a:lnTo>
                      <a:lnTo>
                        <a:pt x="4" y="214"/>
                      </a:lnTo>
                      <a:lnTo>
                        <a:pt x="4" y="216"/>
                      </a:lnTo>
                      <a:lnTo>
                        <a:pt x="6" y="216"/>
                      </a:lnTo>
                      <a:lnTo>
                        <a:pt x="6" y="214"/>
                      </a:lnTo>
                      <a:lnTo>
                        <a:pt x="6" y="212"/>
                      </a:lnTo>
                      <a:lnTo>
                        <a:pt x="6" y="210"/>
                      </a:lnTo>
                      <a:lnTo>
                        <a:pt x="8" y="210"/>
                      </a:lnTo>
                      <a:lnTo>
                        <a:pt x="8" y="208"/>
                      </a:lnTo>
                      <a:lnTo>
                        <a:pt x="8" y="206"/>
                      </a:lnTo>
                      <a:lnTo>
                        <a:pt x="10" y="204"/>
                      </a:lnTo>
                      <a:lnTo>
                        <a:pt x="12" y="204"/>
                      </a:lnTo>
                      <a:lnTo>
                        <a:pt x="14" y="204"/>
                      </a:lnTo>
                      <a:lnTo>
                        <a:pt x="16" y="204"/>
                      </a:lnTo>
                      <a:lnTo>
                        <a:pt x="16" y="206"/>
                      </a:lnTo>
                      <a:lnTo>
                        <a:pt x="18" y="204"/>
                      </a:lnTo>
                      <a:lnTo>
                        <a:pt x="20" y="204"/>
                      </a:lnTo>
                      <a:lnTo>
                        <a:pt x="22" y="204"/>
                      </a:lnTo>
                      <a:lnTo>
                        <a:pt x="24" y="204"/>
                      </a:lnTo>
                      <a:lnTo>
                        <a:pt x="26" y="204"/>
                      </a:lnTo>
                      <a:lnTo>
                        <a:pt x="28" y="204"/>
                      </a:lnTo>
                      <a:lnTo>
                        <a:pt x="28" y="202"/>
                      </a:lnTo>
                      <a:lnTo>
                        <a:pt x="28" y="200"/>
                      </a:lnTo>
                      <a:lnTo>
                        <a:pt x="30" y="202"/>
                      </a:lnTo>
                      <a:lnTo>
                        <a:pt x="32" y="202"/>
                      </a:lnTo>
                      <a:lnTo>
                        <a:pt x="32" y="204"/>
                      </a:lnTo>
                      <a:lnTo>
                        <a:pt x="34" y="204"/>
                      </a:lnTo>
                      <a:lnTo>
                        <a:pt x="36" y="204"/>
                      </a:lnTo>
                      <a:lnTo>
                        <a:pt x="38" y="204"/>
                      </a:lnTo>
                      <a:lnTo>
                        <a:pt x="42" y="204"/>
                      </a:lnTo>
                      <a:lnTo>
                        <a:pt x="44" y="206"/>
                      </a:lnTo>
                      <a:lnTo>
                        <a:pt x="46" y="208"/>
                      </a:lnTo>
                      <a:lnTo>
                        <a:pt x="48" y="210"/>
                      </a:lnTo>
                      <a:lnTo>
                        <a:pt x="48" y="212"/>
                      </a:lnTo>
                      <a:lnTo>
                        <a:pt x="48" y="214"/>
                      </a:lnTo>
                      <a:lnTo>
                        <a:pt x="50" y="212"/>
                      </a:lnTo>
                      <a:lnTo>
                        <a:pt x="52" y="212"/>
                      </a:lnTo>
                      <a:lnTo>
                        <a:pt x="54" y="212"/>
                      </a:lnTo>
                      <a:lnTo>
                        <a:pt x="56" y="212"/>
                      </a:lnTo>
                      <a:lnTo>
                        <a:pt x="58" y="214"/>
                      </a:lnTo>
                      <a:lnTo>
                        <a:pt x="58" y="216"/>
                      </a:lnTo>
                      <a:lnTo>
                        <a:pt x="58" y="218"/>
                      </a:lnTo>
                      <a:lnTo>
                        <a:pt x="58" y="222"/>
                      </a:lnTo>
                      <a:lnTo>
                        <a:pt x="58" y="224"/>
                      </a:lnTo>
                      <a:lnTo>
                        <a:pt x="60" y="224"/>
                      </a:lnTo>
                      <a:lnTo>
                        <a:pt x="60" y="226"/>
                      </a:lnTo>
                      <a:lnTo>
                        <a:pt x="62" y="226"/>
                      </a:lnTo>
                      <a:lnTo>
                        <a:pt x="64" y="226"/>
                      </a:lnTo>
                      <a:lnTo>
                        <a:pt x="64" y="228"/>
                      </a:lnTo>
                      <a:lnTo>
                        <a:pt x="64" y="230"/>
                      </a:lnTo>
                      <a:lnTo>
                        <a:pt x="66" y="230"/>
                      </a:lnTo>
                      <a:lnTo>
                        <a:pt x="66" y="232"/>
                      </a:lnTo>
                      <a:lnTo>
                        <a:pt x="68" y="232"/>
                      </a:lnTo>
                      <a:lnTo>
                        <a:pt x="70" y="234"/>
                      </a:lnTo>
                      <a:lnTo>
                        <a:pt x="72" y="234"/>
                      </a:lnTo>
                      <a:lnTo>
                        <a:pt x="72" y="236"/>
                      </a:lnTo>
                      <a:lnTo>
                        <a:pt x="74" y="236"/>
                      </a:lnTo>
                      <a:lnTo>
                        <a:pt x="74" y="238"/>
                      </a:lnTo>
                      <a:lnTo>
                        <a:pt x="76" y="238"/>
                      </a:lnTo>
                      <a:lnTo>
                        <a:pt x="76" y="240"/>
                      </a:lnTo>
                      <a:lnTo>
                        <a:pt x="78" y="240"/>
                      </a:lnTo>
                      <a:lnTo>
                        <a:pt x="82" y="238"/>
                      </a:lnTo>
                      <a:lnTo>
                        <a:pt x="84" y="236"/>
                      </a:lnTo>
                      <a:lnTo>
                        <a:pt x="84" y="234"/>
                      </a:lnTo>
                      <a:lnTo>
                        <a:pt x="82" y="234"/>
                      </a:lnTo>
                      <a:lnTo>
                        <a:pt x="82" y="230"/>
                      </a:lnTo>
                      <a:lnTo>
                        <a:pt x="82" y="228"/>
                      </a:lnTo>
                      <a:lnTo>
                        <a:pt x="84" y="226"/>
                      </a:lnTo>
                      <a:lnTo>
                        <a:pt x="84" y="224"/>
                      </a:lnTo>
                      <a:lnTo>
                        <a:pt x="86" y="224"/>
                      </a:lnTo>
                      <a:lnTo>
                        <a:pt x="88" y="224"/>
                      </a:lnTo>
                      <a:lnTo>
                        <a:pt x="90" y="224"/>
                      </a:lnTo>
                      <a:lnTo>
                        <a:pt x="92" y="224"/>
                      </a:lnTo>
                      <a:lnTo>
                        <a:pt x="94" y="226"/>
                      </a:lnTo>
                      <a:lnTo>
                        <a:pt x="94" y="228"/>
                      </a:lnTo>
                      <a:lnTo>
                        <a:pt x="96" y="230"/>
                      </a:lnTo>
                      <a:lnTo>
                        <a:pt x="98" y="232"/>
                      </a:lnTo>
                      <a:lnTo>
                        <a:pt x="98" y="230"/>
                      </a:lnTo>
                      <a:lnTo>
                        <a:pt x="100" y="228"/>
                      </a:lnTo>
                      <a:lnTo>
                        <a:pt x="100" y="226"/>
                      </a:lnTo>
                      <a:lnTo>
                        <a:pt x="102" y="226"/>
                      </a:lnTo>
                      <a:lnTo>
                        <a:pt x="104" y="226"/>
                      </a:lnTo>
                      <a:lnTo>
                        <a:pt x="106" y="226"/>
                      </a:lnTo>
                      <a:lnTo>
                        <a:pt x="108" y="226"/>
                      </a:lnTo>
                      <a:lnTo>
                        <a:pt x="110" y="228"/>
                      </a:lnTo>
                      <a:lnTo>
                        <a:pt x="112" y="228"/>
                      </a:lnTo>
                      <a:lnTo>
                        <a:pt x="114" y="228"/>
                      </a:lnTo>
                      <a:lnTo>
                        <a:pt x="118" y="228"/>
                      </a:lnTo>
                      <a:lnTo>
                        <a:pt x="118" y="226"/>
                      </a:lnTo>
                      <a:lnTo>
                        <a:pt x="120" y="226"/>
                      </a:lnTo>
                      <a:lnTo>
                        <a:pt x="122" y="226"/>
                      </a:lnTo>
                      <a:lnTo>
                        <a:pt x="122" y="224"/>
                      </a:lnTo>
                      <a:lnTo>
                        <a:pt x="124" y="224"/>
                      </a:lnTo>
                      <a:lnTo>
                        <a:pt x="124" y="222"/>
                      </a:lnTo>
                      <a:lnTo>
                        <a:pt x="126" y="224"/>
                      </a:lnTo>
                      <a:lnTo>
                        <a:pt x="126" y="226"/>
                      </a:lnTo>
                      <a:lnTo>
                        <a:pt x="130" y="226"/>
                      </a:lnTo>
                      <a:lnTo>
                        <a:pt x="136" y="224"/>
                      </a:lnTo>
                      <a:lnTo>
                        <a:pt x="142" y="224"/>
                      </a:lnTo>
                      <a:lnTo>
                        <a:pt x="146" y="224"/>
                      </a:lnTo>
                      <a:lnTo>
                        <a:pt x="150" y="224"/>
                      </a:lnTo>
                      <a:lnTo>
                        <a:pt x="154" y="224"/>
                      </a:lnTo>
                      <a:lnTo>
                        <a:pt x="158" y="224"/>
                      </a:lnTo>
                      <a:lnTo>
                        <a:pt x="162" y="224"/>
                      </a:lnTo>
                      <a:lnTo>
                        <a:pt x="164" y="224"/>
                      </a:lnTo>
                      <a:lnTo>
                        <a:pt x="168" y="224"/>
                      </a:lnTo>
                      <a:lnTo>
                        <a:pt x="170" y="224"/>
                      </a:lnTo>
                      <a:lnTo>
                        <a:pt x="172" y="224"/>
                      </a:lnTo>
                      <a:lnTo>
                        <a:pt x="176" y="224"/>
                      </a:lnTo>
                      <a:lnTo>
                        <a:pt x="180" y="224"/>
                      </a:lnTo>
                      <a:lnTo>
                        <a:pt x="182" y="224"/>
                      </a:lnTo>
                      <a:lnTo>
                        <a:pt x="186" y="224"/>
                      </a:lnTo>
                      <a:lnTo>
                        <a:pt x="188" y="224"/>
                      </a:lnTo>
                      <a:lnTo>
                        <a:pt x="190" y="222"/>
                      </a:lnTo>
                      <a:lnTo>
                        <a:pt x="190" y="220"/>
                      </a:lnTo>
                      <a:lnTo>
                        <a:pt x="190" y="218"/>
                      </a:lnTo>
                      <a:lnTo>
                        <a:pt x="190" y="216"/>
                      </a:lnTo>
                      <a:lnTo>
                        <a:pt x="190" y="214"/>
                      </a:lnTo>
                      <a:lnTo>
                        <a:pt x="192" y="214"/>
                      </a:lnTo>
                      <a:lnTo>
                        <a:pt x="192" y="212"/>
                      </a:lnTo>
                      <a:lnTo>
                        <a:pt x="192" y="210"/>
                      </a:lnTo>
                      <a:lnTo>
                        <a:pt x="192" y="208"/>
                      </a:lnTo>
                      <a:lnTo>
                        <a:pt x="190" y="208"/>
                      </a:lnTo>
                      <a:lnTo>
                        <a:pt x="188" y="206"/>
                      </a:lnTo>
                      <a:lnTo>
                        <a:pt x="186" y="200"/>
                      </a:lnTo>
                      <a:lnTo>
                        <a:pt x="186" y="192"/>
                      </a:lnTo>
                      <a:lnTo>
                        <a:pt x="184" y="176"/>
                      </a:lnTo>
                      <a:lnTo>
                        <a:pt x="184" y="164"/>
                      </a:lnTo>
                      <a:lnTo>
                        <a:pt x="184" y="152"/>
                      </a:lnTo>
                      <a:lnTo>
                        <a:pt x="182" y="140"/>
                      </a:lnTo>
                      <a:lnTo>
                        <a:pt x="182" y="130"/>
                      </a:lnTo>
                      <a:lnTo>
                        <a:pt x="180" y="120"/>
                      </a:lnTo>
                      <a:lnTo>
                        <a:pt x="180" y="110"/>
                      </a:lnTo>
                      <a:lnTo>
                        <a:pt x="180" y="104"/>
                      </a:lnTo>
                      <a:lnTo>
                        <a:pt x="180" y="96"/>
                      </a:lnTo>
                      <a:lnTo>
                        <a:pt x="178" y="88"/>
                      </a:lnTo>
                      <a:lnTo>
                        <a:pt x="178" y="82"/>
                      </a:lnTo>
                      <a:lnTo>
                        <a:pt x="178" y="76"/>
                      </a:lnTo>
                      <a:lnTo>
                        <a:pt x="178" y="72"/>
                      </a:lnTo>
                      <a:lnTo>
                        <a:pt x="178" y="66"/>
                      </a:lnTo>
                      <a:lnTo>
                        <a:pt x="176" y="62"/>
                      </a:lnTo>
                      <a:lnTo>
                        <a:pt x="176" y="58"/>
                      </a:lnTo>
                      <a:lnTo>
                        <a:pt x="176" y="56"/>
                      </a:lnTo>
                      <a:lnTo>
                        <a:pt x="176" y="54"/>
                      </a:lnTo>
                      <a:lnTo>
                        <a:pt x="176" y="50"/>
                      </a:lnTo>
                      <a:lnTo>
                        <a:pt x="176" y="48"/>
                      </a:lnTo>
                      <a:lnTo>
                        <a:pt x="176" y="46"/>
                      </a:lnTo>
                      <a:lnTo>
                        <a:pt x="176" y="44"/>
                      </a:lnTo>
                      <a:lnTo>
                        <a:pt x="176" y="42"/>
                      </a:lnTo>
                      <a:lnTo>
                        <a:pt x="180" y="42"/>
                      </a:lnTo>
                      <a:lnTo>
                        <a:pt x="186" y="42"/>
                      </a:lnTo>
                      <a:lnTo>
                        <a:pt x="190" y="42"/>
                      </a:lnTo>
                      <a:lnTo>
                        <a:pt x="192" y="42"/>
                      </a:lnTo>
                      <a:lnTo>
                        <a:pt x="196" y="42"/>
                      </a:lnTo>
                      <a:lnTo>
                        <a:pt x="198" y="42"/>
                      </a:lnTo>
                      <a:lnTo>
                        <a:pt x="200" y="42"/>
                      </a:lnTo>
                      <a:lnTo>
                        <a:pt x="202" y="42"/>
                      </a:lnTo>
                      <a:lnTo>
                        <a:pt x="204" y="42"/>
                      </a:lnTo>
                      <a:lnTo>
                        <a:pt x="198" y="38"/>
                      </a:lnTo>
                      <a:lnTo>
                        <a:pt x="194" y="34"/>
                      </a:lnTo>
                      <a:lnTo>
                        <a:pt x="190" y="32"/>
                      </a:lnTo>
                      <a:lnTo>
                        <a:pt x="184" y="28"/>
                      </a:lnTo>
                      <a:lnTo>
                        <a:pt x="180" y="26"/>
                      </a:lnTo>
                      <a:lnTo>
                        <a:pt x="176" y="22"/>
                      </a:lnTo>
                      <a:lnTo>
                        <a:pt x="172" y="20"/>
                      </a:lnTo>
                      <a:lnTo>
                        <a:pt x="170" y="18"/>
                      </a:lnTo>
                      <a:lnTo>
                        <a:pt x="166" y="16"/>
                      </a:lnTo>
                      <a:lnTo>
                        <a:pt x="164" y="14"/>
                      </a:lnTo>
                      <a:lnTo>
                        <a:pt x="160" y="12"/>
                      </a:lnTo>
                      <a:lnTo>
                        <a:pt x="158" y="10"/>
                      </a:lnTo>
                      <a:lnTo>
                        <a:pt x="154" y="8"/>
                      </a:lnTo>
                      <a:lnTo>
                        <a:pt x="150" y="6"/>
                      </a:lnTo>
                      <a:lnTo>
                        <a:pt x="148" y="4"/>
                      </a:lnTo>
                      <a:lnTo>
                        <a:pt x="146" y="2"/>
                      </a:lnTo>
                      <a:lnTo>
                        <a:pt x="144" y="2"/>
                      </a:lnTo>
                      <a:lnTo>
                        <a:pt x="144" y="0"/>
                      </a:lnTo>
                      <a:lnTo>
                        <a:pt x="142" y="2"/>
                      </a:lnTo>
                      <a:lnTo>
                        <a:pt x="142" y="4"/>
                      </a:lnTo>
                      <a:lnTo>
                        <a:pt x="142" y="6"/>
                      </a:lnTo>
                      <a:lnTo>
                        <a:pt x="142" y="8"/>
                      </a:lnTo>
                      <a:lnTo>
                        <a:pt x="142" y="10"/>
                      </a:lnTo>
                      <a:lnTo>
                        <a:pt x="142" y="12"/>
                      </a:lnTo>
                      <a:lnTo>
                        <a:pt x="140" y="12"/>
                      </a:lnTo>
                      <a:lnTo>
                        <a:pt x="140" y="16"/>
                      </a:lnTo>
                      <a:lnTo>
                        <a:pt x="140" y="18"/>
                      </a:lnTo>
                      <a:lnTo>
                        <a:pt x="140" y="20"/>
                      </a:lnTo>
                      <a:lnTo>
                        <a:pt x="140" y="22"/>
                      </a:lnTo>
                      <a:lnTo>
                        <a:pt x="136" y="22"/>
                      </a:lnTo>
                      <a:lnTo>
                        <a:pt x="130" y="22"/>
                      </a:lnTo>
                      <a:lnTo>
                        <a:pt x="126" y="22"/>
                      </a:lnTo>
                      <a:lnTo>
                        <a:pt x="122" y="22"/>
                      </a:lnTo>
                      <a:lnTo>
                        <a:pt x="120" y="22"/>
                      </a:lnTo>
                      <a:lnTo>
                        <a:pt x="116" y="22"/>
                      </a:lnTo>
                      <a:lnTo>
                        <a:pt x="112" y="22"/>
                      </a:lnTo>
                      <a:lnTo>
                        <a:pt x="110" y="22"/>
                      </a:lnTo>
                      <a:lnTo>
                        <a:pt x="104" y="22"/>
                      </a:lnTo>
                      <a:lnTo>
                        <a:pt x="100" y="22"/>
                      </a:lnTo>
                      <a:lnTo>
                        <a:pt x="96" y="22"/>
                      </a:lnTo>
                      <a:lnTo>
                        <a:pt x="94" y="22"/>
                      </a:lnTo>
                      <a:lnTo>
                        <a:pt x="92" y="22"/>
                      </a:lnTo>
                      <a:lnTo>
                        <a:pt x="90" y="22"/>
                      </a:lnTo>
                      <a:lnTo>
                        <a:pt x="88" y="22"/>
                      </a:lnTo>
                      <a:lnTo>
                        <a:pt x="86" y="22"/>
                      </a:lnTo>
                      <a:lnTo>
                        <a:pt x="86" y="24"/>
                      </a:lnTo>
                      <a:lnTo>
                        <a:pt x="86" y="26"/>
                      </a:lnTo>
                      <a:lnTo>
                        <a:pt x="86" y="28"/>
                      </a:lnTo>
                      <a:lnTo>
                        <a:pt x="86" y="30"/>
                      </a:lnTo>
                      <a:lnTo>
                        <a:pt x="84" y="32"/>
                      </a:lnTo>
                      <a:lnTo>
                        <a:pt x="84" y="34"/>
                      </a:lnTo>
                      <a:lnTo>
                        <a:pt x="84" y="38"/>
                      </a:lnTo>
                      <a:lnTo>
                        <a:pt x="84" y="42"/>
                      </a:lnTo>
                      <a:lnTo>
                        <a:pt x="84" y="46"/>
                      </a:lnTo>
                      <a:lnTo>
                        <a:pt x="84" y="50"/>
                      </a:lnTo>
                      <a:lnTo>
                        <a:pt x="84" y="58"/>
                      </a:lnTo>
                      <a:lnTo>
                        <a:pt x="84" y="62"/>
                      </a:lnTo>
                      <a:lnTo>
                        <a:pt x="84" y="66"/>
                      </a:lnTo>
                      <a:lnTo>
                        <a:pt x="84" y="68"/>
                      </a:lnTo>
                      <a:lnTo>
                        <a:pt x="84" y="72"/>
                      </a:lnTo>
                      <a:lnTo>
                        <a:pt x="84" y="74"/>
                      </a:lnTo>
                      <a:lnTo>
                        <a:pt x="82" y="76"/>
                      </a:lnTo>
                      <a:lnTo>
                        <a:pt x="80" y="76"/>
                      </a:lnTo>
                      <a:lnTo>
                        <a:pt x="78" y="76"/>
                      </a:lnTo>
                      <a:lnTo>
                        <a:pt x="76" y="76"/>
                      </a:lnTo>
                      <a:lnTo>
                        <a:pt x="74" y="76"/>
                      </a:lnTo>
                      <a:lnTo>
                        <a:pt x="72" y="76"/>
                      </a:lnTo>
                      <a:lnTo>
                        <a:pt x="70" y="78"/>
                      </a:lnTo>
                      <a:lnTo>
                        <a:pt x="68" y="80"/>
                      </a:lnTo>
                      <a:lnTo>
                        <a:pt x="66" y="82"/>
                      </a:lnTo>
                      <a:lnTo>
                        <a:pt x="66" y="84"/>
                      </a:lnTo>
                      <a:lnTo>
                        <a:pt x="66" y="86"/>
                      </a:lnTo>
                      <a:lnTo>
                        <a:pt x="66" y="88"/>
                      </a:lnTo>
                      <a:lnTo>
                        <a:pt x="66" y="92"/>
                      </a:lnTo>
                      <a:lnTo>
                        <a:pt x="66" y="96"/>
                      </a:lnTo>
                      <a:lnTo>
                        <a:pt x="66" y="100"/>
                      </a:lnTo>
                      <a:lnTo>
                        <a:pt x="66" y="104"/>
                      </a:lnTo>
                      <a:lnTo>
                        <a:pt x="66" y="106"/>
                      </a:lnTo>
                      <a:lnTo>
                        <a:pt x="66" y="108"/>
                      </a:lnTo>
                      <a:lnTo>
                        <a:pt x="66" y="110"/>
                      </a:lnTo>
                      <a:lnTo>
                        <a:pt x="66" y="112"/>
                      </a:lnTo>
                      <a:lnTo>
                        <a:pt x="60" y="112"/>
                      </a:lnTo>
                      <a:lnTo>
                        <a:pt x="54" y="114"/>
                      </a:lnTo>
                      <a:lnTo>
                        <a:pt x="50" y="114"/>
                      </a:lnTo>
                      <a:lnTo>
                        <a:pt x="44" y="114"/>
                      </a:lnTo>
                      <a:lnTo>
                        <a:pt x="40" y="114"/>
                      </a:lnTo>
                      <a:lnTo>
                        <a:pt x="36" y="114"/>
                      </a:lnTo>
                      <a:lnTo>
                        <a:pt x="32" y="114"/>
                      </a:lnTo>
                      <a:lnTo>
                        <a:pt x="28" y="114"/>
                      </a:lnTo>
                      <a:lnTo>
                        <a:pt x="24" y="114"/>
                      </a:lnTo>
                      <a:lnTo>
                        <a:pt x="22" y="114"/>
                      </a:lnTo>
                      <a:lnTo>
                        <a:pt x="18" y="114"/>
                      </a:lnTo>
                      <a:lnTo>
                        <a:pt x="16" y="114"/>
                      </a:lnTo>
                      <a:lnTo>
                        <a:pt x="14" y="114"/>
                      </a:lnTo>
                      <a:lnTo>
                        <a:pt x="12" y="114"/>
                      </a:lnTo>
                      <a:lnTo>
                        <a:pt x="8" y="114"/>
                      </a:lnTo>
                      <a:lnTo>
                        <a:pt x="6" y="114"/>
                      </a:lnTo>
                      <a:lnTo>
                        <a:pt x="4" y="114"/>
                      </a:lnTo>
                      <a:lnTo>
                        <a:pt x="2" y="114"/>
                      </a:lnTo>
                      <a:lnTo>
                        <a:pt x="0" y="114"/>
                      </a:lnTo>
                      <a:lnTo>
                        <a:pt x="0" y="116"/>
                      </a:lnTo>
                      <a:lnTo>
                        <a:pt x="0" y="11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0" name="Freeform 86">
                  <a:extLst>
                    <a:ext uri="{FF2B5EF4-FFF2-40B4-BE49-F238E27FC236}">
                      <a16:creationId xmlns:a16="http://schemas.microsoft.com/office/drawing/2014/main" id="{26F1D0D4-F71D-408D-80AE-BCD0C08208C3}"/>
                    </a:ext>
                  </a:extLst>
                </p:cNvPr>
                <p:cNvSpPr>
                  <a:spLocks noChangeAspect="1"/>
                </p:cNvSpPr>
                <p:nvPr/>
              </p:nvSpPr>
              <p:spPr bwMode="auto">
                <a:xfrm>
                  <a:off x="4254833" y="3751581"/>
                  <a:ext cx="223633" cy="188348"/>
                </a:xfrm>
                <a:custGeom>
                  <a:avLst/>
                  <a:gdLst/>
                  <a:ahLst/>
                  <a:cxnLst>
                    <a:cxn ang="0">
                      <a:pos x="0" y="86"/>
                    </a:cxn>
                    <a:cxn ang="0">
                      <a:pos x="2" y="92"/>
                    </a:cxn>
                    <a:cxn ang="0">
                      <a:pos x="6" y="92"/>
                    </a:cxn>
                    <a:cxn ang="0">
                      <a:pos x="10" y="98"/>
                    </a:cxn>
                    <a:cxn ang="0">
                      <a:pos x="18" y="104"/>
                    </a:cxn>
                    <a:cxn ang="0">
                      <a:pos x="22" y="102"/>
                    </a:cxn>
                    <a:cxn ang="0">
                      <a:pos x="38" y="100"/>
                    </a:cxn>
                    <a:cxn ang="0">
                      <a:pos x="44" y="108"/>
                    </a:cxn>
                    <a:cxn ang="0">
                      <a:pos x="48" y="108"/>
                    </a:cxn>
                    <a:cxn ang="0">
                      <a:pos x="46" y="102"/>
                    </a:cxn>
                    <a:cxn ang="0">
                      <a:pos x="46" y="94"/>
                    </a:cxn>
                    <a:cxn ang="0">
                      <a:pos x="46" y="88"/>
                    </a:cxn>
                    <a:cxn ang="0">
                      <a:pos x="46" y="80"/>
                    </a:cxn>
                    <a:cxn ang="0">
                      <a:pos x="58" y="80"/>
                    </a:cxn>
                    <a:cxn ang="0">
                      <a:pos x="66" y="80"/>
                    </a:cxn>
                    <a:cxn ang="0">
                      <a:pos x="72" y="80"/>
                    </a:cxn>
                    <a:cxn ang="0">
                      <a:pos x="76" y="78"/>
                    </a:cxn>
                    <a:cxn ang="0">
                      <a:pos x="82" y="80"/>
                    </a:cxn>
                    <a:cxn ang="0">
                      <a:pos x="88" y="76"/>
                    </a:cxn>
                    <a:cxn ang="0">
                      <a:pos x="94" y="78"/>
                    </a:cxn>
                    <a:cxn ang="0">
                      <a:pos x="98" y="78"/>
                    </a:cxn>
                    <a:cxn ang="0">
                      <a:pos x="104" y="80"/>
                    </a:cxn>
                    <a:cxn ang="0">
                      <a:pos x="108" y="80"/>
                    </a:cxn>
                    <a:cxn ang="0">
                      <a:pos x="114" y="76"/>
                    </a:cxn>
                    <a:cxn ang="0">
                      <a:pos x="116" y="72"/>
                    </a:cxn>
                    <a:cxn ang="0">
                      <a:pos x="124" y="70"/>
                    </a:cxn>
                    <a:cxn ang="0">
                      <a:pos x="130" y="68"/>
                    </a:cxn>
                    <a:cxn ang="0">
                      <a:pos x="134" y="62"/>
                    </a:cxn>
                    <a:cxn ang="0">
                      <a:pos x="136" y="62"/>
                    </a:cxn>
                    <a:cxn ang="0">
                      <a:pos x="130" y="56"/>
                    </a:cxn>
                    <a:cxn ang="0">
                      <a:pos x="132" y="50"/>
                    </a:cxn>
                    <a:cxn ang="0">
                      <a:pos x="134" y="50"/>
                    </a:cxn>
                    <a:cxn ang="0">
                      <a:pos x="128" y="46"/>
                    </a:cxn>
                    <a:cxn ang="0">
                      <a:pos x="118" y="44"/>
                    </a:cxn>
                    <a:cxn ang="0">
                      <a:pos x="110" y="36"/>
                    </a:cxn>
                    <a:cxn ang="0">
                      <a:pos x="112" y="32"/>
                    </a:cxn>
                    <a:cxn ang="0">
                      <a:pos x="112" y="28"/>
                    </a:cxn>
                    <a:cxn ang="0">
                      <a:pos x="106" y="26"/>
                    </a:cxn>
                    <a:cxn ang="0">
                      <a:pos x="100" y="16"/>
                    </a:cxn>
                    <a:cxn ang="0">
                      <a:pos x="100" y="12"/>
                    </a:cxn>
                    <a:cxn ang="0">
                      <a:pos x="100" y="2"/>
                    </a:cxn>
                    <a:cxn ang="0">
                      <a:pos x="94" y="0"/>
                    </a:cxn>
                    <a:cxn ang="0">
                      <a:pos x="82" y="0"/>
                    </a:cxn>
                    <a:cxn ang="0">
                      <a:pos x="80" y="2"/>
                    </a:cxn>
                    <a:cxn ang="0">
                      <a:pos x="72" y="4"/>
                    </a:cxn>
                    <a:cxn ang="0">
                      <a:pos x="66" y="10"/>
                    </a:cxn>
                    <a:cxn ang="0">
                      <a:pos x="62" y="10"/>
                    </a:cxn>
                    <a:cxn ang="0">
                      <a:pos x="60" y="18"/>
                    </a:cxn>
                    <a:cxn ang="0">
                      <a:pos x="54" y="14"/>
                    </a:cxn>
                    <a:cxn ang="0">
                      <a:pos x="44" y="24"/>
                    </a:cxn>
                    <a:cxn ang="0">
                      <a:pos x="40" y="26"/>
                    </a:cxn>
                    <a:cxn ang="0">
                      <a:pos x="40" y="34"/>
                    </a:cxn>
                    <a:cxn ang="0">
                      <a:pos x="34" y="36"/>
                    </a:cxn>
                    <a:cxn ang="0">
                      <a:pos x="28" y="30"/>
                    </a:cxn>
                    <a:cxn ang="0">
                      <a:pos x="22" y="36"/>
                    </a:cxn>
                    <a:cxn ang="0">
                      <a:pos x="24" y="42"/>
                    </a:cxn>
                    <a:cxn ang="0">
                      <a:pos x="20" y="44"/>
                    </a:cxn>
                    <a:cxn ang="0">
                      <a:pos x="20" y="52"/>
                    </a:cxn>
                    <a:cxn ang="0">
                      <a:pos x="18" y="56"/>
                    </a:cxn>
                    <a:cxn ang="0">
                      <a:pos x="10" y="58"/>
                    </a:cxn>
                    <a:cxn ang="0">
                      <a:pos x="4" y="62"/>
                    </a:cxn>
                    <a:cxn ang="0">
                      <a:pos x="8" y="68"/>
                    </a:cxn>
                    <a:cxn ang="0">
                      <a:pos x="6" y="74"/>
                    </a:cxn>
                  </a:cxnLst>
                  <a:rect l="0" t="0" r="r" b="b"/>
                  <a:pathLst>
                    <a:path w="136" h="108">
                      <a:moveTo>
                        <a:pt x="0" y="74"/>
                      </a:moveTo>
                      <a:lnTo>
                        <a:pt x="0" y="78"/>
                      </a:lnTo>
                      <a:lnTo>
                        <a:pt x="0" y="80"/>
                      </a:lnTo>
                      <a:lnTo>
                        <a:pt x="0" y="82"/>
                      </a:lnTo>
                      <a:lnTo>
                        <a:pt x="0" y="84"/>
                      </a:lnTo>
                      <a:lnTo>
                        <a:pt x="0" y="86"/>
                      </a:lnTo>
                      <a:lnTo>
                        <a:pt x="2" y="88"/>
                      </a:lnTo>
                      <a:lnTo>
                        <a:pt x="2" y="90"/>
                      </a:lnTo>
                      <a:lnTo>
                        <a:pt x="2" y="92"/>
                      </a:lnTo>
                      <a:lnTo>
                        <a:pt x="4" y="92"/>
                      </a:lnTo>
                      <a:lnTo>
                        <a:pt x="6" y="92"/>
                      </a:lnTo>
                      <a:lnTo>
                        <a:pt x="8" y="92"/>
                      </a:lnTo>
                      <a:lnTo>
                        <a:pt x="8" y="94"/>
                      </a:lnTo>
                      <a:lnTo>
                        <a:pt x="8" y="96"/>
                      </a:lnTo>
                      <a:lnTo>
                        <a:pt x="10" y="98"/>
                      </a:lnTo>
                      <a:lnTo>
                        <a:pt x="10" y="100"/>
                      </a:lnTo>
                      <a:lnTo>
                        <a:pt x="10" y="102"/>
                      </a:lnTo>
                      <a:lnTo>
                        <a:pt x="12" y="102"/>
                      </a:lnTo>
                      <a:lnTo>
                        <a:pt x="12" y="104"/>
                      </a:lnTo>
                      <a:lnTo>
                        <a:pt x="14" y="104"/>
                      </a:lnTo>
                      <a:lnTo>
                        <a:pt x="16" y="104"/>
                      </a:lnTo>
                      <a:lnTo>
                        <a:pt x="18" y="104"/>
                      </a:lnTo>
                      <a:lnTo>
                        <a:pt x="20" y="104"/>
                      </a:lnTo>
                      <a:lnTo>
                        <a:pt x="20" y="106"/>
                      </a:lnTo>
                      <a:lnTo>
                        <a:pt x="22" y="104"/>
                      </a:lnTo>
                      <a:lnTo>
                        <a:pt x="22" y="102"/>
                      </a:lnTo>
                      <a:lnTo>
                        <a:pt x="24" y="102"/>
                      </a:lnTo>
                      <a:lnTo>
                        <a:pt x="26" y="100"/>
                      </a:lnTo>
                      <a:lnTo>
                        <a:pt x="30" y="98"/>
                      </a:lnTo>
                      <a:lnTo>
                        <a:pt x="32" y="98"/>
                      </a:lnTo>
                      <a:lnTo>
                        <a:pt x="36" y="98"/>
                      </a:lnTo>
                      <a:lnTo>
                        <a:pt x="38" y="98"/>
                      </a:lnTo>
                      <a:lnTo>
                        <a:pt x="38" y="100"/>
                      </a:lnTo>
                      <a:lnTo>
                        <a:pt x="40" y="100"/>
                      </a:lnTo>
                      <a:lnTo>
                        <a:pt x="42" y="100"/>
                      </a:lnTo>
                      <a:lnTo>
                        <a:pt x="42" y="102"/>
                      </a:lnTo>
                      <a:lnTo>
                        <a:pt x="44" y="104"/>
                      </a:lnTo>
                      <a:lnTo>
                        <a:pt x="44" y="106"/>
                      </a:lnTo>
                      <a:lnTo>
                        <a:pt x="44" y="108"/>
                      </a:lnTo>
                      <a:lnTo>
                        <a:pt x="46" y="108"/>
                      </a:lnTo>
                      <a:lnTo>
                        <a:pt x="48" y="108"/>
                      </a:lnTo>
                      <a:lnTo>
                        <a:pt x="48" y="106"/>
                      </a:lnTo>
                      <a:lnTo>
                        <a:pt x="48" y="104"/>
                      </a:lnTo>
                      <a:lnTo>
                        <a:pt x="46" y="102"/>
                      </a:lnTo>
                      <a:lnTo>
                        <a:pt x="46" y="100"/>
                      </a:lnTo>
                      <a:lnTo>
                        <a:pt x="46" y="98"/>
                      </a:lnTo>
                      <a:lnTo>
                        <a:pt x="46" y="96"/>
                      </a:lnTo>
                      <a:lnTo>
                        <a:pt x="46" y="94"/>
                      </a:lnTo>
                      <a:lnTo>
                        <a:pt x="46" y="92"/>
                      </a:lnTo>
                      <a:lnTo>
                        <a:pt x="46" y="90"/>
                      </a:lnTo>
                      <a:lnTo>
                        <a:pt x="46" y="88"/>
                      </a:lnTo>
                      <a:lnTo>
                        <a:pt x="46" y="86"/>
                      </a:lnTo>
                      <a:lnTo>
                        <a:pt x="44" y="86"/>
                      </a:lnTo>
                      <a:lnTo>
                        <a:pt x="44" y="84"/>
                      </a:lnTo>
                      <a:lnTo>
                        <a:pt x="44" y="82"/>
                      </a:lnTo>
                      <a:lnTo>
                        <a:pt x="46" y="80"/>
                      </a:lnTo>
                      <a:lnTo>
                        <a:pt x="48" y="78"/>
                      </a:lnTo>
                      <a:lnTo>
                        <a:pt x="50" y="78"/>
                      </a:lnTo>
                      <a:lnTo>
                        <a:pt x="54" y="78"/>
                      </a:lnTo>
                      <a:lnTo>
                        <a:pt x="56" y="80"/>
                      </a:lnTo>
                      <a:lnTo>
                        <a:pt x="58" y="80"/>
                      </a:lnTo>
                      <a:lnTo>
                        <a:pt x="60" y="80"/>
                      </a:lnTo>
                      <a:lnTo>
                        <a:pt x="62" y="80"/>
                      </a:lnTo>
                      <a:lnTo>
                        <a:pt x="64" y="80"/>
                      </a:lnTo>
                      <a:lnTo>
                        <a:pt x="66" y="80"/>
                      </a:lnTo>
                      <a:lnTo>
                        <a:pt x="68" y="78"/>
                      </a:lnTo>
                      <a:lnTo>
                        <a:pt x="70" y="78"/>
                      </a:lnTo>
                      <a:lnTo>
                        <a:pt x="72" y="80"/>
                      </a:lnTo>
                      <a:lnTo>
                        <a:pt x="74" y="80"/>
                      </a:lnTo>
                      <a:lnTo>
                        <a:pt x="76" y="78"/>
                      </a:lnTo>
                      <a:lnTo>
                        <a:pt x="78" y="78"/>
                      </a:lnTo>
                      <a:lnTo>
                        <a:pt x="80" y="78"/>
                      </a:lnTo>
                      <a:lnTo>
                        <a:pt x="82" y="80"/>
                      </a:lnTo>
                      <a:lnTo>
                        <a:pt x="84" y="80"/>
                      </a:lnTo>
                      <a:lnTo>
                        <a:pt x="86" y="78"/>
                      </a:lnTo>
                      <a:lnTo>
                        <a:pt x="88" y="78"/>
                      </a:lnTo>
                      <a:lnTo>
                        <a:pt x="88" y="76"/>
                      </a:lnTo>
                      <a:lnTo>
                        <a:pt x="90" y="76"/>
                      </a:lnTo>
                      <a:lnTo>
                        <a:pt x="92" y="76"/>
                      </a:lnTo>
                      <a:lnTo>
                        <a:pt x="94" y="78"/>
                      </a:lnTo>
                      <a:lnTo>
                        <a:pt x="96" y="78"/>
                      </a:lnTo>
                      <a:lnTo>
                        <a:pt x="98" y="78"/>
                      </a:lnTo>
                      <a:lnTo>
                        <a:pt x="100" y="78"/>
                      </a:lnTo>
                      <a:lnTo>
                        <a:pt x="102" y="78"/>
                      </a:lnTo>
                      <a:lnTo>
                        <a:pt x="104" y="80"/>
                      </a:lnTo>
                      <a:lnTo>
                        <a:pt x="106" y="80"/>
                      </a:lnTo>
                      <a:lnTo>
                        <a:pt x="108" y="80"/>
                      </a:lnTo>
                      <a:lnTo>
                        <a:pt x="110" y="78"/>
                      </a:lnTo>
                      <a:lnTo>
                        <a:pt x="110" y="76"/>
                      </a:lnTo>
                      <a:lnTo>
                        <a:pt x="112" y="76"/>
                      </a:lnTo>
                      <a:lnTo>
                        <a:pt x="114" y="76"/>
                      </a:lnTo>
                      <a:lnTo>
                        <a:pt x="114" y="74"/>
                      </a:lnTo>
                      <a:lnTo>
                        <a:pt x="116" y="72"/>
                      </a:lnTo>
                      <a:lnTo>
                        <a:pt x="118" y="70"/>
                      </a:lnTo>
                      <a:lnTo>
                        <a:pt x="120" y="70"/>
                      </a:lnTo>
                      <a:lnTo>
                        <a:pt x="122" y="70"/>
                      </a:lnTo>
                      <a:lnTo>
                        <a:pt x="124" y="70"/>
                      </a:lnTo>
                      <a:lnTo>
                        <a:pt x="126" y="70"/>
                      </a:lnTo>
                      <a:lnTo>
                        <a:pt x="128" y="70"/>
                      </a:lnTo>
                      <a:lnTo>
                        <a:pt x="128" y="68"/>
                      </a:lnTo>
                      <a:lnTo>
                        <a:pt x="130" y="68"/>
                      </a:lnTo>
                      <a:lnTo>
                        <a:pt x="130" y="66"/>
                      </a:lnTo>
                      <a:lnTo>
                        <a:pt x="132" y="66"/>
                      </a:lnTo>
                      <a:lnTo>
                        <a:pt x="134" y="66"/>
                      </a:lnTo>
                      <a:lnTo>
                        <a:pt x="134" y="64"/>
                      </a:lnTo>
                      <a:lnTo>
                        <a:pt x="134" y="62"/>
                      </a:lnTo>
                      <a:lnTo>
                        <a:pt x="136" y="62"/>
                      </a:lnTo>
                      <a:lnTo>
                        <a:pt x="136" y="60"/>
                      </a:lnTo>
                      <a:lnTo>
                        <a:pt x="134" y="60"/>
                      </a:lnTo>
                      <a:lnTo>
                        <a:pt x="132" y="58"/>
                      </a:lnTo>
                      <a:lnTo>
                        <a:pt x="130" y="56"/>
                      </a:lnTo>
                      <a:lnTo>
                        <a:pt x="130" y="54"/>
                      </a:lnTo>
                      <a:lnTo>
                        <a:pt x="130" y="52"/>
                      </a:lnTo>
                      <a:lnTo>
                        <a:pt x="132" y="50"/>
                      </a:lnTo>
                      <a:lnTo>
                        <a:pt x="134" y="50"/>
                      </a:lnTo>
                      <a:lnTo>
                        <a:pt x="134" y="48"/>
                      </a:lnTo>
                      <a:lnTo>
                        <a:pt x="132" y="46"/>
                      </a:lnTo>
                      <a:lnTo>
                        <a:pt x="130" y="44"/>
                      </a:lnTo>
                      <a:lnTo>
                        <a:pt x="128" y="44"/>
                      </a:lnTo>
                      <a:lnTo>
                        <a:pt x="128" y="46"/>
                      </a:lnTo>
                      <a:lnTo>
                        <a:pt x="126" y="46"/>
                      </a:lnTo>
                      <a:lnTo>
                        <a:pt x="124" y="46"/>
                      </a:lnTo>
                      <a:lnTo>
                        <a:pt x="122" y="46"/>
                      </a:lnTo>
                      <a:lnTo>
                        <a:pt x="120" y="46"/>
                      </a:lnTo>
                      <a:lnTo>
                        <a:pt x="118" y="44"/>
                      </a:lnTo>
                      <a:lnTo>
                        <a:pt x="116" y="42"/>
                      </a:lnTo>
                      <a:lnTo>
                        <a:pt x="114" y="40"/>
                      </a:lnTo>
                      <a:lnTo>
                        <a:pt x="112" y="38"/>
                      </a:lnTo>
                      <a:lnTo>
                        <a:pt x="110" y="38"/>
                      </a:lnTo>
                      <a:lnTo>
                        <a:pt x="110" y="36"/>
                      </a:lnTo>
                      <a:lnTo>
                        <a:pt x="112" y="34"/>
                      </a:lnTo>
                      <a:lnTo>
                        <a:pt x="114" y="32"/>
                      </a:lnTo>
                      <a:lnTo>
                        <a:pt x="116" y="32"/>
                      </a:lnTo>
                      <a:lnTo>
                        <a:pt x="114" y="32"/>
                      </a:lnTo>
                      <a:lnTo>
                        <a:pt x="112" y="32"/>
                      </a:lnTo>
                      <a:lnTo>
                        <a:pt x="112" y="30"/>
                      </a:lnTo>
                      <a:lnTo>
                        <a:pt x="112" y="28"/>
                      </a:lnTo>
                      <a:lnTo>
                        <a:pt x="110" y="28"/>
                      </a:lnTo>
                      <a:lnTo>
                        <a:pt x="108" y="28"/>
                      </a:lnTo>
                      <a:lnTo>
                        <a:pt x="106" y="26"/>
                      </a:lnTo>
                      <a:lnTo>
                        <a:pt x="104" y="26"/>
                      </a:lnTo>
                      <a:lnTo>
                        <a:pt x="102" y="24"/>
                      </a:lnTo>
                      <a:lnTo>
                        <a:pt x="102" y="22"/>
                      </a:lnTo>
                      <a:lnTo>
                        <a:pt x="102" y="20"/>
                      </a:lnTo>
                      <a:lnTo>
                        <a:pt x="100" y="18"/>
                      </a:lnTo>
                      <a:lnTo>
                        <a:pt x="100" y="16"/>
                      </a:lnTo>
                      <a:lnTo>
                        <a:pt x="100" y="14"/>
                      </a:lnTo>
                      <a:lnTo>
                        <a:pt x="100" y="12"/>
                      </a:lnTo>
                      <a:lnTo>
                        <a:pt x="100" y="8"/>
                      </a:lnTo>
                      <a:lnTo>
                        <a:pt x="100" y="6"/>
                      </a:lnTo>
                      <a:lnTo>
                        <a:pt x="100" y="4"/>
                      </a:lnTo>
                      <a:lnTo>
                        <a:pt x="100" y="2"/>
                      </a:lnTo>
                      <a:lnTo>
                        <a:pt x="98" y="2"/>
                      </a:lnTo>
                      <a:lnTo>
                        <a:pt x="96" y="2"/>
                      </a:lnTo>
                      <a:lnTo>
                        <a:pt x="94" y="0"/>
                      </a:lnTo>
                      <a:lnTo>
                        <a:pt x="90" y="0"/>
                      </a:lnTo>
                      <a:lnTo>
                        <a:pt x="88" y="0"/>
                      </a:lnTo>
                      <a:lnTo>
                        <a:pt x="86" y="0"/>
                      </a:lnTo>
                      <a:lnTo>
                        <a:pt x="84" y="0"/>
                      </a:lnTo>
                      <a:lnTo>
                        <a:pt x="82" y="0"/>
                      </a:lnTo>
                      <a:lnTo>
                        <a:pt x="80" y="2"/>
                      </a:lnTo>
                      <a:lnTo>
                        <a:pt x="78" y="4"/>
                      </a:lnTo>
                      <a:lnTo>
                        <a:pt x="74" y="4"/>
                      </a:lnTo>
                      <a:lnTo>
                        <a:pt x="72" y="4"/>
                      </a:lnTo>
                      <a:lnTo>
                        <a:pt x="70" y="6"/>
                      </a:lnTo>
                      <a:lnTo>
                        <a:pt x="70" y="8"/>
                      </a:lnTo>
                      <a:lnTo>
                        <a:pt x="68" y="8"/>
                      </a:lnTo>
                      <a:lnTo>
                        <a:pt x="68" y="10"/>
                      </a:lnTo>
                      <a:lnTo>
                        <a:pt x="66" y="10"/>
                      </a:lnTo>
                      <a:lnTo>
                        <a:pt x="64" y="10"/>
                      </a:lnTo>
                      <a:lnTo>
                        <a:pt x="62" y="10"/>
                      </a:lnTo>
                      <a:lnTo>
                        <a:pt x="62" y="12"/>
                      </a:lnTo>
                      <a:lnTo>
                        <a:pt x="62" y="14"/>
                      </a:lnTo>
                      <a:lnTo>
                        <a:pt x="60" y="14"/>
                      </a:lnTo>
                      <a:lnTo>
                        <a:pt x="60" y="16"/>
                      </a:lnTo>
                      <a:lnTo>
                        <a:pt x="60" y="18"/>
                      </a:lnTo>
                      <a:lnTo>
                        <a:pt x="58" y="16"/>
                      </a:lnTo>
                      <a:lnTo>
                        <a:pt x="56" y="14"/>
                      </a:lnTo>
                      <a:lnTo>
                        <a:pt x="54" y="14"/>
                      </a:lnTo>
                      <a:lnTo>
                        <a:pt x="52" y="14"/>
                      </a:lnTo>
                      <a:lnTo>
                        <a:pt x="50" y="16"/>
                      </a:lnTo>
                      <a:lnTo>
                        <a:pt x="50" y="18"/>
                      </a:lnTo>
                      <a:lnTo>
                        <a:pt x="48" y="20"/>
                      </a:lnTo>
                      <a:lnTo>
                        <a:pt x="46" y="22"/>
                      </a:lnTo>
                      <a:lnTo>
                        <a:pt x="46" y="24"/>
                      </a:lnTo>
                      <a:lnTo>
                        <a:pt x="44" y="24"/>
                      </a:lnTo>
                      <a:lnTo>
                        <a:pt x="44" y="26"/>
                      </a:lnTo>
                      <a:lnTo>
                        <a:pt x="42" y="26"/>
                      </a:lnTo>
                      <a:lnTo>
                        <a:pt x="40" y="26"/>
                      </a:lnTo>
                      <a:lnTo>
                        <a:pt x="40" y="28"/>
                      </a:lnTo>
                      <a:lnTo>
                        <a:pt x="40" y="30"/>
                      </a:lnTo>
                      <a:lnTo>
                        <a:pt x="40" y="32"/>
                      </a:lnTo>
                      <a:lnTo>
                        <a:pt x="40" y="34"/>
                      </a:lnTo>
                      <a:lnTo>
                        <a:pt x="38" y="36"/>
                      </a:lnTo>
                      <a:lnTo>
                        <a:pt x="36" y="36"/>
                      </a:lnTo>
                      <a:lnTo>
                        <a:pt x="34" y="36"/>
                      </a:lnTo>
                      <a:lnTo>
                        <a:pt x="32" y="34"/>
                      </a:lnTo>
                      <a:lnTo>
                        <a:pt x="30" y="32"/>
                      </a:lnTo>
                      <a:lnTo>
                        <a:pt x="30" y="30"/>
                      </a:lnTo>
                      <a:lnTo>
                        <a:pt x="28" y="30"/>
                      </a:lnTo>
                      <a:lnTo>
                        <a:pt x="26" y="32"/>
                      </a:lnTo>
                      <a:lnTo>
                        <a:pt x="24" y="34"/>
                      </a:lnTo>
                      <a:lnTo>
                        <a:pt x="24" y="36"/>
                      </a:lnTo>
                      <a:lnTo>
                        <a:pt x="22" y="36"/>
                      </a:lnTo>
                      <a:lnTo>
                        <a:pt x="22" y="38"/>
                      </a:lnTo>
                      <a:lnTo>
                        <a:pt x="24" y="38"/>
                      </a:lnTo>
                      <a:lnTo>
                        <a:pt x="24" y="40"/>
                      </a:lnTo>
                      <a:lnTo>
                        <a:pt x="24" y="42"/>
                      </a:lnTo>
                      <a:lnTo>
                        <a:pt x="24" y="44"/>
                      </a:lnTo>
                      <a:lnTo>
                        <a:pt x="22" y="44"/>
                      </a:lnTo>
                      <a:lnTo>
                        <a:pt x="20" y="44"/>
                      </a:lnTo>
                      <a:lnTo>
                        <a:pt x="20" y="46"/>
                      </a:lnTo>
                      <a:lnTo>
                        <a:pt x="20" y="48"/>
                      </a:lnTo>
                      <a:lnTo>
                        <a:pt x="20" y="50"/>
                      </a:lnTo>
                      <a:lnTo>
                        <a:pt x="20" y="52"/>
                      </a:lnTo>
                      <a:lnTo>
                        <a:pt x="18" y="54"/>
                      </a:lnTo>
                      <a:lnTo>
                        <a:pt x="16" y="54"/>
                      </a:lnTo>
                      <a:lnTo>
                        <a:pt x="18" y="54"/>
                      </a:lnTo>
                      <a:lnTo>
                        <a:pt x="18" y="56"/>
                      </a:lnTo>
                      <a:lnTo>
                        <a:pt x="18" y="58"/>
                      </a:lnTo>
                      <a:lnTo>
                        <a:pt x="16" y="58"/>
                      </a:lnTo>
                      <a:lnTo>
                        <a:pt x="14" y="58"/>
                      </a:lnTo>
                      <a:lnTo>
                        <a:pt x="10" y="58"/>
                      </a:lnTo>
                      <a:lnTo>
                        <a:pt x="8" y="60"/>
                      </a:lnTo>
                      <a:lnTo>
                        <a:pt x="6" y="60"/>
                      </a:lnTo>
                      <a:lnTo>
                        <a:pt x="4" y="62"/>
                      </a:lnTo>
                      <a:lnTo>
                        <a:pt x="2" y="62"/>
                      </a:lnTo>
                      <a:lnTo>
                        <a:pt x="4" y="64"/>
                      </a:lnTo>
                      <a:lnTo>
                        <a:pt x="6" y="66"/>
                      </a:lnTo>
                      <a:lnTo>
                        <a:pt x="8" y="68"/>
                      </a:lnTo>
                      <a:lnTo>
                        <a:pt x="8" y="70"/>
                      </a:lnTo>
                      <a:lnTo>
                        <a:pt x="8" y="72"/>
                      </a:lnTo>
                      <a:lnTo>
                        <a:pt x="6" y="72"/>
                      </a:lnTo>
                      <a:lnTo>
                        <a:pt x="6" y="74"/>
                      </a:lnTo>
                      <a:lnTo>
                        <a:pt x="0" y="7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1" name="Freeform 87">
                  <a:extLst>
                    <a:ext uri="{FF2B5EF4-FFF2-40B4-BE49-F238E27FC236}">
                      <a16:creationId xmlns:a16="http://schemas.microsoft.com/office/drawing/2014/main" id="{F6901B05-D91A-4F8B-8D71-18002A7290D8}"/>
                    </a:ext>
                  </a:extLst>
                </p:cNvPr>
                <p:cNvSpPr>
                  <a:spLocks noChangeAspect="1"/>
                </p:cNvSpPr>
                <p:nvPr/>
              </p:nvSpPr>
              <p:spPr bwMode="auto">
                <a:xfrm>
                  <a:off x="4169326" y="3894586"/>
                  <a:ext cx="171014" cy="216252"/>
                </a:xfrm>
                <a:custGeom>
                  <a:avLst/>
                  <a:gdLst/>
                  <a:ahLst/>
                  <a:cxnLst>
                    <a:cxn ang="0">
                      <a:pos x="92" y="90"/>
                    </a:cxn>
                    <a:cxn ang="0">
                      <a:pos x="92" y="74"/>
                    </a:cxn>
                    <a:cxn ang="0">
                      <a:pos x="98" y="66"/>
                    </a:cxn>
                    <a:cxn ang="0">
                      <a:pos x="98" y="54"/>
                    </a:cxn>
                    <a:cxn ang="0">
                      <a:pos x="104" y="46"/>
                    </a:cxn>
                    <a:cxn ang="0">
                      <a:pos x="100" y="30"/>
                    </a:cxn>
                    <a:cxn ang="0">
                      <a:pos x="102" y="28"/>
                    </a:cxn>
                    <a:cxn ang="0">
                      <a:pos x="100" y="24"/>
                    </a:cxn>
                    <a:cxn ang="0">
                      <a:pos x="96" y="24"/>
                    </a:cxn>
                    <a:cxn ang="0">
                      <a:pos x="90" y="16"/>
                    </a:cxn>
                    <a:cxn ang="0">
                      <a:pos x="74" y="20"/>
                    </a:cxn>
                    <a:cxn ang="0">
                      <a:pos x="68" y="20"/>
                    </a:cxn>
                    <a:cxn ang="0">
                      <a:pos x="60" y="12"/>
                    </a:cxn>
                    <a:cxn ang="0">
                      <a:pos x="56" y="10"/>
                    </a:cxn>
                    <a:cxn ang="0">
                      <a:pos x="54" y="6"/>
                    </a:cxn>
                    <a:cxn ang="0">
                      <a:pos x="48" y="8"/>
                    </a:cxn>
                    <a:cxn ang="0">
                      <a:pos x="42" y="8"/>
                    </a:cxn>
                    <a:cxn ang="0">
                      <a:pos x="40" y="2"/>
                    </a:cxn>
                    <a:cxn ang="0">
                      <a:pos x="38" y="4"/>
                    </a:cxn>
                    <a:cxn ang="0">
                      <a:pos x="36" y="2"/>
                    </a:cxn>
                    <a:cxn ang="0">
                      <a:pos x="34" y="6"/>
                    </a:cxn>
                    <a:cxn ang="0">
                      <a:pos x="30" y="8"/>
                    </a:cxn>
                    <a:cxn ang="0">
                      <a:pos x="28" y="12"/>
                    </a:cxn>
                    <a:cxn ang="0">
                      <a:pos x="20" y="6"/>
                    </a:cxn>
                    <a:cxn ang="0">
                      <a:pos x="16" y="10"/>
                    </a:cxn>
                    <a:cxn ang="0">
                      <a:pos x="10" y="12"/>
                    </a:cxn>
                    <a:cxn ang="0">
                      <a:pos x="10" y="22"/>
                    </a:cxn>
                    <a:cxn ang="0">
                      <a:pos x="14" y="26"/>
                    </a:cxn>
                    <a:cxn ang="0">
                      <a:pos x="12" y="28"/>
                    </a:cxn>
                    <a:cxn ang="0">
                      <a:pos x="16" y="30"/>
                    </a:cxn>
                    <a:cxn ang="0">
                      <a:pos x="12" y="38"/>
                    </a:cxn>
                    <a:cxn ang="0">
                      <a:pos x="18" y="42"/>
                    </a:cxn>
                    <a:cxn ang="0">
                      <a:pos x="16" y="46"/>
                    </a:cxn>
                    <a:cxn ang="0">
                      <a:pos x="6" y="44"/>
                    </a:cxn>
                    <a:cxn ang="0">
                      <a:pos x="14" y="52"/>
                    </a:cxn>
                    <a:cxn ang="0">
                      <a:pos x="10" y="54"/>
                    </a:cxn>
                    <a:cxn ang="0">
                      <a:pos x="10" y="60"/>
                    </a:cxn>
                    <a:cxn ang="0">
                      <a:pos x="2" y="62"/>
                    </a:cxn>
                    <a:cxn ang="0">
                      <a:pos x="4" y="76"/>
                    </a:cxn>
                    <a:cxn ang="0">
                      <a:pos x="0" y="82"/>
                    </a:cxn>
                    <a:cxn ang="0">
                      <a:pos x="4" y="86"/>
                    </a:cxn>
                    <a:cxn ang="0">
                      <a:pos x="12" y="86"/>
                    </a:cxn>
                    <a:cxn ang="0">
                      <a:pos x="14" y="90"/>
                    </a:cxn>
                    <a:cxn ang="0">
                      <a:pos x="18" y="96"/>
                    </a:cxn>
                    <a:cxn ang="0">
                      <a:pos x="20" y="110"/>
                    </a:cxn>
                    <a:cxn ang="0">
                      <a:pos x="18" y="122"/>
                    </a:cxn>
                    <a:cxn ang="0">
                      <a:pos x="22" y="122"/>
                    </a:cxn>
                    <a:cxn ang="0">
                      <a:pos x="26" y="120"/>
                    </a:cxn>
                    <a:cxn ang="0">
                      <a:pos x="30" y="116"/>
                    </a:cxn>
                    <a:cxn ang="0">
                      <a:pos x="38" y="112"/>
                    </a:cxn>
                    <a:cxn ang="0">
                      <a:pos x="60" y="108"/>
                    </a:cxn>
                    <a:cxn ang="0">
                      <a:pos x="64" y="106"/>
                    </a:cxn>
                    <a:cxn ang="0">
                      <a:pos x="78" y="104"/>
                    </a:cxn>
                    <a:cxn ang="0">
                      <a:pos x="86" y="106"/>
                    </a:cxn>
                    <a:cxn ang="0">
                      <a:pos x="92" y="104"/>
                    </a:cxn>
                    <a:cxn ang="0">
                      <a:pos x="100" y="112"/>
                    </a:cxn>
                    <a:cxn ang="0">
                      <a:pos x="102" y="100"/>
                    </a:cxn>
                    <a:cxn ang="0">
                      <a:pos x="94" y="98"/>
                    </a:cxn>
                  </a:cxnLst>
                  <a:rect l="0" t="0" r="r" b="b"/>
                  <a:pathLst>
                    <a:path w="104" h="124">
                      <a:moveTo>
                        <a:pt x="94" y="98"/>
                      </a:moveTo>
                      <a:lnTo>
                        <a:pt x="94" y="98"/>
                      </a:lnTo>
                      <a:lnTo>
                        <a:pt x="94" y="96"/>
                      </a:lnTo>
                      <a:lnTo>
                        <a:pt x="94" y="92"/>
                      </a:lnTo>
                      <a:lnTo>
                        <a:pt x="92" y="90"/>
                      </a:lnTo>
                      <a:lnTo>
                        <a:pt x="92" y="86"/>
                      </a:lnTo>
                      <a:lnTo>
                        <a:pt x="90" y="84"/>
                      </a:lnTo>
                      <a:lnTo>
                        <a:pt x="90" y="80"/>
                      </a:lnTo>
                      <a:lnTo>
                        <a:pt x="90" y="78"/>
                      </a:lnTo>
                      <a:lnTo>
                        <a:pt x="90" y="76"/>
                      </a:lnTo>
                      <a:lnTo>
                        <a:pt x="92" y="74"/>
                      </a:lnTo>
                      <a:lnTo>
                        <a:pt x="94" y="72"/>
                      </a:lnTo>
                      <a:lnTo>
                        <a:pt x="96" y="70"/>
                      </a:lnTo>
                      <a:lnTo>
                        <a:pt x="96" y="68"/>
                      </a:lnTo>
                      <a:lnTo>
                        <a:pt x="98" y="68"/>
                      </a:lnTo>
                      <a:lnTo>
                        <a:pt x="98" y="66"/>
                      </a:lnTo>
                      <a:lnTo>
                        <a:pt x="98" y="64"/>
                      </a:lnTo>
                      <a:lnTo>
                        <a:pt x="98" y="60"/>
                      </a:lnTo>
                      <a:lnTo>
                        <a:pt x="98" y="58"/>
                      </a:lnTo>
                      <a:lnTo>
                        <a:pt x="98" y="56"/>
                      </a:lnTo>
                      <a:lnTo>
                        <a:pt x="98" y="54"/>
                      </a:lnTo>
                      <a:lnTo>
                        <a:pt x="100" y="54"/>
                      </a:lnTo>
                      <a:lnTo>
                        <a:pt x="100" y="52"/>
                      </a:lnTo>
                      <a:lnTo>
                        <a:pt x="102" y="50"/>
                      </a:lnTo>
                      <a:lnTo>
                        <a:pt x="104" y="50"/>
                      </a:lnTo>
                      <a:lnTo>
                        <a:pt x="104" y="48"/>
                      </a:lnTo>
                      <a:lnTo>
                        <a:pt x="104" y="46"/>
                      </a:lnTo>
                      <a:lnTo>
                        <a:pt x="104" y="42"/>
                      </a:lnTo>
                      <a:lnTo>
                        <a:pt x="102" y="40"/>
                      </a:lnTo>
                      <a:lnTo>
                        <a:pt x="102" y="38"/>
                      </a:lnTo>
                      <a:lnTo>
                        <a:pt x="100" y="34"/>
                      </a:lnTo>
                      <a:lnTo>
                        <a:pt x="100" y="32"/>
                      </a:lnTo>
                      <a:lnTo>
                        <a:pt x="100" y="30"/>
                      </a:lnTo>
                      <a:lnTo>
                        <a:pt x="102" y="30"/>
                      </a:lnTo>
                      <a:lnTo>
                        <a:pt x="102" y="28"/>
                      </a:lnTo>
                      <a:lnTo>
                        <a:pt x="102" y="26"/>
                      </a:lnTo>
                      <a:lnTo>
                        <a:pt x="102" y="24"/>
                      </a:lnTo>
                      <a:lnTo>
                        <a:pt x="100" y="24"/>
                      </a:lnTo>
                      <a:lnTo>
                        <a:pt x="98" y="24"/>
                      </a:lnTo>
                      <a:lnTo>
                        <a:pt x="96" y="24"/>
                      </a:lnTo>
                      <a:lnTo>
                        <a:pt x="96" y="22"/>
                      </a:lnTo>
                      <a:lnTo>
                        <a:pt x="96" y="20"/>
                      </a:lnTo>
                      <a:lnTo>
                        <a:pt x="96" y="18"/>
                      </a:lnTo>
                      <a:lnTo>
                        <a:pt x="94" y="18"/>
                      </a:lnTo>
                      <a:lnTo>
                        <a:pt x="92" y="16"/>
                      </a:lnTo>
                      <a:lnTo>
                        <a:pt x="90" y="16"/>
                      </a:lnTo>
                      <a:lnTo>
                        <a:pt x="88" y="16"/>
                      </a:lnTo>
                      <a:lnTo>
                        <a:pt x="84" y="16"/>
                      </a:lnTo>
                      <a:lnTo>
                        <a:pt x="82" y="16"/>
                      </a:lnTo>
                      <a:lnTo>
                        <a:pt x="78" y="16"/>
                      </a:lnTo>
                      <a:lnTo>
                        <a:pt x="76" y="18"/>
                      </a:lnTo>
                      <a:lnTo>
                        <a:pt x="76" y="20"/>
                      </a:lnTo>
                      <a:lnTo>
                        <a:pt x="74" y="20"/>
                      </a:lnTo>
                      <a:lnTo>
                        <a:pt x="74" y="22"/>
                      </a:lnTo>
                      <a:lnTo>
                        <a:pt x="72" y="22"/>
                      </a:lnTo>
                      <a:lnTo>
                        <a:pt x="68" y="20"/>
                      </a:lnTo>
                      <a:lnTo>
                        <a:pt x="66" y="20"/>
                      </a:lnTo>
                      <a:lnTo>
                        <a:pt x="64" y="20"/>
                      </a:lnTo>
                      <a:lnTo>
                        <a:pt x="64" y="18"/>
                      </a:lnTo>
                      <a:lnTo>
                        <a:pt x="62" y="16"/>
                      </a:lnTo>
                      <a:lnTo>
                        <a:pt x="62" y="14"/>
                      </a:lnTo>
                      <a:lnTo>
                        <a:pt x="60" y="12"/>
                      </a:lnTo>
                      <a:lnTo>
                        <a:pt x="60" y="10"/>
                      </a:lnTo>
                      <a:lnTo>
                        <a:pt x="60" y="8"/>
                      </a:lnTo>
                      <a:lnTo>
                        <a:pt x="58" y="8"/>
                      </a:lnTo>
                      <a:lnTo>
                        <a:pt x="56" y="10"/>
                      </a:lnTo>
                      <a:lnTo>
                        <a:pt x="54" y="10"/>
                      </a:lnTo>
                      <a:lnTo>
                        <a:pt x="54" y="8"/>
                      </a:lnTo>
                      <a:lnTo>
                        <a:pt x="54" y="6"/>
                      </a:lnTo>
                      <a:lnTo>
                        <a:pt x="54" y="4"/>
                      </a:lnTo>
                      <a:lnTo>
                        <a:pt x="52" y="4"/>
                      </a:lnTo>
                      <a:lnTo>
                        <a:pt x="50" y="6"/>
                      </a:lnTo>
                      <a:lnTo>
                        <a:pt x="48" y="6"/>
                      </a:lnTo>
                      <a:lnTo>
                        <a:pt x="48" y="8"/>
                      </a:lnTo>
                      <a:lnTo>
                        <a:pt x="46" y="8"/>
                      </a:lnTo>
                      <a:lnTo>
                        <a:pt x="46" y="10"/>
                      </a:lnTo>
                      <a:lnTo>
                        <a:pt x="44" y="10"/>
                      </a:lnTo>
                      <a:lnTo>
                        <a:pt x="42" y="10"/>
                      </a:lnTo>
                      <a:lnTo>
                        <a:pt x="42" y="8"/>
                      </a:lnTo>
                      <a:lnTo>
                        <a:pt x="40" y="8"/>
                      </a:lnTo>
                      <a:lnTo>
                        <a:pt x="40" y="6"/>
                      </a:lnTo>
                      <a:lnTo>
                        <a:pt x="40" y="4"/>
                      </a:lnTo>
                      <a:lnTo>
                        <a:pt x="40" y="2"/>
                      </a:lnTo>
                      <a:lnTo>
                        <a:pt x="40" y="0"/>
                      </a:lnTo>
                      <a:lnTo>
                        <a:pt x="40" y="2"/>
                      </a:lnTo>
                      <a:lnTo>
                        <a:pt x="38" y="4"/>
                      </a:lnTo>
                      <a:lnTo>
                        <a:pt x="36" y="2"/>
                      </a:lnTo>
                      <a:lnTo>
                        <a:pt x="34" y="4"/>
                      </a:lnTo>
                      <a:lnTo>
                        <a:pt x="34" y="6"/>
                      </a:lnTo>
                      <a:lnTo>
                        <a:pt x="34" y="8"/>
                      </a:lnTo>
                      <a:lnTo>
                        <a:pt x="32" y="8"/>
                      </a:lnTo>
                      <a:lnTo>
                        <a:pt x="30" y="8"/>
                      </a:lnTo>
                      <a:lnTo>
                        <a:pt x="30" y="10"/>
                      </a:lnTo>
                      <a:lnTo>
                        <a:pt x="28" y="12"/>
                      </a:lnTo>
                      <a:lnTo>
                        <a:pt x="28" y="10"/>
                      </a:lnTo>
                      <a:lnTo>
                        <a:pt x="26" y="8"/>
                      </a:lnTo>
                      <a:lnTo>
                        <a:pt x="24" y="8"/>
                      </a:lnTo>
                      <a:lnTo>
                        <a:pt x="24" y="6"/>
                      </a:lnTo>
                      <a:lnTo>
                        <a:pt x="22" y="6"/>
                      </a:lnTo>
                      <a:lnTo>
                        <a:pt x="20" y="6"/>
                      </a:lnTo>
                      <a:lnTo>
                        <a:pt x="18" y="6"/>
                      </a:lnTo>
                      <a:lnTo>
                        <a:pt x="16" y="6"/>
                      </a:lnTo>
                      <a:lnTo>
                        <a:pt x="16" y="8"/>
                      </a:lnTo>
                      <a:lnTo>
                        <a:pt x="16" y="10"/>
                      </a:lnTo>
                      <a:lnTo>
                        <a:pt x="16" y="12"/>
                      </a:lnTo>
                      <a:lnTo>
                        <a:pt x="14" y="10"/>
                      </a:lnTo>
                      <a:lnTo>
                        <a:pt x="12" y="12"/>
                      </a:lnTo>
                      <a:lnTo>
                        <a:pt x="10" y="12"/>
                      </a:lnTo>
                      <a:lnTo>
                        <a:pt x="10" y="14"/>
                      </a:lnTo>
                      <a:lnTo>
                        <a:pt x="8" y="14"/>
                      </a:lnTo>
                      <a:lnTo>
                        <a:pt x="8" y="16"/>
                      </a:lnTo>
                      <a:lnTo>
                        <a:pt x="8" y="18"/>
                      </a:lnTo>
                      <a:lnTo>
                        <a:pt x="10" y="20"/>
                      </a:lnTo>
                      <a:lnTo>
                        <a:pt x="10" y="22"/>
                      </a:lnTo>
                      <a:lnTo>
                        <a:pt x="10" y="24"/>
                      </a:lnTo>
                      <a:lnTo>
                        <a:pt x="10" y="26"/>
                      </a:lnTo>
                      <a:lnTo>
                        <a:pt x="12" y="26"/>
                      </a:lnTo>
                      <a:lnTo>
                        <a:pt x="14" y="26"/>
                      </a:lnTo>
                      <a:lnTo>
                        <a:pt x="14" y="28"/>
                      </a:lnTo>
                      <a:lnTo>
                        <a:pt x="12" y="28"/>
                      </a:lnTo>
                      <a:lnTo>
                        <a:pt x="12" y="30"/>
                      </a:lnTo>
                      <a:lnTo>
                        <a:pt x="14" y="30"/>
                      </a:lnTo>
                      <a:lnTo>
                        <a:pt x="16" y="30"/>
                      </a:lnTo>
                      <a:lnTo>
                        <a:pt x="16" y="32"/>
                      </a:lnTo>
                      <a:lnTo>
                        <a:pt x="14" y="34"/>
                      </a:lnTo>
                      <a:lnTo>
                        <a:pt x="12" y="36"/>
                      </a:lnTo>
                      <a:lnTo>
                        <a:pt x="12" y="38"/>
                      </a:lnTo>
                      <a:lnTo>
                        <a:pt x="14" y="38"/>
                      </a:lnTo>
                      <a:lnTo>
                        <a:pt x="16" y="40"/>
                      </a:lnTo>
                      <a:lnTo>
                        <a:pt x="18" y="40"/>
                      </a:lnTo>
                      <a:lnTo>
                        <a:pt x="18" y="42"/>
                      </a:lnTo>
                      <a:lnTo>
                        <a:pt x="18" y="44"/>
                      </a:lnTo>
                      <a:lnTo>
                        <a:pt x="16" y="46"/>
                      </a:lnTo>
                      <a:lnTo>
                        <a:pt x="14" y="44"/>
                      </a:lnTo>
                      <a:lnTo>
                        <a:pt x="12" y="44"/>
                      </a:lnTo>
                      <a:lnTo>
                        <a:pt x="10" y="44"/>
                      </a:lnTo>
                      <a:lnTo>
                        <a:pt x="8" y="44"/>
                      </a:lnTo>
                      <a:lnTo>
                        <a:pt x="6" y="44"/>
                      </a:lnTo>
                      <a:lnTo>
                        <a:pt x="8" y="46"/>
                      </a:lnTo>
                      <a:lnTo>
                        <a:pt x="8" y="48"/>
                      </a:lnTo>
                      <a:lnTo>
                        <a:pt x="10" y="50"/>
                      </a:lnTo>
                      <a:lnTo>
                        <a:pt x="12" y="50"/>
                      </a:lnTo>
                      <a:lnTo>
                        <a:pt x="12" y="52"/>
                      </a:lnTo>
                      <a:lnTo>
                        <a:pt x="14" y="52"/>
                      </a:lnTo>
                      <a:lnTo>
                        <a:pt x="12" y="52"/>
                      </a:lnTo>
                      <a:lnTo>
                        <a:pt x="10" y="52"/>
                      </a:lnTo>
                      <a:lnTo>
                        <a:pt x="10" y="54"/>
                      </a:lnTo>
                      <a:lnTo>
                        <a:pt x="10" y="56"/>
                      </a:lnTo>
                      <a:lnTo>
                        <a:pt x="10" y="58"/>
                      </a:lnTo>
                      <a:lnTo>
                        <a:pt x="10" y="60"/>
                      </a:lnTo>
                      <a:lnTo>
                        <a:pt x="10" y="62"/>
                      </a:lnTo>
                      <a:lnTo>
                        <a:pt x="8" y="62"/>
                      </a:lnTo>
                      <a:lnTo>
                        <a:pt x="4" y="60"/>
                      </a:lnTo>
                      <a:lnTo>
                        <a:pt x="2" y="60"/>
                      </a:lnTo>
                      <a:lnTo>
                        <a:pt x="0" y="58"/>
                      </a:lnTo>
                      <a:lnTo>
                        <a:pt x="2" y="62"/>
                      </a:lnTo>
                      <a:lnTo>
                        <a:pt x="4" y="64"/>
                      </a:lnTo>
                      <a:lnTo>
                        <a:pt x="4" y="68"/>
                      </a:lnTo>
                      <a:lnTo>
                        <a:pt x="6" y="70"/>
                      </a:lnTo>
                      <a:lnTo>
                        <a:pt x="6" y="72"/>
                      </a:lnTo>
                      <a:lnTo>
                        <a:pt x="6" y="74"/>
                      </a:lnTo>
                      <a:lnTo>
                        <a:pt x="4" y="74"/>
                      </a:lnTo>
                      <a:lnTo>
                        <a:pt x="4" y="76"/>
                      </a:lnTo>
                      <a:lnTo>
                        <a:pt x="2" y="78"/>
                      </a:lnTo>
                      <a:lnTo>
                        <a:pt x="2" y="80"/>
                      </a:lnTo>
                      <a:lnTo>
                        <a:pt x="0" y="80"/>
                      </a:lnTo>
                      <a:lnTo>
                        <a:pt x="0" y="82"/>
                      </a:lnTo>
                      <a:lnTo>
                        <a:pt x="2" y="82"/>
                      </a:lnTo>
                      <a:lnTo>
                        <a:pt x="4" y="82"/>
                      </a:lnTo>
                      <a:lnTo>
                        <a:pt x="4" y="84"/>
                      </a:lnTo>
                      <a:lnTo>
                        <a:pt x="4" y="86"/>
                      </a:lnTo>
                      <a:lnTo>
                        <a:pt x="8" y="86"/>
                      </a:lnTo>
                      <a:lnTo>
                        <a:pt x="10" y="86"/>
                      </a:lnTo>
                      <a:lnTo>
                        <a:pt x="12" y="86"/>
                      </a:lnTo>
                      <a:lnTo>
                        <a:pt x="14" y="86"/>
                      </a:lnTo>
                      <a:lnTo>
                        <a:pt x="14" y="88"/>
                      </a:lnTo>
                      <a:lnTo>
                        <a:pt x="14" y="90"/>
                      </a:lnTo>
                      <a:lnTo>
                        <a:pt x="14" y="92"/>
                      </a:lnTo>
                      <a:lnTo>
                        <a:pt x="16" y="92"/>
                      </a:lnTo>
                      <a:lnTo>
                        <a:pt x="16" y="94"/>
                      </a:lnTo>
                      <a:lnTo>
                        <a:pt x="18" y="96"/>
                      </a:lnTo>
                      <a:lnTo>
                        <a:pt x="20" y="98"/>
                      </a:lnTo>
                      <a:lnTo>
                        <a:pt x="20" y="100"/>
                      </a:lnTo>
                      <a:lnTo>
                        <a:pt x="22" y="102"/>
                      </a:lnTo>
                      <a:lnTo>
                        <a:pt x="20" y="104"/>
                      </a:lnTo>
                      <a:lnTo>
                        <a:pt x="20" y="106"/>
                      </a:lnTo>
                      <a:lnTo>
                        <a:pt x="20" y="110"/>
                      </a:lnTo>
                      <a:lnTo>
                        <a:pt x="18" y="112"/>
                      </a:lnTo>
                      <a:lnTo>
                        <a:pt x="18" y="114"/>
                      </a:lnTo>
                      <a:lnTo>
                        <a:pt x="18" y="118"/>
                      </a:lnTo>
                      <a:lnTo>
                        <a:pt x="18" y="120"/>
                      </a:lnTo>
                      <a:lnTo>
                        <a:pt x="18" y="122"/>
                      </a:lnTo>
                      <a:lnTo>
                        <a:pt x="18" y="124"/>
                      </a:lnTo>
                      <a:lnTo>
                        <a:pt x="20" y="122"/>
                      </a:lnTo>
                      <a:lnTo>
                        <a:pt x="22" y="122"/>
                      </a:lnTo>
                      <a:lnTo>
                        <a:pt x="24" y="120"/>
                      </a:lnTo>
                      <a:lnTo>
                        <a:pt x="26" y="120"/>
                      </a:lnTo>
                      <a:lnTo>
                        <a:pt x="28" y="118"/>
                      </a:lnTo>
                      <a:lnTo>
                        <a:pt x="30" y="118"/>
                      </a:lnTo>
                      <a:lnTo>
                        <a:pt x="30" y="116"/>
                      </a:lnTo>
                      <a:lnTo>
                        <a:pt x="32" y="116"/>
                      </a:lnTo>
                      <a:lnTo>
                        <a:pt x="34" y="116"/>
                      </a:lnTo>
                      <a:lnTo>
                        <a:pt x="36" y="114"/>
                      </a:lnTo>
                      <a:lnTo>
                        <a:pt x="38" y="112"/>
                      </a:lnTo>
                      <a:lnTo>
                        <a:pt x="42" y="110"/>
                      </a:lnTo>
                      <a:lnTo>
                        <a:pt x="46" y="108"/>
                      </a:lnTo>
                      <a:lnTo>
                        <a:pt x="50" y="108"/>
                      </a:lnTo>
                      <a:lnTo>
                        <a:pt x="54" y="108"/>
                      </a:lnTo>
                      <a:lnTo>
                        <a:pt x="56" y="108"/>
                      </a:lnTo>
                      <a:lnTo>
                        <a:pt x="58" y="108"/>
                      </a:lnTo>
                      <a:lnTo>
                        <a:pt x="60" y="108"/>
                      </a:lnTo>
                      <a:lnTo>
                        <a:pt x="62" y="108"/>
                      </a:lnTo>
                      <a:lnTo>
                        <a:pt x="62" y="106"/>
                      </a:lnTo>
                      <a:lnTo>
                        <a:pt x="64" y="106"/>
                      </a:lnTo>
                      <a:lnTo>
                        <a:pt x="66" y="106"/>
                      </a:lnTo>
                      <a:lnTo>
                        <a:pt x="70" y="104"/>
                      </a:lnTo>
                      <a:lnTo>
                        <a:pt x="72" y="104"/>
                      </a:lnTo>
                      <a:lnTo>
                        <a:pt x="74" y="104"/>
                      </a:lnTo>
                      <a:lnTo>
                        <a:pt x="76" y="104"/>
                      </a:lnTo>
                      <a:lnTo>
                        <a:pt x="78" y="104"/>
                      </a:lnTo>
                      <a:lnTo>
                        <a:pt x="80" y="104"/>
                      </a:lnTo>
                      <a:lnTo>
                        <a:pt x="80" y="106"/>
                      </a:lnTo>
                      <a:lnTo>
                        <a:pt x="82" y="106"/>
                      </a:lnTo>
                      <a:lnTo>
                        <a:pt x="82" y="108"/>
                      </a:lnTo>
                      <a:lnTo>
                        <a:pt x="84" y="108"/>
                      </a:lnTo>
                      <a:lnTo>
                        <a:pt x="86" y="108"/>
                      </a:lnTo>
                      <a:lnTo>
                        <a:pt x="86" y="106"/>
                      </a:lnTo>
                      <a:lnTo>
                        <a:pt x="88" y="106"/>
                      </a:lnTo>
                      <a:lnTo>
                        <a:pt x="90" y="104"/>
                      </a:lnTo>
                      <a:lnTo>
                        <a:pt x="92" y="104"/>
                      </a:lnTo>
                      <a:lnTo>
                        <a:pt x="92" y="106"/>
                      </a:lnTo>
                      <a:lnTo>
                        <a:pt x="94" y="108"/>
                      </a:lnTo>
                      <a:lnTo>
                        <a:pt x="96" y="110"/>
                      </a:lnTo>
                      <a:lnTo>
                        <a:pt x="98" y="110"/>
                      </a:lnTo>
                      <a:lnTo>
                        <a:pt x="100" y="112"/>
                      </a:lnTo>
                      <a:lnTo>
                        <a:pt x="102" y="112"/>
                      </a:lnTo>
                      <a:lnTo>
                        <a:pt x="102" y="110"/>
                      </a:lnTo>
                      <a:lnTo>
                        <a:pt x="102" y="108"/>
                      </a:lnTo>
                      <a:lnTo>
                        <a:pt x="102" y="106"/>
                      </a:lnTo>
                      <a:lnTo>
                        <a:pt x="102" y="104"/>
                      </a:lnTo>
                      <a:lnTo>
                        <a:pt x="102" y="102"/>
                      </a:lnTo>
                      <a:lnTo>
                        <a:pt x="102" y="100"/>
                      </a:lnTo>
                      <a:lnTo>
                        <a:pt x="102" y="98"/>
                      </a:lnTo>
                      <a:lnTo>
                        <a:pt x="94" y="9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2" name="Freeform 88">
                  <a:extLst>
                    <a:ext uri="{FF2B5EF4-FFF2-40B4-BE49-F238E27FC236}">
                      <a16:creationId xmlns:a16="http://schemas.microsoft.com/office/drawing/2014/main" id="{EC12F274-90FE-4476-A44F-DE50B62A6A52}"/>
                    </a:ext>
                  </a:extLst>
                </p:cNvPr>
                <p:cNvSpPr>
                  <a:spLocks noChangeAspect="1"/>
                </p:cNvSpPr>
                <p:nvPr/>
              </p:nvSpPr>
              <p:spPr bwMode="auto">
                <a:xfrm>
                  <a:off x="4419269" y="3469059"/>
                  <a:ext cx="434111" cy="390648"/>
                </a:xfrm>
                <a:custGeom>
                  <a:avLst/>
                  <a:gdLst/>
                  <a:ahLst/>
                  <a:cxnLst>
                    <a:cxn ang="0">
                      <a:pos x="14" y="192"/>
                    </a:cxn>
                    <a:cxn ang="0">
                      <a:pos x="10" y="198"/>
                    </a:cxn>
                    <a:cxn ang="0">
                      <a:pos x="24" y="208"/>
                    </a:cxn>
                    <a:cxn ang="0">
                      <a:pos x="32" y="208"/>
                    </a:cxn>
                    <a:cxn ang="0">
                      <a:pos x="30" y="212"/>
                    </a:cxn>
                    <a:cxn ang="0">
                      <a:pos x="34" y="220"/>
                    </a:cxn>
                    <a:cxn ang="0">
                      <a:pos x="40" y="214"/>
                    </a:cxn>
                    <a:cxn ang="0">
                      <a:pos x="48" y="218"/>
                    </a:cxn>
                    <a:cxn ang="0">
                      <a:pos x="56" y="224"/>
                    </a:cxn>
                    <a:cxn ang="0">
                      <a:pos x="56" y="212"/>
                    </a:cxn>
                    <a:cxn ang="0">
                      <a:pos x="64" y="202"/>
                    </a:cxn>
                    <a:cxn ang="0">
                      <a:pos x="68" y="190"/>
                    </a:cxn>
                    <a:cxn ang="0">
                      <a:pos x="78" y="186"/>
                    </a:cxn>
                    <a:cxn ang="0">
                      <a:pos x="84" y="186"/>
                    </a:cxn>
                    <a:cxn ang="0">
                      <a:pos x="94" y="188"/>
                    </a:cxn>
                    <a:cxn ang="0">
                      <a:pos x="104" y="192"/>
                    </a:cxn>
                    <a:cxn ang="0">
                      <a:pos x="108" y="198"/>
                    </a:cxn>
                    <a:cxn ang="0">
                      <a:pos x="122" y="196"/>
                    </a:cxn>
                    <a:cxn ang="0">
                      <a:pos x="140" y="202"/>
                    </a:cxn>
                    <a:cxn ang="0">
                      <a:pos x="156" y="206"/>
                    </a:cxn>
                    <a:cxn ang="0">
                      <a:pos x="174" y="194"/>
                    </a:cxn>
                    <a:cxn ang="0">
                      <a:pos x="196" y="198"/>
                    </a:cxn>
                    <a:cxn ang="0">
                      <a:pos x="204" y="198"/>
                    </a:cxn>
                    <a:cxn ang="0">
                      <a:pos x="218" y="192"/>
                    </a:cxn>
                    <a:cxn ang="0">
                      <a:pos x="222" y="184"/>
                    </a:cxn>
                    <a:cxn ang="0">
                      <a:pos x="220" y="172"/>
                    </a:cxn>
                    <a:cxn ang="0">
                      <a:pos x="224" y="170"/>
                    </a:cxn>
                    <a:cxn ang="0">
                      <a:pos x="234" y="150"/>
                    </a:cxn>
                    <a:cxn ang="0">
                      <a:pos x="254" y="128"/>
                    </a:cxn>
                    <a:cxn ang="0">
                      <a:pos x="256" y="96"/>
                    </a:cxn>
                    <a:cxn ang="0">
                      <a:pos x="258" y="70"/>
                    </a:cxn>
                    <a:cxn ang="0">
                      <a:pos x="262" y="60"/>
                    </a:cxn>
                    <a:cxn ang="0">
                      <a:pos x="256" y="52"/>
                    </a:cxn>
                    <a:cxn ang="0">
                      <a:pos x="250" y="40"/>
                    </a:cxn>
                    <a:cxn ang="0">
                      <a:pos x="248" y="30"/>
                    </a:cxn>
                    <a:cxn ang="0">
                      <a:pos x="248" y="18"/>
                    </a:cxn>
                    <a:cxn ang="0">
                      <a:pos x="242" y="12"/>
                    </a:cxn>
                    <a:cxn ang="0">
                      <a:pos x="228" y="12"/>
                    </a:cxn>
                    <a:cxn ang="0">
                      <a:pos x="214" y="4"/>
                    </a:cxn>
                    <a:cxn ang="0">
                      <a:pos x="198" y="0"/>
                    </a:cxn>
                    <a:cxn ang="0">
                      <a:pos x="192" y="2"/>
                    </a:cxn>
                    <a:cxn ang="0">
                      <a:pos x="154" y="30"/>
                    </a:cxn>
                    <a:cxn ang="0">
                      <a:pos x="122" y="54"/>
                    </a:cxn>
                    <a:cxn ang="0">
                      <a:pos x="96" y="76"/>
                    </a:cxn>
                    <a:cxn ang="0">
                      <a:pos x="78" y="80"/>
                    </a:cxn>
                    <a:cxn ang="0">
                      <a:pos x="66" y="106"/>
                    </a:cxn>
                    <a:cxn ang="0">
                      <a:pos x="66" y="132"/>
                    </a:cxn>
                    <a:cxn ang="0">
                      <a:pos x="60" y="138"/>
                    </a:cxn>
                    <a:cxn ang="0">
                      <a:pos x="58" y="150"/>
                    </a:cxn>
                    <a:cxn ang="0">
                      <a:pos x="46" y="154"/>
                    </a:cxn>
                    <a:cxn ang="0">
                      <a:pos x="32" y="154"/>
                    </a:cxn>
                    <a:cxn ang="0">
                      <a:pos x="32" y="158"/>
                    </a:cxn>
                    <a:cxn ang="0">
                      <a:pos x="16" y="158"/>
                    </a:cxn>
                    <a:cxn ang="0">
                      <a:pos x="10" y="162"/>
                    </a:cxn>
                    <a:cxn ang="0">
                      <a:pos x="0" y="164"/>
                    </a:cxn>
                    <a:cxn ang="0">
                      <a:pos x="0" y="174"/>
                    </a:cxn>
                    <a:cxn ang="0">
                      <a:pos x="2" y="184"/>
                    </a:cxn>
                    <a:cxn ang="0">
                      <a:pos x="12" y="188"/>
                    </a:cxn>
                  </a:cxnLst>
                  <a:rect l="0" t="0" r="r" b="b"/>
                  <a:pathLst>
                    <a:path w="264" h="224">
                      <a:moveTo>
                        <a:pt x="12" y="188"/>
                      </a:moveTo>
                      <a:lnTo>
                        <a:pt x="12" y="190"/>
                      </a:lnTo>
                      <a:lnTo>
                        <a:pt x="12" y="192"/>
                      </a:lnTo>
                      <a:lnTo>
                        <a:pt x="14" y="192"/>
                      </a:lnTo>
                      <a:lnTo>
                        <a:pt x="16" y="192"/>
                      </a:lnTo>
                      <a:lnTo>
                        <a:pt x="14" y="192"/>
                      </a:lnTo>
                      <a:lnTo>
                        <a:pt x="14" y="194"/>
                      </a:lnTo>
                      <a:lnTo>
                        <a:pt x="12" y="194"/>
                      </a:lnTo>
                      <a:lnTo>
                        <a:pt x="12" y="196"/>
                      </a:lnTo>
                      <a:lnTo>
                        <a:pt x="10" y="196"/>
                      </a:lnTo>
                      <a:lnTo>
                        <a:pt x="10" y="198"/>
                      </a:lnTo>
                      <a:lnTo>
                        <a:pt x="12" y="200"/>
                      </a:lnTo>
                      <a:lnTo>
                        <a:pt x="14" y="202"/>
                      </a:lnTo>
                      <a:lnTo>
                        <a:pt x="16" y="204"/>
                      </a:lnTo>
                      <a:lnTo>
                        <a:pt x="18" y="204"/>
                      </a:lnTo>
                      <a:lnTo>
                        <a:pt x="20" y="206"/>
                      </a:lnTo>
                      <a:lnTo>
                        <a:pt x="22" y="208"/>
                      </a:lnTo>
                      <a:lnTo>
                        <a:pt x="24" y="208"/>
                      </a:lnTo>
                      <a:lnTo>
                        <a:pt x="26" y="208"/>
                      </a:lnTo>
                      <a:lnTo>
                        <a:pt x="28" y="206"/>
                      </a:lnTo>
                      <a:lnTo>
                        <a:pt x="30" y="206"/>
                      </a:lnTo>
                      <a:lnTo>
                        <a:pt x="32" y="208"/>
                      </a:lnTo>
                      <a:lnTo>
                        <a:pt x="34" y="210"/>
                      </a:lnTo>
                      <a:lnTo>
                        <a:pt x="34" y="212"/>
                      </a:lnTo>
                      <a:lnTo>
                        <a:pt x="32" y="212"/>
                      </a:lnTo>
                      <a:lnTo>
                        <a:pt x="30" y="212"/>
                      </a:lnTo>
                      <a:lnTo>
                        <a:pt x="30" y="216"/>
                      </a:lnTo>
                      <a:lnTo>
                        <a:pt x="32" y="218"/>
                      </a:lnTo>
                      <a:lnTo>
                        <a:pt x="32" y="220"/>
                      </a:lnTo>
                      <a:lnTo>
                        <a:pt x="34" y="220"/>
                      </a:lnTo>
                      <a:lnTo>
                        <a:pt x="34" y="222"/>
                      </a:lnTo>
                      <a:lnTo>
                        <a:pt x="34" y="220"/>
                      </a:lnTo>
                      <a:lnTo>
                        <a:pt x="34" y="218"/>
                      </a:lnTo>
                      <a:lnTo>
                        <a:pt x="34" y="216"/>
                      </a:lnTo>
                      <a:lnTo>
                        <a:pt x="36" y="214"/>
                      </a:lnTo>
                      <a:lnTo>
                        <a:pt x="38" y="214"/>
                      </a:lnTo>
                      <a:lnTo>
                        <a:pt x="40" y="214"/>
                      </a:lnTo>
                      <a:lnTo>
                        <a:pt x="40" y="212"/>
                      </a:lnTo>
                      <a:lnTo>
                        <a:pt x="42" y="212"/>
                      </a:lnTo>
                      <a:lnTo>
                        <a:pt x="42" y="214"/>
                      </a:lnTo>
                      <a:lnTo>
                        <a:pt x="44" y="214"/>
                      </a:lnTo>
                      <a:lnTo>
                        <a:pt x="44" y="216"/>
                      </a:lnTo>
                      <a:lnTo>
                        <a:pt x="48" y="218"/>
                      </a:lnTo>
                      <a:lnTo>
                        <a:pt x="48" y="220"/>
                      </a:lnTo>
                      <a:lnTo>
                        <a:pt x="50" y="220"/>
                      </a:lnTo>
                      <a:lnTo>
                        <a:pt x="50" y="222"/>
                      </a:lnTo>
                      <a:lnTo>
                        <a:pt x="52" y="222"/>
                      </a:lnTo>
                      <a:lnTo>
                        <a:pt x="54" y="222"/>
                      </a:lnTo>
                      <a:lnTo>
                        <a:pt x="54" y="224"/>
                      </a:lnTo>
                      <a:lnTo>
                        <a:pt x="56" y="224"/>
                      </a:lnTo>
                      <a:lnTo>
                        <a:pt x="56" y="222"/>
                      </a:lnTo>
                      <a:lnTo>
                        <a:pt x="56" y="220"/>
                      </a:lnTo>
                      <a:lnTo>
                        <a:pt x="56" y="218"/>
                      </a:lnTo>
                      <a:lnTo>
                        <a:pt x="56" y="216"/>
                      </a:lnTo>
                      <a:lnTo>
                        <a:pt x="56" y="214"/>
                      </a:lnTo>
                      <a:lnTo>
                        <a:pt x="56" y="212"/>
                      </a:lnTo>
                      <a:lnTo>
                        <a:pt x="56" y="210"/>
                      </a:lnTo>
                      <a:lnTo>
                        <a:pt x="58" y="210"/>
                      </a:lnTo>
                      <a:lnTo>
                        <a:pt x="60" y="208"/>
                      </a:lnTo>
                      <a:lnTo>
                        <a:pt x="62" y="206"/>
                      </a:lnTo>
                      <a:lnTo>
                        <a:pt x="64" y="204"/>
                      </a:lnTo>
                      <a:lnTo>
                        <a:pt x="64" y="202"/>
                      </a:lnTo>
                      <a:lnTo>
                        <a:pt x="64" y="198"/>
                      </a:lnTo>
                      <a:lnTo>
                        <a:pt x="64" y="196"/>
                      </a:lnTo>
                      <a:lnTo>
                        <a:pt x="64" y="194"/>
                      </a:lnTo>
                      <a:lnTo>
                        <a:pt x="66" y="190"/>
                      </a:lnTo>
                      <a:lnTo>
                        <a:pt x="68" y="190"/>
                      </a:lnTo>
                      <a:lnTo>
                        <a:pt x="70" y="188"/>
                      </a:lnTo>
                      <a:lnTo>
                        <a:pt x="70" y="186"/>
                      </a:lnTo>
                      <a:lnTo>
                        <a:pt x="72" y="186"/>
                      </a:lnTo>
                      <a:lnTo>
                        <a:pt x="74" y="186"/>
                      </a:lnTo>
                      <a:lnTo>
                        <a:pt x="76" y="186"/>
                      </a:lnTo>
                      <a:lnTo>
                        <a:pt x="78" y="186"/>
                      </a:lnTo>
                      <a:lnTo>
                        <a:pt x="80" y="188"/>
                      </a:lnTo>
                      <a:lnTo>
                        <a:pt x="82" y="188"/>
                      </a:lnTo>
                      <a:lnTo>
                        <a:pt x="82" y="186"/>
                      </a:lnTo>
                      <a:lnTo>
                        <a:pt x="84" y="186"/>
                      </a:lnTo>
                      <a:lnTo>
                        <a:pt x="86" y="184"/>
                      </a:lnTo>
                      <a:lnTo>
                        <a:pt x="88" y="184"/>
                      </a:lnTo>
                      <a:lnTo>
                        <a:pt x="90" y="184"/>
                      </a:lnTo>
                      <a:lnTo>
                        <a:pt x="92" y="186"/>
                      </a:lnTo>
                      <a:lnTo>
                        <a:pt x="94" y="188"/>
                      </a:lnTo>
                      <a:lnTo>
                        <a:pt x="96" y="188"/>
                      </a:lnTo>
                      <a:lnTo>
                        <a:pt x="100" y="188"/>
                      </a:lnTo>
                      <a:lnTo>
                        <a:pt x="102" y="188"/>
                      </a:lnTo>
                      <a:lnTo>
                        <a:pt x="102" y="190"/>
                      </a:lnTo>
                      <a:lnTo>
                        <a:pt x="104" y="192"/>
                      </a:lnTo>
                      <a:lnTo>
                        <a:pt x="106" y="192"/>
                      </a:lnTo>
                      <a:lnTo>
                        <a:pt x="106" y="194"/>
                      </a:lnTo>
                      <a:lnTo>
                        <a:pt x="108" y="194"/>
                      </a:lnTo>
                      <a:lnTo>
                        <a:pt x="108" y="196"/>
                      </a:lnTo>
                      <a:lnTo>
                        <a:pt x="108" y="198"/>
                      </a:lnTo>
                      <a:lnTo>
                        <a:pt x="110" y="200"/>
                      </a:lnTo>
                      <a:lnTo>
                        <a:pt x="112" y="200"/>
                      </a:lnTo>
                      <a:lnTo>
                        <a:pt x="114" y="200"/>
                      </a:lnTo>
                      <a:lnTo>
                        <a:pt x="116" y="200"/>
                      </a:lnTo>
                      <a:lnTo>
                        <a:pt x="118" y="198"/>
                      </a:lnTo>
                      <a:lnTo>
                        <a:pt x="120" y="198"/>
                      </a:lnTo>
                      <a:lnTo>
                        <a:pt x="122" y="196"/>
                      </a:lnTo>
                      <a:lnTo>
                        <a:pt x="126" y="194"/>
                      </a:lnTo>
                      <a:lnTo>
                        <a:pt x="128" y="194"/>
                      </a:lnTo>
                      <a:lnTo>
                        <a:pt x="130" y="194"/>
                      </a:lnTo>
                      <a:lnTo>
                        <a:pt x="132" y="196"/>
                      </a:lnTo>
                      <a:lnTo>
                        <a:pt x="134" y="198"/>
                      </a:lnTo>
                      <a:lnTo>
                        <a:pt x="136" y="200"/>
                      </a:lnTo>
                      <a:lnTo>
                        <a:pt x="138" y="200"/>
                      </a:lnTo>
                      <a:lnTo>
                        <a:pt x="140" y="202"/>
                      </a:lnTo>
                      <a:lnTo>
                        <a:pt x="142" y="202"/>
                      </a:lnTo>
                      <a:lnTo>
                        <a:pt x="144" y="204"/>
                      </a:lnTo>
                      <a:lnTo>
                        <a:pt x="150" y="204"/>
                      </a:lnTo>
                      <a:lnTo>
                        <a:pt x="152" y="204"/>
                      </a:lnTo>
                      <a:lnTo>
                        <a:pt x="154" y="204"/>
                      </a:lnTo>
                      <a:lnTo>
                        <a:pt x="154" y="206"/>
                      </a:lnTo>
                      <a:lnTo>
                        <a:pt x="156" y="206"/>
                      </a:lnTo>
                      <a:lnTo>
                        <a:pt x="156" y="204"/>
                      </a:lnTo>
                      <a:lnTo>
                        <a:pt x="158" y="202"/>
                      </a:lnTo>
                      <a:lnTo>
                        <a:pt x="160" y="200"/>
                      </a:lnTo>
                      <a:lnTo>
                        <a:pt x="162" y="198"/>
                      </a:lnTo>
                      <a:lnTo>
                        <a:pt x="166" y="196"/>
                      </a:lnTo>
                      <a:lnTo>
                        <a:pt x="170" y="194"/>
                      </a:lnTo>
                      <a:lnTo>
                        <a:pt x="174" y="194"/>
                      </a:lnTo>
                      <a:lnTo>
                        <a:pt x="176" y="194"/>
                      </a:lnTo>
                      <a:lnTo>
                        <a:pt x="180" y="194"/>
                      </a:lnTo>
                      <a:lnTo>
                        <a:pt x="184" y="194"/>
                      </a:lnTo>
                      <a:lnTo>
                        <a:pt x="188" y="196"/>
                      </a:lnTo>
                      <a:lnTo>
                        <a:pt x="192" y="196"/>
                      </a:lnTo>
                      <a:lnTo>
                        <a:pt x="194" y="196"/>
                      </a:lnTo>
                      <a:lnTo>
                        <a:pt x="196" y="198"/>
                      </a:lnTo>
                      <a:lnTo>
                        <a:pt x="198" y="198"/>
                      </a:lnTo>
                      <a:lnTo>
                        <a:pt x="200" y="198"/>
                      </a:lnTo>
                      <a:lnTo>
                        <a:pt x="202" y="198"/>
                      </a:lnTo>
                      <a:lnTo>
                        <a:pt x="202" y="200"/>
                      </a:lnTo>
                      <a:lnTo>
                        <a:pt x="202" y="198"/>
                      </a:lnTo>
                      <a:lnTo>
                        <a:pt x="204" y="198"/>
                      </a:lnTo>
                      <a:lnTo>
                        <a:pt x="206" y="196"/>
                      </a:lnTo>
                      <a:lnTo>
                        <a:pt x="208" y="194"/>
                      </a:lnTo>
                      <a:lnTo>
                        <a:pt x="210" y="194"/>
                      </a:lnTo>
                      <a:lnTo>
                        <a:pt x="212" y="192"/>
                      </a:lnTo>
                      <a:lnTo>
                        <a:pt x="214" y="192"/>
                      </a:lnTo>
                      <a:lnTo>
                        <a:pt x="216" y="192"/>
                      </a:lnTo>
                      <a:lnTo>
                        <a:pt x="218" y="192"/>
                      </a:lnTo>
                      <a:lnTo>
                        <a:pt x="218" y="190"/>
                      </a:lnTo>
                      <a:lnTo>
                        <a:pt x="220" y="188"/>
                      </a:lnTo>
                      <a:lnTo>
                        <a:pt x="222" y="188"/>
                      </a:lnTo>
                      <a:lnTo>
                        <a:pt x="222" y="184"/>
                      </a:lnTo>
                      <a:lnTo>
                        <a:pt x="222" y="182"/>
                      </a:lnTo>
                      <a:lnTo>
                        <a:pt x="222" y="180"/>
                      </a:lnTo>
                      <a:lnTo>
                        <a:pt x="220" y="178"/>
                      </a:lnTo>
                      <a:lnTo>
                        <a:pt x="220" y="176"/>
                      </a:lnTo>
                      <a:lnTo>
                        <a:pt x="220" y="174"/>
                      </a:lnTo>
                      <a:lnTo>
                        <a:pt x="220" y="172"/>
                      </a:lnTo>
                      <a:lnTo>
                        <a:pt x="222" y="172"/>
                      </a:lnTo>
                      <a:lnTo>
                        <a:pt x="224" y="172"/>
                      </a:lnTo>
                      <a:lnTo>
                        <a:pt x="224" y="170"/>
                      </a:lnTo>
                      <a:lnTo>
                        <a:pt x="224" y="168"/>
                      </a:lnTo>
                      <a:lnTo>
                        <a:pt x="226" y="166"/>
                      </a:lnTo>
                      <a:lnTo>
                        <a:pt x="226" y="164"/>
                      </a:lnTo>
                      <a:lnTo>
                        <a:pt x="228" y="160"/>
                      </a:lnTo>
                      <a:lnTo>
                        <a:pt x="230" y="156"/>
                      </a:lnTo>
                      <a:lnTo>
                        <a:pt x="230" y="154"/>
                      </a:lnTo>
                      <a:lnTo>
                        <a:pt x="232" y="152"/>
                      </a:lnTo>
                      <a:lnTo>
                        <a:pt x="234" y="150"/>
                      </a:lnTo>
                      <a:lnTo>
                        <a:pt x="234" y="148"/>
                      </a:lnTo>
                      <a:lnTo>
                        <a:pt x="238" y="146"/>
                      </a:lnTo>
                      <a:lnTo>
                        <a:pt x="242" y="140"/>
                      </a:lnTo>
                      <a:lnTo>
                        <a:pt x="246" y="136"/>
                      </a:lnTo>
                      <a:lnTo>
                        <a:pt x="248" y="132"/>
                      </a:lnTo>
                      <a:lnTo>
                        <a:pt x="250" y="130"/>
                      </a:lnTo>
                      <a:lnTo>
                        <a:pt x="252" y="130"/>
                      </a:lnTo>
                      <a:lnTo>
                        <a:pt x="252" y="128"/>
                      </a:lnTo>
                      <a:lnTo>
                        <a:pt x="254" y="128"/>
                      </a:lnTo>
                      <a:lnTo>
                        <a:pt x="254" y="126"/>
                      </a:lnTo>
                      <a:lnTo>
                        <a:pt x="254" y="122"/>
                      </a:lnTo>
                      <a:lnTo>
                        <a:pt x="254" y="116"/>
                      </a:lnTo>
                      <a:lnTo>
                        <a:pt x="256" y="112"/>
                      </a:lnTo>
                      <a:lnTo>
                        <a:pt x="256" y="108"/>
                      </a:lnTo>
                      <a:lnTo>
                        <a:pt x="256" y="104"/>
                      </a:lnTo>
                      <a:lnTo>
                        <a:pt x="256" y="100"/>
                      </a:lnTo>
                      <a:lnTo>
                        <a:pt x="256" y="96"/>
                      </a:lnTo>
                      <a:lnTo>
                        <a:pt x="256" y="94"/>
                      </a:lnTo>
                      <a:lnTo>
                        <a:pt x="256" y="90"/>
                      </a:lnTo>
                      <a:lnTo>
                        <a:pt x="256" y="88"/>
                      </a:lnTo>
                      <a:lnTo>
                        <a:pt x="256" y="82"/>
                      </a:lnTo>
                      <a:lnTo>
                        <a:pt x="258" y="80"/>
                      </a:lnTo>
                      <a:lnTo>
                        <a:pt x="258" y="76"/>
                      </a:lnTo>
                      <a:lnTo>
                        <a:pt x="258" y="74"/>
                      </a:lnTo>
                      <a:lnTo>
                        <a:pt x="258" y="72"/>
                      </a:lnTo>
                      <a:lnTo>
                        <a:pt x="258" y="70"/>
                      </a:lnTo>
                      <a:lnTo>
                        <a:pt x="258" y="68"/>
                      </a:lnTo>
                      <a:lnTo>
                        <a:pt x="260" y="66"/>
                      </a:lnTo>
                      <a:lnTo>
                        <a:pt x="260" y="64"/>
                      </a:lnTo>
                      <a:lnTo>
                        <a:pt x="262" y="62"/>
                      </a:lnTo>
                      <a:lnTo>
                        <a:pt x="262" y="60"/>
                      </a:lnTo>
                      <a:lnTo>
                        <a:pt x="264" y="60"/>
                      </a:lnTo>
                      <a:lnTo>
                        <a:pt x="260" y="56"/>
                      </a:lnTo>
                      <a:lnTo>
                        <a:pt x="258" y="56"/>
                      </a:lnTo>
                      <a:lnTo>
                        <a:pt x="258" y="54"/>
                      </a:lnTo>
                      <a:lnTo>
                        <a:pt x="256" y="52"/>
                      </a:lnTo>
                      <a:lnTo>
                        <a:pt x="254" y="50"/>
                      </a:lnTo>
                      <a:lnTo>
                        <a:pt x="254" y="48"/>
                      </a:lnTo>
                      <a:lnTo>
                        <a:pt x="254" y="46"/>
                      </a:lnTo>
                      <a:lnTo>
                        <a:pt x="252" y="42"/>
                      </a:lnTo>
                      <a:lnTo>
                        <a:pt x="250" y="40"/>
                      </a:lnTo>
                      <a:lnTo>
                        <a:pt x="248" y="38"/>
                      </a:lnTo>
                      <a:lnTo>
                        <a:pt x="246" y="36"/>
                      </a:lnTo>
                      <a:lnTo>
                        <a:pt x="248" y="34"/>
                      </a:lnTo>
                      <a:lnTo>
                        <a:pt x="248" y="32"/>
                      </a:lnTo>
                      <a:lnTo>
                        <a:pt x="248" y="30"/>
                      </a:lnTo>
                      <a:lnTo>
                        <a:pt x="248" y="28"/>
                      </a:lnTo>
                      <a:lnTo>
                        <a:pt x="248" y="26"/>
                      </a:lnTo>
                      <a:lnTo>
                        <a:pt x="250" y="26"/>
                      </a:lnTo>
                      <a:lnTo>
                        <a:pt x="248" y="22"/>
                      </a:lnTo>
                      <a:lnTo>
                        <a:pt x="248" y="20"/>
                      </a:lnTo>
                      <a:lnTo>
                        <a:pt x="248" y="18"/>
                      </a:lnTo>
                      <a:lnTo>
                        <a:pt x="246" y="16"/>
                      </a:lnTo>
                      <a:lnTo>
                        <a:pt x="246" y="14"/>
                      </a:lnTo>
                      <a:lnTo>
                        <a:pt x="246" y="12"/>
                      </a:lnTo>
                      <a:lnTo>
                        <a:pt x="246" y="10"/>
                      </a:lnTo>
                      <a:lnTo>
                        <a:pt x="242" y="12"/>
                      </a:lnTo>
                      <a:lnTo>
                        <a:pt x="238" y="14"/>
                      </a:lnTo>
                      <a:lnTo>
                        <a:pt x="236" y="14"/>
                      </a:lnTo>
                      <a:lnTo>
                        <a:pt x="234" y="14"/>
                      </a:lnTo>
                      <a:lnTo>
                        <a:pt x="234" y="16"/>
                      </a:lnTo>
                      <a:lnTo>
                        <a:pt x="232" y="16"/>
                      </a:lnTo>
                      <a:lnTo>
                        <a:pt x="230" y="14"/>
                      </a:lnTo>
                      <a:lnTo>
                        <a:pt x="228" y="12"/>
                      </a:lnTo>
                      <a:lnTo>
                        <a:pt x="226" y="10"/>
                      </a:lnTo>
                      <a:lnTo>
                        <a:pt x="224" y="10"/>
                      </a:lnTo>
                      <a:lnTo>
                        <a:pt x="222" y="8"/>
                      </a:lnTo>
                      <a:lnTo>
                        <a:pt x="222" y="6"/>
                      </a:lnTo>
                      <a:lnTo>
                        <a:pt x="220" y="6"/>
                      </a:lnTo>
                      <a:lnTo>
                        <a:pt x="218" y="4"/>
                      </a:lnTo>
                      <a:lnTo>
                        <a:pt x="214" y="4"/>
                      </a:lnTo>
                      <a:lnTo>
                        <a:pt x="212" y="4"/>
                      </a:lnTo>
                      <a:lnTo>
                        <a:pt x="208" y="2"/>
                      </a:lnTo>
                      <a:lnTo>
                        <a:pt x="206" y="2"/>
                      </a:lnTo>
                      <a:lnTo>
                        <a:pt x="204" y="2"/>
                      </a:lnTo>
                      <a:lnTo>
                        <a:pt x="200" y="2"/>
                      </a:lnTo>
                      <a:lnTo>
                        <a:pt x="198" y="0"/>
                      </a:lnTo>
                      <a:lnTo>
                        <a:pt x="196" y="0"/>
                      </a:lnTo>
                      <a:lnTo>
                        <a:pt x="194" y="0"/>
                      </a:lnTo>
                      <a:lnTo>
                        <a:pt x="192" y="2"/>
                      </a:lnTo>
                      <a:lnTo>
                        <a:pt x="190" y="2"/>
                      </a:lnTo>
                      <a:lnTo>
                        <a:pt x="190" y="4"/>
                      </a:lnTo>
                      <a:lnTo>
                        <a:pt x="186" y="6"/>
                      </a:lnTo>
                      <a:lnTo>
                        <a:pt x="184" y="8"/>
                      </a:lnTo>
                      <a:lnTo>
                        <a:pt x="180" y="10"/>
                      </a:lnTo>
                      <a:lnTo>
                        <a:pt x="174" y="14"/>
                      </a:lnTo>
                      <a:lnTo>
                        <a:pt x="168" y="20"/>
                      </a:lnTo>
                      <a:lnTo>
                        <a:pt x="160" y="24"/>
                      </a:lnTo>
                      <a:lnTo>
                        <a:pt x="154" y="30"/>
                      </a:lnTo>
                      <a:lnTo>
                        <a:pt x="148" y="34"/>
                      </a:lnTo>
                      <a:lnTo>
                        <a:pt x="142" y="38"/>
                      </a:lnTo>
                      <a:lnTo>
                        <a:pt x="136" y="42"/>
                      </a:lnTo>
                      <a:lnTo>
                        <a:pt x="130" y="46"/>
                      </a:lnTo>
                      <a:lnTo>
                        <a:pt x="128" y="48"/>
                      </a:lnTo>
                      <a:lnTo>
                        <a:pt x="126" y="50"/>
                      </a:lnTo>
                      <a:lnTo>
                        <a:pt x="124" y="52"/>
                      </a:lnTo>
                      <a:lnTo>
                        <a:pt x="122" y="54"/>
                      </a:lnTo>
                      <a:lnTo>
                        <a:pt x="120" y="54"/>
                      </a:lnTo>
                      <a:lnTo>
                        <a:pt x="118" y="56"/>
                      </a:lnTo>
                      <a:lnTo>
                        <a:pt x="114" y="60"/>
                      </a:lnTo>
                      <a:lnTo>
                        <a:pt x="110" y="64"/>
                      </a:lnTo>
                      <a:lnTo>
                        <a:pt x="104" y="68"/>
                      </a:lnTo>
                      <a:lnTo>
                        <a:pt x="102" y="72"/>
                      </a:lnTo>
                      <a:lnTo>
                        <a:pt x="98" y="76"/>
                      </a:lnTo>
                      <a:lnTo>
                        <a:pt x="96" y="76"/>
                      </a:lnTo>
                      <a:lnTo>
                        <a:pt x="94" y="78"/>
                      </a:lnTo>
                      <a:lnTo>
                        <a:pt x="92" y="78"/>
                      </a:lnTo>
                      <a:lnTo>
                        <a:pt x="90" y="80"/>
                      </a:lnTo>
                      <a:lnTo>
                        <a:pt x="88" y="80"/>
                      </a:lnTo>
                      <a:lnTo>
                        <a:pt x="84" y="80"/>
                      </a:lnTo>
                      <a:lnTo>
                        <a:pt x="80" y="80"/>
                      </a:lnTo>
                      <a:lnTo>
                        <a:pt x="78" y="80"/>
                      </a:lnTo>
                      <a:lnTo>
                        <a:pt x="74" y="82"/>
                      </a:lnTo>
                      <a:lnTo>
                        <a:pt x="70" y="82"/>
                      </a:lnTo>
                      <a:lnTo>
                        <a:pt x="66" y="84"/>
                      </a:lnTo>
                      <a:lnTo>
                        <a:pt x="66" y="88"/>
                      </a:lnTo>
                      <a:lnTo>
                        <a:pt x="66" y="92"/>
                      </a:lnTo>
                      <a:lnTo>
                        <a:pt x="66" y="96"/>
                      </a:lnTo>
                      <a:lnTo>
                        <a:pt x="66" y="100"/>
                      </a:lnTo>
                      <a:lnTo>
                        <a:pt x="66" y="104"/>
                      </a:lnTo>
                      <a:lnTo>
                        <a:pt x="66" y="106"/>
                      </a:lnTo>
                      <a:lnTo>
                        <a:pt x="66" y="112"/>
                      </a:lnTo>
                      <a:lnTo>
                        <a:pt x="66" y="116"/>
                      </a:lnTo>
                      <a:lnTo>
                        <a:pt x="66" y="120"/>
                      </a:lnTo>
                      <a:lnTo>
                        <a:pt x="66" y="124"/>
                      </a:lnTo>
                      <a:lnTo>
                        <a:pt x="66" y="126"/>
                      </a:lnTo>
                      <a:lnTo>
                        <a:pt x="66" y="128"/>
                      </a:lnTo>
                      <a:lnTo>
                        <a:pt x="66" y="130"/>
                      </a:lnTo>
                      <a:lnTo>
                        <a:pt x="66" y="132"/>
                      </a:lnTo>
                      <a:lnTo>
                        <a:pt x="64" y="134"/>
                      </a:lnTo>
                      <a:lnTo>
                        <a:pt x="64" y="136"/>
                      </a:lnTo>
                      <a:lnTo>
                        <a:pt x="62" y="136"/>
                      </a:lnTo>
                      <a:lnTo>
                        <a:pt x="62" y="138"/>
                      </a:lnTo>
                      <a:lnTo>
                        <a:pt x="60" y="138"/>
                      </a:lnTo>
                      <a:lnTo>
                        <a:pt x="60" y="140"/>
                      </a:lnTo>
                      <a:lnTo>
                        <a:pt x="60" y="142"/>
                      </a:lnTo>
                      <a:lnTo>
                        <a:pt x="60" y="144"/>
                      </a:lnTo>
                      <a:lnTo>
                        <a:pt x="60" y="146"/>
                      </a:lnTo>
                      <a:lnTo>
                        <a:pt x="58" y="148"/>
                      </a:lnTo>
                      <a:lnTo>
                        <a:pt x="58" y="150"/>
                      </a:lnTo>
                      <a:lnTo>
                        <a:pt x="56" y="152"/>
                      </a:lnTo>
                      <a:lnTo>
                        <a:pt x="54" y="152"/>
                      </a:lnTo>
                      <a:lnTo>
                        <a:pt x="52" y="154"/>
                      </a:lnTo>
                      <a:lnTo>
                        <a:pt x="50" y="154"/>
                      </a:lnTo>
                      <a:lnTo>
                        <a:pt x="48" y="154"/>
                      </a:lnTo>
                      <a:lnTo>
                        <a:pt x="46" y="154"/>
                      </a:lnTo>
                      <a:lnTo>
                        <a:pt x="44" y="154"/>
                      </a:lnTo>
                      <a:lnTo>
                        <a:pt x="44" y="156"/>
                      </a:lnTo>
                      <a:lnTo>
                        <a:pt x="40" y="154"/>
                      </a:lnTo>
                      <a:lnTo>
                        <a:pt x="36" y="154"/>
                      </a:lnTo>
                      <a:lnTo>
                        <a:pt x="34" y="154"/>
                      </a:lnTo>
                      <a:lnTo>
                        <a:pt x="32" y="154"/>
                      </a:lnTo>
                      <a:lnTo>
                        <a:pt x="32" y="156"/>
                      </a:lnTo>
                      <a:lnTo>
                        <a:pt x="32" y="158"/>
                      </a:lnTo>
                      <a:lnTo>
                        <a:pt x="30" y="158"/>
                      </a:lnTo>
                      <a:lnTo>
                        <a:pt x="26" y="158"/>
                      </a:lnTo>
                      <a:lnTo>
                        <a:pt x="24" y="158"/>
                      </a:lnTo>
                      <a:lnTo>
                        <a:pt x="22" y="158"/>
                      </a:lnTo>
                      <a:lnTo>
                        <a:pt x="20" y="158"/>
                      </a:lnTo>
                      <a:lnTo>
                        <a:pt x="18" y="158"/>
                      </a:lnTo>
                      <a:lnTo>
                        <a:pt x="16" y="158"/>
                      </a:lnTo>
                      <a:lnTo>
                        <a:pt x="14" y="158"/>
                      </a:lnTo>
                      <a:lnTo>
                        <a:pt x="12" y="160"/>
                      </a:lnTo>
                      <a:lnTo>
                        <a:pt x="10" y="162"/>
                      </a:lnTo>
                      <a:lnTo>
                        <a:pt x="8" y="162"/>
                      </a:lnTo>
                      <a:lnTo>
                        <a:pt x="6" y="162"/>
                      </a:lnTo>
                      <a:lnTo>
                        <a:pt x="4" y="164"/>
                      </a:lnTo>
                      <a:lnTo>
                        <a:pt x="2" y="164"/>
                      </a:lnTo>
                      <a:lnTo>
                        <a:pt x="0" y="164"/>
                      </a:lnTo>
                      <a:lnTo>
                        <a:pt x="0" y="168"/>
                      </a:lnTo>
                      <a:lnTo>
                        <a:pt x="0" y="170"/>
                      </a:lnTo>
                      <a:lnTo>
                        <a:pt x="0" y="172"/>
                      </a:lnTo>
                      <a:lnTo>
                        <a:pt x="0" y="174"/>
                      </a:lnTo>
                      <a:lnTo>
                        <a:pt x="0" y="176"/>
                      </a:lnTo>
                      <a:lnTo>
                        <a:pt x="0" y="178"/>
                      </a:lnTo>
                      <a:lnTo>
                        <a:pt x="0" y="180"/>
                      </a:lnTo>
                      <a:lnTo>
                        <a:pt x="2" y="182"/>
                      </a:lnTo>
                      <a:lnTo>
                        <a:pt x="2" y="184"/>
                      </a:lnTo>
                      <a:lnTo>
                        <a:pt x="2" y="186"/>
                      </a:lnTo>
                      <a:lnTo>
                        <a:pt x="4" y="186"/>
                      </a:lnTo>
                      <a:lnTo>
                        <a:pt x="6" y="188"/>
                      </a:lnTo>
                      <a:lnTo>
                        <a:pt x="8" y="188"/>
                      </a:lnTo>
                      <a:lnTo>
                        <a:pt x="10" y="188"/>
                      </a:lnTo>
                      <a:lnTo>
                        <a:pt x="12" y="18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3" name="Freeform 89">
                  <a:extLst>
                    <a:ext uri="{FF2B5EF4-FFF2-40B4-BE49-F238E27FC236}">
                      <a16:creationId xmlns:a16="http://schemas.microsoft.com/office/drawing/2014/main" id="{87E3D0BF-AEFF-4241-BB75-5276876D8092}"/>
                    </a:ext>
                  </a:extLst>
                </p:cNvPr>
                <p:cNvSpPr>
                  <a:spLocks noChangeAspect="1"/>
                </p:cNvSpPr>
                <p:nvPr/>
              </p:nvSpPr>
              <p:spPr bwMode="auto">
                <a:xfrm>
                  <a:off x="4744853" y="4400335"/>
                  <a:ext cx="26310" cy="48831"/>
                </a:xfrm>
                <a:custGeom>
                  <a:avLst/>
                  <a:gdLst/>
                  <a:ahLst/>
                  <a:cxnLst>
                    <a:cxn ang="0">
                      <a:pos x="2" y="28"/>
                    </a:cxn>
                    <a:cxn ang="0">
                      <a:pos x="6" y="26"/>
                    </a:cxn>
                    <a:cxn ang="0">
                      <a:pos x="8" y="26"/>
                    </a:cxn>
                    <a:cxn ang="0">
                      <a:pos x="8" y="24"/>
                    </a:cxn>
                    <a:cxn ang="0">
                      <a:pos x="8" y="20"/>
                    </a:cxn>
                    <a:cxn ang="0">
                      <a:pos x="6" y="18"/>
                    </a:cxn>
                    <a:cxn ang="0">
                      <a:pos x="6" y="16"/>
                    </a:cxn>
                    <a:cxn ang="0">
                      <a:pos x="12" y="12"/>
                    </a:cxn>
                    <a:cxn ang="0">
                      <a:pos x="14" y="10"/>
                    </a:cxn>
                    <a:cxn ang="0">
                      <a:pos x="16" y="10"/>
                    </a:cxn>
                    <a:cxn ang="0">
                      <a:pos x="16" y="8"/>
                    </a:cxn>
                    <a:cxn ang="0">
                      <a:pos x="16" y="6"/>
                    </a:cxn>
                    <a:cxn ang="0">
                      <a:pos x="16" y="6"/>
                    </a:cxn>
                    <a:cxn ang="0">
                      <a:pos x="16" y="6"/>
                    </a:cxn>
                    <a:cxn ang="0">
                      <a:pos x="16" y="4"/>
                    </a:cxn>
                    <a:cxn ang="0">
                      <a:pos x="14" y="2"/>
                    </a:cxn>
                    <a:cxn ang="0">
                      <a:pos x="14" y="0"/>
                    </a:cxn>
                    <a:cxn ang="0">
                      <a:pos x="10" y="2"/>
                    </a:cxn>
                    <a:cxn ang="0">
                      <a:pos x="6" y="4"/>
                    </a:cxn>
                    <a:cxn ang="0">
                      <a:pos x="6" y="6"/>
                    </a:cxn>
                    <a:cxn ang="0">
                      <a:pos x="6" y="8"/>
                    </a:cxn>
                    <a:cxn ang="0">
                      <a:pos x="6" y="10"/>
                    </a:cxn>
                    <a:cxn ang="0">
                      <a:pos x="6" y="10"/>
                    </a:cxn>
                    <a:cxn ang="0">
                      <a:pos x="4" y="10"/>
                    </a:cxn>
                    <a:cxn ang="0">
                      <a:pos x="2" y="10"/>
                    </a:cxn>
                    <a:cxn ang="0">
                      <a:pos x="2" y="10"/>
                    </a:cxn>
                    <a:cxn ang="0">
                      <a:pos x="0" y="12"/>
                    </a:cxn>
                    <a:cxn ang="0">
                      <a:pos x="0" y="12"/>
                    </a:cxn>
                    <a:cxn ang="0">
                      <a:pos x="0" y="14"/>
                    </a:cxn>
                    <a:cxn ang="0">
                      <a:pos x="0" y="14"/>
                    </a:cxn>
                    <a:cxn ang="0">
                      <a:pos x="2" y="28"/>
                    </a:cxn>
                    <a:cxn ang="0">
                      <a:pos x="2" y="28"/>
                    </a:cxn>
                  </a:cxnLst>
                  <a:rect l="0" t="0" r="r" b="b"/>
                  <a:pathLst>
                    <a:path w="16" h="28">
                      <a:moveTo>
                        <a:pt x="2" y="28"/>
                      </a:moveTo>
                      <a:lnTo>
                        <a:pt x="2" y="28"/>
                      </a:lnTo>
                      <a:lnTo>
                        <a:pt x="6" y="26"/>
                      </a:lnTo>
                      <a:lnTo>
                        <a:pt x="8" y="26"/>
                      </a:lnTo>
                      <a:lnTo>
                        <a:pt x="8" y="24"/>
                      </a:lnTo>
                      <a:lnTo>
                        <a:pt x="8" y="22"/>
                      </a:lnTo>
                      <a:lnTo>
                        <a:pt x="8" y="20"/>
                      </a:lnTo>
                      <a:lnTo>
                        <a:pt x="8" y="18"/>
                      </a:lnTo>
                      <a:lnTo>
                        <a:pt x="6" y="18"/>
                      </a:lnTo>
                      <a:lnTo>
                        <a:pt x="6" y="16"/>
                      </a:lnTo>
                      <a:lnTo>
                        <a:pt x="10" y="14"/>
                      </a:lnTo>
                      <a:lnTo>
                        <a:pt x="12" y="12"/>
                      </a:lnTo>
                      <a:lnTo>
                        <a:pt x="14" y="10"/>
                      </a:lnTo>
                      <a:lnTo>
                        <a:pt x="16" y="10"/>
                      </a:lnTo>
                      <a:lnTo>
                        <a:pt x="16" y="8"/>
                      </a:lnTo>
                      <a:lnTo>
                        <a:pt x="16" y="6"/>
                      </a:lnTo>
                      <a:lnTo>
                        <a:pt x="16" y="4"/>
                      </a:lnTo>
                      <a:lnTo>
                        <a:pt x="16" y="2"/>
                      </a:lnTo>
                      <a:lnTo>
                        <a:pt x="14" y="2"/>
                      </a:lnTo>
                      <a:lnTo>
                        <a:pt x="14" y="0"/>
                      </a:lnTo>
                      <a:lnTo>
                        <a:pt x="12" y="0"/>
                      </a:lnTo>
                      <a:lnTo>
                        <a:pt x="10" y="2"/>
                      </a:lnTo>
                      <a:lnTo>
                        <a:pt x="8" y="4"/>
                      </a:lnTo>
                      <a:lnTo>
                        <a:pt x="6" y="4"/>
                      </a:lnTo>
                      <a:lnTo>
                        <a:pt x="6" y="6"/>
                      </a:lnTo>
                      <a:lnTo>
                        <a:pt x="6" y="8"/>
                      </a:lnTo>
                      <a:lnTo>
                        <a:pt x="6" y="10"/>
                      </a:lnTo>
                      <a:lnTo>
                        <a:pt x="4" y="10"/>
                      </a:lnTo>
                      <a:lnTo>
                        <a:pt x="2" y="10"/>
                      </a:lnTo>
                      <a:lnTo>
                        <a:pt x="0" y="12"/>
                      </a:lnTo>
                      <a:lnTo>
                        <a:pt x="0" y="14"/>
                      </a:lnTo>
                      <a:lnTo>
                        <a:pt x="2" y="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4" name="Freeform 90">
                  <a:extLst>
                    <a:ext uri="{FF2B5EF4-FFF2-40B4-BE49-F238E27FC236}">
                      <a16:creationId xmlns:a16="http://schemas.microsoft.com/office/drawing/2014/main" id="{DA110BCC-2C56-4967-8001-A5A1FE419110}"/>
                    </a:ext>
                  </a:extLst>
                </p:cNvPr>
                <p:cNvSpPr>
                  <a:spLocks noChangeAspect="1"/>
                </p:cNvSpPr>
                <p:nvPr/>
              </p:nvSpPr>
              <p:spPr bwMode="auto">
                <a:xfrm>
                  <a:off x="4665923" y="4180595"/>
                  <a:ext cx="59197" cy="41855"/>
                </a:xfrm>
                <a:custGeom>
                  <a:avLst/>
                  <a:gdLst/>
                  <a:ahLst/>
                  <a:cxnLst>
                    <a:cxn ang="0">
                      <a:pos x="36" y="6"/>
                    </a:cxn>
                    <a:cxn ang="0">
                      <a:pos x="36" y="4"/>
                    </a:cxn>
                    <a:cxn ang="0">
                      <a:pos x="36" y="2"/>
                    </a:cxn>
                    <a:cxn ang="0">
                      <a:pos x="36" y="2"/>
                    </a:cxn>
                    <a:cxn ang="0">
                      <a:pos x="28" y="2"/>
                    </a:cxn>
                    <a:cxn ang="0">
                      <a:pos x="22" y="2"/>
                    </a:cxn>
                    <a:cxn ang="0">
                      <a:pos x="18" y="2"/>
                    </a:cxn>
                    <a:cxn ang="0">
                      <a:pos x="16" y="2"/>
                    </a:cxn>
                    <a:cxn ang="0">
                      <a:pos x="14" y="2"/>
                    </a:cxn>
                    <a:cxn ang="0">
                      <a:pos x="12" y="2"/>
                    </a:cxn>
                    <a:cxn ang="0">
                      <a:pos x="12" y="0"/>
                    </a:cxn>
                    <a:cxn ang="0">
                      <a:pos x="10" y="0"/>
                    </a:cxn>
                    <a:cxn ang="0">
                      <a:pos x="10" y="0"/>
                    </a:cxn>
                    <a:cxn ang="0">
                      <a:pos x="8" y="0"/>
                    </a:cxn>
                    <a:cxn ang="0">
                      <a:pos x="8" y="0"/>
                    </a:cxn>
                    <a:cxn ang="0">
                      <a:pos x="8" y="2"/>
                    </a:cxn>
                    <a:cxn ang="0">
                      <a:pos x="8" y="6"/>
                    </a:cxn>
                    <a:cxn ang="0">
                      <a:pos x="8" y="10"/>
                    </a:cxn>
                    <a:cxn ang="0">
                      <a:pos x="6" y="12"/>
                    </a:cxn>
                    <a:cxn ang="0">
                      <a:pos x="2" y="16"/>
                    </a:cxn>
                    <a:cxn ang="0">
                      <a:pos x="0" y="18"/>
                    </a:cxn>
                    <a:cxn ang="0">
                      <a:pos x="2" y="20"/>
                    </a:cxn>
                    <a:cxn ang="0">
                      <a:pos x="6" y="22"/>
                    </a:cxn>
                    <a:cxn ang="0">
                      <a:pos x="8" y="22"/>
                    </a:cxn>
                    <a:cxn ang="0">
                      <a:pos x="10" y="22"/>
                    </a:cxn>
                    <a:cxn ang="0">
                      <a:pos x="10" y="22"/>
                    </a:cxn>
                    <a:cxn ang="0">
                      <a:pos x="10" y="24"/>
                    </a:cxn>
                    <a:cxn ang="0">
                      <a:pos x="12" y="24"/>
                    </a:cxn>
                    <a:cxn ang="0">
                      <a:pos x="12" y="24"/>
                    </a:cxn>
                    <a:cxn ang="0">
                      <a:pos x="14" y="24"/>
                    </a:cxn>
                    <a:cxn ang="0">
                      <a:pos x="18" y="24"/>
                    </a:cxn>
                    <a:cxn ang="0">
                      <a:pos x="26" y="24"/>
                    </a:cxn>
                    <a:cxn ang="0">
                      <a:pos x="32" y="24"/>
                    </a:cxn>
                    <a:cxn ang="0">
                      <a:pos x="34" y="24"/>
                    </a:cxn>
                    <a:cxn ang="0">
                      <a:pos x="36" y="24"/>
                    </a:cxn>
                    <a:cxn ang="0">
                      <a:pos x="36" y="22"/>
                    </a:cxn>
                    <a:cxn ang="0">
                      <a:pos x="36" y="18"/>
                    </a:cxn>
                    <a:cxn ang="0">
                      <a:pos x="36" y="12"/>
                    </a:cxn>
                    <a:cxn ang="0">
                      <a:pos x="36" y="10"/>
                    </a:cxn>
                    <a:cxn ang="0">
                      <a:pos x="34" y="10"/>
                    </a:cxn>
                    <a:cxn ang="0">
                      <a:pos x="34" y="10"/>
                    </a:cxn>
                  </a:cxnLst>
                  <a:rect l="0" t="0" r="r" b="b"/>
                  <a:pathLst>
                    <a:path w="36" h="24">
                      <a:moveTo>
                        <a:pt x="34" y="10"/>
                      </a:moveTo>
                      <a:lnTo>
                        <a:pt x="36" y="6"/>
                      </a:lnTo>
                      <a:lnTo>
                        <a:pt x="36" y="4"/>
                      </a:lnTo>
                      <a:lnTo>
                        <a:pt x="36" y="2"/>
                      </a:lnTo>
                      <a:lnTo>
                        <a:pt x="32" y="2"/>
                      </a:lnTo>
                      <a:lnTo>
                        <a:pt x="28" y="2"/>
                      </a:lnTo>
                      <a:lnTo>
                        <a:pt x="24" y="2"/>
                      </a:lnTo>
                      <a:lnTo>
                        <a:pt x="22" y="2"/>
                      </a:lnTo>
                      <a:lnTo>
                        <a:pt x="20" y="2"/>
                      </a:lnTo>
                      <a:lnTo>
                        <a:pt x="18" y="2"/>
                      </a:lnTo>
                      <a:lnTo>
                        <a:pt x="16" y="2"/>
                      </a:lnTo>
                      <a:lnTo>
                        <a:pt x="14" y="2"/>
                      </a:lnTo>
                      <a:lnTo>
                        <a:pt x="12" y="2"/>
                      </a:lnTo>
                      <a:lnTo>
                        <a:pt x="12" y="0"/>
                      </a:lnTo>
                      <a:lnTo>
                        <a:pt x="10" y="0"/>
                      </a:lnTo>
                      <a:lnTo>
                        <a:pt x="8" y="0"/>
                      </a:lnTo>
                      <a:lnTo>
                        <a:pt x="8" y="2"/>
                      </a:lnTo>
                      <a:lnTo>
                        <a:pt x="10" y="4"/>
                      </a:lnTo>
                      <a:lnTo>
                        <a:pt x="8" y="6"/>
                      </a:lnTo>
                      <a:lnTo>
                        <a:pt x="8" y="8"/>
                      </a:lnTo>
                      <a:lnTo>
                        <a:pt x="8" y="10"/>
                      </a:lnTo>
                      <a:lnTo>
                        <a:pt x="6" y="12"/>
                      </a:lnTo>
                      <a:lnTo>
                        <a:pt x="4" y="14"/>
                      </a:lnTo>
                      <a:lnTo>
                        <a:pt x="2" y="16"/>
                      </a:lnTo>
                      <a:lnTo>
                        <a:pt x="2" y="18"/>
                      </a:lnTo>
                      <a:lnTo>
                        <a:pt x="0" y="18"/>
                      </a:lnTo>
                      <a:lnTo>
                        <a:pt x="2" y="20"/>
                      </a:lnTo>
                      <a:lnTo>
                        <a:pt x="4" y="22"/>
                      </a:lnTo>
                      <a:lnTo>
                        <a:pt x="6" y="22"/>
                      </a:lnTo>
                      <a:lnTo>
                        <a:pt x="8" y="24"/>
                      </a:lnTo>
                      <a:lnTo>
                        <a:pt x="8" y="22"/>
                      </a:lnTo>
                      <a:lnTo>
                        <a:pt x="10" y="22"/>
                      </a:lnTo>
                      <a:lnTo>
                        <a:pt x="10" y="24"/>
                      </a:lnTo>
                      <a:lnTo>
                        <a:pt x="12" y="24"/>
                      </a:lnTo>
                      <a:lnTo>
                        <a:pt x="14" y="24"/>
                      </a:lnTo>
                      <a:lnTo>
                        <a:pt x="16" y="24"/>
                      </a:lnTo>
                      <a:lnTo>
                        <a:pt x="18" y="24"/>
                      </a:lnTo>
                      <a:lnTo>
                        <a:pt x="22" y="24"/>
                      </a:lnTo>
                      <a:lnTo>
                        <a:pt x="26" y="24"/>
                      </a:lnTo>
                      <a:lnTo>
                        <a:pt x="30" y="24"/>
                      </a:lnTo>
                      <a:lnTo>
                        <a:pt x="32" y="24"/>
                      </a:lnTo>
                      <a:lnTo>
                        <a:pt x="34" y="24"/>
                      </a:lnTo>
                      <a:lnTo>
                        <a:pt x="36" y="24"/>
                      </a:lnTo>
                      <a:lnTo>
                        <a:pt x="36" y="22"/>
                      </a:lnTo>
                      <a:lnTo>
                        <a:pt x="36" y="20"/>
                      </a:lnTo>
                      <a:lnTo>
                        <a:pt x="36" y="18"/>
                      </a:lnTo>
                      <a:lnTo>
                        <a:pt x="36" y="14"/>
                      </a:lnTo>
                      <a:lnTo>
                        <a:pt x="36" y="12"/>
                      </a:lnTo>
                      <a:lnTo>
                        <a:pt x="36" y="10"/>
                      </a:lnTo>
                      <a:lnTo>
                        <a:pt x="34"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5" name="Freeform 91">
                  <a:extLst>
                    <a:ext uri="{FF2B5EF4-FFF2-40B4-BE49-F238E27FC236}">
                      <a16:creationId xmlns:a16="http://schemas.microsoft.com/office/drawing/2014/main" id="{C1CEC844-30C3-44E8-B9FB-51FB4D4A710C}"/>
                    </a:ext>
                  </a:extLst>
                </p:cNvPr>
                <p:cNvSpPr>
                  <a:spLocks noChangeAspect="1"/>
                </p:cNvSpPr>
                <p:nvPr/>
              </p:nvSpPr>
              <p:spPr bwMode="auto">
                <a:xfrm>
                  <a:off x="5317090" y="4571243"/>
                  <a:ext cx="88796" cy="258107"/>
                </a:xfrm>
                <a:custGeom>
                  <a:avLst/>
                  <a:gdLst/>
                  <a:ahLst/>
                  <a:cxnLst>
                    <a:cxn ang="0">
                      <a:pos x="46" y="92"/>
                    </a:cxn>
                    <a:cxn ang="0">
                      <a:pos x="38" y="80"/>
                    </a:cxn>
                    <a:cxn ang="0">
                      <a:pos x="34" y="82"/>
                    </a:cxn>
                    <a:cxn ang="0">
                      <a:pos x="38" y="86"/>
                    </a:cxn>
                    <a:cxn ang="0">
                      <a:pos x="38" y="94"/>
                    </a:cxn>
                    <a:cxn ang="0">
                      <a:pos x="36" y="92"/>
                    </a:cxn>
                    <a:cxn ang="0">
                      <a:pos x="32" y="92"/>
                    </a:cxn>
                    <a:cxn ang="0">
                      <a:pos x="30" y="90"/>
                    </a:cxn>
                    <a:cxn ang="0">
                      <a:pos x="28" y="80"/>
                    </a:cxn>
                    <a:cxn ang="0">
                      <a:pos x="28" y="68"/>
                    </a:cxn>
                    <a:cxn ang="0">
                      <a:pos x="20" y="60"/>
                    </a:cxn>
                    <a:cxn ang="0">
                      <a:pos x="20" y="54"/>
                    </a:cxn>
                    <a:cxn ang="0">
                      <a:pos x="28" y="44"/>
                    </a:cxn>
                    <a:cxn ang="0">
                      <a:pos x="28" y="38"/>
                    </a:cxn>
                    <a:cxn ang="0">
                      <a:pos x="26" y="22"/>
                    </a:cxn>
                    <a:cxn ang="0">
                      <a:pos x="24" y="14"/>
                    </a:cxn>
                    <a:cxn ang="0">
                      <a:pos x="20" y="10"/>
                    </a:cxn>
                    <a:cxn ang="0">
                      <a:pos x="14" y="4"/>
                    </a:cxn>
                    <a:cxn ang="0">
                      <a:pos x="12" y="2"/>
                    </a:cxn>
                    <a:cxn ang="0">
                      <a:pos x="8" y="0"/>
                    </a:cxn>
                    <a:cxn ang="0">
                      <a:pos x="6" y="2"/>
                    </a:cxn>
                    <a:cxn ang="0">
                      <a:pos x="6" y="4"/>
                    </a:cxn>
                    <a:cxn ang="0">
                      <a:pos x="10" y="8"/>
                    </a:cxn>
                    <a:cxn ang="0">
                      <a:pos x="12" y="16"/>
                    </a:cxn>
                    <a:cxn ang="0">
                      <a:pos x="14" y="18"/>
                    </a:cxn>
                    <a:cxn ang="0">
                      <a:pos x="16" y="20"/>
                    </a:cxn>
                    <a:cxn ang="0">
                      <a:pos x="14" y="24"/>
                    </a:cxn>
                    <a:cxn ang="0">
                      <a:pos x="10" y="28"/>
                    </a:cxn>
                    <a:cxn ang="0">
                      <a:pos x="10" y="32"/>
                    </a:cxn>
                    <a:cxn ang="0">
                      <a:pos x="10" y="38"/>
                    </a:cxn>
                    <a:cxn ang="0">
                      <a:pos x="10" y="46"/>
                    </a:cxn>
                    <a:cxn ang="0">
                      <a:pos x="10" y="54"/>
                    </a:cxn>
                    <a:cxn ang="0">
                      <a:pos x="12" y="54"/>
                    </a:cxn>
                    <a:cxn ang="0">
                      <a:pos x="12" y="58"/>
                    </a:cxn>
                    <a:cxn ang="0">
                      <a:pos x="4" y="64"/>
                    </a:cxn>
                    <a:cxn ang="0">
                      <a:pos x="4" y="72"/>
                    </a:cxn>
                    <a:cxn ang="0">
                      <a:pos x="0" y="78"/>
                    </a:cxn>
                    <a:cxn ang="0">
                      <a:pos x="2" y="84"/>
                    </a:cxn>
                    <a:cxn ang="0">
                      <a:pos x="8" y="90"/>
                    </a:cxn>
                    <a:cxn ang="0">
                      <a:pos x="14" y="100"/>
                    </a:cxn>
                    <a:cxn ang="0">
                      <a:pos x="20" y="98"/>
                    </a:cxn>
                    <a:cxn ang="0">
                      <a:pos x="24" y="98"/>
                    </a:cxn>
                    <a:cxn ang="0">
                      <a:pos x="28" y="98"/>
                    </a:cxn>
                    <a:cxn ang="0">
                      <a:pos x="28" y="106"/>
                    </a:cxn>
                    <a:cxn ang="0">
                      <a:pos x="30" y="114"/>
                    </a:cxn>
                    <a:cxn ang="0">
                      <a:pos x="26" y="114"/>
                    </a:cxn>
                    <a:cxn ang="0">
                      <a:pos x="26" y="118"/>
                    </a:cxn>
                    <a:cxn ang="0">
                      <a:pos x="28" y="120"/>
                    </a:cxn>
                    <a:cxn ang="0">
                      <a:pos x="24" y="126"/>
                    </a:cxn>
                    <a:cxn ang="0">
                      <a:pos x="26" y="132"/>
                    </a:cxn>
                    <a:cxn ang="0">
                      <a:pos x="26" y="134"/>
                    </a:cxn>
                    <a:cxn ang="0">
                      <a:pos x="36" y="140"/>
                    </a:cxn>
                    <a:cxn ang="0">
                      <a:pos x="34" y="146"/>
                    </a:cxn>
                    <a:cxn ang="0">
                      <a:pos x="40" y="146"/>
                    </a:cxn>
                    <a:cxn ang="0">
                      <a:pos x="40" y="138"/>
                    </a:cxn>
                    <a:cxn ang="0">
                      <a:pos x="38" y="136"/>
                    </a:cxn>
                    <a:cxn ang="0">
                      <a:pos x="44" y="130"/>
                    </a:cxn>
                    <a:cxn ang="0">
                      <a:pos x="50" y="122"/>
                    </a:cxn>
                    <a:cxn ang="0">
                      <a:pos x="50" y="114"/>
                    </a:cxn>
                    <a:cxn ang="0">
                      <a:pos x="54" y="106"/>
                    </a:cxn>
                  </a:cxnLst>
                  <a:rect l="0" t="0" r="r" b="b"/>
                  <a:pathLst>
                    <a:path w="54" h="148">
                      <a:moveTo>
                        <a:pt x="54" y="104"/>
                      </a:moveTo>
                      <a:lnTo>
                        <a:pt x="52" y="100"/>
                      </a:lnTo>
                      <a:lnTo>
                        <a:pt x="50" y="98"/>
                      </a:lnTo>
                      <a:lnTo>
                        <a:pt x="48" y="96"/>
                      </a:lnTo>
                      <a:lnTo>
                        <a:pt x="46" y="94"/>
                      </a:lnTo>
                      <a:lnTo>
                        <a:pt x="46" y="92"/>
                      </a:lnTo>
                      <a:lnTo>
                        <a:pt x="44" y="90"/>
                      </a:lnTo>
                      <a:lnTo>
                        <a:pt x="44" y="88"/>
                      </a:lnTo>
                      <a:lnTo>
                        <a:pt x="42" y="86"/>
                      </a:lnTo>
                      <a:lnTo>
                        <a:pt x="40" y="84"/>
                      </a:lnTo>
                      <a:lnTo>
                        <a:pt x="38" y="82"/>
                      </a:lnTo>
                      <a:lnTo>
                        <a:pt x="38" y="80"/>
                      </a:lnTo>
                      <a:lnTo>
                        <a:pt x="36" y="80"/>
                      </a:lnTo>
                      <a:lnTo>
                        <a:pt x="34" y="80"/>
                      </a:lnTo>
                      <a:lnTo>
                        <a:pt x="34" y="82"/>
                      </a:lnTo>
                      <a:lnTo>
                        <a:pt x="36" y="82"/>
                      </a:lnTo>
                      <a:lnTo>
                        <a:pt x="36" y="84"/>
                      </a:lnTo>
                      <a:lnTo>
                        <a:pt x="38" y="84"/>
                      </a:lnTo>
                      <a:lnTo>
                        <a:pt x="38" y="86"/>
                      </a:lnTo>
                      <a:lnTo>
                        <a:pt x="38" y="88"/>
                      </a:lnTo>
                      <a:lnTo>
                        <a:pt x="40" y="90"/>
                      </a:lnTo>
                      <a:lnTo>
                        <a:pt x="40" y="92"/>
                      </a:lnTo>
                      <a:lnTo>
                        <a:pt x="38" y="94"/>
                      </a:lnTo>
                      <a:lnTo>
                        <a:pt x="36" y="94"/>
                      </a:lnTo>
                      <a:lnTo>
                        <a:pt x="36" y="92"/>
                      </a:lnTo>
                      <a:lnTo>
                        <a:pt x="36" y="90"/>
                      </a:lnTo>
                      <a:lnTo>
                        <a:pt x="34" y="90"/>
                      </a:lnTo>
                      <a:lnTo>
                        <a:pt x="34" y="92"/>
                      </a:lnTo>
                      <a:lnTo>
                        <a:pt x="32" y="92"/>
                      </a:lnTo>
                      <a:lnTo>
                        <a:pt x="30" y="92"/>
                      </a:lnTo>
                      <a:lnTo>
                        <a:pt x="30" y="90"/>
                      </a:lnTo>
                      <a:lnTo>
                        <a:pt x="30" y="86"/>
                      </a:lnTo>
                      <a:lnTo>
                        <a:pt x="30" y="84"/>
                      </a:lnTo>
                      <a:lnTo>
                        <a:pt x="28" y="82"/>
                      </a:lnTo>
                      <a:lnTo>
                        <a:pt x="28" y="80"/>
                      </a:lnTo>
                      <a:lnTo>
                        <a:pt x="28" y="78"/>
                      </a:lnTo>
                      <a:lnTo>
                        <a:pt x="28" y="76"/>
                      </a:lnTo>
                      <a:lnTo>
                        <a:pt x="28" y="72"/>
                      </a:lnTo>
                      <a:lnTo>
                        <a:pt x="28" y="70"/>
                      </a:lnTo>
                      <a:lnTo>
                        <a:pt x="28" y="68"/>
                      </a:lnTo>
                      <a:lnTo>
                        <a:pt x="26" y="66"/>
                      </a:lnTo>
                      <a:lnTo>
                        <a:pt x="24" y="64"/>
                      </a:lnTo>
                      <a:lnTo>
                        <a:pt x="22" y="64"/>
                      </a:lnTo>
                      <a:lnTo>
                        <a:pt x="22" y="62"/>
                      </a:lnTo>
                      <a:lnTo>
                        <a:pt x="20" y="60"/>
                      </a:lnTo>
                      <a:lnTo>
                        <a:pt x="18" y="60"/>
                      </a:lnTo>
                      <a:lnTo>
                        <a:pt x="18" y="58"/>
                      </a:lnTo>
                      <a:lnTo>
                        <a:pt x="20" y="58"/>
                      </a:lnTo>
                      <a:lnTo>
                        <a:pt x="20" y="56"/>
                      </a:lnTo>
                      <a:lnTo>
                        <a:pt x="20" y="54"/>
                      </a:lnTo>
                      <a:lnTo>
                        <a:pt x="20" y="52"/>
                      </a:lnTo>
                      <a:lnTo>
                        <a:pt x="22" y="50"/>
                      </a:lnTo>
                      <a:lnTo>
                        <a:pt x="24" y="48"/>
                      </a:lnTo>
                      <a:lnTo>
                        <a:pt x="26" y="46"/>
                      </a:lnTo>
                      <a:lnTo>
                        <a:pt x="28" y="44"/>
                      </a:lnTo>
                      <a:lnTo>
                        <a:pt x="28" y="42"/>
                      </a:lnTo>
                      <a:lnTo>
                        <a:pt x="28" y="40"/>
                      </a:lnTo>
                      <a:lnTo>
                        <a:pt x="28" y="38"/>
                      </a:lnTo>
                      <a:lnTo>
                        <a:pt x="28" y="36"/>
                      </a:lnTo>
                      <a:lnTo>
                        <a:pt x="28" y="34"/>
                      </a:lnTo>
                      <a:lnTo>
                        <a:pt x="28" y="32"/>
                      </a:lnTo>
                      <a:lnTo>
                        <a:pt x="28" y="30"/>
                      </a:lnTo>
                      <a:lnTo>
                        <a:pt x="26" y="26"/>
                      </a:lnTo>
                      <a:lnTo>
                        <a:pt x="26" y="22"/>
                      </a:lnTo>
                      <a:lnTo>
                        <a:pt x="26" y="20"/>
                      </a:lnTo>
                      <a:lnTo>
                        <a:pt x="26" y="18"/>
                      </a:lnTo>
                      <a:lnTo>
                        <a:pt x="26" y="16"/>
                      </a:lnTo>
                      <a:lnTo>
                        <a:pt x="24" y="14"/>
                      </a:lnTo>
                      <a:lnTo>
                        <a:pt x="22" y="14"/>
                      </a:lnTo>
                      <a:lnTo>
                        <a:pt x="20" y="12"/>
                      </a:lnTo>
                      <a:lnTo>
                        <a:pt x="20" y="10"/>
                      </a:lnTo>
                      <a:lnTo>
                        <a:pt x="20" y="6"/>
                      </a:lnTo>
                      <a:lnTo>
                        <a:pt x="20" y="4"/>
                      </a:lnTo>
                      <a:lnTo>
                        <a:pt x="18" y="4"/>
                      </a:lnTo>
                      <a:lnTo>
                        <a:pt x="16" y="4"/>
                      </a:lnTo>
                      <a:lnTo>
                        <a:pt x="14" y="4"/>
                      </a:lnTo>
                      <a:lnTo>
                        <a:pt x="12" y="4"/>
                      </a:lnTo>
                      <a:lnTo>
                        <a:pt x="12" y="2"/>
                      </a:lnTo>
                      <a:lnTo>
                        <a:pt x="12" y="0"/>
                      </a:lnTo>
                      <a:lnTo>
                        <a:pt x="10" y="0"/>
                      </a:lnTo>
                      <a:lnTo>
                        <a:pt x="8" y="0"/>
                      </a:lnTo>
                      <a:lnTo>
                        <a:pt x="6" y="0"/>
                      </a:lnTo>
                      <a:lnTo>
                        <a:pt x="6" y="2"/>
                      </a:lnTo>
                      <a:lnTo>
                        <a:pt x="6" y="4"/>
                      </a:lnTo>
                      <a:lnTo>
                        <a:pt x="8" y="4"/>
                      </a:lnTo>
                      <a:lnTo>
                        <a:pt x="10" y="4"/>
                      </a:lnTo>
                      <a:lnTo>
                        <a:pt x="10" y="6"/>
                      </a:lnTo>
                      <a:lnTo>
                        <a:pt x="10" y="8"/>
                      </a:lnTo>
                      <a:lnTo>
                        <a:pt x="10" y="12"/>
                      </a:lnTo>
                      <a:lnTo>
                        <a:pt x="10" y="14"/>
                      </a:lnTo>
                      <a:lnTo>
                        <a:pt x="10" y="16"/>
                      </a:lnTo>
                      <a:lnTo>
                        <a:pt x="12" y="16"/>
                      </a:lnTo>
                      <a:lnTo>
                        <a:pt x="14" y="16"/>
                      </a:lnTo>
                      <a:lnTo>
                        <a:pt x="14" y="18"/>
                      </a:lnTo>
                      <a:lnTo>
                        <a:pt x="14" y="20"/>
                      </a:lnTo>
                      <a:lnTo>
                        <a:pt x="16" y="20"/>
                      </a:lnTo>
                      <a:lnTo>
                        <a:pt x="18" y="20"/>
                      </a:lnTo>
                      <a:lnTo>
                        <a:pt x="18" y="22"/>
                      </a:lnTo>
                      <a:lnTo>
                        <a:pt x="16" y="22"/>
                      </a:lnTo>
                      <a:lnTo>
                        <a:pt x="16" y="24"/>
                      </a:lnTo>
                      <a:lnTo>
                        <a:pt x="14" y="24"/>
                      </a:lnTo>
                      <a:lnTo>
                        <a:pt x="12" y="26"/>
                      </a:lnTo>
                      <a:lnTo>
                        <a:pt x="10" y="26"/>
                      </a:lnTo>
                      <a:lnTo>
                        <a:pt x="10" y="28"/>
                      </a:lnTo>
                      <a:lnTo>
                        <a:pt x="10" y="30"/>
                      </a:lnTo>
                      <a:lnTo>
                        <a:pt x="10" y="32"/>
                      </a:lnTo>
                      <a:lnTo>
                        <a:pt x="10" y="34"/>
                      </a:lnTo>
                      <a:lnTo>
                        <a:pt x="12" y="34"/>
                      </a:lnTo>
                      <a:lnTo>
                        <a:pt x="10" y="36"/>
                      </a:lnTo>
                      <a:lnTo>
                        <a:pt x="10" y="38"/>
                      </a:lnTo>
                      <a:lnTo>
                        <a:pt x="10" y="42"/>
                      </a:lnTo>
                      <a:lnTo>
                        <a:pt x="10" y="44"/>
                      </a:lnTo>
                      <a:lnTo>
                        <a:pt x="10" y="46"/>
                      </a:lnTo>
                      <a:lnTo>
                        <a:pt x="10" y="48"/>
                      </a:lnTo>
                      <a:lnTo>
                        <a:pt x="10" y="50"/>
                      </a:lnTo>
                      <a:lnTo>
                        <a:pt x="10" y="52"/>
                      </a:lnTo>
                      <a:lnTo>
                        <a:pt x="10" y="54"/>
                      </a:lnTo>
                      <a:lnTo>
                        <a:pt x="10" y="56"/>
                      </a:lnTo>
                      <a:lnTo>
                        <a:pt x="12" y="54"/>
                      </a:lnTo>
                      <a:lnTo>
                        <a:pt x="12" y="56"/>
                      </a:lnTo>
                      <a:lnTo>
                        <a:pt x="14" y="56"/>
                      </a:lnTo>
                      <a:lnTo>
                        <a:pt x="12" y="58"/>
                      </a:lnTo>
                      <a:lnTo>
                        <a:pt x="10" y="60"/>
                      </a:lnTo>
                      <a:lnTo>
                        <a:pt x="8" y="60"/>
                      </a:lnTo>
                      <a:lnTo>
                        <a:pt x="6" y="62"/>
                      </a:lnTo>
                      <a:lnTo>
                        <a:pt x="4" y="64"/>
                      </a:lnTo>
                      <a:lnTo>
                        <a:pt x="4" y="66"/>
                      </a:lnTo>
                      <a:lnTo>
                        <a:pt x="4" y="68"/>
                      </a:lnTo>
                      <a:lnTo>
                        <a:pt x="4" y="70"/>
                      </a:lnTo>
                      <a:lnTo>
                        <a:pt x="4" y="72"/>
                      </a:lnTo>
                      <a:lnTo>
                        <a:pt x="4" y="74"/>
                      </a:lnTo>
                      <a:lnTo>
                        <a:pt x="2" y="74"/>
                      </a:lnTo>
                      <a:lnTo>
                        <a:pt x="2" y="76"/>
                      </a:lnTo>
                      <a:lnTo>
                        <a:pt x="0" y="78"/>
                      </a:lnTo>
                      <a:lnTo>
                        <a:pt x="0" y="80"/>
                      </a:lnTo>
                      <a:lnTo>
                        <a:pt x="0" y="82"/>
                      </a:lnTo>
                      <a:lnTo>
                        <a:pt x="2" y="84"/>
                      </a:lnTo>
                      <a:lnTo>
                        <a:pt x="4" y="86"/>
                      </a:lnTo>
                      <a:lnTo>
                        <a:pt x="6" y="88"/>
                      </a:lnTo>
                      <a:lnTo>
                        <a:pt x="8" y="88"/>
                      </a:lnTo>
                      <a:lnTo>
                        <a:pt x="8" y="90"/>
                      </a:lnTo>
                      <a:lnTo>
                        <a:pt x="10" y="92"/>
                      </a:lnTo>
                      <a:lnTo>
                        <a:pt x="10" y="94"/>
                      </a:lnTo>
                      <a:lnTo>
                        <a:pt x="12" y="96"/>
                      </a:lnTo>
                      <a:lnTo>
                        <a:pt x="12" y="98"/>
                      </a:lnTo>
                      <a:lnTo>
                        <a:pt x="14" y="98"/>
                      </a:lnTo>
                      <a:lnTo>
                        <a:pt x="14" y="100"/>
                      </a:lnTo>
                      <a:lnTo>
                        <a:pt x="16" y="100"/>
                      </a:lnTo>
                      <a:lnTo>
                        <a:pt x="18" y="98"/>
                      </a:lnTo>
                      <a:lnTo>
                        <a:pt x="20" y="98"/>
                      </a:lnTo>
                      <a:lnTo>
                        <a:pt x="22" y="98"/>
                      </a:lnTo>
                      <a:lnTo>
                        <a:pt x="24" y="98"/>
                      </a:lnTo>
                      <a:lnTo>
                        <a:pt x="26" y="96"/>
                      </a:lnTo>
                      <a:lnTo>
                        <a:pt x="28" y="96"/>
                      </a:lnTo>
                      <a:lnTo>
                        <a:pt x="28" y="98"/>
                      </a:lnTo>
                      <a:lnTo>
                        <a:pt x="28" y="100"/>
                      </a:lnTo>
                      <a:lnTo>
                        <a:pt x="28" y="102"/>
                      </a:lnTo>
                      <a:lnTo>
                        <a:pt x="28" y="104"/>
                      </a:lnTo>
                      <a:lnTo>
                        <a:pt x="28" y="106"/>
                      </a:lnTo>
                      <a:lnTo>
                        <a:pt x="28" y="108"/>
                      </a:lnTo>
                      <a:lnTo>
                        <a:pt x="30" y="108"/>
                      </a:lnTo>
                      <a:lnTo>
                        <a:pt x="30" y="110"/>
                      </a:lnTo>
                      <a:lnTo>
                        <a:pt x="30" y="112"/>
                      </a:lnTo>
                      <a:lnTo>
                        <a:pt x="30" y="114"/>
                      </a:lnTo>
                      <a:lnTo>
                        <a:pt x="28" y="114"/>
                      </a:lnTo>
                      <a:lnTo>
                        <a:pt x="26" y="114"/>
                      </a:lnTo>
                      <a:lnTo>
                        <a:pt x="26" y="116"/>
                      </a:lnTo>
                      <a:lnTo>
                        <a:pt x="26" y="118"/>
                      </a:lnTo>
                      <a:lnTo>
                        <a:pt x="28" y="118"/>
                      </a:lnTo>
                      <a:lnTo>
                        <a:pt x="28" y="120"/>
                      </a:lnTo>
                      <a:lnTo>
                        <a:pt x="26" y="122"/>
                      </a:lnTo>
                      <a:lnTo>
                        <a:pt x="24" y="124"/>
                      </a:lnTo>
                      <a:lnTo>
                        <a:pt x="24" y="126"/>
                      </a:lnTo>
                      <a:lnTo>
                        <a:pt x="26" y="126"/>
                      </a:lnTo>
                      <a:lnTo>
                        <a:pt x="26" y="128"/>
                      </a:lnTo>
                      <a:lnTo>
                        <a:pt x="26" y="130"/>
                      </a:lnTo>
                      <a:lnTo>
                        <a:pt x="26" y="132"/>
                      </a:lnTo>
                      <a:lnTo>
                        <a:pt x="26" y="134"/>
                      </a:lnTo>
                      <a:lnTo>
                        <a:pt x="28" y="134"/>
                      </a:lnTo>
                      <a:lnTo>
                        <a:pt x="30" y="136"/>
                      </a:lnTo>
                      <a:lnTo>
                        <a:pt x="32" y="138"/>
                      </a:lnTo>
                      <a:lnTo>
                        <a:pt x="34" y="138"/>
                      </a:lnTo>
                      <a:lnTo>
                        <a:pt x="34" y="140"/>
                      </a:lnTo>
                      <a:lnTo>
                        <a:pt x="36" y="140"/>
                      </a:lnTo>
                      <a:lnTo>
                        <a:pt x="36" y="142"/>
                      </a:lnTo>
                      <a:lnTo>
                        <a:pt x="36" y="144"/>
                      </a:lnTo>
                      <a:lnTo>
                        <a:pt x="34" y="146"/>
                      </a:lnTo>
                      <a:lnTo>
                        <a:pt x="34" y="148"/>
                      </a:lnTo>
                      <a:lnTo>
                        <a:pt x="36" y="148"/>
                      </a:lnTo>
                      <a:lnTo>
                        <a:pt x="38" y="148"/>
                      </a:lnTo>
                      <a:lnTo>
                        <a:pt x="40" y="146"/>
                      </a:lnTo>
                      <a:lnTo>
                        <a:pt x="42" y="144"/>
                      </a:lnTo>
                      <a:lnTo>
                        <a:pt x="42" y="142"/>
                      </a:lnTo>
                      <a:lnTo>
                        <a:pt x="42" y="140"/>
                      </a:lnTo>
                      <a:lnTo>
                        <a:pt x="40" y="138"/>
                      </a:lnTo>
                      <a:lnTo>
                        <a:pt x="38" y="138"/>
                      </a:lnTo>
                      <a:lnTo>
                        <a:pt x="38" y="136"/>
                      </a:lnTo>
                      <a:lnTo>
                        <a:pt x="38" y="134"/>
                      </a:lnTo>
                      <a:lnTo>
                        <a:pt x="40" y="132"/>
                      </a:lnTo>
                      <a:lnTo>
                        <a:pt x="40" y="130"/>
                      </a:lnTo>
                      <a:lnTo>
                        <a:pt x="42" y="130"/>
                      </a:lnTo>
                      <a:lnTo>
                        <a:pt x="44" y="130"/>
                      </a:lnTo>
                      <a:lnTo>
                        <a:pt x="46" y="130"/>
                      </a:lnTo>
                      <a:lnTo>
                        <a:pt x="48" y="128"/>
                      </a:lnTo>
                      <a:lnTo>
                        <a:pt x="50" y="128"/>
                      </a:lnTo>
                      <a:lnTo>
                        <a:pt x="50" y="126"/>
                      </a:lnTo>
                      <a:lnTo>
                        <a:pt x="50" y="124"/>
                      </a:lnTo>
                      <a:lnTo>
                        <a:pt x="50" y="122"/>
                      </a:lnTo>
                      <a:lnTo>
                        <a:pt x="50" y="120"/>
                      </a:lnTo>
                      <a:lnTo>
                        <a:pt x="50" y="116"/>
                      </a:lnTo>
                      <a:lnTo>
                        <a:pt x="50" y="114"/>
                      </a:lnTo>
                      <a:lnTo>
                        <a:pt x="50" y="112"/>
                      </a:lnTo>
                      <a:lnTo>
                        <a:pt x="52" y="110"/>
                      </a:lnTo>
                      <a:lnTo>
                        <a:pt x="54" y="108"/>
                      </a:lnTo>
                      <a:lnTo>
                        <a:pt x="54" y="106"/>
                      </a:lnTo>
                      <a:lnTo>
                        <a:pt x="54" y="10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6" name="Freeform 92">
                  <a:extLst>
                    <a:ext uri="{FF2B5EF4-FFF2-40B4-BE49-F238E27FC236}">
                      <a16:creationId xmlns:a16="http://schemas.microsoft.com/office/drawing/2014/main" id="{19A3D38F-F73C-4293-B914-98CE970A56B2}"/>
                    </a:ext>
                  </a:extLst>
                </p:cNvPr>
                <p:cNvSpPr>
                  <a:spLocks noChangeAspect="1"/>
                </p:cNvSpPr>
                <p:nvPr/>
              </p:nvSpPr>
              <p:spPr bwMode="auto">
                <a:xfrm>
                  <a:off x="4642902" y="4128277"/>
                  <a:ext cx="16443" cy="20928"/>
                </a:xfrm>
                <a:custGeom>
                  <a:avLst/>
                  <a:gdLst/>
                  <a:ahLst/>
                  <a:cxnLst>
                    <a:cxn ang="0">
                      <a:pos x="10" y="2"/>
                    </a:cxn>
                    <a:cxn ang="0">
                      <a:pos x="8" y="0"/>
                    </a:cxn>
                    <a:cxn ang="0">
                      <a:pos x="6" y="2"/>
                    </a:cxn>
                    <a:cxn ang="0">
                      <a:pos x="4" y="2"/>
                    </a:cxn>
                    <a:cxn ang="0">
                      <a:pos x="2" y="4"/>
                    </a:cxn>
                    <a:cxn ang="0">
                      <a:pos x="0" y="6"/>
                    </a:cxn>
                    <a:cxn ang="0">
                      <a:pos x="0" y="8"/>
                    </a:cxn>
                    <a:cxn ang="0">
                      <a:pos x="0" y="8"/>
                    </a:cxn>
                    <a:cxn ang="0">
                      <a:pos x="0" y="10"/>
                    </a:cxn>
                    <a:cxn ang="0">
                      <a:pos x="2" y="10"/>
                    </a:cxn>
                    <a:cxn ang="0">
                      <a:pos x="2" y="12"/>
                    </a:cxn>
                    <a:cxn ang="0">
                      <a:pos x="4" y="12"/>
                    </a:cxn>
                    <a:cxn ang="0">
                      <a:pos x="4" y="12"/>
                    </a:cxn>
                    <a:cxn ang="0">
                      <a:pos x="6" y="12"/>
                    </a:cxn>
                    <a:cxn ang="0">
                      <a:pos x="6" y="12"/>
                    </a:cxn>
                    <a:cxn ang="0">
                      <a:pos x="8" y="12"/>
                    </a:cxn>
                    <a:cxn ang="0">
                      <a:pos x="8" y="10"/>
                    </a:cxn>
                    <a:cxn ang="0">
                      <a:pos x="10" y="8"/>
                    </a:cxn>
                    <a:cxn ang="0">
                      <a:pos x="10" y="6"/>
                    </a:cxn>
                    <a:cxn ang="0">
                      <a:pos x="10" y="4"/>
                    </a:cxn>
                    <a:cxn ang="0">
                      <a:pos x="10" y="2"/>
                    </a:cxn>
                    <a:cxn ang="0">
                      <a:pos x="10" y="2"/>
                    </a:cxn>
                    <a:cxn ang="0">
                      <a:pos x="10" y="2"/>
                    </a:cxn>
                    <a:cxn ang="0">
                      <a:pos x="10" y="2"/>
                    </a:cxn>
                  </a:cxnLst>
                  <a:rect l="0" t="0" r="r" b="b"/>
                  <a:pathLst>
                    <a:path w="10" h="12">
                      <a:moveTo>
                        <a:pt x="10" y="2"/>
                      </a:moveTo>
                      <a:lnTo>
                        <a:pt x="8" y="0"/>
                      </a:lnTo>
                      <a:lnTo>
                        <a:pt x="6" y="2"/>
                      </a:lnTo>
                      <a:lnTo>
                        <a:pt x="4" y="2"/>
                      </a:lnTo>
                      <a:lnTo>
                        <a:pt x="2" y="4"/>
                      </a:lnTo>
                      <a:lnTo>
                        <a:pt x="0" y="6"/>
                      </a:lnTo>
                      <a:lnTo>
                        <a:pt x="0" y="8"/>
                      </a:lnTo>
                      <a:lnTo>
                        <a:pt x="0" y="10"/>
                      </a:lnTo>
                      <a:lnTo>
                        <a:pt x="2" y="10"/>
                      </a:lnTo>
                      <a:lnTo>
                        <a:pt x="2" y="12"/>
                      </a:lnTo>
                      <a:lnTo>
                        <a:pt x="4" y="12"/>
                      </a:lnTo>
                      <a:lnTo>
                        <a:pt x="6" y="12"/>
                      </a:lnTo>
                      <a:lnTo>
                        <a:pt x="8" y="12"/>
                      </a:lnTo>
                      <a:lnTo>
                        <a:pt x="8" y="10"/>
                      </a:lnTo>
                      <a:lnTo>
                        <a:pt x="10" y="8"/>
                      </a:lnTo>
                      <a:lnTo>
                        <a:pt x="10" y="6"/>
                      </a:lnTo>
                      <a:lnTo>
                        <a:pt x="10" y="4"/>
                      </a:lnTo>
                      <a:lnTo>
                        <a:pt x="1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7" name="Freeform 93">
                  <a:extLst>
                    <a:ext uri="{FF2B5EF4-FFF2-40B4-BE49-F238E27FC236}">
                      <a16:creationId xmlns:a16="http://schemas.microsoft.com/office/drawing/2014/main" id="{1EA991F4-C5A6-4CDD-8244-61759E760D25}"/>
                    </a:ext>
                  </a:extLst>
                </p:cNvPr>
                <p:cNvSpPr>
                  <a:spLocks noChangeAspect="1"/>
                </p:cNvSpPr>
                <p:nvPr/>
              </p:nvSpPr>
              <p:spPr bwMode="auto">
                <a:xfrm>
                  <a:off x="3958848" y="3828315"/>
                  <a:ext cx="72352" cy="62783"/>
                </a:xfrm>
                <a:custGeom>
                  <a:avLst/>
                  <a:gdLst/>
                  <a:ahLst/>
                  <a:cxnLst>
                    <a:cxn ang="0">
                      <a:pos x="32" y="22"/>
                    </a:cxn>
                    <a:cxn ang="0">
                      <a:pos x="38" y="22"/>
                    </a:cxn>
                    <a:cxn ang="0">
                      <a:pos x="42" y="20"/>
                    </a:cxn>
                    <a:cxn ang="0">
                      <a:pos x="44" y="18"/>
                    </a:cxn>
                    <a:cxn ang="0">
                      <a:pos x="42" y="14"/>
                    </a:cxn>
                    <a:cxn ang="0">
                      <a:pos x="38" y="12"/>
                    </a:cxn>
                    <a:cxn ang="0">
                      <a:pos x="38" y="10"/>
                    </a:cxn>
                    <a:cxn ang="0">
                      <a:pos x="40" y="8"/>
                    </a:cxn>
                    <a:cxn ang="0">
                      <a:pos x="44" y="8"/>
                    </a:cxn>
                    <a:cxn ang="0">
                      <a:pos x="44" y="4"/>
                    </a:cxn>
                    <a:cxn ang="0">
                      <a:pos x="44" y="2"/>
                    </a:cxn>
                    <a:cxn ang="0">
                      <a:pos x="40" y="0"/>
                    </a:cxn>
                    <a:cxn ang="0">
                      <a:pos x="30" y="0"/>
                    </a:cxn>
                    <a:cxn ang="0">
                      <a:pos x="24" y="0"/>
                    </a:cxn>
                    <a:cxn ang="0">
                      <a:pos x="22" y="0"/>
                    </a:cxn>
                    <a:cxn ang="0">
                      <a:pos x="20" y="0"/>
                    </a:cxn>
                    <a:cxn ang="0">
                      <a:pos x="16" y="4"/>
                    </a:cxn>
                    <a:cxn ang="0">
                      <a:pos x="14" y="6"/>
                    </a:cxn>
                    <a:cxn ang="0">
                      <a:pos x="8" y="6"/>
                    </a:cxn>
                    <a:cxn ang="0">
                      <a:pos x="4" y="6"/>
                    </a:cxn>
                    <a:cxn ang="0">
                      <a:pos x="2" y="6"/>
                    </a:cxn>
                    <a:cxn ang="0">
                      <a:pos x="2" y="8"/>
                    </a:cxn>
                    <a:cxn ang="0">
                      <a:pos x="0" y="12"/>
                    </a:cxn>
                    <a:cxn ang="0">
                      <a:pos x="0" y="16"/>
                    </a:cxn>
                    <a:cxn ang="0">
                      <a:pos x="0" y="18"/>
                    </a:cxn>
                    <a:cxn ang="0">
                      <a:pos x="2" y="18"/>
                    </a:cxn>
                    <a:cxn ang="0">
                      <a:pos x="4" y="18"/>
                    </a:cxn>
                    <a:cxn ang="0">
                      <a:pos x="8" y="18"/>
                    </a:cxn>
                    <a:cxn ang="0">
                      <a:pos x="14" y="16"/>
                    </a:cxn>
                    <a:cxn ang="0">
                      <a:pos x="18" y="16"/>
                    </a:cxn>
                    <a:cxn ang="0">
                      <a:pos x="22" y="14"/>
                    </a:cxn>
                    <a:cxn ang="0">
                      <a:pos x="22" y="14"/>
                    </a:cxn>
                    <a:cxn ang="0">
                      <a:pos x="22" y="18"/>
                    </a:cxn>
                    <a:cxn ang="0">
                      <a:pos x="22" y="18"/>
                    </a:cxn>
                    <a:cxn ang="0">
                      <a:pos x="22" y="18"/>
                    </a:cxn>
                    <a:cxn ang="0">
                      <a:pos x="16" y="18"/>
                    </a:cxn>
                    <a:cxn ang="0">
                      <a:pos x="12" y="18"/>
                    </a:cxn>
                    <a:cxn ang="0">
                      <a:pos x="14" y="22"/>
                    </a:cxn>
                    <a:cxn ang="0">
                      <a:pos x="18" y="24"/>
                    </a:cxn>
                    <a:cxn ang="0">
                      <a:pos x="22" y="22"/>
                    </a:cxn>
                    <a:cxn ang="0">
                      <a:pos x="22" y="22"/>
                    </a:cxn>
                    <a:cxn ang="0">
                      <a:pos x="16" y="26"/>
                    </a:cxn>
                    <a:cxn ang="0">
                      <a:pos x="14" y="26"/>
                    </a:cxn>
                    <a:cxn ang="0">
                      <a:pos x="18" y="32"/>
                    </a:cxn>
                    <a:cxn ang="0">
                      <a:pos x="20" y="36"/>
                    </a:cxn>
                    <a:cxn ang="0">
                      <a:pos x="22" y="34"/>
                    </a:cxn>
                    <a:cxn ang="0">
                      <a:pos x="22" y="32"/>
                    </a:cxn>
                    <a:cxn ang="0">
                      <a:pos x="22" y="32"/>
                    </a:cxn>
                    <a:cxn ang="0">
                      <a:pos x="24" y="26"/>
                    </a:cxn>
                    <a:cxn ang="0">
                      <a:pos x="24" y="24"/>
                    </a:cxn>
                    <a:cxn ang="0">
                      <a:pos x="30" y="24"/>
                    </a:cxn>
                  </a:cxnLst>
                  <a:rect l="0" t="0" r="r" b="b"/>
                  <a:pathLst>
                    <a:path w="44" h="36">
                      <a:moveTo>
                        <a:pt x="30" y="24"/>
                      </a:moveTo>
                      <a:lnTo>
                        <a:pt x="30" y="24"/>
                      </a:lnTo>
                      <a:lnTo>
                        <a:pt x="32" y="22"/>
                      </a:lnTo>
                      <a:lnTo>
                        <a:pt x="34" y="22"/>
                      </a:lnTo>
                      <a:lnTo>
                        <a:pt x="36" y="22"/>
                      </a:lnTo>
                      <a:lnTo>
                        <a:pt x="38" y="22"/>
                      </a:lnTo>
                      <a:lnTo>
                        <a:pt x="40" y="22"/>
                      </a:lnTo>
                      <a:lnTo>
                        <a:pt x="42" y="22"/>
                      </a:lnTo>
                      <a:lnTo>
                        <a:pt x="42" y="20"/>
                      </a:lnTo>
                      <a:lnTo>
                        <a:pt x="44" y="18"/>
                      </a:lnTo>
                      <a:lnTo>
                        <a:pt x="44" y="16"/>
                      </a:lnTo>
                      <a:lnTo>
                        <a:pt x="42" y="14"/>
                      </a:lnTo>
                      <a:lnTo>
                        <a:pt x="40" y="14"/>
                      </a:lnTo>
                      <a:lnTo>
                        <a:pt x="38" y="12"/>
                      </a:lnTo>
                      <a:lnTo>
                        <a:pt x="38" y="10"/>
                      </a:lnTo>
                      <a:lnTo>
                        <a:pt x="38" y="8"/>
                      </a:lnTo>
                      <a:lnTo>
                        <a:pt x="40" y="8"/>
                      </a:lnTo>
                      <a:lnTo>
                        <a:pt x="42" y="8"/>
                      </a:lnTo>
                      <a:lnTo>
                        <a:pt x="44" y="8"/>
                      </a:lnTo>
                      <a:lnTo>
                        <a:pt x="44" y="6"/>
                      </a:lnTo>
                      <a:lnTo>
                        <a:pt x="44" y="4"/>
                      </a:lnTo>
                      <a:lnTo>
                        <a:pt x="44" y="2"/>
                      </a:lnTo>
                      <a:lnTo>
                        <a:pt x="40" y="0"/>
                      </a:lnTo>
                      <a:lnTo>
                        <a:pt x="36" y="0"/>
                      </a:lnTo>
                      <a:lnTo>
                        <a:pt x="32" y="0"/>
                      </a:lnTo>
                      <a:lnTo>
                        <a:pt x="30" y="0"/>
                      </a:lnTo>
                      <a:lnTo>
                        <a:pt x="26" y="0"/>
                      </a:lnTo>
                      <a:lnTo>
                        <a:pt x="24" y="0"/>
                      </a:lnTo>
                      <a:lnTo>
                        <a:pt x="22" y="0"/>
                      </a:lnTo>
                      <a:lnTo>
                        <a:pt x="20" y="0"/>
                      </a:lnTo>
                      <a:lnTo>
                        <a:pt x="18" y="2"/>
                      </a:lnTo>
                      <a:lnTo>
                        <a:pt x="16" y="4"/>
                      </a:lnTo>
                      <a:lnTo>
                        <a:pt x="14" y="6"/>
                      </a:lnTo>
                      <a:lnTo>
                        <a:pt x="10" y="6"/>
                      </a:lnTo>
                      <a:lnTo>
                        <a:pt x="8" y="6"/>
                      </a:lnTo>
                      <a:lnTo>
                        <a:pt x="6" y="6"/>
                      </a:lnTo>
                      <a:lnTo>
                        <a:pt x="4" y="6"/>
                      </a:lnTo>
                      <a:lnTo>
                        <a:pt x="2" y="6"/>
                      </a:lnTo>
                      <a:lnTo>
                        <a:pt x="2" y="8"/>
                      </a:lnTo>
                      <a:lnTo>
                        <a:pt x="0" y="10"/>
                      </a:lnTo>
                      <a:lnTo>
                        <a:pt x="0" y="12"/>
                      </a:lnTo>
                      <a:lnTo>
                        <a:pt x="0" y="14"/>
                      </a:lnTo>
                      <a:lnTo>
                        <a:pt x="0" y="16"/>
                      </a:lnTo>
                      <a:lnTo>
                        <a:pt x="0" y="18"/>
                      </a:lnTo>
                      <a:lnTo>
                        <a:pt x="2" y="18"/>
                      </a:lnTo>
                      <a:lnTo>
                        <a:pt x="4" y="18"/>
                      </a:lnTo>
                      <a:lnTo>
                        <a:pt x="6" y="18"/>
                      </a:lnTo>
                      <a:lnTo>
                        <a:pt x="8" y="18"/>
                      </a:lnTo>
                      <a:lnTo>
                        <a:pt x="12" y="16"/>
                      </a:lnTo>
                      <a:lnTo>
                        <a:pt x="14" y="16"/>
                      </a:lnTo>
                      <a:lnTo>
                        <a:pt x="16" y="16"/>
                      </a:lnTo>
                      <a:lnTo>
                        <a:pt x="18" y="16"/>
                      </a:lnTo>
                      <a:lnTo>
                        <a:pt x="20" y="16"/>
                      </a:lnTo>
                      <a:lnTo>
                        <a:pt x="22" y="14"/>
                      </a:lnTo>
                      <a:lnTo>
                        <a:pt x="22" y="16"/>
                      </a:lnTo>
                      <a:lnTo>
                        <a:pt x="22" y="18"/>
                      </a:lnTo>
                      <a:lnTo>
                        <a:pt x="20" y="18"/>
                      </a:lnTo>
                      <a:lnTo>
                        <a:pt x="18" y="18"/>
                      </a:lnTo>
                      <a:lnTo>
                        <a:pt x="16" y="18"/>
                      </a:lnTo>
                      <a:lnTo>
                        <a:pt x="14" y="18"/>
                      </a:lnTo>
                      <a:lnTo>
                        <a:pt x="12" y="18"/>
                      </a:lnTo>
                      <a:lnTo>
                        <a:pt x="12" y="20"/>
                      </a:lnTo>
                      <a:lnTo>
                        <a:pt x="14" y="22"/>
                      </a:lnTo>
                      <a:lnTo>
                        <a:pt x="14" y="24"/>
                      </a:lnTo>
                      <a:lnTo>
                        <a:pt x="18" y="24"/>
                      </a:lnTo>
                      <a:lnTo>
                        <a:pt x="20" y="24"/>
                      </a:lnTo>
                      <a:lnTo>
                        <a:pt x="20" y="22"/>
                      </a:lnTo>
                      <a:lnTo>
                        <a:pt x="22" y="22"/>
                      </a:lnTo>
                      <a:lnTo>
                        <a:pt x="20" y="24"/>
                      </a:lnTo>
                      <a:lnTo>
                        <a:pt x="18" y="24"/>
                      </a:lnTo>
                      <a:lnTo>
                        <a:pt x="16" y="26"/>
                      </a:lnTo>
                      <a:lnTo>
                        <a:pt x="14" y="26"/>
                      </a:lnTo>
                      <a:lnTo>
                        <a:pt x="16" y="30"/>
                      </a:lnTo>
                      <a:lnTo>
                        <a:pt x="18" y="32"/>
                      </a:lnTo>
                      <a:lnTo>
                        <a:pt x="18" y="34"/>
                      </a:lnTo>
                      <a:lnTo>
                        <a:pt x="20" y="36"/>
                      </a:lnTo>
                      <a:lnTo>
                        <a:pt x="22" y="34"/>
                      </a:lnTo>
                      <a:lnTo>
                        <a:pt x="22" y="32"/>
                      </a:lnTo>
                      <a:lnTo>
                        <a:pt x="24" y="28"/>
                      </a:lnTo>
                      <a:lnTo>
                        <a:pt x="24" y="26"/>
                      </a:lnTo>
                      <a:lnTo>
                        <a:pt x="24" y="24"/>
                      </a:lnTo>
                      <a:lnTo>
                        <a:pt x="30" y="2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8" name="Freeform 94">
                  <a:extLst>
                    <a:ext uri="{FF2B5EF4-FFF2-40B4-BE49-F238E27FC236}">
                      <a16:creationId xmlns:a16="http://schemas.microsoft.com/office/drawing/2014/main" id="{F15EBAA6-ED11-4A9E-8B1D-4EB6B265BDD2}"/>
                    </a:ext>
                  </a:extLst>
                </p:cNvPr>
                <p:cNvSpPr>
                  <a:spLocks noChangeAspect="1"/>
                </p:cNvSpPr>
                <p:nvPr/>
              </p:nvSpPr>
              <p:spPr bwMode="auto">
                <a:xfrm>
                  <a:off x="3945693" y="3793437"/>
                  <a:ext cx="85506" cy="20928"/>
                </a:xfrm>
                <a:custGeom>
                  <a:avLst/>
                  <a:gdLst/>
                  <a:ahLst/>
                  <a:cxnLst>
                    <a:cxn ang="0">
                      <a:pos x="4" y="4"/>
                    </a:cxn>
                    <a:cxn ang="0">
                      <a:pos x="2" y="6"/>
                    </a:cxn>
                    <a:cxn ang="0">
                      <a:pos x="0" y="10"/>
                    </a:cxn>
                    <a:cxn ang="0">
                      <a:pos x="0" y="12"/>
                    </a:cxn>
                    <a:cxn ang="0">
                      <a:pos x="0" y="12"/>
                    </a:cxn>
                    <a:cxn ang="0">
                      <a:pos x="4" y="12"/>
                    </a:cxn>
                    <a:cxn ang="0">
                      <a:pos x="10" y="12"/>
                    </a:cxn>
                    <a:cxn ang="0">
                      <a:pos x="14" y="12"/>
                    </a:cxn>
                    <a:cxn ang="0">
                      <a:pos x="16" y="12"/>
                    </a:cxn>
                    <a:cxn ang="0">
                      <a:pos x="16" y="12"/>
                    </a:cxn>
                    <a:cxn ang="0">
                      <a:pos x="16" y="10"/>
                    </a:cxn>
                    <a:cxn ang="0">
                      <a:pos x="16" y="10"/>
                    </a:cxn>
                    <a:cxn ang="0">
                      <a:pos x="18" y="10"/>
                    </a:cxn>
                    <a:cxn ang="0">
                      <a:pos x="24" y="10"/>
                    </a:cxn>
                    <a:cxn ang="0">
                      <a:pos x="26" y="8"/>
                    </a:cxn>
                    <a:cxn ang="0">
                      <a:pos x="28" y="8"/>
                    </a:cxn>
                    <a:cxn ang="0">
                      <a:pos x="30" y="6"/>
                    </a:cxn>
                    <a:cxn ang="0">
                      <a:pos x="30" y="4"/>
                    </a:cxn>
                    <a:cxn ang="0">
                      <a:pos x="32" y="6"/>
                    </a:cxn>
                    <a:cxn ang="0">
                      <a:pos x="34" y="8"/>
                    </a:cxn>
                    <a:cxn ang="0">
                      <a:pos x="38" y="10"/>
                    </a:cxn>
                    <a:cxn ang="0">
                      <a:pos x="42" y="12"/>
                    </a:cxn>
                    <a:cxn ang="0">
                      <a:pos x="46" y="10"/>
                    </a:cxn>
                    <a:cxn ang="0">
                      <a:pos x="50" y="8"/>
                    </a:cxn>
                    <a:cxn ang="0">
                      <a:pos x="52" y="6"/>
                    </a:cxn>
                    <a:cxn ang="0">
                      <a:pos x="50" y="6"/>
                    </a:cxn>
                    <a:cxn ang="0">
                      <a:pos x="50" y="4"/>
                    </a:cxn>
                    <a:cxn ang="0">
                      <a:pos x="46" y="4"/>
                    </a:cxn>
                    <a:cxn ang="0">
                      <a:pos x="44" y="6"/>
                    </a:cxn>
                    <a:cxn ang="0">
                      <a:pos x="42" y="6"/>
                    </a:cxn>
                    <a:cxn ang="0">
                      <a:pos x="40" y="6"/>
                    </a:cxn>
                    <a:cxn ang="0">
                      <a:pos x="38" y="4"/>
                    </a:cxn>
                    <a:cxn ang="0">
                      <a:pos x="36" y="2"/>
                    </a:cxn>
                    <a:cxn ang="0">
                      <a:pos x="36" y="2"/>
                    </a:cxn>
                    <a:cxn ang="0">
                      <a:pos x="34" y="2"/>
                    </a:cxn>
                    <a:cxn ang="0">
                      <a:pos x="34" y="2"/>
                    </a:cxn>
                    <a:cxn ang="0">
                      <a:pos x="34" y="2"/>
                    </a:cxn>
                    <a:cxn ang="0">
                      <a:pos x="32" y="0"/>
                    </a:cxn>
                    <a:cxn ang="0">
                      <a:pos x="32" y="0"/>
                    </a:cxn>
                    <a:cxn ang="0">
                      <a:pos x="26" y="0"/>
                    </a:cxn>
                    <a:cxn ang="0">
                      <a:pos x="22" y="0"/>
                    </a:cxn>
                    <a:cxn ang="0">
                      <a:pos x="22" y="0"/>
                    </a:cxn>
                    <a:cxn ang="0">
                      <a:pos x="22" y="2"/>
                    </a:cxn>
                    <a:cxn ang="0">
                      <a:pos x="22" y="4"/>
                    </a:cxn>
                    <a:cxn ang="0">
                      <a:pos x="22" y="4"/>
                    </a:cxn>
                    <a:cxn ang="0">
                      <a:pos x="14" y="4"/>
                    </a:cxn>
                    <a:cxn ang="0">
                      <a:pos x="10" y="4"/>
                    </a:cxn>
                    <a:cxn ang="0">
                      <a:pos x="8" y="4"/>
                    </a:cxn>
                    <a:cxn ang="0">
                      <a:pos x="6" y="4"/>
                    </a:cxn>
                    <a:cxn ang="0">
                      <a:pos x="4" y="4"/>
                    </a:cxn>
                    <a:cxn ang="0">
                      <a:pos x="4" y="4"/>
                    </a:cxn>
                    <a:cxn ang="0">
                      <a:pos x="4" y="4"/>
                    </a:cxn>
                  </a:cxnLst>
                  <a:rect l="0" t="0" r="r" b="b"/>
                  <a:pathLst>
                    <a:path w="52" h="12">
                      <a:moveTo>
                        <a:pt x="4" y="4"/>
                      </a:moveTo>
                      <a:lnTo>
                        <a:pt x="4" y="4"/>
                      </a:lnTo>
                      <a:lnTo>
                        <a:pt x="4" y="6"/>
                      </a:lnTo>
                      <a:lnTo>
                        <a:pt x="2" y="6"/>
                      </a:lnTo>
                      <a:lnTo>
                        <a:pt x="2" y="8"/>
                      </a:lnTo>
                      <a:lnTo>
                        <a:pt x="0" y="10"/>
                      </a:lnTo>
                      <a:lnTo>
                        <a:pt x="0" y="12"/>
                      </a:lnTo>
                      <a:lnTo>
                        <a:pt x="2" y="12"/>
                      </a:lnTo>
                      <a:lnTo>
                        <a:pt x="4" y="12"/>
                      </a:lnTo>
                      <a:lnTo>
                        <a:pt x="8" y="12"/>
                      </a:lnTo>
                      <a:lnTo>
                        <a:pt x="10" y="12"/>
                      </a:lnTo>
                      <a:lnTo>
                        <a:pt x="12" y="12"/>
                      </a:lnTo>
                      <a:lnTo>
                        <a:pt x="14" y="12"/>
                      </a:lnTo>
                      <a:lnTo>
                        <a:pt x="16" y="12"/>
                      </a:lnTo>
                      <a:lnTo>
                        <a:pt x="16" y="10"/>
                      </a:lnTo>
                      <a:lnTo>
                        <a:pt x="18" y="10"/>
                      </a:lnTo>
                      <a:lnTo>
                        <a:pt x="20" y="10"/>
                      </a:lnTo>
                      <a:lnTo>
                        <a:pt x="24" y="10"/>
                      </a:lnTo>
                      <a:lnTo>
                        <a:pt x="24" y="8"/>
                      </a:lnTo>
                      <a:lnTo>
                        <a:pt x="26" y="8"/>
                      </a:lnTo>
                      <a:lnTo>
                        <a:pt x="28" y="8"/>
                      </a:lnTo>
                      <a:lnTo>
                        <a:pt x="28" y="6"/>
                      </a:lnTo>
                      <a:lnTo>
                        <a:pt x="30" y="6"/>
                      </a:lnTo>
                      <a:lnTo>
                        <a:pt x="30" y="4"/>
                      </a:lnTo>
                      <a:lnTo>
                        <a:pt x="32" y="6"/>
                      </a:lnTo>
                      <a:lnTo>
                        <a:pt x="34" y="8"/>
                      </a:lnTo>
                      <a:lnTo>
                        <a:pt x="34" y="10"/>
                      </a:lnTo>
                      <a:lnTo>
                        <a:pt x="38" y="10"/>
                      </a:lnTo>
                      <a:lnTo>
                        <a:pt x="40" y="10"/>
                      </a:lnTo>
                      <a:lnTo>
                        <a:pt x="42" y="12"/>
                      </a:lnTo>
                      <a:lnTo>
                        <a:pt x="44" y="12"/>
                      </a:lnTo>
                      <a:lnTo>
                        <a:pt x="46" y="10"/>
                      </a:lnTo>
                      <a:lnTo>
                        <a:pt x="48" y="10"/>
                      </a:lnTo>
                      <a:lnTo>
                        <a:pt x="50" y="8"/>
                      </a:lnTo>
                      <a:lnTo>
                        <a:pt x="52" y="8"/>
                      </a:lnTo>
                      <a:lnTo>
                        <a:pt x="52" y="6"/>
                      </a:lnTo>
                      <a:lnTo>
                        <a:pt x="50" y="6"/>
                      </a:lnTo>
                      <a:lnTo>
                        <a:pt x="50" y="4"/>
                      </a:lnTo>
                      <a:lnTo>
                        <a:pt x="46" y="4"/>
                      </a:lnTo>
                      <a:lnTo>
                        <a:pt x="44" y="4"/>
                      </a:lnTo>
                      <a:lnTo>
                        <a:pt x="44" y="6"/>
                      </a:lnTo>
                      <a:lnTo>
                        <a:pt x="42" y="6"/>
                      </a:lnTo>
                      <a:lnTo>
                        <a:pt x="40" y="6"/>
                      </a:lnTo>
                      <a:lnTo>
                        <a:pt x="38" y="4"/>
                      </a:lnTo>
                      <a:lnTo>
                        <a:pt x="36" y="2"/>
                      </a:lnTo>
                      <a:lnTo>
                        <a:pt x="34" y="2"/>
                      </a:lnTo>
                      <a:lnTo>
                        <a:pt x="32" y="0"/>
                      </a:lnTo>
                      <a:lnTo>
                        <a:pt x="30" y="0"/>
                      </a:lnTo>
                      <a:lnTo>
                        <a:pt x="26" y="0"/>
                      </a:lnTo>
                      <a:lnTo>
                        <a:pt x="24" y="0"/>
                      </a:lnTo>
                      <a:lnTo>
                        <a:pt x="22" y="0"/>
                      </a:lnTo>
                      <a:lnTo>
                        <a:pt x="22" y="2"/>
                      </a:lnTo>
                      <a:lnTo>
                        <a:pt x="22" y="4"/>
                      </a:lnTo>
                      <a:lnTo>
                        <a:pt x="18" y="4"/>
                      </a:lnTo>
                      <a:lnTo>
                        <a:pt x="14" y="4"/>
                      </a:lnTo>
                      <a:lnTo>
                        <a:pt x="12" y="4"/>
                      </a:lnTo>
                      <a:lnTo>
                        <a:pt x="10" y="4"/>
                      </a:lnTo>
                      <a:lnTo>
                        <a:pt x="8" y="4"/>
                      </a:lnTo>
                      <a:lnTo>
                        <a:pt x="6" y="4"/>
                      </a:lnTo>
                      <a:lnTo>
                        <a:pt x="4"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9" name="Freeform 95">
                  <a:extLst>
                    <a:ext uri="{FF2B5EF4-FFF2-40B4-BE49-F238E27FC236}">
                      <a16:creationId xmlns:a16="http://schemas.microsoft.com/office/drawing/2014/main" id="{22FE7FF4-5913-4CAC-99B0-70220084BD8E}"/>
                    </a:ext>
                  </a:extLst>
                </p:cNvPr>
                <p:cNvSpPr>
                  <a:spLocks noChangeAspect="1"/>
                </p:cNvSpPr>
                <p:nvPr/>
              </p:nvSpPr>
              <p:spPr bwMode="auto">
                <a:xfrm>
                  <a:off x="4080530" y="3967832"/>
                  <a:ext cx="121683" cy="143005"/>
                </a:xfrm>
                <a:custGeom>
                  <a:avLst/>
                  <a:gdLst/>
                  <a:ahLst/>
                  <a:cxnLst>
                    <a:cxn ang="0">
                      <a:pos x="72" y="54"/>
                    </a:cxn>
                    <a:cxn ang="0">
                      <a:pos x="68" y="50"/>
                    </a:cxn>
                    <a:cxn ang="0">
                      <a:pos x="68" y="44"/>
                    </a:cxn>
                    <a:cxn ang="0">
                      <a:pos x="68" y="44"/>
                    </a:cxn>
                    <a:cxn ang="0">
                      <a:pos x="60" y="44"/>
                    </a:cxn>
                    <a:cxn ang="0">
                      <a:pos x="58" y="44"/>
                    </a:cxn>
                    <a:cxn ang="0">
                      <a:pos x="58" y="42"/>
                    </a:cxn>
                    <a:cxn ang="0">
                      <a:pos x="56" y="42"/>
                    </a:cxn>
                    <a:cxn ang="0">
                      <a:pos x="54" y="40"/>
                    </a:cxn>
                    <a:cxn ang="0">
                      <a:pos x="58" y="32"/>
                    </a:cxn>
                    <a:cxn ang="0">
                      <a:pos x="58" y="26"/>
                    </a:cxn>
                    <a:cxn ang="0">
                      <a:pos x="54" y="16"/>
                    </a:cxn>
                    <a:cxn ang="0">
                      <a:pos x="50" y="20"/>
                    </a:cxn>
                    <a:cxn ang="0">
                      <a:pos x="48" y="26"/>
                    </a:cxn>
                    <a:cxn ang="0">
                      <a:pos x="44" y="26"/>
                    </a:cxn>
                    <a:cxn ang="0">
                      <a:pos x="44" y="24"/>
                    </a:cxn>
                    <a:cxn ang="0">
                      <a:pos x="40" y="24"/>
                    </a:cxn>
                    <a:cxn ang="0">
                      <a:pos x="40" y="22"/>
                    </a:cxn>
                    <a:cxn ang="0">
                      <a:pos x="40" y="10"/>
                    </a:cxn>
                    <a:cxn ang="0">
                      <a:pos x="36" y="2"/>
                    </a:cxn>
                    <a:cxn ang="0">
                      <a:pos x="32" y="0"/>
                    </a:cxn>
                    <a:cxn ang="0">
                      <a:pos x="30" y="4"/>
                    </a:cxn>
                    <a:cxn ang="0">
                      <a:pos x="26" y="4"/>
                    </a:cxn>
                    <a:cxn ang="0">
                      <a:pos x="24" y="2"/>
                    </a:cxn>
                    <a:cxn ang="0">
                      <a:pos x="26" y="8"/>
                    </a:cxn>
                    <a:cxn ang="0">
                      <a:pos x="24" y="8"/>
                    </a:cxn>
                    <a:cxn ang="0">
                      <a:pos x="22" y="10"/>
                    </a:cxn>
                    <a:cxn ang="0">
                      <a:pos x="22" y="12"/>
                    </a:cxn>
                    <a:cxn ang="0">
                      <a:pos x="20" y="16"/>
                    </a:cxn>
                    <a:cxn ang="0">
                      <a:pos x="10" y="22"/>
                    </a:cxn>
                    <a:cxn ang="0">
                      <a:pos x="6" y="26"/>
                    </a:cxn>
                    <a:cxn ang="0">
                      <a:pos x="6" y="34"/>
                    </a:cxn>
                    <a:cxn ang="0">
                      <a:pos x="2" y="30"/>
                    </a:cxn>
                    <a:cxn ang="0">
                      <a:pos x="0" y="30"/>
                    </a:cxn>
                    <a:cxn ang="0">
                      <a:pos x="8" y="36"/>
                    </a:cxn>
                    <a:cxn ang="0">
                      <a:pos x="12" y="38"/>
                    </a:cxn>
                    <a:cxn ang="0">
                      <a:pos x="16" y="38"/>
                    </a:cxn>
                    <a:cxn ang="0">
                      <a:pos x="18" y="42"/>
                    </a:cxn>
                    <a:cxn ang="0">
                      <a:pos x="18" y="46"/>
                    </a:cxn>
                    <a:cxn ang="0">
                      <a:pos x="20" y="46"/>
                    </a:cxn>
                    <a:cxn ang="0">
                      <a:pos x="24" y="46"/>
                    </a:cxn>
                    <a:cxn ang="0">
                      <a:pos x="28" y="52"/>
                    </a:cxn>
                    <a:cxn ang="0">
                      <a:pos x="38" y="64"/>
                    </a:cxn>
                    <a:cxn ang="0">
                      <a:pos x="52" y="70"/>
                    </a:cxn>
                    <a:cxn ang="0">
                      <a:pos x="58" y="74"/>
                    </a:cxn>
                    <a:cxn ang="0">
                      <a:pos x="64" y="80"/>
                    </a:cxn>
                    <a:cxn ang="0">
                      <a:pos x="72" y="82"/>
                    </a:cxn>
                    <a:cxn ang="0">
                      <a:pos x="70" y="74"/>
                    </a:cxn>
                    <a:cxn ang="0">
                      <a:pos x="72" y="72"/>
                    </a:cxn>
                    <a:cxn ang="0">
                      <a:pos x="74" y="64"/>
                    </a:cxn>
                  </a:cxnLst>
                  <a:rect l="0" t="0" r="r" b="b"/>
                  <a:pathLst>
                    <a:path w="74" h="82">
                      <a:moveTo>
                        <a:pt x="74" y="60"/>
                      </a:moveTo>
                      <a:lnTo>
                        <a:pt x="74" y="58"/>
                      </a:lnTo>
                      <a:lnTo>
                        <a:pt x="74" y="56"/>
                      </a:lnTo>
                      <a:lnTo>
                        <a:pt x="72" y="54"/>
                      </a:lnTo>
                      <a:lnTo>
                        <a:pt x="70" y="54"/>
                      </a:lnTo>
                      <a:lnTo>
                        <a:pt x="70" y="52"/>
                      </a:lnTo>
                      <a:lnTo>
                        <a:pt x="68" y="50"/>
                      </a:lnTo>
                      <a:lnTo>
                        <a:pt x="68" y="48"/>
                      </a:lnTo>
                      <a:lnTo>
                        <a:pt x="68" y="46"/>
                      </a:lnTo>
                      <a:lnTo>
                        <a:pt x="68" y="44"/>
                      </a:lnTo>
                      <a:lnTo>
                        <a:pt x="64" y="44"/>
                      </a:lnTo>
                      <a:lnTo>
                        <a:pt x="62" y="44"/>
                      </a:lnTo>
                      <a:lnTo>
                        <a:pt x="60" y="44"/>
                      </a:lnTo>
                      <a:lnTo>
                        <a:pt x="58" y="44"/>
                      </a:lnTo>
                      <a:lnTo>
                        <a:pt x="58" y="42"/>
                      </a:lnTo>
                      <a:lnTo>
                        <a:pt x="56" y="42"/>
                      </a:lnTo>
                      <a:lnTo>
                        <a:pt x="54" y="40"/>
                      </a:lnTo>
                      <a:lnTo>
                        <a:pt x="54" y="38"/>
                      </a:lnTo>
                      <a:lnTo>
                        <a:pt x="56" y="38"/>
                      </a:lnTo>
                      <a:lnTo>
                        <a:pt x="56" y="36"/>
                      </a:lnTo>
                      <a:lnTo>
                        <a:pt x="58" y="32"/>
                      </a:lnTo>
                      <a:lnTo>
                        <a:pt x="58" y="30"/>
                      </a:lnTo>
                      <a:lnTo>
                        <a:pt x="58" y="28"/>
                      </a:lnTo>
                      <a:lnTo>
                        <a:pt x="58" y="26"/>
                      </a:lnTo>
                      <a:lnTo>
                        <a:pt x="58" y="24"/>
                      </a:lnTo>
                      <a:lnTo>
                        <a:pt x="56" y="20"/>
                      </a:lnTo>
                      <a:lnTo>
                        <a:pt x="54" y="16"/>
                      </a:lnTo>
                      <a:lnTo>
                        <a:pt x="52" y="18"/>
                      </a:lnTo>
                      <a:lnTo>
                        <a:pt x="52" y="20"/>
                      </a:lnTo>
                      <a:lnTo>
                        <a:pt x="50" y="20"/>
                      </a:lnTo>
                      <a:lnTo>
                        <a:pt x="50" y="22"/>
                      </a:lnTo>
                      <a:lnTo>
                        <a:pt x="50" y="24"/>
                      </a:lnTo>
                      <a:lnTo>
                        <a:pt x="48" y="26"/>
                      </a:lnTo>
                      <a:lnTo>
                        <a:pt x="46" y="26"/>
                      </a:lnTo>
                      <a:lnTo>
                        <a:pt x="44" y="26"/>
                      </a:lnTo>
                      <a:lnTo>
                        <a:pt x="44" y="24"/>
                      </a:lnTo>
                      <a:lnTo>
                        <a:pt x="42" y="24"/>
                      </a:lnTo>
                      <a:lnTo>
                        <a:pt x="40" y="24"/>
                      </a:lnTo>
                      <a:lnTo>
                        <a:pt x="40" y="22"/>
                      </a:lnTo>
                      <a:lnTo>
                        <a:pt x="40" y="20"/>
                      </a:lnTo>
                      <a:lnTo>
                        <a:pt x="40" y="18"/>
                      </a:lnTo>
                      <a:lnTo>
                        <a:pt x="40" y="14"/>
                      </a:lnTo>
                      <a:lnTo>
                        <a:pt x="40" y="10"/>
                      </a:lnTo>
                      <a:lnTo>
                        <a:pt x="40" y="8"/>
                      </a:lnTo>
                      <a:lnTo>
                        <a:pt x="38" y="4"/>
                      </a:lnTo>
                      <a:lnTo>
                        <a:pt x="36" y="2"/>
                      </a:lnTo>
                      <a:lnTo>
                        <a:pt x="34" y="0"/>
                      </a:lnTo>
                      <a:lnTo>
                        <a:pt x="32" y="0"/>
                      </a:lnTo>
                      <a:lnTo>
                        <a:pt x="30" y="2"/>
                      </a:lnTo>
                      <a:lnTo>
                        <a:pt x="30" y="4"/>
                      </a:lnTo>
                      <a:lnTo>
                        <a:pt x="28" y="4"/>
                      </a:lnTo>
                      <a:lnTo>
                        <a:pt x="26" y="4"/>
                      </a:lnTo>
                      <a:lnTo>
                        <a:pt x="26" y="2"/>
                      </a:lnTo>
                      <a:lnTo>
                        <a:pt x="24" y="2"/>
                      </a:lnTo>
                      <a:lnTo>
                        <a:pt x="24" y="4"/>
                      </a:lnTo>
                      <a:lnTo>
                        <a:pt x="24" y="6"/>
                      </a:lnTo>
                      <a:lnTo>
                        <a:pt x="24" y="8"/>
                      </a:lnTo>
                      <a:lnTo>
                        <a:pt x="26" y="8"/>
                      </a:lnTo>
                      <a:lnTo>
                        <a:pt x="24" y="8"/>
                      </a:lnTo>
                      <a:lnTo>
                        <a:pt x="22" y="8"/>
                      </a:lnTo>
                      <a:lnTo>
                        <a:pt x="22" y="10"/>
                      </a:lnTo>
                      <a:lnTo>
                        <a:pt x="22" y="12"/>
                      </a:lnTo>
                      <a:lnTo>
                        <a:pt x="22" y="14"/>
                      </a:lnTo>
                      <a:lnTo>
                        <a:pt x="20" y="16"/>
                      </a:lnTo>
                      <a:lnTo>
                        <a:pt x="18" y="18"/>
                      </a:lnTo>
                      <a:lnTo>
                        <a:pt x="16" y="20"/>
                      </a:lnTo>
                      <a:lnTo>
                        <a:pt x="14" y="22"/>
                      </a:lnTo>
                      <a:lnTo>
                        <a:pt x="10" y="22"/>
                      </a:lnTo>
                      <a:lnTo>
                        <a:pt x="8" y="24"/>
                      </a:lnTo>
                      <a:lnTo>
                        <a:pt x="8" y="26"/>
                      </a:lnTo>
                      <a:lnTo>
                        <a:pt x="6" y="26"/>
                      </a:lnTo>
                      <a:lnTo>
                        <a:pt x="6" y="28"/>
                      </a:lnTo>
                      <a:lnTo>
                        <a:pt x="6" y="30"/>
                      </a:lnTo>
                      <a:lnTo>
                        <a:pt x="6" y="32"/>
                      </a:lnTo>
                      <a:lnTo>
                        <a:pt x="6" y="34"/>
                      </a:lnTo>
                      <a:lnTo>
                        <a:pt x="4" y="32"/>
                      </a:lnTo>
                      <a:lnTo>
                        <a:pt x="2" y="32"/>
                      </a:lnTo>
                      <a:lnTo>
                        <a:pt x="2" y="30"/>
                      </a:lnTo>
                      <a:lnTo>
                        <a:pt x="0" y="30"/>
                      </a:lnTo>
                      <a:lnTo>
                        <a:pt x="4" y="32"/>
                      </a:lnTo>
                      <a:lnTo>
                        <a:pt x="6" y="34"/>
                      </a:lnTo>
                      <a:lnTo>
                        <a:pt x="6" y="36"/>
                      </a:lnTo>
                      <a:lnTo>
                        <a:pt x="8" y="36"/>
                      </a:lnTo>
                      <a:lnTo>
                        <a:pt x="8" y="38"/>
                      </a:lnTo>
                      <a:lnTo>
                        <a:pt x="10" y="38"/>
                      </a:lnTo>
                      <a:lnTo>
                        <a:pt x="12" y="38"/>
                      </a:lnTo>
                      <a:lnTo>
                        <a:pt x="14" y="38"/>
                      </a:lnTo>
                      <a:lnTo>
                        <a:pt x="16" y="38"/>
                      </a:lnTo>
                      <a:lnTo>
                        <a:pt x="16" y="42"/>
                      </a:lnTo>
                      <a:lnTo>
                        <a:pt x="18" y="42"/>
                      </a:lnTo>
                      <a:lnTo>
                        <a:pt x="18" y="44"/>
                      </a:lnTo>
                      <a:lnTo>
                        <a:pt x="18" y="46"/>
                      </a:lnTo>
                      <a:lnTo>
                        <a:pt x="20" y="46"/>
                      </a:lnTo>
                      <a:lnTo>
                        <a:pt x="22" y="46"/>
                      </a:lnTo>
                      <a:lnTo>
                        <a:pt x="24" y="46"/>
                      </a:lnTo>
                      <a:lnTo>
                        <a:pt x="26" y="48"/>
                      </a:lnTo>
                      <a:lnTo>
                        <a:pt x="28" y="50"/>
                      </a:lnTo>
                      <a:lnTo>
                        <a:pt x="28" y="52"/>
                      </a:lnTo>
                      <a:lnTo>
                        <a:pt x="30" y="56"/>
                      </a:lnTo>
                      <a:lnTo>
                        <a:pt x="34" y="60"/>
                      </a:lnTo>
                      <a:lnTo>
                        <a:pt x="36" y="62"/>
                      </a:lnTo>
                      <a:lnTo>
                        <a:pt x="38" y="64"/>
                      </a:lnTo>
                      <a:lnTo>
                        <a:pt x="42" y="66"/>
                      </a:lnTo>
                      <a:lnTo>
                        <a:pt x="44" y="68"/>
                      </a:lnTo>
                      <a:lnTo>
                        <a:pt x="48" y="70"/>
                      </a:lnTo>
                      <a:lnTo>
                        <a:pt x="52" y="70"/>
                      </a:lnTo>
                      <a:lnTo>
                        <a:pt x="54" y="72"/>
                      </a:lnTo>
                      <a:lnTo>
                        <a:pt x="56" y="72"/>
                      </a:lnTo>
                      <a:lnTo>
                        <a:pt x="56" y="74"/>
                      </a:lnTo>
                      <a:lnTo>
                        <a:pt x="58" y="74"/>
                      </a:lnTo>
                      <a:lnTo>
                        <a:pt x="60" y="76"/>
                      </a:lnTo>
                      <a:lnTo>
                        <a:pt x="62" y="78"/>
                      </a:lnTo>
                      <a:lnTo>
                        <a:pt x="64" y="80"/>
                      </a:lnTo>
                      <a:lnTo>
                        <a:pt x="66" y="80"/>
                      </a:lnTo>
                      <a:lnTo>
                        <a:pt x="70" y="80"/>
                      </a:lnTo>
                      <a:lnTo>
                        <a:pt x="70" y="82"/>
                      </a:lnTo>
                      <a:lnTo>
                        <a:pt x="72" y="82"/>
                      </a:lnTo>
                      <a:lnTo>
                        <a:pt x="72" y="78"/>
                      </a:lnTo>
                      <a:lnTo>
                        <a:pt x="72" y="76"/>
                      </a:lnTo>
                      <a:lnTo>
                        <a:pt x="70" y="74"/>
                      </a:lnTo>
                      <a:lnTo>
                        <a:pt x="70" y="72"/>
                      </a:lnTo>
                      <a:lnTo>
                        <a:pt x="72" y="72"/>
                      </a:lnTo>
                      <a:lnTo>
                        <a:pt x="72" y="70"/>
                      </a:lnTo>
                      <a:lnTo>
                        <a:pt x="72" y="68"/>
                      </a:lnTo>
                      <a:lnTo>
                        <a:pt x="74" y="64"/>
                      </a:lnTo>
                      <a:lnTo>
                        <a:pt x="74" y="62"/>
                      </a:lnTo>
                      <a:lnTo>
                        <a:pt x="74" y="6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0" name="Freeform 96">
                  <a:extLst>
                    <a:ext uri="{FF2B5EF4-FFF2-40B4-BE49-F238E27FC236}">
                      <a16:creationId xmlns:a16="http://schemas.microsoft.com/office/drawing/2014/main" id="{4852D812-B5E1-4DB3-8A5E-320FA65648E2}"/>
                    </a:ext>
                  </a:extLst>
                </p:cNvPr>
                <p:cNvSpPr>
                  <a:spLocks noChangeAspect="1"/>
                </p:cNvSpPr>
                <p:nvPr/>
              </p:nvSpPr>
              <p:spPr bwMode="auto">
                <a:xfrm>
                  <a:off x="4037777" y="3915513"/>
                  <a:ext cx="85506" cy="111614"/>
                </a:xfrm>
                <a:custGeom>
                  <a:avLst/>
                  <a:gdLst/>
                  <a:ahLst/>
                  <a:cxnLst>
                    <a:cxn ang="0">
                      <a:pos x="48" y="42"/>
                    </a:cxn>
                    <a:cxn ang="0">
                      <a:pos x="48" y="38"/>
                    </a:cxn>
                    <a:cxn ang="0">
                      <a:pos x="50" y="38"/>
                    </a:cxn>
                    <a:cxn ang="0">
                      <a:pos x="52" y="38"/>
                    </a:cxn>
                    <a:cxn ang="0">
                      <a:pos x="50" y="34"/>
                    </a:cxn>
                    <a:cxn ang="0">
                      <a:pos x="50" y="32"/>
                    </a:cxn>
                    <a:cxn ang="0">
                      <a:pos x="48" y="34"/>
                    </a:cxn>
                    <a:cxn ang="0">
                      <a:pos x="44" y="36"/>
                    </a:cxn>
                    <a:cxn ang="0">
                      <a:pos x="44" y="34"/>
                    </a:cxn>
                    <a:cxn ang="0">
                      <a:pos x="44" y="32"/>
                    </a:cxn>
                    <a:cxn ang="0">
                      <a:pos x="46" y="32"/>
                    </a:cxn>
                    <a:cxn ang="0">
                      <a:pos x="48" y="28"/>
                    </a:cxn>
                    <a:cxn ang="0">
                      <a:pos x="48" y="24"/>
                    </a:cxn>
                    <a:cxn ang="0">
                      <a:pos x="46" y="20"/>
                    </a:cxn>
                    <a:cxn ang="0">
                      <a:pos x="44" y="18"/>
                    </a:cxn>
                    <a:cxn ang="0">
                      <a:pos x="46" y="16"/>
                    </a:cxn>
                    <a:cxn ang="0">
                      <a:pos x="44" y="12"/>
                    </a:cxn>
                    <a:cxn ang="0">
                      <a:pos x="40" y="6"/>
                    </a:cxn>
                    <a:cxn ang="0">
                      <a:pos x="36" y="2"/>
                    </a:cxn>
                    <a:cxn ang="0">
                      <a:pos x="36" y="0"/>
                    </a:cxn>
                    <a:cxn ang="0">
                      <a:pos x="30" y="0"/>
                    </a:cxn>
                    <a:cxn ang="0">
                      <a:pos x="26" y="0"/>
                    </a:cxn>
                    <a:cxn ang="0">
                      <a:pos x="26" y="2"/>
                    </a:cxn>
                    <a:cxn ang="0">
                      <a:pos x="24" y="4"/>
                    </a:cxn>
                    <a:cxn ang="0">
                      <a:pos x="22" y="4"/>
                    </a:cxn>
                    <a:cxn ang="0">
                      <a:pos x="16" y="4"/>
                    </a:cxn>
                    <a:cxn ang="0">
                      <a:pos x="16" y="4"/>
                    </a:cxn>
                    <a:cxn ang="0">
                      <a:pos x="14" y="6"/>
                    </a:cxn>
                    <a:cxn ang="0">
                      <a:pos x="12" y="12"/>
                    </a:cxn>
                    <a:cxn ang="0">
                      <a:pos x="6" y="18"/>
                    </a:cxn>
                    <a:cxn ang="0">
                      <a:pos x="4" y="20"/>
                    </a:cxn>
                    <a:cxn ang="0">
                      <a:pos x="0" y="22"/>
                    </a:cxn>
                    <a:cxn ang="0">
                      <a:pos x="2" y="22"/>
                    </a:cxn>
                    <a:cxn ang="0">
                      <a:pos x="4" y="24"/>
                    </a:cxn>
                    <a:cxn ang="0">
                      <a:pos x="4" y="24"/>
                    </a:cxn>
                    <a:cxn ang="0">
                      <a:pos x="0" y="30"/>
                    </a:cxn>
                    <a:cxn ang="0">
                      <a:pos x="2" y="34"/>
                    </a:cxn>
                    <a:cxn ang="0">
                      <a:pos x="4" y="36"/>
                    </a:cxn>
                    <a:cxn ang="0">
                      <a:pos x="6" y="38"/>
                    </a:cxn>
                    <a:cxn ang="0">
                      <a:pos x="6" y="42"/>
                    </a:cxn>
                    <a:cxn ang="0">
                      <a:pos x="6" y="44"/>
                    </a:cxn>
                    <a:cxn ang="0">
                      <a:pos x="10" y="46"/>
                    </a:cxn>
                    <a:cxn ang="0">
                      <a:pos x="12" y="48"/>
                    </a:cxn>
                    <a:cxn ang="0">
                      <a:pos x="12" y="50"/>
                    </a:cxn>
                    <a:cxn ang="0">
                      <a:pos x="14" y="52"/>
                    </a:cxn>
                    <a:cxn ang="0">
                      <a:pos x="18" y="56"/>
                    </a:cxn>
                    <a:cxn ang="0">
                      <a:pos x="24" y="56"/>
                    </a:cxn>
                    <a:cxn ang="0">
                      <a:pos x="26" y="60"/>
                    </a:cxn>
                    <a:cxn ang="0">
                      <a:pos x="30" y="64"/>
                    </a:cxn>
                    <a:cxn ang="0">
                      <a:pos x="32" y="64"/>
                    </a:cxn>
                    <a:cxn ang="0">
                      <a:pos x="32" y="58"/>
                    </a:cxn>
                    <a:cxn ang="0">
                      <a:pos x="34" y="56"/>
                    </a:cxn>
                    <a:cxn ang="0">
                      <a:pos x="40" y="50"/>
                    </a:cxn>
                    <a:cxn ang="0">
                      <a:pos x="46" y="46"/>
                    </a:cxn>
                    <a:cxn ang="0">
                      <a:pos x="48" y="44"/>
                    </a:cxn>
                  </a:cxnLst>
                  <a:rect l="0" t="0" r="r" b="b"/>
                  <a:pathLst>
                    <a:path w="52" h="64">
                      <a:moveTo>
                        <a:pt x="48" y="44"/>
                      </a:moveTo>
                      <a:lnTo>
                        <a:pt x="48" y="42"/>
                      </a:lnTo>
                      <a:lnTo>
                        <a:pt x="48" y="40"/>
                      </a:lnTo>
                      <a:lnTo>
                        <a:pt x="48" y="38"/>
                      </a:lnTo>
                      <a:lnTo>
                        <a:pt x="50" y="38"/>
                      </a:lnTo>
                      <a:lnTo>
                        <a:pt x="52" y="38"/>
                      </a:lnTo>
                      <a:lnTo>
                        <a:pt x="52" y="36"/>
                      </a:lnTo>
                      <a:lnTo>
                        <a:pt x="52" y="34"/>
                      </a:lnTo>
                      <a:lnTo>
                        <a:pt x="50" y="34"/>
                      </a:lnTo>
                      <a:lnTo>
                        <a:pt x="50" y="32"/>
                      </a:lnTo>
                      <a:lnTo>
                        <a:pt x="48" y="34"/>
                      </a:lnTo>
                      <a:lnTo>
                        <a:pt x="46" y="36"/>
                      </a:lnTo>
                      <a:lnTo>
                        <a:pt x="44" y="36"/>
                      </a:lnTo>
                      <a:lnTo>
                        <a:pt x="44" y="34"/>
                      </a:lnTo>
                      <a:lnTo>
                        <a:pt x="44" y="32"/>
                      </a:lnTo>
                      <a:lnTo>
                        <a:pt x="46" y="32"/>
                      </a:lnTo>
                      <a:lnTo>
                        <a:pt x="46" y="30"/>
                      </a:lnTo>
                      <a:lnTo>
                        <a:pt x="48" y="30"/>
                      </a:lnTo>
                      <a:lnTo>
                        <a:pt x="48" y="28"/>
                      </a:lnTo>
                      <a:lnTo>
                        <a:pt x="48" y="26"/>
                      </a:lnTo>
                      <a:lnTo>
                        <a:pt x="48" y="24"/>
                      </a:lnTo>
                      <a:lnTo>
                        <a:pt x="48" y="20"/>
                      </a:lnTo>
                      <a:lnTo>
                        <a:pt x="46" y="20"/>
                      </a:lnTo>
                      <a:lnTo>
                        <a:pt x="46" y="18"/>
                      </a:lnTo>
                      <a:lnTo>
                        <a:pt x="44" y="18"/>
                      </a:lnTo>
                      <a:lnTo>
                        <a:pt x="46" y="16"/>
                      </a:lnTo>
                      <a:lnTo>
                        <a:pt x="46" y="14"/>
                      </a:lnTo>
                      <a:lnTo>
                        <a:pt x="44" y="12"/>
                      </a:lnTo>
                      <a:lnTo>
                        <a:pt x="42" y="10"/>
                      </a:lnTo>
                      <a:lnTo>
                        <a:pt x="42" y="8"/>
                      </a:lnTo>
                      <a:lnTo>
                        <a:pt x="40" y="6"/>
                      </a:lnTo>
                      <a:lnTo>
                        <a:pt x="38" y="6"/>
                      </a:lnTo>
                      <a:lnTo>
                        <a:pt x="38" y="4"/>
                      </a:lnTo>
                      <a:lnTo>
                        <a:pt x="36" y="2"/>
                      </a:lnTo>
                      <a:lnTo>
                        <a:pt x="36" y="0"/>
                      </a:lnTo>
                      <a:lnTo>
                        <a:pt x="32" y="0"/>
                      </a:lnTo>
                      <a:lnTo>
                        <a:pt x="30" y="0"/>
                      </a:lnTo>
                      <a:lnTo>
                        <a:pt x="28" y="0"/>
                      </a:lnTo>
                      <a:lnTo>
                        <a:pt x="26" y="0"/>
                      </a:lnTo>
                      <a:lnTo>
                        <a:pt x="26" y="2"/>
                      </a:lnTo>
                      <a:lnTo>
                        <a:pt x="24" y="2"/>
                      </a:lnTo>
                      <a:lnTo>
                        <a:pt x="24" y="4"/>
                      </a:lnTo>
                      <a:lnTo>
                        <a:pt x="22" y="4"/>
                      </a:lnTo>
                      <a:lnTo>
                        <a:pt x="20" y="4"/>
                      </a:lnTo>
                      <a:lnTo>
                        <a:pt x="18" y="4"/>
                      </a:lnTo>
                      <a:lnTo>
                        <a:pt x="16" y="4"/>
                      </a:lnTo>
                      <a:lnTo>
                        <a:pt x="16" y="6"/>
                      </a:lnTo>
                      <a:lnTo>
                        <a:pt x="14" y="6"/>
                      </a:lnTo>
                      <a:lnTo>
                        <a:pt x="14" y="8"/>
                      </a:lnTo>
                      <a:lnTo>
                        <a:pt x="14" y="10"/>
                      </a:lnTo>
                      <a:lnTo>
                        <a:pt x="12" y="12"/>
                      </a:lnTo>
                      <a:lnTo>
                        <a:pt x="10" y="14"/>
                      </a:lnTo>
                      <a:lnTo>
                        <a:pt x="8" y="18"/>
                      </a:lnTo>
                      <a:lnTo>
                        <a:pt x="6" y="18"/>
                      </a:lnTo>
                      <a:lnTo>
                        <a:pt x="4" y="20"/>
                      </a:lnTo>
                      <a:lnTo>
                        <a:pt x="2" y="20"/>
                      </a:lnTo>
                      <a:lnTo>
                        <a:pt x="0" y="22"/>
                      </a:lnTo>
                      <a:lnTo>
                        <a:pt x="2" y="22"/>
                      </a:lnTo>
                      <a:lnTo>
                        <a:pt x="4" y="24"/>
                      </a:lnTo>
                      <a:lnTo>
                        <a:pt x="2" y="26"/>
                      </a:lnTo>
                      <a:lnTo>
                        <a:pt x="2" y="28"/>
                      </a:lnTo>
                      <a:lnTo>
                        <a:pt x="0" y="30"/>
                      </a:lnTo>
                      <a:lnTo>
                        <a:pt x="2" y="32"/>
                      </a:lnTo>
                      <a:lnTo>
                        <a:pt x="2" y="34"/>
                      </a:lnTo>
                      <a:lnTo>
                        <a:pt x="4" y="36"/>
                      </a:lnTo>
                      <a:lnTo>
                        <a:pt x="6" y="38"/>
                      </a:lnTo>
                      <a:lnTo>
                        <a:pt x="6" y="40"/>
                      </a:lnTo>
                      <a:lnTo>
                        <a:pt x="6" y="42"/>
                      </a:lnTo>
                      <a:lnTo>
                        <a:pt x="6" y="44"/>
                      </a:lnTo>
                      <a:lnTo>
                        <a:pt x="8" y="44"/>
                      </a:lnTo>
                      <a:lnTo>
                        <a:pt x="10" y="46"/>
                      </a:lnTo>
                      <a:lnTo>
                        <a:pt x="10" y="48"/>
                      </a:lnTo>
                      <a:lnTo>
                        <a:pt x="12" y="48"/>
                      </a:lnTo>
                      <a:lnTo>
                        <a:pt x="12" y="50"/>
                      </a:lnTo>
                      <a:lnTo>
                        <a:pt x="12" y="52"/>
                      </a:lnTo>
                      <a:lnTo>
                        <a:pt x="14" y="52"/>
                      </a:lnTo>
                      <a:lnTo>
                        <a:pt x="14" y="54"/>
                      </a:lnTo>
                      <a:lnTo>
                        <a:pt x="16" y="54"/>
                      </a:lnTo>
                      <a:lnTo>
                        <a:pt x="18" y="56"/>
                      </a:lnTo>
                      <a:lnTo>
                        <a:pt x="22" y="56"/>
                      </a:lnTo>
                      <a:lnTo>
                        <a:pt x="24" y="56"/>
                      </a:lnTo>
                      <a:lnTo>
                        <a:pt x="26" y="60"/>
                      </a:lnTo>
                      <a:lnTo>
                        <a:pt x="28" y="62"/>
                      </a:lnTo>
                      <a:lnTo>
                        <a:pt x="30" y="62"/>
                      </a:lnTo>
                      <a:lnTo>
                        <a:pt x="30" y="64"/>
                      </a:lnTo>
                      <a:lnTo>
                        <a:pt x="32" y="64"/>
                      </a:lnTo>
                      <a:lnTo>
                        <a:pt x="32" y="62"/>
                      </a:lnTo>
                      <a:lnTo>
                        <a:pt x="32" y="60"/>
                      </a:lnTo>
                      <a:lnTo>
                        <a:pt x="32" y="58"/>
                      </a:lnTo>
                      <a:lnTo>
                        <a:pt x="32" y="56"/>
                      </a:lnTo>
                      <a:lnTo>
                        <a:pt x="34" y="56"/>
                      </a:lnTo>
                      <a:lnTo>
                        <a:pt x="34" y="54"/>
                      </a:lnTo>
                      <a:lnTo>
                        <a:pt x="36" y="52"/>
                      </a:lnTo>
                      <a:lnTo>
                        <a:pt x="40" y="50"/>
                      </a:lnTo>
                      <a:lnTo>
                        <a:pt x="42" y="48"/>
                      </a:lnTo>
                      <a:lnTo>
                        <a:pt x="44" y="46"/>
                      </a:lnTo>
                      <a:lnTo>
                        <a:pt x="46" y="46"/>
                      </a:lnTo>
                      <a:lnTo>
                        <a:pt x="46" y="44"/>
                      </a:lnTo>
                      <a:lnTo>
                        <a:pt x="48" y="4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1" name="Freeform 97">
                  <a:extLst>
                    <a:ext uri="{FF2B5EF4-FFF2-40B4-BE49-F238E27FC236}">
                      <a16:creationId xmlns:a16="http://schemas.microsoft.com/office/drawing/2014/main" id="{3149EB59-CBB5-402E-A18E-819F86529C31}"/>
                    </a:ext>
                  </a:extLst>
                </p:cNvPr>
                <p:cNvSpPr>
                  <a:spLocks noChangeAspect="1"/>
                </p:cNvSpPr>
                <p:nvPr/>
              </p:nvSpPr>
              <p:spPr bwMode="auto">
                <a:xfrm>
                  <a:off x="4406114" y="3884121"/>
                  <a:ext cx="55908" cy="170908"/>
                </a:xfrm>
                <a:custGeom>
                  <a:avLst/>
                  <a:gdLst/>
                  <a:ahLst/>
                  <a:cxnLst>
                    <a:cxn ang="0">
                      <a:pos x="30" y="80"/>
                    </a:cxn>
                    <a:cxn ang="0">
                      <a:pos x="30" y="72"/>
                    </a:cxn>
                    <a:cxn ang="0">
                      <a:pos x="30" y="70"/>
                    </a:cxn>
                    <a:cxn ang="0">
                      <a:pos x="32" y="68"/>
                    </a:cxn>
                    <a:cxn ang="0">
                      <a:pos x="30" y="66"/>
                    </a:cxn>
                    <a:cxn ang="0">
                      <a:pos x="30" y="58"/>
                    </a:cxn>
                    <a:cxn ang="0">
                      <a:pos x="30" y="52"/>
                    </a:cxn>
                    <a:cxn ang="0">
                      <a:pos x="30" y="52"/>
                    </a:cxn>
                    <a:cxn ang="0">
                      <a:pos x="32" y="50"/>
                    </a:cxn>
                    <a:cxn ang="0">
                      <a:pos x="32" y="46"/>
                    </a:cxn>
                    <a:cxn ang="0">
                      <a:pos x="30" y="38"/>
                    </a:cxn>
                    <a:cxn ang="0">
                      <a:pos x="26" y="34"/>
                    </a:cxn>
                    <a:cxn ang="0">
                      <a:pos x="26" y="32"/>
                    </a:cxn>
                    <a:cxn ang="0">
                      <a:pos x="26" y="24"/>
                    </a:cxn>
                    <a:cxn ang="0">
                      <a:pos x="22" y="18"/>
                    </a:cxn>
                    <a:cxn ang="0">
                      <a:pos x="16" y="14"/>
                    </a:cxn>
                    <a:cxn ang="0">
                      <a:pos x="16" y="8"/>
                    </a:cxn>
                    <a:cxn ang="0">
                      <a:pos x="16" y="8"/>
                    </a:cxn>
                    <a:cxn ang="0">
                      <a:pos x="18" y="4"/>
                    </a:cxn>
                    <a:cxn ang="0">
                      <a:pos x="14" y="4"/>
                    </a:cxn>
                    <a:cxn ang="0">
                      <a:pos x="14" y="4"/>
                    </a:cxn>
                    <a:cxn ang="0">
                      <a:pos x="8" y="0"/>
                    </a:cxn>
                    <a:cxn ang="0">
                      <a:pos x="6" y="0"/>
                    </a:cxn>
                    <a:cxn ang="0">
                      <a:pos x="4" y="2"/>
                    </a:cxn>
                    <a:cxn ang="0">
                      <a:pos x="4" y="4"/>
                    </a:cxn>
                    <a:cxn ang="0">
                      <a:pos x="2" y="6"/>
                    </a:cxn>
                    <a:cxn ang="0">
                      <a:pos x="0" y="8"/>
                    </a:cxn>
                    <a:cxn ang="0">
                      <a:pos x="8" y="14"/>
                    </a:cxn>
                    <a:cxn ang="0">
                      <a:pos x="8" y="18"/>
                    </a:cxn>
                    <a:cxn ang="0">
                      <a:pos x="6" y="26"/>
                    </a:cxn>
                    <a:cxn ang="0">
                      <a:pos x="6" y="32"/>
                    </a:cxn>
                    <a:cxn ang="0">
                      <a:pos x="6" y="32"/>
                    </a:cxn>
                    <a:cxn ang="0">
                      <a:pos x="10" y="30"/>
                    </a:cxn>
                    <a:cxn ang="0">
                      <a:pos x="12" y="32"/>
                    </a:cxn>
                    <a:cxn ang="0">
                      <a:pos x="10" y="38"/>
                    </a:cxn>
                    <a:cxn ang="0">
                      <a:pos x="12" y="40"/>
                    </a:cxn>
                    <a:cxn ang="0">
                      <a:pos x="14" y="44"/>
                    </a:cxn>
                    <a:cxn ang="0">
                      <a:pos x="10" y="48"/>
                    </a:cxn>
                    <a:cxn ang="0">
                      <a:pos x="10" y="48"/>
                    </a:cxn>
                    <a:cxn ang="0">
                      <a:pos x="14" y="52"/>
                    </a:cxn>
                    <a:cxn ang="0">
                      <a:pos x="14" y="56"/>
                    </a:cxn>
                    <a:cxn ang="0">
                      <a:pos x="14" y="58"/>
                    </a:cxn>
                    <a:cxn ang="0">
                      <a:pos x="14" y="66"/>
                    </a:cxn>
                    <a:cxn ang="0">
                      <a:pos x="14" y="66"/>
                    </a:cxn>
                    <a:cxn ang="0">
                      <a:pos x="12" y="72"/>
                    </a:cxn>
                    <a:cxn ang="0">
                      <a:pos x="14" y="72"/>
                    </a:cxn>
                    <a:cxn ang="0">
                      <a:pos x="14" y="78"/>
                    </a:cxn>
                    <a:cxn ang="0">
                      <a:pos x="14" y="80"/>
                    </a:cxn>
                    <a:cxn ang="0">
                      <a:pos x="14" y="90"/>
                    </a:cxn>
                    <a:cxn ang="0">
                      <a:pos x="18" y="94"/>
                    </a:cxn>
                    <a:cxn ang="0">
                      <a:pos x="22" y="98"/>
                    </a:cxn>
                    <a:cxn ang="0">
                      <a:pos x="26" y="94"/>
                    </a:cxn>
                    <a:cxn ang="0">
                      <a:pos x="34" y="94"/>
                    </a:cxn>
                    <a:cxn ang="0">
                      <a:pos x="32" y="86"/>
                    </a:cxn>
                  </a:cxnLst>
                  <a:rect l="0" t="0" r="r" b="b"/>
                  <a:pathLst>
                    <a:path w="34" h="98">
                      <a:moveTo>
                        <a:pt x="30" y="86"/>
                      </a:moveTo>
                      <a:lnTo>
                        <a:pt x="30" y="84"/>
                      </a:lnTo>
                      <a:lnTo>
                        <a:pt x="30" y="80"/>
                      </a:lnTo>
                      <a:lnTo>
                        <a:pt x="30" y="78"/>
                      </a:lnTo>
                      <a:lnTo>
                        <a:pt x="30" y="76"/>
                      </a:lnTo>
                      <a:lnTo>
                        <a:pt x="30" y="74"/>
                      </a:lnTo>
                      <a:lnTo>
                        <a:pt x="30" y="72"/>
                      </a:lnTo>
                      <a:lnTo>
                        <a:pt x="30" y="70"/>
                      </a:lnTo>
                      <a:lnTo>
                        <a:pt x="32" y="70"/>
                      </a:lnTo>
                      <a:lnTo>
                        <a:pt x="32" y="68"/>
                      </a:lnTo>
                      <a:lnTo>
                        <a:pt x="30" y="66"/>
                      </a:lnTo>
                      <a:lnTo>
                        <a:pt x="30" y="64"/>
                      </a:lnTo>
                      <a:lnTo>
                        <a:pt x="30" y="60"/>
                      </a:lnTo>
                      <a:lnTo>
                        <a:pt x="30" y="58"/>
                      </a:lnTo>
                      <a:lnTo>
                        <a:pt x="30" y="56"/>
                      </a:lnTo>
                      <a:lnTo>
                        <a:pt x="30" y="54"/>
                      </a:lnTo>
                      <a:lnTo>
                        <a:pt x="30" y="52"/>
                      </a:lnTo>
                      <a:lnTo>
                        <a:pt x="32" y="50"/>
                      </a:lnTo>
                      <a:lnTo>
                        <a:pt x="32" y="48"/>
                      </a:lnTo>
                      <a:lnTo>
                        <a:pt x="32" y="46"/>
                      </a:lnTo>
                      <a:lnTo>
                        <a:pt x="30" y="42"/>
                      </a:lnTo>
                      <a:lnTo>
                        <a:pt x="30" y="40"/>
                      </a:lnTo>
                      <a:lnTo>
                        <a:pt x="30" y="38"/>
                      </a:lnTo>
                      <a:lnTo>
                        <a:pt x="30" y="36"/>
                      </a:lnTo>
                      <a:lnTo>
                        <a:pt x="28" y="34"/>
                      </a:lnTo>
                      <a:lnTo>
                        <a:pt x="26" y="34"/>
                      </a:lnTo>
                      <a:lnTo>
                        <a:pt x="26" y="32"/>
                      </a:lnTo>
                      <a:lnTo>
                        <a:pt x="26" y="30"/>
                      </a:lnTo>
                      <a:lnTo>
                        <a:pt x="26" y="28"/>
                      </a:lnTo>
                      <a:lnTo>
                        <a:pt x="26" y="26"/>
                      </a:lnTo>
                      <a:lnTo>
                        <a:pt x="26" y="24"/>
                      </a:lnTo>
                      <a:lnTo>
                        <a:pt x="26" y="22"/>
                      </a:lnTo>
                      <a:lnTo>
                        <a:pt x="26" y="20"/>
                      </a:lnTo>
                      <a:lnTo>
                        <a:pt x="24" y="20"/>
                      </a:lnTo>
                      <a:lnTo>
                        <a:pt x="22" y="18"/>
                      </a:lnTo>
                      <a:lnTo>
                        <a:pt x="20" y="16"/>
                      </a:lnTo>
                      <a:lnTo>
                        <a:pt x="18" y="16"/>
                      </a:lnTo>
                      <a:lnTo>
                        <a:pt x="18" y="14"/>
                      </a:lnTo>
                      <a:lnTo>
                        <a:pt x="16" y="14"/>
                      </a:lnTo>
                      <a:lnTo>
                        <a:pt x="16" y="12"/>
                      </a:lnTo>
                      <a:lnTo>
                        <a:pt x="16" y="10"/>
                      </a:lnTo>
                      <a:lnTo>
                        <a:pt x="16" y="8"/>
                      </a:lnTo>
                      <a:lnTo>
                        <a:pt x="16" y="6"/>
                      </a:lnTo>
                      <a:lnTo>
                        <a:pt x="16" y="4"/>
                      </a:lnTo>
                      <a:lnTo>
                        <a:pt x="18" y="4"/>
                      </a:lnTo>
                      <a:lnTo>
                        <a:pt x="18" y="2"/>
                      </a:lnTo>
                      <a:lnTo>
                        <a:pt x="16" y="4"/>
                      </a:lnTo>
                      <a:lnTo>
                        <a:pt x="14" y="4"/>
                      </a:lnTo>
                      <a:lnTo>
                        <a:pt x="12" y="2"/>
                      </a:lnTo>
                      <a:lnTo>
                        <a:pt x="10" y="2"/>
                      </a:lnTo>
                      <a:lnTo>
                        <a:pt x="8" y="2"/>
                      </a:lnTo>
                      <a:lnTo>
                        <a:pt x="8" y="0"/>
                      </a:lnTo>
                      <a:lnTo>
                        <a:pt x="6" y="0"/>
                      </a:lnTo>
                      <a:lnTo>
                        <a:pt x="4" y="0"/>
                      </a:lnTo>
                      <a:lnTo>
                        <a:pt x="4" y="2"/>
                      </a:lnTo>
                      <a:lnTo>
                        <a:pt x="4" y="4"/>
                      </a:lnTo>
                      <a:lnTo>
                        <a:pt x="4" y="6"/>
                      </a:lnTo>
                      <a:lnTo>
                        <a:pt x="2" y="6"/>
                      </a:lnTo>
                      <a:lnTo>
                        <a:pt x="2" y="8"/>
                      </a:lnTo>
                      <a:lnTo>
                        <a:pt x="0" y="8"/>
                      </a:lnTo>
                      <a:lnTo>
                        <a:pt x="4" y="10"/>
                      </a:lnTo>
                      <a:lnTo>
                        <a:pt x="6" y="12"/>
                      </a:lnTo>
                      <a:lnTo>
                        <a:pt x="8" y="12"/>
                      </a:lnTo>
                      <a:lnTo>
                        <a:pt x="8" y="14"/>
                      </a:lnTo>
                      <a:lnTo>
                        <a:pt x="10" y="14"/>
                      </a:lnTo>
                      <a:lnTo>
                        <a:pt x="8" y="18"/>
                      </a:lnTo>
                      <a:lnTo>
                        <a:pt x="8" y="20"/>
                      </a:lnTo>
                      <a:lnTo>
                        <a:pt x="8" y="22"/>
                      </a:lnTo>
                      <a:lnTo>
                        <a:pt x="8" y="24"/>
                      </a:lnTo>
                      <a:lnTo>
                        <a:pt x="6" y="26"/>
                      </a:lnTo>
                      <a:lnTo>
                        <a:pt x="6" y="28"/>
                      </a:lnTo>
                      <a:lnTo>
                        <a:pt x="6" y="30"/>
                      </a:lnTo>
                      <a:lnTo>
                        <a:pt x="6" y="32"/>
                      </a:lnTo>
                      <a:lnTo>
                        <a:pt x="8" y="30"/>
                      </a:lnTo>
                      <a:lnTo>
                        <a:pt x="10" y="30"/>
                      </a:lnTo>
                      <a:lnTo>
                        <a:pt x="12" y="30"/>
                      </a:lnTo>
                      <a:lnTo>
                        <a:pt x="12" y="32"/>
                      </a:lnTo>
                      <a:lnTo>
                        <a:pt x="12" y="34"/>
                      </a:lnTo>
                      <a:lnTo>
                        <a:pt x="12" y="36"/>
                      </a:lnTo>
                      <a:lnTo>
                        <a:pt x="12" y="38"/>
                      </a:lnTo>
                      <a:lnTo>
                        <a:pt x="10" y="38"/>
                      </a:lnTo>
                      <a:lnTo>
                        <a:pt x="10" y="40"/>
                      </a:lnTo>
                      <a:lnTo>
                        <a:pt x="12" y="40"/>
                      </a:lnTo>
                      <a:lnTo>
                        <a:pt x="12" y="42"/>
                      </a:lnTo>
                      <a:lnTo>
                        <a:pt x="14" y="44"/>
                      </a:lnTo>
                      <a:lnTo>
                        <a:pt x="12" y="44"/>
                      </a:lnTo>
                      <a:lnTo>
                        <a:pt x="10" y="46"/>
                      </a:lnTo>
                      <a:lnTo>
                        <a:pt x="10" y="48"/>
                      </a:lnTo>
                      <a:lnTo>
                        <a:pt x="8" y="48"/>
                      </a:lnTo>
                      <a:lnTo>
                        <a:pt x="10" y="48"/>
                      </a:lnTo>
                      <a:lnTo>
                        <a:pt x="12" y="50"/>
                      </a:lnTo>
                      <a:lnTo>
                        <a:pt x="14" y="50"/>
                      </a:lnTo>
                      <a:lnTo>
                        <a:pt x="14" y="52"/>
                      </a:lnTo>
                      <a:lnTo>
                        <a:pt x="14" y="54"/>
                      </a:lnTo>
                      <a:lnTo>
                        <a:pt x="14" y="56"/>
                      </a:lnTo>
                      <a:lnTo>
                        <a:pt x="14" y="58"/>
                      </a:lnTo>
                      <a:lnTo>
                        <a:pt x="14" y="62"/>
                      </a:lnTo>
                      <a:lnTo>
                        <a:pt x="14" y="64"/>
                      </a:lnTo>
                      <a:lnTo>
                        <a:pt x="14" y="66"/>
                      </a:lnTo>
                      <a:lnTo>
                        <a:pt x="12" y="68"/>
                      </a:lnTo>
                      <a:lnTo>
                        <a:pt x="12" y="70"/>
                      </a:lnTo>
                      <a:lnTo>
                        <a:pt x="12" y="72"/>
                      </a:lnTo>
                      <a:lnTo>
                        <a:pt x="14" y="72"/>
                      </a:lnTo>
                      <a:lnTo>
                        <a:pt x="14" y="74"/>
                      </a:lnTo>
                      <a:lnTo>
                        <a:pt x="14" y="76"/>
                      </a:lnTo>
                      <a:lnTo>
                        <a:pt x="14" y="78"/>
                      </a:lnTo>
                      <a:lnTo>
                        <a:pt x="14" y="80"/>
                      </a:lnTo>
                      <a:lnTo>
                        <a:pt x="14" y="84"/>
                      </a:lnTo>
                      <a:lnTo>
                        <a:pt x="14" y="86"/>
                      </a:lnTo>
                      <a:lnTo>
                        <a:pt x="14" y="88"/>
                      </a:lnTo>
                      <a:lnTo>
                        <a:pt x="14" y="90"/>
                      </a:lnTo>
                      <a:lnTo>
                        <a:pt x="16" y="90"/>
                      </a:lnTo>
                      <a:lnTo>
                        <a:pt x="16" y="92"/>
                      </a:lnTo>
                      <a:lnTo>
                        <a:pt x="18" y="94"/>
                      </a:lnTo>
                      <a:lnTo>
                        <a:pt x="20" y="94"/>
                      </a:lnTo>
                      <a:lnTo>
                        <a:pt x="20" y="96"/>
                      </a:lnTo>
                      <a:lnTo>
                        <a:pt x="22" y="96"/>
                      </a:lnTo>
                      <a:lnTo>
                        <a:pt x="22" y="98"/>
                      </a:lnTo>
                      <a:lnTo>
                        <a:pt x="24" y="96"/>
                      </a:lnTo>
                      <a:lnTo>
                        <a:pt x="26" y="94"/>
                      </a:lnTo>
                      <a:lnTo>
                        <a:pt x="28" y="94"/>
                      </a:lnTo>
                      <a:lnTo>
                        <a:pt x="30" y="94"/>
                      </a:lnTo>
                      <a:lnTo>
                        <a:pt x="32" y="94"/>
                      </a:lnTo>
                      <a:lnTo>
                        <a:pt x="34" y="94"/>
                      </a:lnTo>
                      <a:lnTo>
                        <a:pt x="34" y="92"/>
                      </a:lnTo>
                      <a:lnTo>
                        <a:pt x="34" y="90"/>
                      </a:lnTo>
                      <a:lnTo>
                        <a:pt x="32" y="88"/>
                      </a:lnTo>
                      <a:lnTo>
                        <a:pt x="32" y="86"/>
                      </a:lnTo>
                      <a:lnTo>
                        <a:pt x="30" y="8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2" name="Freeform 98">
                  <a:extLst>
                    <a:ext uri="{FF2B5EF4-FFF2-40B4-BE49-F238E27FC236}">
                      <a16:creationId xmlns:a16="http://schemas.microsoft.com/office/drawing/2014/main" id="{B1EE43D4-294B-4A4D-B0A6-F1A6762DA7B9}"/>
                    </a:ext>
                  </a:extLst>
                </p:cNvPr>
                <p:cNvSpPr>
                  <a:spLocks noChangeAspect="1"/>
                </p:cNvSpPr>
                <p:nvPr/>
              </p:nvSpPr>
              <p:spPr bwMode="auto">
                <a:xfrm>
                  <a:off x="4429135" y="3838779"/>
                  <a:ext cx="88796" cy="209275"/>
                </a:xfrm>
                <a:custGeom>
                  <a:avLst/>
                  <a:gdLst/>
                  <a:ahLst/>
                  <a:cxnLst>
                    <a:cxn ang="0">
                      <a:pos x="36" y="84"/>
                    </a:cxn>
                    <a:cxn ang="0">
                      <a:pos x="34" y="78"/>
                    </a:cxn>
                    <a:cxn ang="0">
                      <a:pos x="34" y="76"/>
                    </a:cxn>
                    <a:cxn ang="0">
                      <a:pos x="36" y="66"/>
                    </a:cxn>
                    <a:cxn ang="0">
                      <a:pos x="38" y="66"/>
                    </a:cxn>
                    <a:cxn ang="0">
                      <a:pos x="42" y="62"/>
                    </a:cxn>
                    <a:cxn ang="0">
                      <a:pos x="44" y="56"/>
                    </a:cxn>
                    <a:cxn ang="0">
                      <a:pos x="48" y="48"/>
                    </a:cxn>
                    <a:cxn ang="0">
                      <a:pos x="48" y="40"/>
                    </a:cxn>
                    <a:cxn ang="0">
                      <a:pos x="50" y="38"/>
                    </a:cxn>
                    <a:cxn ang="0">
                      <a:pos x="54" y="34"/>
                    </a:cxn>
                    <a:cxn ang="0">
                      <a:pos x="52" y="32"/>
                    </a:cxn>
                    <a:cxn ang="0">
                      <a:pos x="52" y="28"/>
                    </a:cxn>
                    <a:cxn ang="0">
                      <a:pos x="48" y="22"/>
                    </a:cxn>
                    <a:cxn ang="0">
                      <a:pos x="50" y="12"/>
                    </a:cxn>
                    <a:cxn ang="0">
                      <a:pos x="50" y="12"/>
                    </a:cxn>
                    <a:cxn ang="0">
                      <a:pos x="44" y="8"/>
                    </a:cxn>
                    <a:cxn ang="0">
                      <a:pos x="38" y="2"/>
                    </a:cxn>
                    <a:cxn ang="0">
                      <a:pos x="32" y="2"/>
                    </a:cxn>
                    <a:cxn ang="0">
                      <a:pos x="28" y="4"/>
                    </a:cxn>
                    <a:cxn ang="0">
                      <a:pos x="28" y="8"/>
                    </a:cxn>
                    <a:cxn ang="0">
                      <a:pos x="30" y="10"/>
                    </a:cxn>
                    <a:cxn ang="0">
                      <a:pos x="28" y="12"/>
                    </a:cxn>
                    <a:cxn ang="0">
                      <a:pos x="28" y="14"/>
                    </a:cxn>
                    <a:cxn ang="0">
                      <a:pos x="24" y="16"/>
                    </a:cxn>
                    <a:cxn ang="0">
                      <a:pos x="22" y="20"/>
                    </a:cxn>
                    <a:cxn ang="0">
                      <a:pos x="14" y="20"/>
                    </a:cxn>
                    <a:cxn ang="0">
                      <a:pos x="8" y="22"/>
                    </a:cxn>
                    <a:cxn ang="0">
                      <a:pos x="8" y="26"/>
                    </a:cxn>
                    <a:cxn ang="0">
                      <a:pos x="4" y="26"/>
                    </a:cxn>
                    <a:cxn ang="0">
                      <a:pos x="2" y="30"/>
                    </a:cxn>
                    <a:cxn ang="0">
                      <a:pos x="0" y="34"/>
                    </a:cxn>
                    <a:cxn ang="0">
                      <a:pos x="0" y="38"/>
                    </a:cxn>
                    <a:cxn ang="0">
                      <a:pos x="4" y="42"/>
                    </a:cxn>
                    <a:cxn ang="0">
                      <a:pos x="10" y="48"/>
                    </a:cxn>
                    <a:cxn ang="0">
                      <a:pos x="10" y="58"/>
                    </a:cxn>
                    <a:cxn ang="0">
                      <a:pos x="14" y="60"/>
                    </a:cxn>
                    <a:cxn ang="0">
                      <a:pos x="16" y="66"/>
                    </a:cxn>
                    <a:cxn ang="0">
                      <a:pos x="16" y="74"/>
                    </a:cxn>
                    <a:cxn ang="0">
                      <a:pos x="14" y="78"/>
                    </a:cxn>
                    <a:cxn ang="0">
                      <a:pos x="14" y="86"/>
                    </a:cxn>
                    <a:cxn ang="0">
                      <a:pos x="14" y="92"/>
                    </a:cxn>
                    <a:cxn ang="0">
                      <a:pos x="16" y="94"/>
                    </a:cxn>
                    <a:cxn ang="0">
                      <a:pos x="14" y="96"/>
                    </a:cxn>
                    <a:cxn ang="0">
                      <a:pos x="16" y="106"/>
                    </a:cxn>
                    <a:cxn ang="0">
                      <a:pos x="16" y="112"/>
                    </a:cxn>
                    <a:cxn ang="0">
                      <a:pos x="18" y="116"/>
                    </a:cxn>
                    <a:cxn ang="0">
                      <a:pos x="24" y="120"/>
                    </a:cxn>
                    <a:cxn ang="0">
                      <a:pos x="28" y="118"/>
                    </a:cxn>
                    <a:cxn ang="0">
                      <a:pos x="30" y="116"/>
                    </a:cxn>
                    <a:cxn ang="0">
                      <a:pos x="34" y="116"/>
                    </a:cxn>
                    <a:cxn ang="0">
                      <a:pos x="34" y="110"/>
                    </a:cxn>
                  </a:cxnLst>
                  <a:rect l="0" t="0" r="r" b="b"/>
                  <a:pathLst>
                    <a:path w="54" h="120">
                      <a:moveTo>
                        <a:pt x="34" y="90"/>
                      </a:moveTo>
                      <a:lnTo>
                        <a:pt x="34" y="88"/>
                      </a:lnTo>
                      <a:lnTo>
                        <a:pt x="36" y="86"/>
                      </a:lnTo>
                      <a:lnTo>
                        <a:pt x="36" y="84"/>
                      </a:lnTo>
                      <a:lnTo>
                        <a:pt x="36" y="82"/>
                      </a:lnTo>
                      <a:lnTo>
                        <a:pt x="36" y="80"/>
                      </a:lnTo>
                      <a:lnTo>
                        <a:pt x="34" y="78"/>
                      </a:lnTo>
                      <a:lnTo>
                        <a:pt x="34" y="76"/>
                      </a:lnTo>
                      <a:lnTo>
                        <a:pt x="34" y="72"/>
                      </a:lnTo>
                      <a:lnTo>
                        <a:pt x="34" y="70"/>
                      </a:lnTo>
                      <a:lnTo>
                        <a:pt x="36" y="68"/>
                      </a:lnTo>
                      <a:lnTo>
                        <a:pt x="36" y="66"/>
                      </a:lnTo>
                      <a:lnTo>
                        <a:pt x="38" y="66"/>
                      </a:lnTo>
                      <a:lnTo>
                        <a:pt x="40" y="66"/>
                      </a:lnTo>
                      <a:lnTo>
                        <a:pt x="42" y="64"/>
                      </a:lnTo>
                      <a:lnTo>
                        <a:pt x="42" y="62"/>
                      </a:lnTo>
                      <a:lnTo>
                        <a:pt x="44" y="60"/>
                      </a:lnTo>
                      <a:lnTo>
                        <a:pt x="44" y="58"/>
                      </a:lnTo>
                      <a:lnTo>
                        <a:pt x="44" y="56"/>
                      </a:lnTo>
                      <a:lnTo>
                        <a:pt x="44" y="54"/>
                      </a:lnTo>
                      <a:lnTo>
                        <a:pt x="44" y="52"/>
                      </a:lnTo>
                      <a:lnTo>
                        <a:pt x="46" y="50"/>
                      </a:lnTo>
                      <a:lnTo>
                        <a:pt x="48" y="48"/>
                      </a:lnTo>
                      <a:lnTo>
                        <a:pt x="48" y="44"/>
                      </a:lnTo>
                      <a:lnTo>
                        <a:pt x="48" y="42"/>
                      </a:lnTo>
                      <a:lnTo>
                        <a:pt x="48" y="40"/>
                      </a:lnTo>
                      <a:lnTo>
                        <a:pt x="48" y="38"/>
                      </a:lnTo>
                      <a:lnTo>
                        <a:pt x="50" y="38"/>
                      </a:lnTo>
                      <a:lnTo>
                        <a:pt x="52" y="38"/>
                      </a:lnTo>
                      <a:lnTo>
                        <a:pt x="52" y="36"/>
                      </a:lnTo>
                      <a:lnTo>
                        <a:pt x="54" y="36"/>
                      </a:lnTo>
                      <a:lnTo>
                        <a:pt x="54" y="34"/>
                      </a:lnTo>
                      <a:lnTo>
                        <a:pt x="54" y="32"/>
                      </a:lnTo>
                      <a:lnTo>
                        <a:pt x="52" y="32"/>
                      </a:lnTo>
                      <a:lnTo>
                        <a:pt x="52" y="30"/>
                      </a:lnTo>
                      <a:lnTo>
                        <a:pt x="52" y="28"/>
                      </a:lnTo>
                      <a:lnTo>
                        <a:pt x="52" y="26"/>
                      </a:lnTo>
                      <a:lnTo>
                        <a:pt x="50" y="24"/>
                      </a:lnTo>
                      <a:lnTo>
                        <a:pt x="48" y="22"/>
                      </a:lnTo>
                      <a:lnTo>
                        <a:pt x="48" y="20"/>
                      </a:lnTo>
                      <a:lnTo>
                        <a:pt x="48" y="18"/>
                      </a:lnTo>
                      <a:lnTo>
                        <a:pt x="48" y="16"/>
                      </a:lnTo>
                      <a:lnTo>
                        <a:pt x="50" y="14"/>
                      </a:lnTo>
                      <a:lnTo>
                        <a:pt x="50" y="12"/>
                      </a:lnTo>
                      <a:lnTo>
                        <a:pt x="48" y="12"/>
                      </a:lnTo>
                      <a:lnTo>
                        <a:pt x="48" y="10"/>
                      </a:lnTo>
                      <a:lnTo>
                        <a:pt x="46" y="10"/>
                      </a:lnTo>
                      <a:lnTo>
                        <a:pt x="44" y="10"/>
                      </a:lnTo>
                      <a:lnTo>
                        <a:pt x="44" y="8"/>
                      </a:lnTo>
                      <a:lnTo>
                        <a:pt x="42" y="8"/>
                      </a:lnTo>
                      <a:lnTo>
                        <a:pt x="40" y="6"/>
                      </a:lnTo>
                      <a:lnTo>
                        <a:pt x="38" y="4"/>
                      </a:lnTo>
                      <a:lnTo>
                        <a:pt x="38" y="2"/>
                      </a:lnTo>
                      <a:lnTo>
                        <a:pt x="36" y="2"/>
                      </a:lnTo>
                      <a:lnTo>
                        <a:pt x="36" y="0"/>
                      </a:lnTo>
                      <a:lnTo>
                        <a:pt x="34" y="2"/>
                      </a:lnTo>
                      <a:lnTo>
                        <a:pt x="32" y="2"/>
                      </a:lnTo>
                      <a:lnTo>
                        <a:pt x="30" y="2"/>
                      </a:lnTo>
                      <a:lnTo>
                        <a:pt x="30" y="4"/>
                      </a:lnTo>
                      <a:lnTo>
                        <a:pt x="28" y="4"/>
                      </a:lnTo>
                      <a:lnTo>
                        <a:pt x="28" y="6"/>
                      </a:lnTo>
                      <a:lnTo>
                        <a:pt x="28" y="8"/>
                      </a:lnTo>
                      <a:lnTo>
                        <a:pt x="28" y="10"/>
                      </a:lnTo>
                      <a:lnTo>
                        <a:pt x="30" y="10"/>
                      </a:lnTo>
                      <a:lnTo>
                        <a:pt x="28" y="10"/>
                      </a:lnTo>
                      <a:lnTo>
                        <a:pt x="28" y="12"/>
                      </a:lnTo>
                      <a:lnTo>
                        <a:pt x="28" y="14"/>
                      </a:lnTo>
                      <a:lnTo>
                        <a:pt x="26" y="14"/>
                      </a:lnTo>
                      <a:lnTo>
                        <a:pt x="24" y="16"/>
                      </a:lnTo>
                      <a:lnTo>
                        <a:pt x="22" y="16"/>
                      </a:lnTo>
                      <a:lnTo>
                        <a:pt x="22" y="18"/>
                      </a:lnTo>
                      <a:lnTo>
                        <a:pt x="22" y="20"/>
                      </a:lnTo>
                      <a:lnTo>
                        <a:pt x="20" y="20"/>
                      </a:lnTo>
                      <a:lnTo>
                        <a:pt x="18" y="20"/>
                      </a:lnTo>
                      <a:lnTo>
                        <a:pt x="16" y="20"/>
                      </a:lnTo>
                      <a:lnTo>
                        <a:pt x="14" y="20"/>
                      </a:lnTo>
                      <a:lnTo>
                        <a:pt x="12" y="18"/>
                      </a:lnTo>
                      <a:lnTo>
                        <a:pt x="10" y="20"/>
                      </a:lnTo>
                      <a:lnTo>
                        <a:pt x="8" y="22"/>
                      </a:lnTo>
                      <a:lnTo>
                        <a:pt x="8" y="24"/>
                      </a:lnTo>
                      <a:lnTo>
                        <a:pt x="8" y="26"/>
                      </a:lnTo>
                      <a:lnTo>
                        <a:pt x="6" y="26"/>
                      </a:lnTo>
                      <a:lnTo>
                        <a:pt x="4" y="26"/>
                      </a:lnTo>
                      <a:lnTo>
                        <a:pt x="4" y="28"/>
                      </a:lnTo>
                      <a:lnTo>
                        <a:pt x="2" y="28"/>
                      </a:lnTo>
                      <a:lnTo>
                        <a:pt x="2" y="30"/>
                      </a:lnTo>
                      <a:lnTo>
                        <a:pt x="2" y="32"/>
                      </a:lnTo>
                      <a:lnTo>
                        <a:pt x="0" y="32"/>
                      </a:lnTo>
                      <a:lnTo>
                        <a:pt x="0" y="34"/>
                      </a:lnTo>
                      <a:lnTo>
                        <a:pt x="0" y="36"/>
                      </a:lnTo>
                      <a:lnTo>
                        <a:pt x="0" y="38"/>
                      </a:lnTo>
                      <a:lnTo>
                        <a:pt x="0" y="40"/>
                      </a:lnTo>
                      <a:lnTo>
                        <a:pt x="2" y="40"/>
                      </a:lnTo>
                      <a:lnTo>
                        <a:pt x="4" y="42"/>
                      </a:lnTo>
                      <a:lnTo>
                        <a:pt x="6" y="42"/>
                      </a:lnTo>
                      <a:lnTo>
                        <a:pt x="8" y="44"/>
                      </a:lnTo>
                      <a:lnTo>
                        <a:pt x="8" y="46"/>
                      </a:lnTo>
                      <a:lnTo>
                        <a:pt x="10" y="46"/>
                      </a:lnTo>
                      <a:lnTo>
                        <a:pt x="10" y="48"/>
                      </a:lnTo>
                      <a:lnTo>
                        <a:pt x="10" y="50"/>
                      </a:lnTo>
                      <a:lnTo>
                        <a:pt x="12" y="50"/>
                      </a:lnTo>
                      <a:lnTo>
                        <a:pt x="12" y="54"/>
                      </a:lnTo>
                      <a:lnTo>
                        <a:pt x="10" y="56"/>
                      </a:lnTo>
                      <a:lnTo>
                        <a:pt x="10" y="58"/>
                      </a:lnTo>
                      <a:lnTo>
                        <a:pt x="12" y="60"/>
                      </a:lnTo>
                      <a:lnTo>
                        <a:pt x="14" y="60"/>
                      </a:lnTo>
                      <a:lnTo>
                        <a:pt x="14" y="62"/>
                      </a:lnTo>
                      <a:lnTo>
                        <a:pt x="16" y="64"/>
                      </a:lnTo>
                      <a:lnTo>
                        <a:pt x="16" y="66"/>
                      </a:lnTo>
                      <a:lnTo>
                        <a:pt x="16" y="68"/>
                      </a:lnTo>
                      <a:lnTo>
                        <a:pt x="16" y="72"/>
                      </a:lnTo>
                      <a:lnTo>
                        <a:pt x="16" y="74"/>
                      </a:lnTo>
                      <a:lnTo>
                        <a:pt x="16" y="76"/>
                      </a:lnTo>
                      <a:lnTo>
                        <a:pt x="16" y="78"/>
                      </a:lnTo>
                      <a:lnTo>
                        <a:pt x="14" y="78"/>
                      </a:lnTo>
                      <a:lnTo>
                        <a:pt x="14" y="80"/>
                      </a:lnTo>
                      <a:lnTo>
                        <a:pt x="14" y="82"/>
                      </a:lnTo>
                      <a:lnTo>
                        <a:pt x="14" y="84"/>
                      </a:lnTo>
                      <a:lnTo>
                        <a:pt x="14" y="86"/>
                      </a:lnTo>
                      <a:lnTo>
                        <a:pt x="14" y="88"/>
                      </a:lnTo>
                      <a:lnTo>
                        <a:pt x="14" y="90"/>
                      </a:lnTo>
                      <a:lnTo>
                        <a:pt x="14" y="92"/>
                      </a:lnTo>
                      <a:lnTo>
                        <a:pt x="16" y="94"/>
                      </a:lnTo>
                      <a:lnTo>
                        <a:pt x="16" y="96"/>
                      </a:lnTo>
                      <a:lnTo>
                        <a:pt x="14" y="96"/>
                      </a:lnTo>
                      <a:lnTo>
                        <a:pt x="16" y="100"/>
                      </a:lnTo>
                      <a:lnTo>
                        <a:pt x="16" y="102"/>
                      </a:lnTo>
                      <a:lnTo>
                        <a:pt x="16" y="104"/>
                      </a:lnTo>
                      <a:lnTo>
                        <a:pt x="16" y="106"/>
                      </a:lnTo>
                      <a:lnTo>
                        <a:pt x="16" y="108"/>
                      </a:lnTo>
                      <a:lnTo>
                        <a:pt x="16" y="110"/>
                      </a:lnTo>
                      <a:lnTo>
                        <a:pt x="16" y="112"/>
                      </a:lnTo>
                      <a:lnTo>
                        <a:pt x="18" y="114"/>
                      </a:lnTo>
                      <a:lnTo>
                        <a:pt x="18" y="116"/>
                      </a:lnTo>
                      <a:lnTo>
                        <a:pt x="18" y="118"/>
                      </a:lnTo>
                      <a:lnTo>
                        <a:pt x="20" y="120"/>
                      </a:lnTo>
                      <a:lnTo>
                        <a:pt x="22" y="120"/>
                      </a:lnTo>
                      <a:lnTo>
                        <a:pt x="24" y="120"/>
                      </a:lnTo>
                      <a:lnTo>
                        <a:pt x="26" y="120"/>
                      </a:lnTo>
                      <a:lnTo>
                        <a:pt x="28" y="118"/>
                      </a:lnTo>
                      <a:lnTo>
                        <a:pt x="28" y="116"/>
                      </a:lnTo>
                      <a:lnTo>
                        <a:pt x="30" y="116"/>
                      </a:lnTo>
                      <a:lnTo>
                        <a:pt x="32" y="116"/>
                      </a:lnTo>
                      <a:lnTo>
                        <a:pt x="34" y="118"/>
                      </a:lnTo>
                      <a:lnTo>
                        <a:pt x="34" y="116"/>
                      </a:lnTo>
                      <a:lnTo>
                        <a:pt x="34" y="114"/>
                      </a:lnTo>
                      <a:lnTo>
                        <a:pt x="34" y="112"/>
                      </a:lnTo>
                      <a:lnTo>
                        <a:pt x="34" y="110"/>
                      </a:lnTo>
                      <a:lnTo>
                        <a:pt x="34" y="9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3" name="Freeform 99">
                  <a:extLst>
                    <a:ext uri="{FF2B5EF4-FFF2-40B4-BE49-F238E27FC236}">
                      <a16:creationId xmlns:a16="http://schemas.microsoft.com/office/drawing/2014/main" id="{E5EBFE3C-795E-4BED-A0A4-A5A87DB5F63B}"/>
                    </a:ext>
                  </a:extLst>
                </p:cNvPr>
                <p:cNvSpPr>
                  <a:spLocks noChangeAspect="1"/>
                </p:cNvSpPr>
                <p:nvPr/>
              </p:nvSpPr>
              <p:spPr bwMode="auto">
                <a:xfrm>
                  <a:off x="5215140" y="4337552"/>
                  <a:ext cx="52620" cy="69759"/>
                </a:xfrm>
                <a:custGeom>
                  <a:avLst/>
                  <a:gdLst/>
                  <a:ahLst/>
                  <a:cxnLst>
                    <a:cxn ang="0">
                      <a:pos x="8" y="20"/>
                    </a:cxn>
                    <a:cxn ang="0">
                      <a:pos x="8" y="24"/>
                    </a:cxn>
                    <a:cxn ang="0">
                      <a:pos x="8" y="24"/>
                    </a:cxn>
                    <a:cxn ang="0">
                      <a:pos x="8" y="26"/>
                    </a:cxn>
                    <a:cxn ang="0">
                      <a:pos x="8" y="28"/>
                    </a:cxn>
                    <a:cxn ang="0">
                      <a:pos x="8" y="34"/>
                    </a:cxn>
                    <a:cxn ang="0">
                      <a:pos x="10" y="40"/>
                    </a:cxn>
                    <a:cxn ang="0">
                      <a:pos x="12" y="38"/>
                    </a:cxn>
                    <a:cxn ang="0">
                      <a:pos x="16" y="36"/>
                    </a:cxn>
                    <a:cxn ang="0">
                      <a:pos x="20" y="34"/>
                    </a:cxn>
                    <a:cxn ang="0">
                      <a:pos x="22" y="30"/>
                    </a:cxn>
                    <a:cxn ang="0">
                      <a:pos x="22" y="26"/>
                    </a:cxn>
                    <a:cxn ang="0">
                      <a:pos x="24" y="22"/>
                    </a:cxn>
                    <a:cxn ang="0">
                      <a:pos x="26" y="20"/>
                    </a:cxn>
                    <a:cxn ang="0">
                      <a:pos x="28" y="20"/>
                    </a:cxn>
                    <a:cxn ang="0">
                      <a:pos x="28" y="20"/>
                    </a:cxn>
                    <a:cxn ang="0">
                      <a:pos x="28" y="18"/>
                    </a:cxn>
                    <a:cxn ang="0">
                      <a:pos x="28" y="16"/>
                    </a:cxn>
                    <a:cxn ang="0">
                      <a:pos x="28" y="16"/>
                    </a:cxn>
                    <a:cxn ang="0">
                      <a:pos x="30" y="16"/>
                    </a:cxn>
                    <a:cxn ang="0">
                      <a:pos x="32" y="14"/>
                    </a:cxn>
                    <a:cxn ang="0">
                      <a:pos x="32" y="14"/>
                    </a:cxn>
                    <a:cxn ang="0">
                      <a:pos x="32" y="12"/>
                    </a:cxn>
                    <a:cxn ang="0">
                      <a:pos x="32" y="10"/>
                    </a:cxn>
                    <a:cxn ang="0">
                      <a:pos x="32" y="10"/>
                    </a:cxn>
                    <a:cxn ang="0">
                      <a:pos x="28" y="10"/>
                    </a:cxn>
                    <a:cxn ang="0">
                      <a:pos x="26" y="10"/>
                    </a:cxn>
                    <a:cxn ang="0">
                      <a:pos x="24" y="10"/>
                    </a:cxn>
                    <a:cxn ang="0">
                      <a:pos x="24" y="6"/>
                    </a:cxn>
                    <a:cxn ang="0">
                      <a:pos x="26" y="2"/>
                    </a:cxn>
                    <a:cxn ang="0">
                      <a:pos x="26" y="0"/>
                    </a:cxn>
                    <a:cxn ang="0">
                      <a:pos x="26" y="0"/>
                    </a:cxn>
                    <a:cxn ang="0">
                      <a:pos x="28" y="0"/>
                    </a:cxn>
                    <a:cxn ang="0">
                      <a:pos x="26" y="0"/>
                    </a:cxn>
                    <a:cxn ang="0">
                      <a:pos x="24" y="0"/>
                    </a:cxn>
                    <a:cxn ang="0">
                      <a:pos x="22" y="0"/>
                    </a:cxn>
                    <a:cxn ang="0">
                      <a:pos x="18" y="0"/>
                    </a:cxn>
                    <a:cxn ang="0">
                      <a:pos x="16" y="0"/>
                    </a:cxn>
                    <a:cxn ang="0">
                      <a:pos x="16" y="0"/>
                    </a:cxn>
                    <a:cxn ang="0">
                      <a:pos x="16" y="4"/>
                    </a:cxn>
                    <a:cxn ang="0">
                      <a:pos x="14" y="4"/>
                    </a:cxn>
                    <a:cxn ang="0">
                      <a:pos x="14" y="6"/>
                    </a:cxn>
                    <a:cxn ang="0">
                      <a:pos x="14" y="6"/>
                    </a:cxn>
                    <a:cxn ang="0">
                      <a:pos x="14" y="6"/>
                    </a:cxn>
                    <a:cxn ang="0">
                      <a:pos x="10" y="8"/>
                    </a:cxn>
                    <a:cxn ang="0">
                      <a:pos x="8" y="8"/>
                    </a:cxn>
                    <a:cxn ang="0">
                      <a:pos x="8" y="8"/>
                    </a:cxn>
                    <a:cxn ang="0">
                      <a:pos x="4" y="4"/>
                    </a:cxn>
                    <a:cxn ang="0">
                      <a:pos x="4" y="4"/>
                    </a:cxn>
                    <a:cxn ang="0">
                      <a:pos x="2" y="4"/>
                    </a:cxn>
                    <a:cxn ang="0">
                      <a:pos x="0" y="4"/>
                    </a:cxn>
                    <a:cxn ang="0">
                      <a:pos x="2" y="8"/>
                    </a:cxn>
                    <a:cxn ang="0">
                      <a:pos x="2" y="10"/>
                    </a:cxn>
                    <a:cxn ang="0">
                      <a:pos x="2" y="10"/>
                    </a:cxn>
                    <a:cxn ang="0">
                      <a:pos x="2" y="10"/>
                    </a:cxn>
                    <a:cxn ang="0">
                      <a:pos x="4" y="12"/>
                    </a:cxn>
                    <a:cxn ang="0">
                      <a:pos x="6" y="14"/>
                    </a:cxn>
                    <a:cxn ang="0">
                      <a:pos x="8" y="16"/>
                    </a:cxn>
                    <a:cxn ang="0">
                      <a:pos x="8" y="16"/>
                    </a:cxn>
                  </a:cxnLst>
                  <a:rect l="0" t="0" r="r" b="b"/>
                  <a:pathLst>
                    <a:path w="32" h="40">
                      <a:moveTo>
                        <a:pt x="8" y="16"/>
                      </a:moveTo>
                      <a:lnTo>
                        <a:pt x="8" y="20"/>
                      </a:lnTo>
                      <a:lnTo>
                        <a:pt x="8" y="22"/>
                      </a:lnTo>
                      <a:lnTo>
                        <a:pt x="8" y="24"/>
                      </a:lnTo>
                      <a:lnTo>
                        <a:pt x="8" y="26"/>
                      </a:lnTo>
                      <a:lnTo>
                        <a:pt x="8" y="28"/>
                      </a:lnTo>
                      <a:lnTo>
                        <a:pt x="8" y="30"/>
                      </a:lnTo>
                      <a:lnTo>
                        <a:pt x="8" y="34"/>
                      </a:lnTo>
                      <a:lnTo>
                        <a:pt x="8" y="38"/>
                      </a:lnTo>
                      <a:lnTo>
                        <a:pt x="10" y="40"/>
                      </a:lnTo>
                      <a:lnTo>
                        <a:pt x="10" y="38"/>
                      </a:lnTo>
                      <a:lnTo>
                        <a:pt x="12" y="38"/>
                      </a:lnTo>
                      <a:lnTo>
                        <a:pt x="14" y="38"/>
                      </a:lnTo>
                      <a:lnTo>
                        <a:pt x="16" y="36"/>
                      </a:lnTo>
                      <a:lnTo>
                        <a:pt x="18" y="34"/>
                      </a:lnTo>
                      <a:lnTo>
                        <a:pt x="20" y="34"/>
                      </a:lnTo>
                      <a:lnTo>
                        <a:pt x="20" y="32"/>
                      </a:lnTo>
                      <a:lnTo>
                        <a:pt x="22" y="30"/>
                      </a:lnTo>
                      <a:lnTo>
                        <a:pt x="22" y="28"/>
                      </a:lnTo>
                      <a:lnTo>
                        <a:pt x="22" y="26"/>
                      </a:lnTo>
                      <a:lnTo>
                        <a:pt x="22" y="24"/>
                      </a:lnTo>
                      <a:lnTo>
                        <a:pt x="24" y="22"/>
                      </a:lnTo>
                      <a:lnTo>
                        <a:pt x="26" y="20"/>
                      </a:lnTo>
                      <a:lnTo>
                        <a:pt x="28" y="20"/>
                      </a:lnTo>
                      <a:lnTo>
                        <a:pt x="28" y="18"/>
                      </a:lnTo>
                      <a:lnTo>
                        <a:pt x="28" y="16"/>
                      </a:lnTo>
                      <a:lnTo>
                        <a:pt x="30" y="16"/>
                      </a:lnTo>
                      <a:lnTo>
                        <a:pt x="30" y="14"/>
                      </a:lnTo>
                      <a:lnTo>
                        <a:pt x="32" y="14"/>
                      </a:lnTo>
                      <a:lnTo>
                        <a:pt x="32" y="12"/>
                      </a:lnTo>
                      <a:lnTo>
                        <a:pt x="32" y="10"/>
                      </a:lnTo>
                      <a:lnTo>
                        <a:pt x="30" y="10"/>
                      </a:lnTo>
                      <a:lnTo>
                        <a:pt x="28" y="10"/>
                      </a:lnTo>
                      <a:lnTo>
                        <a:pt x="26" y="10"/>
                      </a:lnTo>
                      <a:lnTo>
                        <a:pt x="24" y="10"/>
                      </a:lnTo>
                      <a:lnTo>
                        <a:pt x="24" y="8"/>
                      </a:lnTo>
                      <a:lnTo>
                        <a:pt x="24" y="6"/>
                      </a:lnTo>
                      <a:lnTo>
                        <a:pt x="24" y="2"/>
                      </a:lnTo>
                      <a:lnTo>
                        <a:pt x="26" y="2"/>
                      </a:lnTo>
                      <a:lnTo>
                        <a:pt x="26" y="0"/>
                      </a:lnTo>
                      <a:lnTo>
                        <a:pt x="28" y="0"/>
                      </a:lnTo>
                      <a:lnTo>
                        <a:pt x="26" y="0"/>
                      </a:lnTo>
                      <a:lnTo>
                        <a:pt x="24" y="0"/>
                      </a:lnTo>
                      <a:lnTo>
                        <a:pt x="22" y="0"/>
                      </a:lnTo>
                      <a:lnTo>
                        <a:pt x="20" y="0"/>
                      </a:lnTo>
                      <a:lnTo>
                        <a:pt x="18" y="0"/>
                      </a:lnTo>
                      <a:lnTo>
                        <a:pt x="16" y="0"/>
                      </a:lnTo>
                      <a:lnTo>
                        <a:pt x="16" y="2"/>
                      </a:lnTo>
                      <a:lnTo>
                        <a:pt x="16" y="4"/>
                      </a:lnTo>
                      <a:lnTo>
                        <a:pt x="14" y="4"/>
                      </a:lnTo>
                      <a:lnTo>
                        <a:pt x="14" y="6"/>
                      </a:lnTo>
                      <a:lnTo>
                        <a:pt x="12" y="8"/>
                      </a:lnTo>
                      <a:lnTo>
                        <a:pt x="10" y="8"/>
                      </a:lnTo>
                      <a:lnTo>
                        <a:pt x="8" y="8"/>
                      </a:lnTo>
                      <a:lnTo>
                        <a:pt x="6" y="6"/>
                      </a:lnTo>
                      <a:lnTo>
                        <a:pt x="4" y="4"/>
                      </a:lnTo>
                      <a:lnTo>
                        <a:pt x="2" y="4"/>
                      </a:lnTo>
                      <a:lnTo>
                        <a:pt x="0" y="4"/>
                      </a:lnTo>
                      <a:lnTo>
                        <a:pt x="2" y="6"/>
                      </a:lnTo>
                      <a:lnTo>
                        <a:pt x="2" y="8"/>
                      </a:lnTo>
                      <a:lnTo>
                        <a:pt x="2" y="10"/>
                      </a:lnTo>
                      <a:lnTo>
                        <a:pt x="4" y="10"/>
                      </a:lnTo>
                      <a:lnTo>
                        <a:pt x="4" y="12"/>
                      </a:lnTo>
                      <a:lnTo>
                        <a:pt x="6" y="12"/>
                      </a:lnTo>
                      <a:lnTo>
                        <a:pt x="6" y="14"/>
                      </a:lnTo>
                      <a:lnTo>
                        <a:pt x="8" y="14"/>
                      </a:lnTo>
                      <a:lnTo>
                        <a:pt x="8" y="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4" name="Freeform 100">
                  <a:extLst>
                    <a:ext uri="{FF2B5EF4-FFF2-40B4-BE49-F238E27FC236}">
                      <a16:creationId xmlns:a16="http://schemas.microsoft.com/office/drawing/2014/main" id="{E4CA99D7-9B02-4593-8287-D0DCBF735E85}"/>
                    </a:ext>
                  </a:extLst>
                </p:cNvPr>
                <p:cNvSpPr>
                  <a:spLocks noChangeAspect="1"/>
                </p:cNvSpPr>
                <p:nvPr/>
              </p:nvSpPr>
              <p:spPr bwMode="auto">
                <a:xfrm>
                  <a:off x="5234872" y="4114325"/>
                  <a:ext cx="154570" cy="191836"/>
                </a:xfrm>
                <a:custGeom>
                  <a:avLst/>
                  <a:gdLst/>
                  <a:ahLst/>
                  <a:cxnLst>
                    <a:cxn ang="0">
                      <a:pos x="88" y="38"/>
                    </a:cxn>
                    <a:cxn ang="0">
                      <a:pos x="90" y="32"/>
                    </a:cxn>
                    <a:cxn ang="0">
                      <a:pos x="84" y="22"/>
                    </a:cxn>
                    <a:cxn ang="0">
                      <a:pos x="84" y="20"/>
                    </a:cxn>
                    <a:cxn ang="0">
                      <a:pos x="80" y="16"/>
                    </a:cxn>
                    <a:cxn ang="0">
                      <a:pos x="82" y="10"/>
                    </a:cxn>
                    <a:cxn ang="0">
                      <a:pos x="76" y="8"/>
                    </a:cxn>
                    <a:cxn ang="0">
                      <a:pos x="74" y="0"/>
                    </a:cxn>
                    <a:cxn ang="0">
                      <a:pos x="70" y="0"/>
                    </a:cxn>
                    <a:cxn ang="0">
                      <a:pos x="64" y="10"/>
                    </a:cxn>
                    <a:cxn ang="0">
                      <a:pos x="60" y="8"/>
                    </a:cxn>
                    <a:cxn ang="0">
                      <a:pos x="54" y="8"/>
                    </a:cxn>
                    <a:cxn ang="0">
                      <a:pos x="48" y="10"/>
                    </a:cxn>
                    <a:cxn ang="0">
                      <a:pos x="44" y="14"/>
                    </a:cxn>
                    <a:cxn ang="0">
                      <a:pos x="40" y="10"/>
                    </a:cxn>
                    <a:cxn ang="0">
                      <a:pos x="36" y="8"/>
                    </a:cxn>
                    <a:cxn ang="0">
                      <a:pos x="36" y="10"/>
                    </a:cxn>
                    <a:cxn ang="0">
                      <a:pos x="28" y="8"/>
                    </a:cxn>
                    <a:cxn ang="0">
                      <a:pos x="20" y="12"/>
                    </a:cxn>
                    <a:cxn ang="0">
                      <a:pos x="22" y="18"/>
                    </a:cxn>
                    <a:cxn ang="0">
                      <a:pos x="16" y="22"/>
                    </a:cxn>
                    <a:cxn ang="0">
                      <a:pos x="20" y="24"/>
                    </a:cxn>
                    <a:cxn ang="0">
                      <a:pos x="18" y="32"/>
                    </a:cxn>
                    <a:cxn ang="0">
                      <a:pos x="24" y="36"/>
                    </a:cxn>
                    <a:cxn ang="0">
                      <a:pos x="28" y="38"/>
                    </a:cxn>
                    <a:cxn ang="0">
                      <a:pos x="22" y="48"/>
                    </a:cxn>
                    <a:cxn ang="0">
                      <a:pos x="16" y="56"/>
                    </a:cxn>
                    <a:cxn ang="0">
                      <a:pos x="10" y="58"/>
                    </a:cxn>
                    <a:cxn ang="0">
                      <a:pos x="10" y="62"/>
                    </a:cxn>
                    <a:cxn ang="0">
                      <a:pos x="6" y="66"/>
                    </a:cxn>
                    <a:cxn ang="0">
                      <a:pos x="4" y="70"/>
                    </a:cxn>
                    <a:cxn ang="0">
                      <a:pos x="2" y="80"/>
                    </a:cxn>
                    <a:cxn ang="0">
                      <a:pos x="2" y="86"/>
                    </a:cxn>
                    <a:cxn ang="0">
                      <a:pos x="0" y="92"/>
                    </a:cxn>
                    <a:cxn ang="0">
                      <a:pos x="0" y="104"/>
                    </a:cxn>
                    <a:cxn ang="0">
                      <a:pos x="0" y="108"/>
                    </a:cxn>
                    <a:cxn ang="0">
                      <a:pos x="4" y="108"/>
                    </a:cxn>
                    <a:cxn ang="0">
                      <a:pos x="8" y="110"/>
                    </a:cxn>
                    <a:cxn ang="0">
                      <a:pos x="12" y="102"/>
                    </a:cxn>
                    <a:cxn ang="0">
                      <a:pos x="16" y="100"/>
                    </a:cxn>
                    <a:cxn ang="0">
                      <a:pos x="30" y="100"/>
                    </a:cxn>
                    <a:cxn ang="0">
                      <a:pos x="38" y="100"/>
                    </a:cxn>
                    <a:cxn ang="0">
                      <a:pos x="36" y="96"/>
                    </a:cxn>
                    <a:cxn ang="0">
                      <a:pos x="40" y="88"/>
                    </a:cxn>
                    <a:cxn ang="0">
                      <a:pos x="40" y="82"/>
                    </a:cxn>
                    <a:cxn ang="0">
                      <a:pos x="52" y="78"/>
                    </a:cxn>
                    <a:cxn ang="0">
                      <a:pos x="60" y="74"/>
                    </a:cxn>
                    <a:cxn ang="0">
                      <a:pos x="64" y="74"/>
                    </a:cxn>
                    <a:cxn ang="0">
                      <a:pos x="64" y="78"/>
                    </a:cxn>
                    <a:cxn ang="0">
                      <a:pos x="74" y="78"/>
                    </a:cxn>
                    <a:cxn ang="0">
                      <a:pos x="78" y="72"/>
                    </a:cxn>
                    <a:cxn ang="0">
                      <a:pos x="78" y="68"/>
                    </a:cxn>
                    <a:cxn ang="0">
                      <a:pos x="82" y="66"/>
                    </a:cxn>
                    <a:cxn ang="0">
                      <a:pos x="82" y="62"/>
                    </a:cxn>
                    <a:cxn ang="0">
                      <a:pos x="86" y="58"/>
                    </a:cxn>
                    <a:cxn ang="0">
                      <a:pos x="88" y="52"/>
                    </a:cxn>
                    <a:cxn ang="0">
                      <a:pos x="90" y="50"/>
                    </a:cxn>
                    <a:cxn ang="0">
                      <a:pos x="94" y="46"/>
                    </a:cxn>
                  </a:cxnLst>
                  <a:rect l="0" t="0" r="r" b="b"/>
                  <a:pathLst>
                    <a:path w="94" h="110">
                      <a:moveTo>
                        <a:pt x="94" y="46"/>
                      </a:moveTo>
                      <a:lnTo>
                        <a:pt x="92" y="44"/>
                      </a:lnTo>
                      <a:lnTo>
                        <a:pt x="90" y="40"/>
                      </a:lnTo>
                      <a:lnTo>
                        <a:pt x="88" y="38"/>
                      </a:lnTo>
                      <a:lnTo>
                        <a:pt x="88" y="36"/>
                      </a:lnTo>
                      <a:lnTo>
                        <a:pt x="88" y="34"/>
                      </a:lnTo>
                      <a:lnTo>
                        <a:pt x="90" y="32"/>
                      </a:lnTo>
                      <a:lnTo>
                        <a:pt x="88" y="28"/>
                      </a:lnTo>
                      <a:lnTo>
                        <a:pt x="86" y="26"/>
                      </a:lnTo>
                      <a:lnTo>
                        <a:pt x="84" y="24"/>
                      </a:lnTo>
                      <a:lnTo>
                        <a:pt x="84" y="22"/>
                      </a:lnTo>
                      <a:lnTo>
                        <a:pt x="84" y="20"/>
                      </a:lnTo>
                      <a:lnTo>
                        <a:pt x="82" y="20"/>
                      </a:lnTo>
                      <a:lnTo>
                        <a:pt x="80" y="18"/>
                      </a:lnTo>
                      <a:lnTo>
                        <a:pt x="80" y="16"/>
                      </a:lnTo>
                      <a:lnTo>
                        <a:pt x="82" y="14"/>
                      </a:lnTo>
                      <a:lnTo>
                        <a:pt x="82" y="12"/>
                      </a:lnTo>
                      <a:lnTo>
                        <a:pt x="82" y="10"/>
                      </a:lnTo>
                      <a:lnTo>
                        <a:pt x="80" y="10"/>
                      </a:lnTo>
                      <a:lnTo>
                        <a:pt x="80" y="12"/>
                      </a:lnTo>
                      <a:lnTo>
                        <a:pt x="78" y="12"/>
                      </a:lnTo>
                      <a:lnTo>
                        <a:pt x="78" y="10"/>
                      </a:lnTo>
                      <a:lnTo>
                        <a:pt x="76" y="10"/>
                      </a:lnTo>
                      <a:lnTo>
                        <a:pt x="76" y="8"/>
                      </a:lnTo>
                      <a:lnTo>
                        <a:pt x="76" y="4"/>
                      </a:lnTo>
                      <a:lnTo>
                        <a:pt x="76" y="2"/>
                      </a:lnTo>
                      <a:lnTo>
                        <a:pt x="74" y="2"/>
                      </a:lnTo>
                      <a:lnTo>
                        <a:pt x="74" y="0"/>
                      </a:lnTo>
                      <a:lnTo>
                        <a:pt x="72" y="0"/>
                      </a:lnTo>
                      <a:lnTo>
                        <a:pt x="70" y="0"/>
                      </a:lnTo>
                      <a:lnTo>
                        <a:pt x="70" y="2"/>
                      </a:lnTo>
                      <a:lnTo>
                        <a:pt x="70" y="4"/>
                      </a:lnTo>
                      <a:lnTo>
                        <a:pt x="68" y="6"/>
                      </a:lnTo>
                      <a:lnTo>
                        <a:pt x="66" y="8"/>
                      </a:lnTo>
                      <a:lnTo>
                        <a:pt x="64" y="10"/>
                      </a:lnTo>
                      <a:lnTo>
                        <a:pt x="62" y="10"/>
                      </a:lnTo>
                      <a:lnTo>
                        <a:pt x="60" y="8"/>
                      </a:lnTo>
                      <a:lnTo>
                        <a:pt x="58" y="6"/>
                      </a:lnTo>
                      <a:lnTo>
                        <a:pt x="56" y="6"/>
                      </a:lnTo>
                      <a:lnTo>
                        <a:pt x="54" y="8"/>
                      </a:lnTo>
                      <a:lnTo>
                        <a:pt x="54" y="10"/>
                      </a:lnTo>
                      <a:lnTo>
                        <a:pt x="52" y="10"/>
                      </a:lnTo>
                      <a:lnTo>
                        <a:pt x="50" y="10"/>
                      </a:lnTo>
                      <a:lnTo>
                        <a:pt x="48" y="10"/>
                      </a:lnTo>
                      <a:lnTo>
                        <a:pt x="46" y="10"/>
                      </a:lnTo>
                      <a:lnTo>
                        <a:pt x="44" y="12"/>
                      </a:lnTo>
                      <a:lnTo>
                        <a:pt x="44" y="14"/>
                      </a:lnTo>
                      <a:lnTo>
                        <a:pt x="42" y="14"/>
                      </a:lnTo>
                      <a:lnTo>
                        <a:pt x="40" y="12"/>
                      </a:lnTo>
                      <a:lnTo>
                        <a:pt x="40" y="10"/>
                      </a:lnTo>
                      <a:lnTo>
                        <a:pt x="38" y="10"/>
                      </a:lnTo>
                      <a:lnTo>
                        <a:pt x="38" y="8"/>
                      </a:lnTo>
                      <a:lnTo>
                        <a:pt x="36" y="8"/>
                      </a:lnTo>
                      <a:lnTo>
                        <a:pt x="36" y="10"/>
                      </a:lnTo>
                      <a:lnTo>
                        <a:pt x="34" y="10"/>
                      </a:lnTo>
                      <a:lnTo>
                        <a:pt x="32" y="10"/>
                      </a:lnTo>
                      <a:lnTo>
                        <a:pt x="30" y="10"/>
                      </a:lnTo>
                      <a:lnTo>
                        <a:pt x="28" y="8"/>
                      </a:lnTo>
                      <a:lnTo>
                        <a:pt x="26" y="8"/>
                      </a:lnTo>
                      <a:lnTo>
                        <a:pt x="24" y="8"/>
                      </a:lnTo>
                      <a:lnTo>
                        <a:pt x="22" y="10"/>
                      </a:lnTo>
                      <a:lnTo>
                        <a:pt x="20" y="12"/>
                      </a:lnTo>
                      <a:lnTo>
                        <a:pt x="20" y="14"/>
                      </a:lnTo>
                      <a:lnTo>
                        <a:pt x="20" y="16"/>
                      </a:lnTo>
                      <a:lnTo>
                        <a:pt x="22" y="16"/>
                      </a:lnTo>
                      <a:lnTo>
                        <a:pt x="22" y="18"/>
                      </a:lnTo>
                      <a:lnTo>
                        <a:pt x="20" y="20"/>
                      </a:lnTo>
                      <a:lnTo>
                        <a:pt x="18" y="20"/>
                      </a:lnTo>
                      <a:lnTo>
                        <a:pt x="18" y="22"/>
                      </a:lnTo>
                      <a:lnTo>
                        <a:pt x="16" y="22"/>
                      </a:lnTo>
                      <a:lnTo>
                        <a:pt x="18" y="22"/>
                      </a:lnTo>
                      <a:lnTo>
                        <a:pt x="20" y="24"/>
                      </a:lnTo>
                      <a:lnTo>
                        <a:pt x="20" y="26"/>
                      </a:lnTo>
                      <a:lnTo>
                        <a:pt x="20" y="28"/>
                      </a:lnTo>
                      <a:lnTo>
                        <a:pt x="18" y="30"/>
                      </a:lnTo>
                      <a:lnTo>
                        <a:pt x="18" y="32"/>
                      </a:lnTo>
                      <a:lnTo>
                        <a:pt x="18" y="34"/>
                      </a:lnTo>
                      <a:lnTo>
                        <a:pt x="20" y="34"/>
                      </a:lnTo>
                      <a:lnTo>
                        <a:pt x="22" y="36"/>
                      </a:lnTo>
                      <a:lnTo>
                        <a:pt x="24" y="36"/>
                      </a:lnTo>
                      <a:lnTo>
                        <a:pt x="26" y="36"/>
                      </a:lnTo>
                      <a:lnTo>
                        <a:pt x="28" y="38"/>
                      </a:lnTo>
                      <a:lnTo>
                        <a:pt x="28" y="40"/>
                      </a:lnTo>
                      <a:lnTo>
                        <a:pt x="26" y="44"/>
                      </a:lnTo>
                      <a:lnTo>
                        <a:pt x="24" y="46"/>
                      </a:lnTo>
                      <a:lnTo>
                        <a:pt x="22" y="48"/>
                      </a:lnTo>
                      <a:lnTo>
                        <a:pt x="20" y="52"/>
                      </a:lnTo>
                      <a:lnTo>
                        <a:pt x="18" y="54"/>
                      </a:lnTo>
                      <a:lnTo>
                        <a:pt x="16" y="54"/>
                      </a:lnTo>
                      <a:lnTo>
                        <a:pt x="16" y="56"/>
                      </a:lnTo>
                      <a:lnTo>
                        <a:pt x="14" y="58"/>
                      </a:lnTo>
                      <a:lnTo>
                        <a:pt x="12" y="58"/>
                      </a:lnTo>
                      <a:lnTo>
                        <a:pt x="10" y="58"/>
                      </a:lnTo>
                      <a:lnTo>
                        <a:pt x="10" y="60"/>
                      </a:lnTo>
                      <a:lnTo>
                        <a:pt x="10" y="62"/>
                      </a:lnTo>
                      <a:lnTo>
                        <a:pt x="8" y="64"/>
                      </a:lnTo>
                      <a:lnTo>
                        <a:pt x="6" y="64"/>
                      </a:lnTo>
                      <a:lnTo>
                        <a:pt x="6" y="66"/>
                      </a:lnTo>
                      <a:lnTo>
                        <a:pt x="6" y="68"/>
                      </a:lnTo>
                      <a:lnTo>
                        <a:pt x="6" y="70"/>
                      </a:lnTo>
                      <a:lnTo>
                        <a:pt x="4" y="70"/>
                      </a:lnTo>
                      <a:lnTo>
                        <a:pt x="4" y="72"/>
                      </a:lnTo>
                      <a:lnTo>
                        <a:pt x="4" y="74"/>
                      </a:lnTo>
                      <a:lnTo>
                        <a:pt x="2" y="78"/>
                      </a:lnTo>
                      <a:lnTo>
                        <a:pt x="2" y="80"/>
                      </a:lnTo>
                      <a:lnTo>
                        <a:pt x="2" y="82"/>
                      </a:lnTo>
                      <a:lnTo>
                        <a:pt x="2" y="84"/>
                      </a:lnTo>
                      <a:lnTo>
                        <a:pt x="2" y="86"/>
                      </a:lnTo>
                      <a:lnTo>
                        <a:pt x="2" y="88"/>
                      </a:lnTo>
                      <a:lnTo>
                        <a:pt x="2" y="90"/>
                      </a:lnTo>
                      <a:lnTo>
                        <a:pt x="0" y="92"/>
                      </a:lnTo>
                      <a:lnTo>
                        <a:pt x="0" y="94"/>
                      </a:lnTo>
                      <a:lnTo>
                        <a:pt x="0" y="98"/>
                      </a:lnTo>
                      <a:lnTo>
                        <a:pt x="0" y="100"/>
                      </a:lnTo>
                      <a:lnTo>
                        <a:pt x="0" y="102"/>
                      </a:lnTo>
                      <a:lnTo>
                        <a:pt x="0" y="104"/>
                      </a:lnTo>
                      <a:lnTo>
                        <a:pt x="0" y="106"/>
                      </a:lnTo>
                      <a:lnTo>
                        <a:pt x="0" y="108"/>
                      </a:lnTo>
                      <a:lnTo>
                        <a:pt x="2" y="108"/>
                      </a:lnTo>
                      <a:lnTo>
                        <a:pt x="4" y="108"/>
                      </a:lnTo>
                      <a:lnTo>
                        <a:pt x="4" y="110"/>
                      </a:lnTo>
                      <a:lnTo>
                        <a:pt x="6" y="110"/>
                      </a:lnTo>
                      <a:lnTo>
                        <a:pt x="8" y="110"/>
                      </a:lnTo>
                      <a:lnTo>
                        <a:pt x="8" y="108"/>
                      </a:lnTo>
                      <a:lnTo>
                        <a:pt x="10" y="108"/>
                      </a:lnTo>
                      <a:lnTo>
                        <a:pt x="10" y="104"/>
                      </a:lnTo>
                      <a:lnTo>
                        <a:pt x="12" y="104"/>
                      </a:lnTo>
                      <a:lnTo>
                        <a:pt x="12" y="102"/>
                      </a:lnTo>
                      <a:lnTo>
                        <a:pt x="14" y="102"/>
                      </a:lnTo>
                      <a:lnTo>
                        <a:pt x="16" y="100"/>
                      </a:lnTo>
                      <a:lnTo>
                        <a:pt x="20" y="100"/>
                      </a:lnTo>
                      <a:lnTo>
                        <a:pt x="24" y="100"/>
                      </a:lnTo>
                      <a:lnTo>
                        <a:pt x="28" y="100"/>
                      </a:lnTo>
                      <a:lnTo>
                        <a:pt x="30" y="100"/>
                      </a:lnTo>
                      <a:lnTo>
                        <a:pt x="32" y="100"/>
                      </a:lnTo>
                      <a:lnTo>
                        <a:pt x="34" y="100"/>
                      </a:lnTo>
                      <a:lnTo>
                        <a:pt x="36" y="100"/>
                      </a:lnTo>
                      <a:lnTo>
                        <a:pt x="38" y="100"/>
                      </a:lnTo>
                      <a:lnTo>
                        <a:pt x="38" y="98"/>
                      </a:lnTo>
                      <a:lnTo>
                        <a:pt x="36" y="96"/>
                      </a:lnTo>
                      <a:lnTo>
                        <a:pt x="36" y="94"/>
                      </a:lnTo>
                      <a:lnTo>
                        <a:pt x="36" y="92"/>
                      </a:lnTo>
                      <a:lnTo>
                        <a:pt x="36" y="90"/>
                      </a:lnTo>
                      <a:lnTo>
                        <a:pt x="38" y="90"/>
                      </a:lnTo>
                      <a:lnTo>
                        <a:pt x="40" y="88"/>
                      </a:lnTo>
                      <a:lnTo>
                        <a:pt x="40" y="86"/>
                      </a:lnTo>
                      <a:lnTo>
                        <a:pt x="40" y="84"/>
                      </a:lnTo>
                      <a:lnTo>
                        <a:pt x="40" y="82"/>
                      </a:lnTo>
                      <a:lnTo>
                        <a:pt x="42" y="80"/>
                      </a:lnTo>
                      <a:lnTo>
                        <a:pt x="44" y="80"/>
                      </a:lnTo>
                      <a:lnTo>
                        <a:pt x="46" y="78"/>
                      </a:lnTo>
                      <a:lnTo>
                        <a:pt x="48" y="78"/>
                      </a:lnTo>
                      <a:lnTo>
                        <a:pt x="50" y="78"/>
                      </a:lnTo>
                      <a:lnTo>
                        <a:pt x="52" y="78"/>
                      </a:lnTo>
                      <a:lnTo>
                        <a:pt x="54" y="78"/>
                      </a:lnTo>
                      <a:lnTo>
                        <a:pt x="56" y="78"/>
                      </a:lnTo>
                      <a:lnTo>
                        <a:pt x="58" y="78"/>
                      </a:lnTo>
                      <a:lnTo>
                        <a:pt x="58" y="76"/>
                      </a:lnTo>
                      <a:lnTo>
                        <a:pt x="60" y="74"/>
                      </a:lnTo>
                      <a:lnTo>
                        <a:pt x="60" y="72"/>
                      </a:lnTo>
                      <a:lnTo>
                        <a:pt x="62" y="72"/>
                      </a:lnTo>
                      <a:lnTo>
                        <a:pt x="64" y="74"/>
                      </a:lnTo>
                      <a:lnTo>
                        <a:pt x="64" y="76"/>
                      </a:lnTo>
                      <a:lnTo>
                        <a:pt x="64" y="78"/>
                      </a:lnTo>
                      <a:lnTo>
                        <a:pt x="66" y="78"/>
                      </a:lnTo>
                      <a:lnTo>
                        <a:pt x="68" y="76"/>
                      </a:lnTo>
                      <a:lnTo>
                        <a:pt x="70" y="76"/>
                      </a:lnTo>
                      <a:lnTo>
                        <a:pt x="72" y="78"/>
                      </a:lnTo>
                      <a:lnTo>
                        <a:pt x="74" y="78"/>
                      </a:lnTo>
                      <a:lnTo>
                        <a:pt x="74" y="76"/>
                      </a:lnTo>
                      <a:lnTo>
                        <a:pt x="76" y="74"/>
                      </a:lnTo>
                      <a:lnTo>
                        <a:pt x="78" y="72"/>
                      </a:lnTo>
                      <a:lnTo>
                        <a:pt x="78" y="70"/>
                      </a:lnTo>
                      <a:lnTo>
                        <a:pt x="78" y="68"/>
                      </a:lnTo>
                      <a:lnTo>
                        <a:pt x="80" y="68"/>
                      </a:lnTo>
                      <a:lnTo>
                        <a:pt x="80" y="66"/>
                      </a:lnTo>
                      <a:lnTo>
                        <a:pt x="82" y="66"/>
                      </a:lnTo>
                      <a:lnTo>
                        <a:pt x="82" y="64"/>
                      </a:lnTo>
                      <a:lnTo>
                        <a:pt x="82" y="62"/>
                      </a:lnTo>
                      <a:lnTo>
                        <a:pt x="82" y="60"/>
                      </a:lnTo>
                      <a:lnTo>
                        <a:pt x="84" y="60"/>
                      </a:lnTo>
                      <a:lnTo>
                        <a:pt x="84" y="58"/>
                      </a:lnTo>
                      <a:lnTo>
                        <a:pt x="86" y="58"/>
                      </a:lnTo>
                      <a:lnTo>
                        <a:pt x="88" y="58"/>
                      </a:lnTo>
                      <a:lnTo>
                        <a:pt x="88" y="56"/>
                      </a:lnTo>
                      <a:lnTo>
                        <a:pt x="88" y="54"/>
                      </a:lnTo>
                      <a:lnTo>
                        <a:pt x="88" y="52"/>
                      </a:lnTo>
                      <a:lnTo>
                        <a:pt x="90" y="52"/>
                      </a:lnTo>
                      <a:lnTo>
                        <a:pt x="90" y="50"/>
                      </a:lnTo>
                      <a:lnTo>
                        <a:pt x="92" y="50"/>
                      </a:lnTo>
                      <a:lnTo>
                        <a:pt x="92" y="48"/>
                      </a:lnTo>
                      <a:lnTo>
                        <a:pt x="94" y="48"/>
                      </a:lnTo>
                      <a:lnTo>
                        <a:pt x="94" y="4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5" name="Freeform 101">
                  <a:extLst>
                    <a:ext uri="{FF2B5EF4-FFF2-40B4-BE49-F238E27FC236}">
                      <a16:creationId xmlns:a16="http://schemas.microsoft.com/office/drawing/2014/main" id="{8CB4F9DB-1992-48CF-9668-E7D0B4E8FE66}"/>
                    </a:ext>
                  </a:extLst>
                </p:cNvPr>
                <p:cNvSpPr>
                  <a:spLocks noChangeAspect="1"/>
                </p:cNvSpPr>
                <p:nvPr/>
              </p:nvSpPr>
              <p:spPr bwMode="auto">
                <a:xfrm>
                  <a:off x="5211851" y="4292209"/>
                  <a:ext cx="59197" cy="59295"/>
                </a:xfrm>
                <a:custGeom>
                  <a:avLst/>
                  <a:gdLst/>
                  <a:ahLst/>
                  <a:cxnLst>
                    <a:cxn ang="0">
                      <a:pos x="12" y="34"/>
                    </a:cxn>
                    <a:cxn ang="0">
                      <a:pos x="14" y="34"/>
                    </a:cxn>
                    <a:cxn ang="0">
                      <a:pos x="16" y="32"/>
                    </a:cxn>
                    <a:cxn ang="0">
                      <a:pos x="18" y="32"/>
                    </a:cxn>
                    <a:cxn ang="0">
                      <a:pos x="18" y="28"/>
                    </a:cxn>
                    <a:cxn ang="0">
                      <a:pos x="18" y="26"/>
                    </a:cxn>
                    <a:cxn ang="0">
                      <a:pos x="20" y="26"/>
                    </a:cxn>
                    <a:cxn ang="0">
                      <a:pos x="22" y="26"/>
                    </a:cxn>
                    <a:cxn ang="0">
                      <a:pos x="26" y="26"/>
                    </a:cxn>
                    <a:cxn ang="0">
                      <a:pos x="28" y="26"/>
                    </a:cxn>
                    <a:cxn ang="0">
                      <a:pos x="30" y="26"/>
                    </a:cxn>
                    <a:cxn ang="0">
                      <a:pos x="30" y="26"/>
                    </a:cxn>
                    <a:cxn ang="0">
                      <a:pos x="30" y="26"/>
                    </a:cxn>
                    <a:cxn ang="0">
                      <a:pos x="32" y="26"/>
                    </a:cxn>
                    <a:cxn ang="0">
                      <a:pos x="36" y="24"/>
                    </a:cxn>
                    <a:cxn ang="0">
                      <a:pos x="36" y="22"/>
                    </a:cxn>
                    <a:cxn ang="0">
                      <a:pos x="34" y="16"/>
                    </a:cxn>
                    <a:cxn ang="0">
                      <a:pos x="34" y="14"/>
                    </a:cxn>
                    <a:cxn ang="0">
                      <a:pos x="34" y="14"/>
                    </a:cxn>
                    <a:cxn ang="0">
                      <a:pos x="34" y="12"/>
                    </a:cxn>
                    <a:cxn ang="0">
                      <a:pos x="34" y="10"/>
                    </a:cxn>
                    <a:cxn ang="0">
                      <a:pos x="30" y="6"/>
                    </a:cxn>
                    <a:cxn ang="0">
                      <a:pos x="30" y="4"/>
                    </a:cxn>
                    <a:cxn ang="0">
                      <a:pos x="30" y="2"/>
                    </a:cxn>
                    <a:cxn ang="0">
                      <a:pos x="30" y="0"/>
                    </a:cxn>
                    <a:cxn ang="0">
                      <a:pos x="30" y="0"/>
                    </a:cxn>
                    <a:cxn ang="0">
                      <a:pos x="28" y="0"/>
                    </a:cxn>
                    <a:cxn ang="0">
                      <a:pos x="26" y="0"/>
                    </a:cxn>
                    <a:cxn ang="0">
                      <a:pos x="26" y="0"/>
                    </a:cxn>
                    <a:cxn ang="0">
                      <a:pos x="26" y="0"/>
                    </a:cxn>
                    <a:cxn ang="0">
                      <a:pos x="26" y="0"/>
                    </a:cxn>
                    <a:cxn ang="0">
                      <a:pos x="24" y="4"/>
                    </a:cxn>
                    <a:cxn ang="0">
                      <a:pos x="22" y="8"/>
                    </a:cxn>
                    <a:cxn ang="0">
                      <a:pos x="20" y="10"/>
                    </a:cxn>
                    <a:cxn ang="0">
                      <a:pos x="20" y="8"/>
                    </a:cxn>
                    <a:cxn ang="0">
                      <a:pos x="18" y="6"/>
                    </a:cxn>
                    <a:cxn ang="0">
                      <a:pos x="18" y="6"/>
                    </a:cxn>
                    <a:cxn ang="0">
                      <a:pos x="16" y="6"/>
                    </a:cxn>
                    <a:cxn ang="0">
                      <a:pos x="14" y="6"/>
                    </a:cxn>
                    <a:cxn ang="0">
                      <a:pos x="14" y="6"/>
                    </a:cxn>
                    <a:cxn ang="0">
                      <a:pos x="12" y="6"/>
                    </a:cxn>
                    <a:cxn ang="0">
                      <a:pos x="10" y="8"/>
                    </a:cxn>
                    <a:cxn ang="0">
                      <a:pos x="6" y="10"/>
                    </a:cxn>
                    <a:cxn ang="0">
                      <a:pos x="4" y="12"/>
                    </a:cxn>
                    <a:cxn ang="0">
                      <a:pos x="4" y="14"/>
                    </a:cxn>
                    <a:cxn ang="0">
                      <a:pos x="6" y="18"/>
                    </a:cxn>
                    <a:cxn ang="0">
                      <a:pos x="8" y="20"/>
                    </a:cxn>
                    <a:cxn ang="0">
                      <a:pos x="6" y="22"/>
                    </a:cxn>
                    <a:cxn ang="0">
                      <a:pos x="2" y="24"/>
                    </a:cxn>
                    <a:cxn ang="0">
                      <a:pos x="0" y="26"/>
                    </a:cxn>
                    <a:cxn ang="0">
                      <a:pos x="0" y="28"/>
                    </a:cxn>
                    <a:cxn ang="0">
                      <a:pos x="2" y="30"/>
                    </a:cxn>
                    <a:cxn ang="0">
                      <a:pos x="4" y="30"/>
                    </a:cxn>
                    <a:cxn ang="0">
                      <a:pos x="6" y="30"/>
                    </a:cxn>
                    <a:cxn ang="0">
                      <a:pos x="6" y="30"/>
                    </a:cxn>
                    <a:cxn ang="0">
                      <a:pos x="6" y="30"/>
                    </a:cxn>
                    <a:cxn ang="0">
                      <a:pos x="10" y="34"/>
                    </a:cxn>
                    <a:cxn ang="0">
                      <a:pos x="12" y="34"/>
                    </a:cxn>
                  </a:cxnLst>
                  <a:rect l="0" t="0" r="r" b="b"/>
                  <a:pathLst>
                    <a:path w="36" h="34">
                      <a:moveTo>
                        <a:pt x="12" y="34"/>
                      </a:moveTo>
                      <a:lnTo>
                        <a:pt x="12" y="34"/>
                      </a:lnTo>
                      <a:lnTo>
                        <a:pt x="14" y="34"/>
                      </a:lnTo>
                      <a:lnTo>
                        <a:pt x="16" y="32"/>
                      </a:lnTo>
                      <a:lnTo>
                        <a:pt x="18" y="32"/>
                      </a:lnTo>
                      <a:lnTo>
                        <a:pt x="18" y="30"/>
                      </a:lnTo>
                      <a:lnTo>
                        <a:pt x="18" y="28"/>
                      </a:lnTo>
                      <a:lnTo>
                        <a:pt x="18" y="26"/>
                      </a:lnTo>
                      <a:lnTo>
                        <a:pt x="20" y="26"/>
                      </a:lnTo>
                      <a:lnTo>
                        <a:pt x="22" y="26"/>
                      </a:lnTo>
                      <a:lnTo>
                        <a:pt x="26" y="26"/>
                      </a:lnTo>
                      <a:lnTo>
                        <a:pt x="28" y="26"/>
                      </a:lnTo>
                      <a:lnTo>
                        <a:pt x="30" y="26"/>
                      </a:lnTo>
                      <a:lnTo>
                        <a:pt x="32" y="26"/>
                      </a:lnTo>
                      <a:lnTo>
                        <a:pt x="34" y="24"/>
                      </a:lnTo>
                      <a:lnTo>
                        <a:pt x="36" y="24"/>
                      </a:lnTo>
                      <a:lnTo>
                        <a:pt x="36" y="22"/>
                      </a:lnTo>
                      <a:lnTo>
                        <a:pt x="36" y="20"/>
                      </a:lnTo>
                      <a:lnTo>
                        <a:pt x="34" y="16"/>
                      </a:lnTo>
                      <a:lnTo>
                        <a:pt x="34" y="14"/>
                      </a:lnTo>
                      <a:lnTo>
                        <a:pt x="34" y="12"/>
                      </a:lnTo>
                      <a:lnTo>
                        <a:pt x="34" y="10"/>
                      </a:lnTo>
                      <a:lnTo>
                        <a:pt x="32" y="8"/>
                      </a:lnTo>
                      <a:lnTo>
                        <a:pt x="30" y="6"/>
                      </a:lnTo>
                      <a:lnTo>
                        <a:pt x="30" y="4"/>
                      </a:lnTo>
                      <a:lnTo>
                        <a:pt x="28" y="4"/>
                      </a:lnTo>
                      <a:lnTo>
                        <a:pt x="30" y="2"/>
                      </a:lnTo>
                      <a:lnTo>
                        <a:pt x="30" y="0"/>
                      </a:lnTo>
                      <a:lnTo>
                        <a:pt x="28" y="0"/>
                      </a:lnTo>
                      <a:lnTo>
                        <a:pt x="26" y="0"/>
                      </a:lnTo>
                      <a:lnTo>
                        <a:pt x="26" y="2"/>
                      </a:lnTo>
                      <a:lnTo>
                        <a:pt x="24" y="4"/>
                      </a:lnTo>
                      <a:lnTo>
                        <a:pt x="24" y="6"/>
                      </a:lnTo>
                      <a:lnTo>
                        <a:pt x="22" y="8"/>
                      </a:lnTo>
                      <a:lnTo>
                        <a:pt x="20" y="10"/>
                      </a:lnTo>
                      <a:lnTo>
                        <a:pt x="20" y="8"/>
                      </a:lnTo>
                      <a:lnTo>
                        <a:pt x="18" y="8"/>
                      </a:lnTo>
                      <a:lnTo>
                        <a:pt x="18" y="6"/>
                      </a:lnTo>
                      <a:lnTo>
                        <a:pt x="16" y="6"/>
                      </a:lnTo>
                      <a:lnTo>
                        <a:pt x="14" y="6"/>
                      </a:lnTo>
                      <a:lnTo>
                        <a:pt x="12" y="6"/>
                      </a:lnTo>
                      <a:lnTo>
                        <a:pt x="10" y="8"/>
                      </a:lnTo>
                      <a:lnTo>
                        <a:pt x="8" y="10"/>
                      </a:lnTo>
                      <a:lnTo>
                        <a:pt x="6" y="10"/>
                      </a:lnTo>
                      <a:lnTo>
                        <a:pt x="4" y="12"/>
                      </a:lnTo>
                      <a:lnTo>
                        <a:pt x="4" y="14"/>
                      </a:lnTo>
                      <a:lnTo>
                        <a:pt x="6" y="16"/>
                      </a:lnTo>
                      <a:lnTo>
                        <a:pt x="6" y="18"/>
                      </a:lnTo>
                      <a:lnTo>
                        <a:pt x="6" y="20"/>
                      </a:lnTo>
                      <a:lnTo>
                        <a:pt x="8" y="20"/>
                      </a:lnTo>
                      <a:lnTo>
                        <a:pt x="6" y="20"/>
                      </a:lnTo>
                      <a:lnTo>
                        <a:pt x="6" y="22"/>
                      </a:lnTo>
                      <a:lnTo>
                        <a:pt x="4" y="22"/>
                      </a:lnTo>
                      <a:lnTo>
                        <a:pt x="2" y="24"/>
                      </a:lnTo>
                      <a:lnTo>
                        <a:pt x="0" y="26"/>
                      </a:lnTo>
                      <a:lnTo>
                        <a:pt x="0" y="28"/>
                      </a:lnTo>
                      <a:lnTo>
                        <a:pt x="2" y="30"/>
                      </a:lnTo>
                      <a:lnTo>
                        <a:pt x="4" y="30"/>
                      </a:lnTo>
                      <a:lnTo>
                        <a:pt x="6" y="30"/>
                      </a:lnTo>
                      <a:lnTo>
                        <a:pt x="8" y="32"/>
                      </a:lnTo>
                      <a:lnTo>
                        <a:pt x="10" y="34"/>
                      </a:lnTo>
                      <a:lnTo>
                        <a:pt x="12" y="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6" name="Freeform 102">
                  <a:extLst>
                    <a:ext uri="{FF2B5EF4-FFF2-40B4-BE49-F238E27FC236}">
                      <a16:creationId xmlns:a16="http://schemas.microsoft.com/office/drawing/2014/main" id="{C60E7F97-0F32-46A0-9599-AAA579EF4D3A}"/>
                    </a:ext>
                  </a:extLst>
                </p:cNvPr>
                <p:cNvSpPr>
                  <a:spLocks noChangeAspect="1"/>
                </p:cNvSpPr>
                <p:nvPr/>
              </p:nvSpPr>
              <p:spPr bwMode="auto">
                <a:xfrm>
                  <a:off x="4642902" y="4128277"/>
                  <a:ext cx="16443" cy="20928"/>
                </a:xfrm>
                <a:custGeom>
                  <a:avLst/>
                  <a:gdLst/>
                  <a:ahLst/>
                  <a:cxnLst>
                    <a:cxn ang="0">
                      <a:pos x="10" y="2"/>
                    </a:cxn>
                    <a:cxn ang="0">
                      <a:pos x="8" y="0"/>
                    </a:cxn>
                    <a:cxn ang="0">
                      <a:pos x="6" y="2"/>
                    </a:cxn>
                    <a:cxn ang="0">
                      <a:pos x="4" y="2"/>
                    </a:cxn>
                    <a:cxn ang="0">
                      <a:pos x="2" y="4"/>
                    </a:cxn>
                    <a:cxn ang="0">
                      <a:pos x="0" y="6"/>
                    </a:cxn>
                    <a:cxn ang="0">
                      <a:pos x="0" y="8"/>
                    </a:cxn>
                    <a:cxn ang="0">
                      <a:pos x="0" y="8"/>
                    </a:cxn>
                    <a:cxn ang="0">
                      <a:pos x="0" y="10"/>
                    </a:cxn>
                    <a:cxn ang="0">
                      <a:pos x="2" y="10"/>
                    </a:cxn>
                    <a:cxn ang="0">
                      <a:pos x="2" y="12"/>
                    </a:cxn>
                    <a:cxn ang="0">
                      <a:pos x="4" y="12"/>
                    </a:cxn>
                    <a:cxn ang="0">
                      <a:pos x="4" y="12"/>
                    </a:cxn>
                    <a:cxn ang="0">
                      <a:pos x="6" y="12"/>
                    </a:cxn>
                    <a:cxn ang="0">
                      <a:pos x="6" y="12"/>
                    </a:cxn>
                    <a:cxn ang="0">
                      <a:pos x="8" y="12"/>
                    </a:cxn>
                    <a:cxn ang="0">
                      <a:pos x="8" y="10"/>
                    </a:cxn>
                    <a:cxn ang="0">
                      <a:pos x="10" y="8"/>
                    </a:cxn>
                    <a:cxn ang="0">
                      <a:pos x="10" y="6"/>
                    </a:cxn>
                    <a:cxn ang="0">
                      <a:pos x="10" y="4"/>
                    </a:cxn>
                    <a:cxn ang="0">
                      <a:pos x="10" y="2"/>
                    </a:cxn>
                    <a:cxn ang="0">
                      <a:pos x="10" y="2"/>
                    </a:cxn>
                    <a:cxn ang="0">
                      <a:pos x="10" y="2"/>
                    </a:cxn>
                    <a:cxn ang="0">
                      <a:pos x="10" y="2"/>
                    </a:cxn>
                  </a:cxnLst>
                  <a:rect l="0" t="0" r="r" b="b"/>
                  <a:pathLst>
                    <a:path w="10" h="12">
                      <a:moveTo>
                        <a:pt x="10" y="2"/>
                      </a:moveTo>
                      <a:lnTo>
                        <a:pt x="8" y="0"/>
                      </a:lnTo>
                      <a:lnTo>
                        <a:pt x="6" y="2"/>
                      </a:lnTo>
                      <a:lnTo>
                        <a:pt x="4" y="2"/>
                      </a:lnTo>
                      <a:lnTo>
                        <a:pt x="2" y="4"/>
                      </a:lnTo>
                      <a:lnTo>
                        <a:pt x="0" y="6"/>
                      </a:lnTo>
                      <a:lnTo>
                        <a:pt x="0" y="8"/>
                      </a:lnTo>
                      <a:lnTo>
                        <a:pt x="0" y="10"/>
                      </a:lnTo>
                      <a:lnTo>
                        <a:pt x="2" y="10"/>
                      </a:lnTo>
                      <a:lnTo>
                        <a:pt x="2" y="12"/>
                      </a:lnTo>
                      <a:lnTo>
                        <a:pt x="4" y="12"/>
                      </a:lnTo>
                      <a:lnTo>
                        <a:pt x="6" y="12"/>
                      </a:lnTo>
                      <a:lnTo>
                        <a:pt x="8" y="12"/>
                      </a:lnTo>
                      <a:lnTo>
                        <a:pt x="8" y="10"/>
                      </a:lnTo>
                      <a:lnTo>
                        <a:pt x="10" y="8"/>
                      </a:lnTo>
                      <a:lnTo>
                        <a:pt x="10" y="6"/>
                      </a:lnTo>
                      <a:lnTo>
                        <a:pt x="10" y="4"/>
                      </a:lnTo>
                      <a:lnTo>
                        <a:pt x="1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7" name="Freeform 103">
                  <a:extLst>
                    <a:ext uri="{FF2B5EF4-FFF2-40B4-BE49-F238E27FC236}">
                      <a16:creationId xmlns:a16="http://schemas.microsoft.com/office/drawing/2014/main" id="{793A0736-79AF-4EE9-B8E6-7798448B6E60}"/>
                    </a:ext>
                  </a:extLst>
                </p:cNvPr>
                <p:cNvSpPr>
                  <a:spLocks noChangeAspect="1"/>
                </p:cNvSpPr>
                <p:nvPr/>
              </p:nvSpPr>
              <p:spPr bwMode="auto">
                <a:xfrm>
                  <a:off x="5353266" y="4288721"/>
                  <a:ext cx="6578" cy="3488"/>
                </a:xfrm>
                <a:custGeom>
                  <a:avLst/>
                  <a:gdLst/>
                  <a:ahLst/>
                  <a:cxnLst>
                    <a:cxn ang="0">
                      <a:pos x="0" y="2"/>
                    </a:cxn>
                    <a:cxn ang="0">
                      <a:pos x="2" y="2"/>
                    </a:cxn>
                    <a:cxn ang="0">
                      <a:pos x="2" y="2"/>
                    </a:cxn>
                    <a:cxn ang="0">
                      <a:pos x="4" y="2"/>
                    </a:cxn>
                    <a:cxn ang="0">
                      <a:pos x="4" y="2"/>
                    </a:cxn>
                    <a:cxn ang="0">
                      <a:pos x="4" y="2"/>
                    </a:cxn>
                    <a:cxn ang="0">
                      <a:pos x="4" y="2"/>
                    </a:cxn>
                    <a:cxn ang="0">
                      <a:pos x="4" y="0"/>
                    </a:cxn>
                    <a:cxn ang="0">
                      <a:pos x="4" y="0"/>
                    </a:cxn>
                    <a:cxn ang="0">
                      <a:pos x="4" y="0"/>
                    </a:cxn>
                    <a:cxn ang="0">
                      <a:pos x="2" y="0"/>
                    </a:cxn>
                    <a:cxn ang="0">
                      <a:pos x="0" y="2"/>
                    </a:cxn>
                    <a:cxn ang="0">
                      <a:pos x="0" y="2"/>
                    </a:cxn>
                    <a:cxn ang="0">
                      <a:pos x="0" y="2"/>
                    </a:cxn>
                    <a:cxn ang="0">
                      <a:pos x="0" y="2"/>
                    </a:cxn>
                  </a:cxnLst>
                  <a:rect l="0" t="0" r="r" b="b"/>
                  <a:pathLst>
                    <a:path w="4" h="2">
                      <a:moveTo>
                        <a:pt x="0" y="2"/>
                      </a:moveTo>
                      <a:lnTo>
                        <a:pt x="2" y="2"/>
                      </a:lnTo>
                      <a:lnTo>
                        <a:pt x="4" y="2"/>
                      </a:lnTo>
                      <a:lnTo>
                        <a:pt x="4" y="0"/>
                      </a:lnTo>
                      <a:lnTo>
                        <a:pt x="2" y="0"/>
                      </a:lnTo>
                      <a:lnTo>
                        <a:pt x="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8" name="Freeform 104">
                  <a:extLst>
                    <a:ext uri="{FF2B5EF4-FFF2-40B4-BE49-F238E27FC236}">
                      <a16:creationId xmlns:a16="http://schemas.microsoft.com/office/drawing/2014/main" id="{E8913F11-D053-4171-A3E5-A86AE0A16C37}"/>
                    </a:ext>
                  </a:extLst>
                </p:cNvPr>
                <p:cNvSpPr>
                  <a:spLocks noChangeAspect="1"/>
                </p:cNvSpPr>
                <p:nvPr/>
              </p:nvSpPr>
              <p:spPr bwMode="auto">
                <a:xfrm>
                  <a:off x="5353266" y="4288721"/>
                  <a:ext cx="6578" cy="3488"/>
                </a:xfrm>
                <a:custGeom>
                  <a:avLst/>
                  <a:gdLst/>
                  <a:ahLst/>
                  <a:cxnLst>
                    <a:cxn ang="0">
                      <a:pos x="0" y="2"/>
                    </a:cxn>
                    <a:cxn ang="0">
                      <a:pos x="2" y="2"/>
                    </a:cxn>
                    <a:cxn ang="0">
                      <a:pos x="2" y="2"/>
                    </a:cxn>
                    <a:cxn ang="0">
                      <a:pos x="4" y="2"/>
                    </a:cxn>
                    <a:cxn ang="0">
                      <a:pos x="4" y="2"/>
                    </a:cxn>
                    <a:cxn ang="0">
                      <a:pos x="4" y="2"/>
                    </a:cxn>
                    <a:cxn ang="0">
                      <a:pos x="4" y="2"/>
                    </a:cxn>
                    <a:cxn ang="0">
                      <a:pos x="4" y="0"/>
                    </a:cxn>
                    <a:cxn ang="0">
                      <a:pos x="4" y="0"/>
                    </a:cxn>
                    <a:cxn ang="0">
                      <a:pos x="4" y="0"/>
                    </a:cxn>
                    <a:cxn ang="0">
                      <a:pos x="2" y="0"/>
                    </a:cxn>
                    <a:cxn ang="0">
                      <a:pos x="0" y="2"/>
                    </a:cxn>
                    <a:cxn ang="0">
                      <a:pos x="0" y="2"/>
                    </a:cxn>
                    <a:cxn ang="0">
                      <a:pos x="0" y="2"/>
                    </a:cxn>
                    <a:cxn ang="0">
                      <a:pos x="0" y="2"/>
                    </a:cxn>
                  </a:cxnLst>
                  <a:rect l="0" t="0" r="r" b="b"/>
                  <a:pathLst>
                    <a:path w="4" h="2">
                      <a:moveTo>
                        <a:pt x="0" y="2"/>
                      </a:moveTo>
                      <a:lnTo>
                        <a:pt x="2" y="2"/>
                      </a:lnTo>
                      <a:lnTo>
                        <a:pt x="4" y="2"/>
                      </a:lnTo>
                      <a:lnTo>
                        <a:pt x="4" y="0"/>
                      </a:lnTo>
                      <a:lnTo>
                        <a:pt x="2" y="0"/>
                      </a:lnTo>
                      <a:lnTo>
                        <a:pt x="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9" name="Freeform 141">
                  <a:extLst>
                    <a:ext uri="{FF2B5EF4-FFF2-40B4-BE49-F238E27FC236}">
                      <a16:creationId xmlns:a16="http://schemas.microsoft.com/office/drawing/2014/main" id="{E2229181-E46C-414E-BA2B-C2DF55A9A7DD}"/>
                    </a:ext>
                  </a:extLst>
                </p:cNvPr>
                <p:cNvSpPr>
                  <a:spLocks noChangeAspect="1"/>
                </p:cNvSpPr>
                <p:nvPr/>
              </p:nvSpPr>
              <p:spPr bwMode="auto">
                <a:xfrm>
                  <a:off x="5451927" y="3005164"/>
                  <a:ext cx="266386" cy="275546"/>
                </a:xfrm>
                <a:custGeom>
                  <a:avLst/>
                  <a:gdLst/>
                  <a:ahLst/>
                  <a:cxnLst>
                    <a:cxn ang="0">
                      <a:pos x="154" y="130"/>
                    </a:cxn>
                    <a:cxn ang="0">
                      <a:pos x="152" y="124"/>
                    </a:cxn>
                    <a:cxn ang="0">
                      <a:pos x="146" y="120"/>
                    </a:cxn>
                    <a:cxn ang="0">
                      <a:pos x="148" y="106"/>
                    </a:cxn>
                    <a:cxn ang="0">
                      <a:pos x="140" y="96"/>
                    </a:cxn>
                    <a:cxn ang="0">
                      <a:pos x="138" y="92"/>
                    </a:cxn>
                    <a:cxn ang="0">
                      <a:pos x="126" y="88"/>
                    </a:cxn>
                    <a:cxn ang="0">
                      <a:pos x="120" y="84"/>
                    </a:cxn>
                    <a:cxn ang="0">
                      <a:pos x="120" y="76"/>
                    </a:cxn>
                    <a:cxn ang="0">
                      <a:pos x="114" y="72"/>
                    </a:cxn>
                    <a:cxn ang="0">
                      <a:pos x="104" y="64"/>
                    </a:cxn>
                    <a:cxn ang="0">
                      <a:pos x="106" y="60"/>
                    </a:cxn>
                    <a:cxn ang="0">
                      <a:pos x="104" y="54"/>
                    </a:cxn>
                    <a:cxn ang="0">
                      <a:pos x="108" y="50"/>
                    </a:cxn>
                    <a:cxn ang="0">
                      <a:pos x="108" y="44"/>
                    </a:cxn>
                    <a:cxn ang="0">
                      <a:pos x="114" y="42"/>
                    </a:cxn>
                    <a:cxn ang="0">
                      <a:pos x="110" y="34"/>
                    </a:cxn>
                    <a:cxn ang="0">
                      <a:pos x="114" y="28"/>
                    </a:cxn>
                    <a:cxn ang="0">
                      <a:pos x="106" y="30"/>
                    </a:cxn>
                    <a:cxn ang="0">
                      <a:pos x="102" y="26"/>
                    </a:cxn>
                    <a:cxn ang="0">
                      <a:pos x="98" y="24"/>
                    </a:cxn>
                    <a:cxn ang="0">
                      <a:pos x="94" y="18"/>
                    </a:cxn>
                    <a:cxn ang="0">
                      <a:pos x="88" y="2"/>
                    </a:cxn>
                    <a:cxn ang="0">
                      <a:pos x="78" y="6"/>
                    </a:cxn>
                    <a:cxn ang="0">
                      <a:pos x="76" y="0"/>
                    </a:cxn>
                    <a:cxn ang="0">
                      <a:pos x="70" y="2"/>
                    </a:cxn>
                    <a:cxn ang="0">
                      <a:pos x="64" y="0"/>
                    </a:cxn>
                    <a:cxn ang="0">
                      <a:pos x="54" y="0"/>
                    </a:cxn>
                    <a:cxn ang="0">
                      <a:pos x="52" y="6"/>
                    </a:cxn>
                    <a:cxn ang="0">
                      <a:pos x="44" y="14"/>
                    </a:cxn>
                    <a:cxn ang="0">
                      <a:pos x="32" y="18"/>
                    </a:cxn>
                    <a:cxn ang="0">
                      <a:pos x="36" y="26"/>
                    </a:cxn>
                    <a:cxn ang="0">
                      <a:pos x="38" y="34"/>
                    </a:cxn>
                    <a:cxn ang="0">
                      <a:pos x="34" y="46"/>
                    </a:cxn>
                    <a:cxn ang="0">
                      <a:pos x="36" y="54"/>
                    </a:cxn>
                    <a:cxn ang="0">
                      <a:pos x="18" y="62"/>
                    </a:cxn>
                    <a:cxn ang="0">
                      <a:pos x="8" y="70"/>
                    </a:cxn>
                    <a:cxn ang="0">
                      <a:pos x="0" y="76"/>
                    </a:cxn>
                    <a:cxn ang="0">
                      <a:pos x="4" y="86"/>
                    </a:cxn>
                    <a:cxn ang="0">
                      <a:pos x="4" y="92"/>
                    </a:cxn>
                    <a:cxn ang="0">
                      <a:pos x="10" y="96"/>
                    </a:cxn>
                    <a:cxn ang="0">
                      <a:pos x="10" y="100"/>
                    </a:cxn>
                    <a:cxn ang="0">
                      <a:pos x="16" y="102"/>
                    </a:cxn>
                    <a:cxn ang="0">
                      <a:pos x="28" y="102"/>
                    </a:cxn>
                    <a:cxn ang="0">
                      <a:pos x="38" y="110"/>
                    </a:cxn>
                    <a:cxn ang="0">
                      <a:pos x="54" y="120"/>
                    </a:cxn>
                    <a:cxn ang="0">
                      <a:pos x="72" y="132"/>
                    </a:cxn>
                    <a:cxn ang="0">
                      <a:pos x="98" y="154"/>
                    </a:cxn>
                    <a:cxn ang="0">
                      <a:pos x="102" y="156"/>
                    </a:cxn>
                    <a:cxn ang="0">
                      <a:pos x="118" y="156"/>
                    </a:cxn>
                    <a:cxn ang="0">
                      <a:pos x="138" y="154"/>
                    </a:cxn>
                    <a:cxn ang="0">
                      <a:pos x="142" y="140"/>
                    </a:cxn>
                    <a:cxn ang="0">
                      <a:pos x="146" y="140"/>
                    </a:cxn>
                    <a:cxn ang="0">
                      <a:pos x="154" y="140"/>
                    </a:cxn>
                    <a:cxn ang="0">
                      <a:pos x="160" y="140"/>
                    </a:cxn>
                    <a:cxn ang="0">
                      <a:pos x="162" y="138"/>
                    </a:cxn>
                  </a:cxnLst>
                  <a:rect l="0" t="0" r="r" b="b"/>
                  <a:pathLst>
                    <a:path w="162" h="158">
                      <a:moveTo>
                        <a:pt x="160" y="134"/>
                      </a:moveTo>
                      <a:lnTo>
                        <a:pt x="160" y="134"/>
                      </a:lnTo>
                      <a:lnTo>
                        <a:pt x="158" y="132"/>
                      </a:lnTo>
                      <a:lnTo>
                        <a:pt x="156" y="132"/>
                      </a:lnTo>
                      <a:lnTo>
                        <a:pt x="154" y="130"/>
                      </a:lnTo>
                      <a:lnTo>
                        <a:pt x="154" y="128"/>
                      </a:lnTo>
                      <a:lnTo>
                        <a:pt x="152" y="126"/>
                      </a:lnTo>
                      <a:lnTo>
                        <a:pt x="152" y="124"/>
                      </a:lnTo>
                      <a:lnTo>
                        <a:pt x="150" y="124"/>
                      </a:lnTo>
                      <a:lnTo>
                        <a:pt x="150" y="122"/>
                      </a:lnTo>
                      <a:lnTo>
                        <a:pt x="148" y="122"/>
                      </a:lnTo>
                      <a:lnTo>
                        <a:pt x="148" y="120"/>
                      </a:lnTo>
                      <a:lnTo>
                        <a:pt x="146" y="120"/>
                      </a:lnTo>
                      <a:lnTo>
                        <a:pt x="146" y="118"/>
                      </a:lnTo>
                      <a:lnTo>
                        <a:pt x="146" y="114"/>
                      </a:lnTo>
                      <a:lnTo>
                        <a:pt x="146" y="112"/>
                      </a:lnTo>
                      <a:lnTo>
                        <a:pt x="146" y="110"/>
                      </a:lnTo>
                      <a:lnTo>
                        <a:pt x="148" y="108"/>
                      </a:lnTo>
                      <a:lnTo>
                        <a:pt x="148" y="106"/>
                      </a:lnTo>
                      <a:lnTo>
                        <a:pt x="144" y="102"/>
                      </a:lnTo>
                      <a:lnTo>
                        <a:pt x="144" y="100"/>
                      </a:lnTo>
                      <a:lnTo>
                        <a:pt x="142" y="98"/>
                      </a:lnTo>
                      <a:lnTo>
                        <a:pt x="140" y="96"/>
                      </a:lnTo>
                      <a:lnTo>
                        <a:pt x="140" y="94"/>
                      </a:lnTo>
                      <a:lnTo>
                        <a:pt x="138" y="94"/>
                      </a:lnTo>
                      <a:lnTo>
                        <a:pt x="138" y="92"/>
                      </a:lnTo>
                      <a:lnTo>
                        <a:pt x="136" y="92"/>
                      </a:lnTo>
                      <a:lnTo>
                        <a:pt x="134" y="92"/>
                      </a:lnTo>
                      <a:lnTo>
                        <a:pt x="132" y="90"/>
                      </a:lnTo>
                      <a:lnTo>
                        <a:pt x="130" y="90"/>
                      </a:lnTo>
                      <a:lnTo>
                        <a:pt x="128" y="88"/>
                      </a:lnTo>
                      <a:lnTo>
                        <a:pt x="126" y="88"/>
                      </a:lnTo>
                      <a:lnTo>
                        <a:pt x="124" y="86"/>
                      </a:lnTo>
                      <a:lnTo>
                        <a:pt x="124" y="84"/>
                      </a:lnTo>
                      <a:lnTo>
                        <a:pt x="122" y="84"/>
                      </a:lnTo>
                      <a:lnTo>
                        <a:pt x="120" y="84"/>
                      </a:lnTo>
                      <a:lnTo>
                        <a:pt x="120" y="82"/>
                      </a:lnTo>
                      <a:lnTo>
                        <a:pt x="120" y="80"/>
                      </a:lnTo>
                      <a:lnTo>
                        <a:pt x="120" y="78"/>
                      </a:lnTo>
                      <a:lnTo>
                        <a:pt x="120" y="76"/>
                      </a:lnTo>
                      <a:lnTo>
                        <a:pt x="118" y="74"/>
                      </a:lnTo>
                      <a:lnTo>
                        <a:pt x="114" y="72"/>
                      </a:lnTo>
                      <a:lnTo>
                        <a:pt x="112" y="72"/>
                      </a:lnTo>
                      <a:lnTo>
                        <a:pt x="108" y="70"/>
                      </a:lnTo>
                      <a:lnTo>
                        <a:pt x="106" y="68"/>
                      </a:lnTo>
                      <a:lnTo>
                        <a:pt x="106" y="66"/>
                      </a:lnTo>
                      <a:lnTo>
                        <a:pt x="104" y="66"/>
                      </a:lnTo>
                      <a:lnTo>
                        <a:pt x="104" y="64"/>
                      </a:lnTo>
                      <a:lnTo>
                        <a:pt x="104" y="62"/>
                      </a:lnTo>
                      <a:lnTo>
                        <a:pt x="106" y="60"/>
                      </a:lnTo>
                      <a:lnTo>
                        <a:pt x="104" y="58"/>
                      </a:lnTo>
                      <a:lnTo>
                        <a:pt x="104" y="56"/>
                      </a:lnTo>
                      <a:lnTo>
                        <a:pt x="104" y="54"/>
                      </a:lnTo>
                      <a:lnTo>
                        <a:pt x="106" y="52"/>
                      </a:lnTo>
                      <a:lnTo>
                        <a:pt x="108" y="52"/>
                      </a:lnTo>
                      <a:lnTo>
                        <a:pt x="108" y="50"/>
                      </a:lnTo>
                      <a:lnTo>
                        <a:pt x="108" y="48"/>
                      </a:lnTo>
                      <a:lnTo>
                        <a:pt x="108" y="46"/>
                      </a:lnTo>
                      <a:lnTo>
                        <a:pt x="108" y="44"/>
                      </a:lnTo>
                      <a:lnTo>
                        <a:pt x="110" y="44"/>
                      </a:lnTo>
                      <a:lnTo>
                        <a:pt x="112" y="44"/>
                      </a:lnTo>
                      <a:lnTo>
                        <a:pt x="112" y="42"/>
                      </a:lnTo>
                      <a:lnTo>
                        <a:pt x="114" y="42"/>
                      </a:lnTo>
                      <a:lnTo>
                        <a:pt x="114" y="40"/>
                      </a:lnTo>
                      <a:lnTo>
                        <a:pt x="112" y="38"/>
                      </a:lnTo>
                      <a:lnTo>
                        <a:pt x="110" y="36"/>
                      </a:lnTo>
                      <a:lnTo>
                        <a:pt x="110" y="34"/>
                      </a:lnTo>
                      <a:lnTo>
                        <a:pt x="112" y="32"/>
                      </a:lnTo>
                      <a:lnTo>
                        <a:pt x="112" y="30"/>
                      </a:lnTo>
                      <a:lnTo>
                        <a:pt x="114" y="30"/>
                      </a:lnTo>
                      <a:lnTo>
                        <a:pt x="114" y="28"/>
                      </a:lnTo>
                      <a:lnTo>
                        <a:pt x="112" y="28"/>
                      </a:lnTo>
                      <a:lnTo>
                        <a:pt x="110" y="28"/>
                      </a:lnTo>
                      <a:lnTo>
                        <a:pt x="108" y="30"/>
                      </a:lnTo>
                      <a:lnTo>
                        <a:pt x="106" y="30"/>
                      </a:lnTo>
                      <a:lnTo>
                        <a:pt x="106" y="28"/>
                      </a:lnTo>
                      <a:lnTo>
                        <a:pt x="104" y="28"/>
                      </a:lnTo>
                      <a:lnTo>
                        <a:pt x="104" y="26"/>
                      </a:lnTo>
                      <a:lnTo>
                        <a:pt x="102" y="26"/>
                      </a:lnTo>
                      <a:lnTo>
                        <a:pt x="100" y="26"/>
                      </a:lnTo>
                      <a:lnTo>
                        <a:pt x="98" y="26"/>
                      </a:lnTo>
                      <a:lnTo>
                        <a:pt x="98" y="24"/>
                      </a:lnTo>
                      <a:lnTo>
                        <a:pt x="98" y="22"/>
                      </a:lnTo>
                      <a:lnTo>
                        <a:pt x="96" y="22"/>
                      </a:lnTo>
                      <a:lnTo>
                        <a:pt x="96" y="20"/>
                      </a:lnTo>
                      <a:lnTo>
                        <a:pt x="96" y="18"/>
                      </a:lnTo>
                      <a:lnTo>
                        <a:pt x="94" y="18"/>
                      </a:lnTo>
                      <a:lnTo>
                        <a:pt x="94" y="16"/>
                      </a:lnTo>
                      <a:lnTo>
                        <a:pt x="92" y="14"/>
                      </a:lnTo>
                      <a:lnTo>
                        <a:pt x="90" y="10"/>
                      </a:lnTo>
                      <a:lnTo>
                        <a:pt x="90" y="6"/>
                      </a:lnTo>
                      <a:lnTo>
                        <a:pt x="90" y="4"/>
                      </a:lnTo>
                      <a:lnTo>
                        <a:pt x="88" y="2"/>
                      </a:lnTo>
                      <a:lnTo>
                        <a:pt x="86" y="4"/>
                      </a:lnTo>
                      <a:lnTo>
                        <a:pt x="82" y="4"/>
                      </a:lnTo>
                      <a:lnTo>
                        <a:pt x="82" y="6"/>
                      </a:lnTo>
                      <a:lnTo>
                        <a:pt x="80" y="6"/>
                      </a:lnTo>
                      <a:lnTo>
                        <a:pt x="78" y="6"/>
                      </a:lnTo>
                      <a:lnTo>
                        <a:pt x="78" y="4"/>
                      </a:lnTo>
                      <a:lnTo>
                        <a:pt x="78" y="2"/>
                      </a:lnTo>
                      <a:lnTo>
                        <a:pt x="76" y="0"/>
                      </a:lnTo>
                      <a:lnTo>
                        <a:pt x="74" y="0"/>
                      </a:lnTo>
                      <a:lnTo>
                        <a:pt x="72" y="0"/>
                      </a:lnTo>
                      <a:lnTo>
                        <a:pt x="72" y="2"/>
                      </a:lnTo>
                      <a:lnTo>
                        <a:pt x="70" y="2"/>
                      </a:lnTo>
                      <a:lnTo>
                        <a:pt x="70" y="4"/>
                      </a:lnTo>
                      <a:lnTo>
                        <a:pt x="68" y="4"/>
                      </a:lnTo>
                      <a:lnTo>
                        <a:pt x="66" y="2"/>
                      </a:lnTo>
                      <a:lnTo>
                        <a:pt x="64" y="0"/>
                      </a:lnTo>
                      <a:lnTo>
                        <a:pt x="60" y="0"/>
                      </a:lnTo>
                      <a:lnTo>
                        <a:pt x="58" y="0"/>
                      </a:lnTo>
                      <a:lnTo>
                        <a:pt x="56" y="0"/>
                      </a:lnTo>
                      <a:lnTo>
                        <a:pt x="54" y="0"/>
                      </a:lnTo>
                      <a:lnTo>
                        <a:pt x="54" y="2"/>
                      </a:lnTo>
                      <a:lnTo>
                        <a:pt x="54" y="4"/>
                      </a:lnTo>
                      <a:lnTo>
                        <a:pt x="52" y="4"/>
                      </a:lnTo>
                      <a:lnTo>
                        <a:pt x="52" y="6"/>
                      </a:lnTo>
                      <a:lnTo>
                        <a:pt x="50" y="6"/>
                      </a:lnTo>
                      <a:lnTo>
                        <a:pt x="48" y="8"/>
                      </a:lnTo>
                      <a:lnTo>
                        <a:pt x="48" y="10"/>
                      </a:lnTo>
                      <a:lnTo>
                        <a:pt x="46" y="12"/>
                      </a:lnTo>
                      <a:lnTo>
                        <a:pt x="44" y="14"/>
                      </a:lnTo>
                      <a:lnTo>
                        <a:pt x="42" y="14"/>
                      </a:lnTo>
                      <a:lnTo>
                        <a:pt x="40" y="14"/>
                      </a:lnTo>
                      <a:lnTo>
                        <a:pt x="36" y="14"/>
                      </a:lnTo>
                      <a:lnTo>
                        <a:pt x="34" y="16"/>
                      </a:lnTo>
                      <a:lnTo>
                        <a:pt x="32" y="18"/>
                      </a:lnTo>
                      <a:lnTo>
                        <a:pt x="32" y="20"/>
                      </a:lnTo>
                      <a:lnTo>
                        <a:pt x="32" y="22"/>
                      </a:lnTo>
                      <a:lnTo>
                        <a:pt x="34" y="24"/>
                      </a:lnTo>
                      <a:lnTo>
                        <a:pt x="34" y="26"/>
                      </a:lnTo>
                      <a:lnTo>
                        <a:pt x="36" y="26"/>
                      </a:lnTo>
                      <a:lnTo>
                        <a:pt x="36" y="28"/>
                      </a:lnTo>
                      <a:lnTo>
                        <a:pt x="38" y="30"/>
                      </a:lnTo>
                      <a:lnTo>
                        <a:pt x="38" y="32"/>
                      </a:lnTo>
                      <a:lnTo>
                        <a:pt x="38" y="34"/>
                      </a:lnTo>
                      <a:lnTo>
                        <a:pt x="38" y="36"/>
                      </a:lnTo>
                      <a:lnTo>
                        <a:pt x="38" y="38"/>
                      </a:lnTo>
                      <a:lnTo>
                        <a:pt x="36" y="40"/>
                      </a:lnTo>
                      <a:lnTo>
                        <a:pt x="36" y="42"/>
                      </a:lnTo>
                      <a:lnTo>
                        <a:pt x="34" y="44"/>
                      </a:lnTo>
                      <a:lnTo>
                        <a:pt x="34" y="46"/>
                      </a:lnTo>
                      <a:lnTo>
                        <a:pt x="36" y="46"/>
                      </a:lnTo>
                      <a:lnTo>
                        <a:pt x="36" y="48"/>
                      </a:lnTo>
                      <a:lnTo>
                        <a:pt x="38" y="50"/>
                      </a:lnTo>
                      <a:lnTo>
                        <a:pt x="38" y="52"/>
                      </a:lnTo>
                      <a:lnTo>
                        <a:pt x="38" y="54"/>
                      </a:lnTo>
                      <a:lnTo>
                        <a:pt x="36" y="54"/>
                      </a:lnTo>
                      <a:lnTo>
                        <a:pt x="36" y="56"/>
                      </a:lnTo>
                      <a:lnTo>
                        <a:pt x="34" y="56"/>
                      </a:lnTo>
                      <a:lnTo>
                        <a:pt x="32" y="58"/>
                      </a:lnTo>
                      <a:lnTo>
                        <a:pt x="28" y="60"/>
                      </a:lnTo>
                      <a:lnTo>
                        <a:pt x="24" y="62"/>
                      </a:lnTo>
                      <a:lnTo>
                        <a:pt x="22" y="62"/>
                      </a:lnTo>
                      <a:lnTo>
                        <a:pt x="18" y="62"/>
                      </a:lnTo>
                      <a:lnTo>
                        <a:pt x="16" y="64"/>
                      </a:lnTo>
                      <a:lnTo>
                        <a:pt x="12" y="66"/>
                      </a:lnTo>
                      <a:lnTo>
                        <a:pt x="10" y="68"/>
                      </a:lnTo>
                      <a:lnTo>
                        <a:pt x="8" y="70"/>
                      </a:lnTo>
                      <a:lnTo>
                        <a:pt x="6" y="72"/>
                      </a:lnTo>
                      <a:lnTo>
                        <a:pt x="4" y="72"/>
                      </a:lnTo>
                      <a:lnTo>
                        <a:pt x="4" y="74"/>
                      </a:lnTo>
                      <a:lnTo>
                        <a:pt x="2" y="76"/>
                      </a:lnTo>
                      <a:lnTo>
                        <a:pt x="0" y="76"/>
                      </a:lnTo>
                      <a:lnTo>
                        <a:pt x="0" y="78"/>
                      </a:lnTo>
                      <a:lnTo>
                        <a:pt x="0" y="80"/>
                      </a:lnTo>
                      <a:lnTo>
                        <a:pt x="2" y="84"/>
                      </a:lnTo>
                      <a:lnTo>
                        <a:pt x="4" y="86"/>
                      </a:lnTo>
                      <a:lnTo>
                        <a:pt x="4" y="88"/>
                      </a:lnTo>
                      <a:lnTo>
                        <a:pt x="4" y="90"/>
                      </a:lnTo>
                      <a:lnTo>
                        <a:pt x="4" y="92"/>
                      </a:lnTo>
                      <a:lnTo>
                        <a:pt x="6" y="94"/>
                      </a:lnTo>
                      <a:lnTo>
                        <a:pt x="8" y="94"/>
                      </a:lnTo>
                      <a:lnTo>
                        <a:pt x="10" y="96"/>
                      </a:lnTo>
                      <a:lnTo>
                        <a:pt x="10" y="98"/>
                      </a:lnTo>
                      <a:lnTo>
                        <a:pt x="10" y="100"/>
                      </a:lnTo>
                      <a:lnTo>
                        <a:pt x="12" y="100"/>
                      </a:lnTo>
                      <a:lnTo>
                        <a:pt x="14" y="102"/>
                      </a:lnTo>
                      <a:lnTo>
                        <a:pt x="16" y="102"/>
                      </a:lnTo>
                      <a:lnTo>
                        <a:pt x="18" y="102"/>
                      </a:lnTo>
                      <a:lnTo>
                        <a:pt x="24" y="102"/>
                      </a:lnTo>
                      <a:lnTo>
                        <a:pt x="26" y="102"/>
                      </a:lnTo>
                      <a:lnTo>
                        <a:pt x="28" y="102"/>
                      </a:lnTo>
                      <a:lnTo>
                        <a:pt x="28" y="104"/>
                      </a:lnTo>
                      <a:lnTo>
                        <a:pt x="30" y="104"/>
                      </a:lnTo>
                      <a:lnTo>
                        <a:pt x="32" y="106"/>
                      </a:lnTo>
                      <a:lnTo>
                        <a:pt x="34" y="108"/>
                      </a:lnTo>
                      <a:lnTo>
                        <a:pt x="38" y="110"/>
                      </a:lnTo>
                      <a:lnTo>
                        <a:pt x="40" y="112"/>
                      </a:lnTo>
                      <a:lnTo>
                        <a:pt x="44" y="112"/>
                      </a:lnTo>
                      <a:lnTo>
                        <a:pt x="46" y="114"/>
                      </a:lnTo>
                      <a:lnTo>
                        <a:pt x="48" y="116"/>
                      </a:lnTo>
                      <a:lnTo>
                        <a:pt x="52" y="118"/>
                      </a:lnTo>
                      <a:lnTo>
                        <a:pt x="54" y="120"/>
                      </a:lnTo>
                      <a:lnTo>
                        <a:pt x="56" y="120"/>
                      </a:lnTo>
                      <a:lnTo>
                        <a:pt x="56" y="122"/>
                      </a:lnTo>
                      <a:lnTo>
                        <a:pt x="60" y="124"/>
                      </a:lnTo>
                      <a:lnTo>
                        <a:pt x="66" y="128"/>
                      </a:lnTo>
                      <a:lnTo>
                        <a:pt x="68" y="130"/>
                      </a:lnTo>
                      <a:lnTo>
                        <a:pt x="72" y="132"/>
                      </a:lnTo>
                      <a:lnTo>
                        <a:pt x="78" y="138"/>
                      </a:lnTo>
                      <a:lnTo>
                        <a:pt x="84" y="142"/>
                      </a:lnTo>
                      <a:lnTo>
                        <a:pt x="88" y="144"/>
                      </a:lnTo>
                      <a:lnTo>
                        <a:pt x="92" y="148"/>
                      </a:lnTo>
                      <a:lnTo>
                        <a:pt x="94" y="150"/>
                      </a:lnTo>
                      <a:lnTo>
                        <a:pt x="96" y="152"/>
                      </a:lnTo>
                      <a:lnTo>
                        <a:pt x="98" y="154"/>
                      </a:lnTo>
                      <a:lnTo>
                        <a:pt x="100" y="154"/>
                      </a:lnTo>
                      <a:lnTo>
                        <a:pt x="100" y="156"/>
                      </a:lnTo>
                      <a:lnTo>
                        <a:pt x="102" y="156"/>
                      </a:lnTo>
                      <a:lnTo>
                        <a:pt x="104" y="156"/>
                      </a:lnTo>
                      <a:lnTo>
                        <a:pt x="106" y="156"/>
                      </a:lnTo>
                      <a:lnTo>
                        <a:pt x="108" y="156"/>
                      </a:lnTo>
                      <a:lnTo>
                        <a:pt x="110" y="156"/>
                      </a:lnTo>
                      <a:lnTo>
                        <a:pt x="114" y="156"/>
                      </a:lnTo>
                      <a:lnTo>
                        <a:pt x="118" y="156"/>
                      </a:lnTo>
                      <a:lnTo>
                        <a:pt x="124" y="156"/>
                      </a:lnTo>
                      <a:lnTo>
                        <a:pt x="128" y="156"/>
                      </a:lnTo>
                      <a:lnTo>
                        <a:pt x="134" y="158"/>
                      </a:lnTo>
                      <a:lnTo>
                        <a:pt x="136" y="156"/>
                      </a:lnTo>
                      <a:lnTo>
                        <a:pt x="138" y="154"/>
                      </a:lnTo>
                      <a:lnTo>
                        <a:pt x="138" y="150"/>
                      </a:lnTo>
                      <a:lnTo>
                        <a:pt x="138" y="148"/>
                      </a:lnTo>
                      <a:lnTo>
                        <a:pt x="140" y="144"/>
                      </a:lnTo>
                      <a:lnTo>
                        <a:pt x="140" y="142"/>
                      </a:lnTo>
                      <a:lnTo>
                        <a:pt x="142" y="140"/>
                      </a:lnTo>
                      <a:lnTo>
                        <a:pt x="144" y="140"/>
                      </a:lnTo>
                      <a:lnTo>
                        <a:pt x="146" y="140"/>
                      </a:lnTo>
                      <a:lnTo>
                        <a:pt x="148" y="140"/>
                      </a:lnTo>
                      <a:lnTo>
                        <a:pt x="150" y="140"/>
                      </a:lnTo>
                      <a:lnTo>
                        <a:pt x="152" y="140"/>
                      </a:lnTo>
                      <a:lnTo>
                        <a:pt x="154" y="140"/>
                      </a:lnTo>
                      <a:lnTo>
                        <a:pt x="154" y="142"/>
                      </a:lnTo>
                      <a:lnTo>
                        <a:pt x="156" y="142"/>
                      </a:lnTo>
                      <a:lnTo>
                        <a:pt x="158" y="140"/>
                      </a:lnTo>
                      <a:lnTo>
                        <a:pt x="160" y="140"/>
                      </a:lnTo>
                      <a:lnTo>
                        <a:pt x="162" y="138"/>
                      </a:lnTo>
                      <a:lnTo>
                        <a:pt x="160" y="136"/>
                      </a:lnTo>
                      <a:lnTo>
                        <a:pt x="160" y="1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0" name="Freeform 157">
                  <a:extLst>
                    <a:ext uri="{FF2B5EF4-FFF2-40B4-BE49-F238E27FC236}">
                      <a16:creationId xmlns:a16="http://schemas.microsoft.com/office/drawing/2014/main" id="{6E923C75-35CE-4A89-9238-4CDEB5D90EA1}"/>
                    </a:ext>
                  </a:extLst>
                </p:cNvPr>
                <p:cNvSpPr>
                  <a:spLocks noChangeAspect="1"/>
                </p:cNvSpPr>
                <p:nvPr/>
              </p:nvSpPr>
              <p:spPr bwMode="auto">
                <a:xfrm>
                  <a:off x="5356555" y="3137706"/>
                  <a:ext cx="111817" cy="143005"/>
                </a:xfrm>
                <a:custGeom>
                  <a:avLst/>
                  <a:gdLst/>
                  <a:ahLst/>
                  <a:cxnLst>
                    <a:cxn ang="0">
                      <a:pos x="62" y="12"/>
                    </a:cxn>
                    <a:cxn ang="0">
                      <a:pos x="60" y="8"/>
                    </a:cxn>
                    <a:cxn ang="0">
                      <a:pos x="58" y="2"/>
                    </a:cxn>
                    <a:cxn ang="0">
                      <a:pos x="58" y="0"/>
                    </a:cxn>
                    <a:cxn ang="0">
                      <a:pos x="54" y="4"/>
                    </a:cxn>
                    <a:cxn ang="0">
                      <a:pos x="40" y="14"/>
                    </a:cxn>
                    <a:cxn ang="0">
                      <a:pos x="28" y="20"/>
                    </a:cxn>
                    <a:cxn ang="0">
                      <a:pos x="20" y="20"/>
                    </a:cxn>
                    <a:cxn ang="0">
                      <a:pos x="16" y="16"/>
                    </a:cxn>
                    <a:cxn ang="0">
                      <a:pos x="10" y="14"/>
                    </a:cxn>
                    <a:cxn ang="0">
                      <a:pos x="10" y="12"/>
                    </a:cxn>
                    <a:cxn ang="0">
                      <a:pos x="8" y="14"/>
                    </a:cxn>
                    <a:cxn ang="0">
                      <a:pos x="6" y="16"/>
                    </a:cxn>
                    <a:cxn ang="0">
                      <a:pos x="8" y="24"/>
                    </a:cxn>
                    <a:cxn ang="0">
                      <a:pos x="8" y="32"/>
                    </a:cxn>
                    <a:cxn ang="0">
                      <a:pos x="8" y="34"/>
                    </a:cxn>
                    <a:cxn ang="0">
                      <a:pos x="6" y="36"/>
                    </a:cxn>
                    <a:cxn ang="0">
                      <a:pos x="4" y="40"/>
                    </a:cxn>
                    <a:cxn ang="0">
                      <a:pos x="8" y="42"/>
                    </a:cxn>
                    <a:cxn ang="0">
                      <a:pos x="6" y="50"/>
                    </a:cxn>
                    <a:cxn ang="0">
                      <a:pos x="2" y="56"/>
                    </a:cxn>
                    <a:cxn ang="0">
                      <a:pos x="2" y="64"/>
                    </a:cxn>
                    <a:cxn ang="0">
                      <a:pos x="0" y="74"/>
                    </a:cxn>
                    <a:cxn ang="0">
                      <a:pos x="2" y="78"/>
                    </a:cxn>
                    <a:cxn ang="0">
                      <a:pos x="2" y="78"/>
                    </a:cxn>
                    <a:cxn ang="0">
                      <a:pos x="8" y="80"/>
                    </a:cxn>
                    <a:cxn ang="0">
                      <a:pos x="18" y="82"/>
                    </a:cxn>
                    <a:cxn ang="0">
                      <a:pos x="24" y="78"/>
                    </a:cxn>
                    <a:cxn ang="0">
                      <a:pos x="28" y="68"/>
                    </a:cxn>
                    <a:cxn ang="0">
                      <a:pos x="32" y="66"/>
                    </a:cxn>
                    <a:cxn ang="0">
                      <a:pos x="40" y="64"/>
                    </a:cxn>
                    <a:cxn ang="0">
                      <a:pos x="44" y="58"/>
                    </a:cxn>
                    <a:cxn ang="0">
                      <a:pos x="44" y="54"/>
                    </a:cxn>
                    <a:cxn ang="0">
                      <a:pos x="42" y="50"/>
                    </a:cxn>
                    <a:cxn ang="0">
                      <a:pos x="36" y="40"/>
                    </a:cxn>
                    <a:cxn ang="0">
                      <a:pos x="32" y="38"/>
                    </a:cxn>
                    <a:cxn ang="0">
                      <a:pos x="24" y="38"/>
                    </a:cxn>
                    <a:cxn ang="0">
                      <a:pos x="24" y="36"/>
                    </a:cxn>
                    <a:cxn ang="0">
                      <a:pos x="30" y="34"/>
                    </a:cxn>
                    <a:cxn ang="0">
                      <a:pos x="34" y="34"/>
                    </a:cxn>
                    <a:cxn ang="0">
                      <a:pos x="44" y="34"/>
                    </a:cxn>
                    <a:cxn ang="0">
                      <a:pos x="46" y="32"/>
                    </a:cxn>
                    <a:cxn ang="0">
                      <a:pos x="48" y="30"/>
                    </a:cxn>
                    <a:cxn ang="0">
                      <a:pos x="52" y="30"/>
                    </a:cxn>
                    <a:cxn ang="0">
                      <a:pos x="58" y="28"/>
                    </a:cxn>
                    <a:cxn ang="0">
                      <a:pos x="66" y="24"/>
                    </a:cxn>
                    <a:cxn ang="0">
                      <a:pos x="68" y="22"/>
                    </a:cxn>
                    <a:cxn ang="0">
                      <a:pos x="68" y="20"/>
                    </a:cxn>
                  </a:cxnLst>
                  <a:rect l="0" t="0" r="r" b="b"/>
                  <a:pathLst>
                    <a:path w="68" h="82">
                      <a:moveTo>
                        <a:pt x="62" y="16"/>
                      </a:moveTo>
                      <a:lnTo>
                        <a:pt x="62" y="14"/>
                      </a:lnTo>
                      <a:lnTo>
                        <a:pt x="62" y="12"/>
                      </a:lnTo>
                      <a:lnTo>
                        <a:pt x="62" y="10"/>
                      </a:lnTo>
                      <a:lnTo>
                        <a:pt x="60" y="8"/>
                      </a:lnTo>
                      <a:lnTo>
                        <a:pt x="58" y="6"/>
                      </a:lnTo>
                      <a:lnTo>
                        <a:pt x="58" y="4"/>
                      </a:lnTo>
                      <a:lnTo>
                        <a:pt x="58" y="2"/>
                      </a:lnTo>
                      <a:lnTo>
                        <a:pt x="58" y="0"/>
                      </a:lnTo>
                      <a:lnTo>
                        <a:pt x="58" y="2"/>
                      </a:lnTo>
                      <a:lnTo>
                        <a:pt x="56" y="2"/>
                      </a:lnTo>
                      <a:lnTo>
                        <a:pt x="54" y="4"/>
                      </a:lnTo>
                      <a:lnTo>
                        <a:pt x="52" y="6"/>
                      </a:lnTo>
                      <a:lnTo>
                        <a:pt x="50" y="8"/>
                      </a:lnTo>
                      <a:lnTo>
                        <a:pt x="44" y="10"/>
                      </a:lnTo>
                      <a:lnTo>
                        <a:pt x="40" y="14"/>
                      </a:lnTo>
                      <a:lnTo>
                        <a:pt x="34" y="18"/>
                      </a:lnTo>
                      <a:lnTo>
                        <a:pt x="34" y="20"/>
                      </a:lnTo>
                      <a:lnTo>
                        <a:pt x="30" y="20"/>
                      </a:lnTo>
                      <a:lnTo>
                        <a:pt x="28" y="20"/>
                      </a:lnTo>
                      <a:lnTo>
                        <a:pt x="24" y="20"/>
                      </a:lnTo>
                      <a:lnTo>
                        <a:pt x="22" y="20"/>
                      </a:lnTo>
                      <a:lnTo>
                        <a:pt x="20" y="20"/>
                      </a:lnTo>
                      <a:lnTo>
                        <a:pt x="20" y="18"/>
                      </a:lnTo>
                      <a:lnTo>
                        <a:pt x="18" y="18"/>
                      </a:lnTo>
                      <a:lnTo>
                        <a:pt x="16" y="16"/>
                      </a:lnTo>
                      <a:lnTo>
                        <a:pt x="14" y="16"/>
                      </a:lnTo>
                      <a:lnTo>
                        <a:pt x="12" y="14"/>
                      </a:lnTo>
                      <a:lnTo>
                        <a:pt x="10" y="14"/>
                      </a:lnTo>
                      <a:lnTo>
                        <a:pt x="10" y="12"/>
                      </a:lnTo>
                      <a:lnTo>
                        <a:pt x="8" y="12"/>
                      </a:lnTo>
                      <a:lnTo>
                        <a:pt x="8" y="14"/>
                      </a:lnTo>
                      <a:lnTo>
                        <a:pt x="8" y="16"/>
                      </a:lnTo>
                      <a:lnTo>
                        <a:pt x="6" y="16"/>
                      </a:lnTo>
                      <a:lnTo>
                        <a:pt x="6" y="20"/>
                      </a:lnTo>
                      <a:lnTo>
                        <a:pt x="6" y="22"/>
                      </a:lnTo>
                      <a:lnTo>
                        <a:pt x="8" y="24"/>
                      </a:lnTo>
                      <a:lnTo>
                        <a:pt x="8" y="26"/>
                      </a:lnTo>
                      <a:lnTo>
                        <a:pt x="8" y="28"/>
                      </a:lnTo>
                      <a:lnTo>
                        <a:pt x="8" y="30"/>
                      </a:lnTo>
                      <a:lnTo>
                        <a:pt x="8" y="32"/>
                      </a:lnTo>
                      <a:lnTo>
                        <a:pt x="8" y="34"/>
                      </a:lnTo>
                      <a:lnTo>
                        <a:pt x="6" y="34"/>
                      </a:lnTo>
                      <a:lnTo>
                        <a:pt x="6" y="36"/>
                      </a:lnTo>
                      <a:lnTo>
                        <a:pt x="4" y="38"/>
                      </a:lnTo>
                      <a:lnTo>
                        <a:pt x="4" y="40"/>
                      </a:lnTo>
                      <a:lnTo>
                        <a:pt x="6" y="40"/>
                      </a:lnTo>
                      <a:lnTo>
                        <a:pt x="6" y="42"/>
                      </a:lnTo>
                      <a:lnTo>
                        <a:pt x="8" y="42"/>
                      </a:lnTo>
                      <a:lnTo>
                        <a:pt x="8" y="44"/>
                      </a:lnTo>
                      <a:lnTo>
                        <a:pt x="8" y="46"/>
                      </a:lnTo>
                      <a:lnTo>
                        <a:pt x="6" y="48"/>
                      </a:lnTo>
                      <a:lnTo>
                        <a:pt x="6" y="50"/>
                      </a:lnTo>
                      <a:lnTo>
                        <a:pt x="4" y="52"/>
                      </a:lnTo>
                      <a:lnTo>
                        <a:pt x="2" y="54"/>
                      </a:lnTo>
                      <a:lnTo>
                        <a:pt x="2" y="56"/>
                      </a:lnTo>
                      <a:lnTo>
                        <a:pt x="2" y="58"/>
                      </a:lnTo>
                      <a:lnTo>
                        <a:pt x="2" y="62"/>
                      </a:lnTo>
                      <a:lnTo>
                        <a:pt x="2" y="64"/>
                      </a:lnTo>
                      <a:lnTo>
                        <a:pt x="2" y="68"/>
                      </a:lnTo>
                      <a:lnTo>
                        <a:pt x="2" y="70"/>
                      </a:lnTo>
                      <a:lnTo>
                        <a:pt x="2" y="74"/>
                      </a:lnTo>
                      <a:lnTo>
                        <a:pt x="0" y="74"/>
                      </a:lnTo>
                      <a:lnTo>
                        <a:pt x="0" y="76"/>
                      </a:lnTo>
                      <a:lnTo>
                        <a:pt x="2" y="78"/>
                      </a:lnTo>
                      <a:lnTo>
                        <a:pt x="4" y="78"/>
                      </a:lnTo>
                      <a:lnTo>
                        <a:pt x="6" y="80"/>
                      </a:lnTo>
                      <a:lnTo>
                        <a:pt x="8" y="80"/>
                      </a:lnTo>
                      <a:lnTo>
                        <a:pt x="10" y="80"/>
                      </a:lnTo>
                      <a:lnTo>
                        <a:pt x="12" y="80"/>
                      </a:lnTo>
                      <a:lnTo>
                        <a:pt x="16" y="82"/>
                      </a:lnTo>
                      <a:lnTo>
                        <a:pt x="18" y="82"/>
                      </a:lnTo>
                      <a:lnTo>
                        <a:pt x="20" y="80"/>
                      </a:lnTo>
                      <a:lnTo>
                        <a:pt x="22" y="80"/>
                      </a:lnTo>
                      <a:lnTo>
                        <a:pt x="24" y="78"/>
                      </a:lnTo>
                      <a:lnTo>
                        <a:pt x="24" y="74"/>
                      </a:lnTo>
                      <a:lnTo>
                        <a:pt x="26" y="72"/>
                      </a:lnTo>
                      <a:lnTo>
                        <a:pt x="26" y="70"/>
                      </a:lnTo>
                      <a:lnTo>
                        <a:pt x="28" y="68"/>
                      </a:lnTo>
                      <a:lnTo>
                        <a:pt x="28" y="66"/>
                      </a:lnTo>
                      <a:lnTo>
                        <a:pt x="30" y="66"/>
                      </a:lnTo>
                      <a:lnTo>
                        <a:pt x="32" y="66"/>
                      </a:lnTo>
                      <a:lnTo>
                        <a:pt x="34" y="66"/>
                      </a:lnTo>
                      <a:lnTo>
                        <a:pt x="36" y="66"/>
                      </a:lnTo>
                      <a:lnTo>
                        <a:pt x="38" y="66"/>
                      </a:lnTo>
                      <a:lnTo>
                        <a:pt x="40" y="64"/>
                      </a:lnTo>
                      <a:lnTo>
                        <a:pt x="42" y="62"/>
                      </a:lnTo>
                      <a:lnTo>
                        <a:pt x="42" y="60"/>
                      </a:lnTo>
                      <a:lnTo>
                        <a:pt x="44" y="58"/>
                      </a:lnTo>
                      <a:lnTo>
                        <a:pt x="44" y="56"/>
                      </a:lnTo>
                      <a:lnTo>
                        <a:pt x="44" y="54"/>
                      </a:lnTo>
                      <a:lnTo>
                        <a:pt x="44" y="52"/>
                      </a:lnTo>
                      <a:lnTo>
                        <a:pt x="42" y="50"/>
                      </a:lnTo>
                      <a:lnTo>
                        <a:pt x="40" y="46"/>
                      </a:lnTo>
                      <a:lnTo>
                        <a:pt x="40" y="44"/>
                      </a:lnTo>
                      <a:lnTo>
                        <a:pt x="38" y="42"/>
                      </a:lnTo>
                      <a:lnTo>
                        <a:pt x="36" y="40"/>
                      </a:lnTo>
                      <a:lnTo>
                        <a:pt x="34" y="38"/>
                      </a:lnTo>
                      <a:lnTo>
                        <a:pt x="32" y="38"/>
                      </a:lnTo>
                      <a:lnTo>
                        <a:pt x="30" y="38"/>
                      </a:lnTo>
                      <a:lnTo>
                        <a:pt x="28" y="38"/>
                      </a:lnTo>
                      <a:lnTo>
                        <a:pt x="26" y="38"/>
                      </a:lnTo>
                      <a:lnTo>
                        <a:pt x="24" y="38"/>
                      </a:lnTo>
                      <a:lnTo>
                        <a:pt x="24" y="36"/>
                      </a:lnTo>
                      <a:lnTo>
                        <a:pt x="26" y="36"/>
                      </a:lnTo>
                      <a:lnTo>
                        <a:pt x="26" y="34"/>
                      </a:lnTo>
                      <a:lnTo>
                        <a:pt x="28" y="34"/>
                      </a:lnTo>
                      <a:lnTo>
                        <a:pt x="30" y="34"/>
                      </a:lnTo>
                      <a:lnTo>
                        <a:pt x="32" y="34"/>
                      </a:lnTo>
                      <a:lnTo>
                        <a:pt x="34" y="34"/>
                      </a:lnTo>
                      <a:lnTo>
                        <a:pt x="38" y="34"/>
                      </a:lnTo>
                      <a:lnTo>
                        <a:pt x="40" y="34"/>
                      </a:lnTo>
                      <a:lnTo>
                        <a:pt x="42" y="34"/>
                      </a:lnTo>
                      <a:lnTo>
                        <a:pt x="44" y="34"/>
                      </a:lnTo>
                      <a:lnTo>
                        <a:pt x="46" y="34"/>
                      </a:lnTo>
                      <a:lnTo>
                        <a:pt x="46" y="32"/>
                      </a:lnTo>
                      <a:lnTo>
                        <a:pt x="48" y="32"/>
                      </a:lnTo>
                      <a:lnTo>
                        <a:pt x="48" y="30"/>
                      </a:lnTo>
                      <a:lnTo>
                        <a:pt x="50" y="30"/>
                      </a:lnTo>
                      <a:lnTo>
                        <a:pt x="52" y="30"/>
                      </a:lnTo>
                      <a:lnTo>
                        <a:pt x="54" y="30"/>
                      </a:lnTo>
                      <a:lnTo>
                        <a:pt x="56" y="30"/>
                      </a:lnTo>
                      <a:lnTo>
                        <a:pt x="58" y="30"/>
                      </a:lnTo>
                      <a:lnTo>
                        <a:pt x="58" y="28"/>
                      </a:lnTo>
                      <a:lnTo>
                        <a:pt x="60" y="28"/>
                      </a:lnTo>
                      <a:lnTo>
                        <a:pt x="62" y="26"/>
                      </a:lnTo>
                      <a:lnTo>
                        <a:pt x="64" y="24"/>
                      </a:lnTo>
                      <a:lnTo>
                        <a:pt x="66" y="24"/>
                      </a:lnTo>
                      <a:lnTo>
                        <a:pt x="68" y="22"/>
                      </a:lnTo>
                      <a:lnTo>
                        <a:pt x="68" y="20"/>
                      </a:lnTo>
                      <a:lnTo>
                        <a:pt x="62" y="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1" name="Freeform 171">
                  <a:extLst>
                    <a:ext uri="{FF2B5EF4-FFF2-40B4-BE49-F238E27FC236}">
                      <a16:creationId xmlns:a16="http://schemas.microsoft.com/office/drawing/2014/main" id="{FA08C3DA-0B76-4F92-8FD4-AA74A381F341}"/>
                    </a:ext>
                  </a:extLst>
                </p:cNvPr>
                <p:cNvSpPr>
                  <a:spLocks noChangeAspect="1"/>
                </p:cNvSpPr>
                <p:nvPr/>
              </p:nvSpPr>
              <p:spPr bwMode="auto">
                <a:xfrm>
                  <a:off x="5843286" y="3416739"/>
                  <a:ext cx="215411" cy="275546"/>
                </a:xfrm>
                <a:custGeom>
                  <a:avLst/>
                  <a:gdLst/>
                  <a:ahLst/>
                  <a:cxnLst>
                    <a:cxn ang="0">
                      <a:pos x="64" y="134"/>
                    </a:cxn>
                    <a:cxn ang="0">
                      <a:pos x="76" y="130"/>
                    </a:cxn>
                    <a:cxn ang="0">
                      <a:pos x="82" y="122"/>
                    </a:cxn>
                    <a:cxn ang="0">
                      <a:pos x="82" y="118"/>
                    </a:cxn>
                    <a:cxn ang="0">
                      <a:pos x="90" y="114"/>
                    </a:cxn>
                    <a:cxn ang="0">
                      <a:pos x="98" y="102"/>
                    </a:cxn>
                    <a:cxn ang="0">
                      <a:pos x="100" y="90"/>
                    </a:cxn>
                    <a:cxn ang="0">
                      <a:pos x="104" y="88"/>
                    </a:cxn>
                    <a:cxn ang="0">
                      <a:pos x="112" y="88"/>
                    </a:cxn>
                    <a:cxn ang="0">
                      <a:pos x="114" y="80"/>
                    </a:cxn>
                    <a:cxn ang="0">
                      <a:pos x="118" y="74"/>
                    </a:cxn>
                    <a:cxn ang="0">
                      <a:pos x="126" y="66"/>
                    </a:cxn>
                    <a:cxn ang="0">
                      <a:pos x="128" y="64"/>
                    </a:cxn>
                    <a:cxn ang="0">
                      <a:pos x="128" y="54"/>
                    </a:cxn>
                    <a:cxn ang="0">
                      <a:pos x="128" y="46"/>
                    </a:cxn>
                    <a:cxn ang="0">
                      <a:pos x="122" y="44"/>
                    </a:cxn>
                    <a:cxn ang="0">
                      <a:pos x="120" y="44"/>
                    </a:cxn>
                    <a:cxn ang="0">
                      <a:pos x="112" y="32"/>
                    </a:cxn>
                    <a:cxn ang="0">
                      <a:pos x="102" y="22"/>
                    </a:cxn>
                    <a:cxn ang="0">
                      <a:pos x="88" y="18"/>
                    </a:cxn>
                    <a:cxn ang="0">
                      <a:pos x="84" y="18"/>
                    </a:cxn>
                    <a:cxn ang="0">
                      <a:pos x="76" y="16"/>
                    </a:cxn>
                    <a:cxn ang="0">
                      <a:pos x="70" y="10"/>
                    </a:cxn>
                    <a:cxn ang="0">
                      <a:pos x="64" y="2"/>
                    </a:cxn>
                    <a:cxn ang="0">
                      <a:pos x="60" y="4"/>
                    </a:cxn>
                    <a:cxn ang="0">
                      <a:pos x="58" y="0"/>
                    </a:cxn>
                    <a:cxn ang="0">
                      <a:pos x="56" y="2"/>
                    </a:cxn>
                    <a:cxn ang="0">
                      <a:pos x="54" y="12"/>
                    </a:cxn>
                    <a:cxn ang="0">
                      <a:pos x="58" y="16"/>
                    </a:cxn>
                    <a:cxn ang="0">
                      <a:pos x="54" y="16"/>
                    </a:cxn>
                    <a:cxn ang="0">
                      <a:pos x="52" y="18"/>
                    </a:cxn>
                    <a:cxn ang="0">
                      <a:pos x="50" y="28"/>
                    </a:cxn>
                    <a:cxn ang="0">
                      <a:pos x="48" y="32"/>
                    </a:cxn>
                    <a:cxn ang="0">
                      <a:pos x="46" y="40"/>
                    </a:cxn>
                    <a:cxn ang="0">
                      <a:pos x="50" y="50"/>
                    </a:cxn>
                    <a:cxn ang="0">
                      <a:pos x="54" y="54"/>
                    </a:cxn>
                    <a:cxn ang="0">
                      <a:pos x="56" y="62"/>
                    </a:cxn>
                    <a:cxn ang="0">
                      <a:pos x="50" y="86"/>
                    </a:cxn>
                    <a:cxn ang="0">
                      <a:pos x="48" y="96"/>
                    </a:cxn>
                    <a:cxn ang="0">
                      <a:pos x="48" y="98"/>
                    </a:cxn>
                    <a:cxn ang="0">
                      <a:pos x="28" y="106"/>
                    </a:cxn>
                    <a:cxn ang="0">
                      <a:pos x="8" y="112"/>
                    </a:cxn>
                    <a:cxn ang="0">
                      <a:pos x="0" y="116"/>
                    </a:cxn>
                    <a:cxn ang="0">
                      <a:pos x="2" y="124"/>
                    </a:cxn>
                    <a:cxn ang="0">
                      <a:pos x="14" y="148"/>
                    </a:cxn>
                    <a:cxn ang="0">
                      <a:pos x="18" y="158"/>
                    </a:cxn>
                    <a:cxn ang="0">
                      <a:pos x="22" y="158"/>
                    </a:cxn>
                    <a:cxn ang="0">
                      <a:pos x="42" y="152"/>
                    </a:cxn>
                    <a:cxn ang="0">
                      <a:pos x="56" y="146"/>
                    </a:cxn>
                    <a:cxn ang="0">
                      <a:pos x="60" y="140"/>
                    </a:cxn>
                    <a:cxn ang="0">
                      <a:pos x="60" y="134"/>
                    </a:cxn>
                  </a:cxnLst>
                  <a:rect l="0" t="0" r="r" b="b"/>
                  <a:pathLst>
                    <a:path w="130" h="158">
                      <a:moveTo>
                        <a:pt x="60" y="134"/>
                      </a:moveTo>
                      <a:lnTo>
                        <a:pt x="60" y="134"/>
                      </a:lnTo>
                      <a:lnTo>
                        <a:pt x="62" y="134"/>
                      </a:lnTo>
                      <a:lnTo>
                        <a:pt x="64" y="134"/>
                      </a:lnTo>
                      <a:lnTo>
                        <a:pt x="66" y="134"/>
                      </a:lnTo>
                      <a:lnTo>
                        <a:pt x="68" y="132"/>
                      </a:lnTo>
                      <a:lnTo>
                        <a:pt x="72" y="132"/>
                      </a:lnTo>
                      <a:lnTo>
                        <a:pt x="74" y="130"/>
                      </a:lnTo>
                      <a:lnTo>
                        <a:pt x="76" y="130"/>
                      </a:lnTo>
                      <a:lnTo>
                        <a:pt x="78" y="128"/>
                      </a:lnTo>
                      <a:lnTo>
                        <a:pt x="80" y="126"/>
                      </a:lnTo>
                      <a:lnTo>
                        <a:pt x="80" y="124"/>
                      </a:lnTo>
                      <a:lnTo>
                        <a:pt x="82" y="122"/>
                      </a:lnTo>
                      <a:lnTo>
                        <a:pt x="82" y="120"/>
                      </a:lnTo>
                      <a:lnTo>
                        <a:pt x="82" y="118"/>
                      </a:lnTo>
                      <a:lnTo>
                        <a:pt x="84" y="116"/>
                      </a:lnTo>
                      <a:lnTo>
                        <a:pt x="86" y="116"/>
                      </a:lnTo>
                      <a:lnTo>
                        <a:pt x="88" y="114"/>
                      </a:lnTo>
                      <a:lnTo>
                        <a:pt x="90" y="114"/>
                      </a:lnTo>
                      <a:lnTo>
                        <a:pt x="94" y="112"/>
                      </a:lnTo>
                      <a:lnTo>
                        <a:pt x="96" y="110"/>
                      </a:lnTo>
                      <a:lnTo>
                        <a:pt x="98" y="108"/>
                      </a:lnTo>
                      <a:lnTo>
                        <a:pt x="98" y="106"/>
                      </a:lnTo>
                      <a:lnTo>
                        <a:pt x="98" y="102"/>
                      </a:lnTo>
                      <a:lnTo>
                        <a:pt x="98" y="100"/>
                      </a:lnTo>
                      <a:lnTo>
                        <a:pt x="98" y="96"/>
                      </a:lnTo>
                      <a:lnTo>
                        <a:pt x="100" y="94"/>
                      </a:lnTo>
                      <a:lnTo>
                        <a:pt x="100" y="90"/>
                      </a:lnTo>
                      <a:lnTo>
                        <a:pt x="100" y="88"/>
                      </a:lnTo>
                      <a:lnTo>
                        <a:pt x="102" y="88"/>
                      </a:lnTo>
                      <a:lnTo>
                        <a:pt x="104" y="88"/>
                      </a:lnTo>
                      <a:lnTo>
                        <a:pt x="106" y="90"/>
                      </a:lnTo>
                      <a:lnTo>
                        <a:pt x="108" y="90"/>
                      </a:lnTo>
                      <a:lnTo>
                        <a:pt x="110" y="90"/>
                      </a:lnTo>
                      <a:lnTo>
                        <a:pt x="112" y="88"/>
                      </a:lnTo>
                      <a:lnTo>
                        <a:pt x="114" y="86"/>
                      </a:lnTo>
                      <a:lnTo>
                        <a:pt x="114" y="84"/>
                      </a:lnTo>
                      <a:lnTo>
                        <a:pt x="114" y="82"/>
                      </a:lnTo>
                      <a:lnTo>
                        <a:pt x="114" y="80"/>
                      </a:lnTo>
                      <a:lnTo>
                        <a:pt x="114" y="78"/>
                      </a:lnTo>
                      <a:lnTo>
                        <a:pt x="116" y="76"/>
                      </a:lnTo>
                      <a:lnTo>
                        <a:pt x="118" y="74"/>
                      </a:lnTo>
                      <a:lnTo>
                        <a:pt x="120" y="72"/>
                      </a:lnTo>
                      <a:lnTo>
                        <a:pt x="122" y="70"/>
                      </a:lnTo>
                      <a:lnTo>
                        <a:pt x="124" y="68"/>
                      </a:lnTo>
                      <a:lnTo>
                        <a:pt x="126" y="66"/>
                      </a:lnTo>
                      <a:lnTo>
                        <a:pt x="128" y="64"/>
                      </a:lnTo>
                      <a:lnTo>
                        <a:pt x="128" y="62"/>
                      </a:lnTo>
                      <a:lnTo>
                        <a:pt x="128" y="60"/>
                      </a:lnTo>
                      <a:lnTo>
                        <a:pt x="128" y="58"/>
                      </a:lnTo>
                      <a:lnTo>
                        <a:pt x="128" y="54"/>
                      </a:lnTo>
                      <a:lnTo>
                        <a:pt x="130" y="52"/>
                      </a:lnTo>
                      <a:lnTo>
                        <a:pt x="130" y="50"/>
                      </a:lnTo>
                      <a:lnTo>
                        <a:pt x="128" y="48"/>
                      </a:lnTo>
                      <a:lnTo>
                        <a:pt x="128" y="46"/>
                      </a:lnTo>
                      <a:lnTo>
                        <a:pt x="126" y="46"/>
                      </a:lnTo>
                      <a:lnTo>
                        <a:pt x="126" y="44"/>
                      </a:lnTo>
                      <a:lnTo>
                        <a:pt x="124" y="44"/>
                      </a:lnTo>
                      <a:lnTo>
                        <a:pt x="122" y="44"/>
                      </a:lnTo>
                      <a:lnTo>
                        <a:pt x="120" y="44"/>
                      </a:lnTo>
                      <a:lnTo>
                        <a:pt x="120" y="42"/>
                      </a:lnTo>
                      <a:lnTo>
                        <a:pt x="120" y="40"/>
                      </a:lnTo>
                      <a:lnTo>
                        <a:pt x="118" y="38"/>
                      </a:lnTo>
                      <a:lnTo>
                        <a:pt x="116" y="34"/>
                      </a:lnTo>
                      <a:lnTo>
                        <a:pt x="112" y="32"/>
                      </a:lnTo>
                      <a:lnTo>
                        <a:pt x="110" y="28"/>
                      </a:lnTo>
                      <a:lnTo>
                        <a:pt x="108" y="26"/>
                      </a:lnTo>
                      <a:lnTo>
                        <a:pt x="106" y="24"/>
                      </a:lnTo>
                      <a:lnTo>
                        <a:pt x="102" y="22"/>
                      </a:lnTo>
                      <a:lnTo>
                        <a:pt x="98" y="22"/>
                      </a:lnTo>
                      <a:lnTo>
                        <a:pt x="96" y="20"/>
                      </a:lnTo>
                      <a:lnTo>
                        <a:pt x="92" y="20"/>
                      </a:lnTo>
                      <a:lnTo>
                        <a:pt x="90" y="18"/>
                      </a:lnTo>
                      <a:lnTo>
                        <a:pt x="88" y="18"/>
                      </a:lnTo>
                      <a:lnTo>
                        <a:pt x="86" y="18"/>
                      </a:lnTo>
                      <a:lnTo>
                        <a:pt x="84" y="18"/>
                      </a:lnTo>
                      <a:lnTo>
                        <a:pt x="82" y="16"/>
                      </a:lnTo>
                      <a:lnTo>
                        <a:pt x="80" y="16"/>
                      </a:lnTo>
                      <a:lnTo>
                        <a:pt x="76" y="16"/>
                      </a:lnTo>
                      <a:lnTo>
                        <a:pt x="74" y="14"/>
                      </a:lnTo>
                      <a:lnTo>
                        <a:pt x="72" y="12"/>
                      </a:lnTo>
                      <a:lnTo>
                        <a:pt x="70" y="12"/>
                      </a:lnTo>
                      <a:lnTo>
                        <a:pt x="70" y="10"/>
                      </a:lnTo>
                      <a:lnTo>
                        <a:pt x="68" y="8"/>
                      </a:lnTo>
                      <a:lnTo>
                        <a:pt x="68" y="6"/>
                      </a:lnTo>
                      <a:lnTo>
                        <a:pt x="66" y="2"/>
                      </a:lnTo>
                      <a:lnTo>
                        <a:pt x="64" y="2"/>
                      </a:lnTo>
                      <a:lnTo>
                        <a:pt x="62" y="4"/>
                      </a:lnTo>
                      <a:lnTo>
                        <a:pt x="60" y="4"/>
                      </a:lnTo>
                      <a:lnTo>
                        <a:pt x="58" y="2"/>
                      </a:lnTo>
                      <a:lnTo>
                        <a:pt x="58" y="0"/>
                      </a:lnTo>
                      <a:lnTo>
                        <a:pt x="56" y="0"/>
                      </a:lnTo>
                      <a:lnTo>
                        <a:pt x="56" y="2"/>
                      </a:lnTo>
                      <a:lnTo>
                        <a:pt x="54" y="2"/>
                      </a:lnTo>
                      <a:lnTo>
                        <a:pt x="54" y="6"/>
                      </a:lnTo>
                      <a:lnTo>
                        <a:pt x="54" y="8"/>
                      </a:lnTo>
                      <a:lnTo>
                        <a:pt x="54" y="10"/>
                      </a:lnTo>
                      <a:lnTo>
                        <a:pt x="54" y="12"/>
                      </a:lnTo>
                      <a:lnTo>
                        <a:pt x="56" y="14"/>
                      </a:lnTo>
                      <a:lnTo>
                        <a:pt x="56" y="16"/>
                      </a:lnTo>
                      <a:lnTo>
                        <a:pt x="58" y="16"/>
                      </a:lnTo>
                      <a:lnTo>
                        <a:pt x="58" y="18"/>
                      </a:lnTo>
                      <a:lnTo>
                        <a:pt x="56" y="18"/>
                      </a:lnTo>
                      <a:lnTo>
                        <a:pt x="54" y="16"/>
                      </a:lnTo>
                      <a:lnTo>
                        <a:pt x="54" y="18"/>
                      </a:lnTo>
                      <a:lnTo>
                        <a:pt x="52" y="18"/>
                      </a:lnTo>
                      <a:lnTo>
                        <a:pt x="52" y="20"/>
                      </a:lnTo>
                      <a:lnTo>
                        <a:pt x="52" y="24"/>
                      </a:lnTo>
                      <a:lnTo>
                        <a:pt x="50" y="26"/>
                      </a:lnTo>
                      <a:lnTo>
                        <a:pt x="50" y="28"/>
                      </a:lnTo>
                      <a:lnTo>
                        <a:pt x="50" y="30"/>
                      </a:lnTo>
                      <a:lnTo>
                        <a:pt x="48" y="32"/>
                      </a:lnTo>
                      <a:lnTo>
                        <a:pt x="46" y="36"/>
                      </a:lnTo>
                      <a:lnTo>
                        <a:pt x="46" y="38"/>
                      </a:lnTo>
                      <a:lnTo>
                        <a:pt x="46" y="40"/>
                      </a:lnTo>
                      <a:lnTo>
                        <a:pt x="48" y="42"/>
                      </a:lnTo>
                      <a:lnTo>
                        <a:pt x="48" y="44"/>
                      </a:lnTo>
                      <a:lnTo>
                        <a:pt x="50" y="46"/>
                      </a:lnTo>
                      <a:lnTo>
                        <a:pt x="50" y="48"/>
                      </a:lnTo>
                      <a:lnTo>
                        <a:pt x="50" y="50"/>
                      </a:lnTo>
                      <a:lnTo>
                        <a:pt x="50" y="52"/>
                      </a:lnTo>
                      <a:lnTo>
                        <a:pt x="52" y="52"/>
                      </a:lnTo>
                      <a:lnTo>
                        <a:pt x="52" y="54"/>
                      </a:lnTo>
                      <a:lnTo>
                        <a:pt x="54" y="54"/>
                      </a:lnTo>
                      <a:lnTo>
                        <a:pt x="54" y="56"/>
                      </a:lnTo>
                      <a:lnTo>
                        <a:pt x="56" y="56"/>
                      </a:lnTo>
                      <a:lnTo>
                        <a:pt x="56" y="58"/>
                      </a:lnTo>
                      <a:lnTo>
                        <a:pt x="56" y="62"/>
                      </a:lnTo>
                      <a:lnTo>
                        <a:pt x="56" y="64"/>
                      </a:lnTo>
                      <a:lnTo>
                        <a:pt x="54" y="70"/>
                      </a:lnTo>
                      <a:lnTo>
                        <a:pt x="52" y="76"/>
                      </a:lnTo>
                      <a:lnTo>
                        <a:pt x="52" y="82"/>
                      </a:lnTo>
                      <a:lnTo>
                        <a:pt x="50" y="86"/>
                      </a:lnTo>
                      <a:lnTo>
                        <a:pt x="50" y="88"/>
                      </a:lnTo>
                      <a:lnTo>
                        <a:pt x="50" y="90"/>
                      </a:lnTo>
                      <a:lnTo>
                        <a:pt x="50" y="92"/>
                      </a:lnTo>
                      <a:lnTo>
                        <a:pt x="48" y="94"/>
                      </a:lnTo>
                      <a:lnTo>
                        <a:pt x="48" y="96"/>
                      </a:lnTo>
                      <a:lnTo>
                        <a:pt x="48" y="98"/>
                      </a:lnTo>
                      <a:lnTo>
                        <a:pt x="44" y="100"/>
                      </a:lnTo>
                      <a:lnTo>
                        <a:pt x="40" y="102"/>
                      </a:lnTo>
                      <a:lnTo>
                        <a:pt x="36" y="102"/>
                      </a:lnTo>
                      <a:lnTo>
                        <a:pt x="32" y="104"/>
                      </a:lnTo>
                      <a:lnTo>
                        <a:pt x="28" y="106"/>
                      </a:lnTo>
                      <a:lnTo>
                        <a:pt x="26" y="106"/>
                      </a:lnTo>
                      <a:lnTo>
                        <a:pt x="20" y="108"/>
                      </a:lnTo>
                      <a:lnTo>
                        <a:pt x="16" y="110"/>
                      </a:lnTo>
                      <a:lnTo>
                        <a:pt x="12" y="110"/>
                      </a:lnTo>
                      <a:lnTo>
                        <a:pt x="8" y="112"/>
                      </a:lnTo>
                      <a:lnTo>
                        <a:pt x="6" y="114"/>
                      </a:lnTo>
                      <a:lnTo>
                        <a:pt x="4" y="114"/>
                      </a:lnTo>
                      <a:lnTo>
                        <a:pt x="2" y="114"/>
                      </a:lnTo>
                      <a:lnTo>
                        <a:pt x="0" y="116"/>
                      </a:lnTo>
                      <a:lnTo>
                        <a:pt x="2" y="120"/>
                      </a:lnTo>
                      <a:lnTo>
                        <a:pt x="2" y="124"/>
                      </a:lnTo>
                      <a:lnTo>
                        <a:pt x="6" y="130"/>
                      </a:lnTo>
                      <a:lnTo>
                        <a:pt x="8" y="136"/>
                      </a:lnTo>
                      <a:lnTo>
                        <a:pt x="10" y="140"/>
                      </a:lnTo>
                      <a:lnTo>
                        <a:pt x="12" y="144"/>
                      </a:lnTo>
                      <a:lnTo>
                        <a:pt x="14" y="148"/>
                      </a:lnTo>
                      <a:lnTo>
                        <a:pt x="16" y="152"/>
                      </a:lnTo>
                      <a:lnTo>
                        <a:pt x="16" y="154"/>
                      </a:lnTo>
                      <a:lnTo>
                        <a:pt x="18" y="156"/>
                      </a:lnTo>
                      <a:lnTo>
                        <a:pt x="18" y="158"/>
                      </a:lnTo>
                      <a:lnTo>
                        <a:pt x="20" y="158"/>
                      </a:lnTo>
                      <a:lnTo>
                        <a:pt x="22" y="158"/>
                      </a:lnTo>
                      <a:lnTo>
                        <a:pt x="24" y="158"/>
                      </a:lnTo>
                      <a:lnTo>
                        <a:pt x="26" y="156"/>
                      </a:lnTo>
                      <a:lnTo>
                        <a:pt x="28" y="156"/>
                      </a:lnTo>
                      <a:lnTo>
                        <a:pt x="36" y="154"/>
                      </a:lnTo>
                      <a:lnTo>
                        <a:pt x="42" y="152"/>
                      </a:lnTo>
                      <a:lnTo>
                        <a:pt x="48" y="150"/>
                      </a:lnTo>
                      <a:lnTo>
                        <a:pt x="50" y="150"/>
                      </a:lnTo>
                      <a:lnTo>
                        <a:pt x="52" y="148"/>
                      </a:lnTo>
                      <a:lnTo>
                        <a:pt x="54" y="148"/>
                      </a:lnTo>
                      <a:lnTo>
                        <a:pt x="56" y="146"/>
                      </a:lnTo>
                      <a:lnTo>
                        <a:pt x="58" y="146"/>
                      </a:lnTo>
                      <a:lnTo>
                        <a:pt x="58" y="144"/>
                      </a:lnTo>
                      <a:lnTo>
                        <a:pt x="60" y="144"/>
                      </a:lnTo>
                      <a:lnTo>
                        <a:pt x="60" y="140"/>
                      </a:lnTo>
                      <a:lnTo>
                        <a:pt x="60" y="138"/>
                      </a:lnTo>
                      <a:lnTo>
                        <a:pt x="60" y="136"/>
                      </a:lnTo>
                      <a:lnTo>
                        <a:pt x="60" y="1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2" name="Freeform 172">
                  <a:extLst>
                    <a:ext uri="{FF2B5EF4-FFF2-40B4-BE49-F238E27FC236}">
                      <a16:creationId xmlns:a16="http://schemas.microsoft.com/office/drawing/2014/main" id="{EE513EB0-0C03-490E-8D8C-E46D42ADB36E}"/>
                    </a:ext>
                  </a:extLst>
                </p:cNvPr>
                <p:cNvSpPr>
                  <a:spLocks noChangeAspect="1"/>
                </p:cNvSpPr>
                <p:nvPr/>
              </p:nvSpPr>
              <p:spPr bwMode="auto">
                <a:xfrm>
                  <a:off x="5800532" y="3374884"/>
                  <a:ext cx="26310" cy="59295"/>
                </a:xfrm>
                <a:custGeom>
                  <a:avLst/>
                  <a:gdLst/>
                  <a:ahLst/>
                  <a:cxnLst>
                    <a:cxn ang="0">
                      <a:pos x="4" y="32"/>
                    </a:cxn>
                    <a:cxn ang="0">
                      <a:pos x="4" y="32"/>
                    </a:cxn>
                    <a:cxn ang="0">
                      <a:pos x="6" y="34"/>
                    </a:cxn>
                    <a:cxn ang="0">
                      <a:pos x="6" y="34"/>
                    </a:cxn>
                    <a:cxn ang="0">
                      <a:pos x="6" y="34"/>
                    </a:cxn>
                    <a:cxn ang="0">
                      <a:pos x="6" y="34"/>
                    </a:cxn>
                    <a:cxn ang="0">
                      <a:pos x="8" y="34"/>
                    </a:cxn>
                    <a:cxn ang="0">
                      <a:pos x="8" y="34"/>
                    </a:cxn>
                    <a:cxn ang="0">
                      <a:pos x="8" y="34"/>
                    </a:cxn>
                    <a:cxn ang="0">
                      <a:pos x="8" y="34"/>
                    </a:cxn>
                    <a:cxn ang="0">
                      <a:pos x="8" y="34"/>
                    </a:cxn>
                    <a:cxn ang="0">
                      <a:pos x="8" y="34"/>
                    </a:cxn>
                    <a:cxn ang="0">
                      <a:pos x="10" y="32"/>
                    </a:cxn>
                    <a:cxn ang="0">
                      <a:pos x="10" y="30"/>
                    </a:cxn>
                    <a:cxn ang="0">
                      <a:pos x="12" y="28"/>
                    </a:cxn>
                    <a:cxn ang="0">
                      <a:pos x="12" y="24"/>
                    </a:cxn>
                    <a:cxn ang="0">
                      <a:pos x="14" y="22"/>
                    </a:cxn>
                    <a:cxn ang="0">
                      <a:pos x="14" y="18"/>
                    </a:cxn>
                    <a:cxn ang="0">
                      <a:pos x="16" y="16"/>
                    </a:cxn>
                    <a:cxn ang="0">
                      <a:pos x="16" y="12"/>
                    </a:cxn>
                    <a:cxn ang="0">
                      <a:pos x="14" y="10"/>
                    </a:cxn>
                    <a:cxn ang="0">
                      <a:pos x="14" y="8"/>
                    </a:cxn>
                    <a:cxn ang="0">
                      <a:pos x="12" y="4"/>
                    </a:cxn>
                    <a:cxn ang="0">
                      <a:pos x="12" y="4"/>
                    </a:cxn>
                    <a:cxn ang="0">
                      <a:pos x="10" y="2"/>
                    </a:cxn>
                    <a:cxn ang="0">
                      <a:pos x="8" y="0"/>
                    </a:cxn>
                    <a:cxn ang="0">
                      <a:pos x="8" y="0"/>
                    </a:cxn>
                    <a:cxn ang="0">
                      <a:pos x="6" y="0"/>
                    </a:cxn>
                    <a:cxn ang="0">
                      <a:pos x="4" y="2"/>
                    </a:cxn>
                    <a:cxn ang="0">
                      <a:pos x="4" y="2"/>
                    </a:cxn>
                    <a:cxn ang="0">
                      <a:pos x="4" y="4"/>
                    </a:cxn>
                    <a:cxn ang="0">
                      <a:pos x="4" y="8"/>
                    </a:cxn>
                    <a:cxn ang="0">
                      <a:pos x="2" y="12"/>
                    </a:cxn>
                    <a:cxn ang="0">
                      <a:pos x="2" y="14"/>
                    </a:cxn>
                    <a:cxn ang="0">
                      <a:pos x="2" y="16"/>
                    </a:cxn>
                    <a:cxn ang="0">
                      <a:pos x="2" y="20"/>
                    </a:cxn>
                    <a:cxn ang="0">
                      <a:pos x="2" y="24"/>
                    </a:cxn>
                    <a:cxn ang="0">
                      <a:pos x="2" y="26"/>
                    </a:cxn>
                    <a:cxn ang="0">
                      <a:pos x="2" y="28"/>
                    </a:cxn>
                    <a:cxn ang="0">
                      <a:pos x="0" y="30"/>
                    </a:cxn>
                    <a:cxn ang="0">
                      <a:pos x="0" y="30"/>
                    </a:cxn>
                    <a:cxn ang="0">
                      <a:pos x="0" y="30"/>
                    </a:cxn>
                    <a:cxn ang="0">
                      <a:pos x="0" y="30"/>
                    </a:cxn>
                    <a:cxn ang="0">
                      <a:pos x="0" y="30"/>
                    </a:cxn>
                    <a:cxn ang="0">
                      <a:pos x="0" y="32"/>
                    </a:cxn>
                    <a:cxn ang="0">
                      <a:pos x="0" y="32"/>
                    </a:cxn>
                    <a:cxn ang="0">
                      <a:pos x="0" y="32"/>
                    </a:cxn>
                    <a:cxn ang="0">
                      <a:pos x="2" y="32"/>
                    </a:cxn>
                    <a:cxn ang="0">
                      <a:pos x="2" y="34"/>
                    </a:cxn>
                    <a:cxn ang="0">
                      <a:pos x="4" y="32"/>
                    </a:cxn>
                    <a:cxn ang="0">
                      <a:pos x="4" y="32"/>
                    </a:cxn>
                    <a:cxn ang="0">
                      <a:pos x="4" y="32"/>
                    </a:cxn>
                  </a:cxnLst>
                  <a:rect l="0" t="0" r="r" b="b"/>
                  <a:pathLst>
                    <a:path w="16" h="34">
                      <a:moveTo>
                        <a:pt x="4" y="32"/>
                      </a:moveTo>
                      <a:lnTo>
                        <a:pt x="4" y="32"/>
                      </a:lnTo>
                      <a:lnTo>
                        <a:pt x="6" y="34"/>
                      </a:lnTo>
                      <a:lnTo>
                        <a:pt x="8" y="34"/>
                      </a:lnTo>
                      <a:lnTo>
                        <a:pt x="10" y="32"/>
                      </a:lnTo>
                      <a:lnTo>
                        <a:pt x="10" y="30"/>
                      </a:lnTo>
                      <a:lnTo>
                        <a:pt x="12" y="28"/>
                      </a:lnTo>
                      <a:lnTo>
                        <a:pt x="12" y="24"/>
                      </a:lnTo>
                      <a:lnTo>
                        <a:pt x="14" y="22"/>
                      </a:lnTo>
                      <a:lnTo>
                        <a:pt x="14" y="18"/>
                      </a:lnTo>
                      <a:lnTo>
                        <a:pt x="16" y="16"/>
                      </a:lnTo>
                      <a:lnTo>
                        <a:pt x="16" y="12"/>
                      </a:lnTo>
                      <a:lnTo>
                        <a:pt x="14" y="10"/>
                      </a:lnTo>
                      <a:lnTo>
                        <a:pt x="14" y="8"/>
                      </a:lnTo>
                      <a:lnTo>
                        <a:pt x="12" y="4"/>
                      </a:lnTo>
                      <a:lnTo>
                        <a:pt x="10" y="2"/>
                      </a:lnTo>
                      <a:lnTo>
                        <a:pt x="8" y="0"/>
                      </a:lnTo>
                      <a:lnTo>
                        <a:pt x="6" y="0"/>
                      </a:lnTo>
                      <a:lnTo>
                        <a:pt x="4" y="2"/>
                      </a:lnTo>
                      <a:lnTo>
                        <a:pt x="4" y="4"/>
                      </a:lnTo>
                      <a:lnTo>
                        <a:pt x="4" y="8"/>
                      </a:lnTo>
                      <a:lnTo>
                        <a:pt x="2" y="12"/>
                      </a:lnTo>
                      <a:lnTo>
                        <a:pt x="2" y="14"/>
                      </a:lnTo>
                      <a:lnTo>
                        <a:pt x="2" y="16"/>
                      </a:lnTo>
                      <a:lnTo>
                        <a:pt x="2" y="20"/>
                      </a:lnTo>
                      <a:lnTo>
                        <a:pt x="2" y="24"/>
                      </a:lnTo>
                      <a:lnTo>
                        <a:pt x="2" y="26"/>
                      </a:lnTo>
                      <a:lnTo>
                        <a:pt x="2" y="28"/>
                      </a:lnTo>
                      <a:lnTo>
                        <a:pt x="0" y="30"/>
                      </a:lnTo>
                      <a:lnTo>
                        <a:pt x="0" y="32"/>
                      </a:lnTo>
                      <a:lnTo>
                        <a:pt x="2" y="32"/>
                      </a:lnTo>
                      <a:lnTo>
                        <a:pt x="2" y="34"/>
                      </a:lnTo>
                      <a:lnTo>
                        <a:pt x="4" y="3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3" name="Freeform 173">
                  <a:extLst>
                    <a:ext uri="{FF2B5EF4-FFF2-40B4-BE49-F238E27FC236}">
                      <a16:creationId xmlns:a16="http://schemas.microsoft.com/office/drawing/2014/main" id="{C3ED614C-8457-48EB-A757-1D3B4D5F8555}"/>
                    </a:ext>
                  </a:extLst>
                </p:cNvPr>
                <p:cNvSpPr>
                  <a:spLocks noChangeAspect="1"/>
                </p:cNvSpPr>
                <p:nvPr/>
              </p:nvSpPr>
              <p:spPr bwMode="auto">
                <a:xfrm>
                  <a:off x="5353266" y="3176073"/>
                  <a:ext cx="583749" cy="530165"/>
                </a:xfrm>
                <a:custGeom>
                  <a:avLst/>
                  <a:gdLst/>
                  <a:ahLst/>
                  <a:cxnLst>
                    <a:cxn ang="0">
                      <a:pos x="328" y="182"/>
                    </a:cxn>
                    <a:cxn ang="0">
                      <a:pos x="302" y="180"/>
                    </a:cxn>
                    <a:cxn ang="0">
                      <a:pos x="288" y="162"/>
                    </a:cxn>
                    <a:cxn ang="0">
                      <a:pos x="282" y="152"/>
                    </a:cxn>
                    <a:cxn ang="0">
                      <a:pos x="276" y="146"/>
                    </a:cxn>
                    <a:cxn ang="0">
                      <a:pos x="272" y="146"/>
                    </a:cxn>
                    <a:cxn ang="0">
                      <a:pos x="268" y="138"/>
                    </a:cxn>
                    <a:cxn ang="0">
                      <a:pos x="258" y="124"/>
                    </a:cxn>
                    <a:cxn ang="0">
                      <a:pos x="252" y="106"/>
                    </a:cxn>
                    <a:cxn ang="0">
                      <a:pos x="236" y="96"/>
                    </a:cxn>
                    <a:cxn ang="0">
                      <a:pos x="230" y="82"/>
                    </a:cxn>
                    <a:cxn ang="0">
                      <a:pos x="228" y="72"/>
                    </a:cxn>
                    <a:cxn ang="0">
                      <a:pos x="214" y="70"/>
                    </a:cxn>
                    <a:cxn ang="0">
                      <a:pos x="208" y="62"/>
                    </a:cxn>
                    <a:cxn ang="0">
                      <a:pos x="180" y="58"/>
                    </a:cxn>
                    <a:cxn ang="0">
                      <a:pos x="158" y="54"/>
                    </a:cxn>
                    <a:cxn ang="0">
                      <a:pos x="122" y="28"/>
                    </a:cxn>
                    <a:cxn ang="0">
                      <a:pos x="114" y="22"/>
                    </a:cxn>
                    <a:cxn ang="0">
                      <a:pos x="94" y="10"/>
                    </a:cxn>
                    <a:cxn ang="0">
                      <a:pos x="84" y="4"/>
                    </a:cxn>
                    <a:cxn ang="0">
                      <a:pos x="70" y="0"/>
                    </a:cxn>
                    <a:cxn ang="0">
                      <a:pos x="60" y="8"/>
                    </a:cxn>
                    <a:cxn ang="0">
                      <a:pos x="48" y="10"/>
                    </a:cxn>
                    <a:cxn ang="0">
                      <a:pos x="38" y="12"/>
                    </a:cxn>
                    <a:cxn ang="0">
                      <a:pos x="26" y="14"/>
                    </a:cxn>
                    <a:cxn ang="0">
                      <a:pos x="36" y="16"/>
                    </a:cxn>
                    <a:cxn ang="0">
                      <a:pos x="46" y="30"/>
                    </a:cxn>
                    <a:cxn ang="0">
                      <a:pos x="42" y="42"/>
                    </a:cxn>
                    <a:cxn ang="0">
                      <a:pos x="30" y="46"/>
                    </a:cxn>
                    <a:cxn ang="0">
                      <a:pos x="18" y="60"/>
                    </a:cxn>
                    <a:cxn ang="0">
                      <a:pos x="2" y="58"/>
                    </a:cxn>
                    <a:cxn ang="0">
                      <a:pos x="0" y="74"/>
                    </a:cxn>
                    <a:cxn ang="0">
                      <a:pos x="10" y="94"/>
                    </a:cxn>
                    <a:cxn ang="0">
                      <a:pos x="24" y="112"/>
                    </a:cxn>
                    <a:cxn ang="0">
                      <a:pos x="40" y="132"/>
                    </a:cxn>
                    <a:cxn ang="0">
                      <a:pos x="52" y="156"/>
                    </a:cxn>
                    <a:cxn ang="0">
                      <a:pos x="70" y="164"/>
                    </a:cxn>
                    <a:cxn ang="0">
                      <a:pos x="80" y="198"/>
                    </a:cxn>
                    <a:cxn ang="0">
                      <a:pos x="92" y="224"/>
                    </a:cxn>
                    <a:cxn ang="0">
                      <a:pos x="102" y="224"/>
                    </a:cxn>
                    <a:cxn ang="0">
                      <a:pos x="114" y="242"/>
                    </a:cxn>
                    <a:cxn ang="0">
                      <a:pos x="134" y="274"/>
                    </a:cxn>
                    <a:cxn ang="0">
                      <a:pos x="148" y="300"/>
                    </a:cxn>
                    <a:cxn ang="0">
                      <a:pos x="152" y="296"/>
                    </a:cxn>
                    <a:cxn ang="0">
                      <a:pos x="152" y="286"/>
                    </a:cxn>
                    <a:cxn ang="0">
                      <a:pos x="160" y="286"/>
                    </a:cxn>
                    <a:cxn ang="0">
                      <a:pos x="168" y="284"/>
                    </a:cxn>
                    <a:cxn ang="0">
                      <a:pos x="186" y="284"/>
                    </a:cxn>
                    <a:cxn ang="0">
                      <a:pos x="194" y="286"/>
                    </a:cxn>
                    <a:cxn ang="0">
                      <a:pos x="210" y="286"/>
                    </a:cxn>
                    <a:cxn ang="0">
                      <a:pos x="220" y="292"/>
                    </a:cxn>
                    <a:cxn ang="0">
                      <a:pos x="222" y="284"/>
                    </a:cxn>
                    <a:cxn ang="0">
                      <a:pos x="232" y="270"/>
                    </a:cxn>
                    <a:cxn ang="0">
                      <a:pos x="254" y="258"/>
                    </a:cxn>
                    <a:cxn ang="0">
                      <a:pos x="286" y="256"/>
                    </a:cxn>
                    <a:cxn ang="0">
                      <a:pos x="310" y="250"/>
                    </a:cxn>
                    <a:cxn ang="0">
                      <a:pos x="342" y="238"/>
                    </a:cxn>
                    <a:cxn ang="0">
                      <a:pos x="348" y="224"/>
                    </a:cxn>
                    <a:cxn ang="0">
                      <a:pos x="354" y="198"/>
                    </a:cxn>
                    <a:cxn ang="0">
                      <a:pos x="350" y="192"/>
                    </a:cxn>
                  </a:cxnLst>
                  <a:rect l="0" t="0" r="r" b="b"/>
                  <a:pathLst>
                    <a:path w="354" h="304">
                      <a:moveTo>
                        <a:pt x="348" y="188"/>
                      </a:moveTo>
                      <a:lnTo>
                        <a:pt x="348" y="188"/>
                      </a:lnTo>
                      <a:lnTo>
                        <a:pt x="348" y="184"/>
                      </a:lnTo>
                      <a:lnTo>
                        <a:pt x="344" y="184"/>
                      </a:lnTo>
                      <a:lnTo>
                        <a:pt x="342" y="184"/>
                      </a:lnTo>
                      <a:lnTo>
                        <a:pt x="338" y="184"/>
                      </a:lnTo>
                      <a:lnTo>
                        <a:pt x="334" y="184"/>
                      </a:lnTo>
                      <a:lnTo>
                        <a:pt x="328" y="182"/>
                      </a:lnTo>
                      <a:lnTo>
                        <a:pt x="320" y="182"/>
                      </a:lnTo>
                      <a:lnTo>
                        <a:pt x="316" y="180"/>
                      </a:lnTo>
                      <a:lnTo>
                        <a:pt x="314" y="180"/>
                      </a:lnTo>
                      <a:lnTo>
                        <a:pt x="310" y="180"/>
                      </a:lnTo>
                      <a:lnTo>
                        <a:pt x="308" y="180"/>
                      </a:lnTo>
                      <a:lnTo>
                        <a:pt x="306" y="180"/>
                      </a:lnTo>
                      <a:lnTo>
                        <a:pt x="304" y="180"/>
                      </a:lnTo>
                      <a:lnTo>
                        <a:pt x="302" y="180"/>
                      </a:lnTo>
                      <a:lnTo>
                        <a:pt x="302" y="178"/>
                      </a:lnTo>
                      <a:lnTo>
                        <a:pt x="300" y="178"/>
                      </a:lnTo>
                      <a:lnTo>
                        <a:pt x="298" y="174"/>
                      </a:lnTo>
                      <a:lnTo>
                        <a:pt x="294" y="170"/>
                      </a:lnTo>
                      <a:lnTo>
                        <a:pt x="292" y="168"/>
                      </a:lnTo>
                      <a:lnTo>
                        <a:pt x="288" y="164"/>
                      </a:lnTo>
                      <a:lnTo>
                        <a:pt x="288" y="162"/>
                      </a:lnTo>
                      <a:lnTo>
                        <a:pt x="286" y="162"/>
                      </a:lnTo>
                      <a:lnTo>
                        <a:pt x="286" y="160"/>
                      </a:lnTo>
                      <a:lnTo>
                        <a:pt x="284" y="158"/>
                      </a:lnTo>
                      <a:lnTo>
                        <a:pt x="284" y="156"/>
                      </a:lnTo>
                      <a:lnTo>
                        <a:pt x="284" y="154"/>
                      </a:lnTo>
                      <a:lnTo>
                        <a:pt x="282" y="152"/>
                      </a:lnTo>
                      <a:lnTo>
                        <a:pt x="282" y="150"/>
                      </a:lnTo>
                      <a:lnTo>
                        <a:pt x="282" y="148"/>
                      </a:lnTo>
                      <a:lnTo>
                        <a:pt x="280" y="148"/>
                      </a:lnTo>
                      <a:lnTo>
                        <a:pt x="280" y="150"/>
                      </a:lnTo>
                      <a:lnTo>
                        <a:pt x="278" y="148"/>
                      </a:lnTo>
                      <a:lnTo>
                        <a:pt x="276" y="146"/>
                      </a:lnTo>
                      <a:lnTo>
                        <a:pt x="274" y="146"/>
                      </a:lnTo>
                      <a:lnTo>
                        <a:pt x="274" y="148"/>
                      </a:lnTo>
                      <a:lnTo>
                        <a:pt x="272" y="146"/>
                      </a:lnTo>
                      <a:lnTo>
                        <a:pt x="272" y="144"/>
                      </a:lnTo>
                      <a:lnTo>
                        <a:pt x="270" y="144"/>
                      </a:lnTo>
                      <a:lnTo>
                        <a:pt x="270" y="142"/>
                      </a:lnTo>
                      <a:lnTo>
                        <a:pt x="270" y="140"/>
                      </a:lnTo>
                      <a:lnTo>
                        <a:pt x="268" y="138"/>
                      </a:lnTo>
                      <a:lnTo>
                        <a:pt x="268" y="136"/>
                      </a:lnTo>
                      <a:lnTo>
                        <a:pt x="266" y="132"/>
                      </a:lnTo>
                      <a:lnTo>
                        <a:pt x="266" y="130"/>
                      </a:lnTo>
                      <a:lnTo>
                        <a:pt x="264" y="128"/>
                      </a:lnTo>
                      <a:lnTo>
                        <a:pt x="262" y="126"/>
                      </a:lnTo>
                      <a:lnTo>
                        <a:pt x="258" y="124"/>
                      </a:lnTo>
                      <a:lnTo>
                        <a:pt x="256" y="122"/>
                      </a:lnTo>
                      <a:lnTo>
                        <a:pt x="254" y="120"/>
                      </a:lnTo>
                      <a:lnTo>
                        <a:pt x="254" y="118"/>
                      </a:lnTo>
                      <a:lnTo>
                        <a:pt x="254" y="114"/>
                      </a:lnTo>
                      <a:lnTo>
                        <a:pt x="254" y="110"/>
                      </a:lnTo>
                      <a:lnTo>
                        <a:pt x="254" y="108"/>
                      </a:lnTo>
                      <a:lnTo>
                        <a:pt x="252" y="106"/>
                      </a:lnTo>
                      <a:lnTo>
                        <a:pt x="252" y="104"/>
                      </a:lnTo>
                      <a:lnTo>
                        <a:pt x="250" y="102"/>
                      </a:lnTo>
                      <a:lnTo>
                        <a:pt x="246" y="100"/>
                      </a:lnTo>
                      <a:lnTo>
                        <a:pt x="242" y="100"/>
                      </a:lnTo>
                      <a:lnTo>
                        <a:pt x="242" y="98"/>
                      </a:lnTo>
                      <a:lnTo>
                        <a:pt x="240" y="98"/>
                      </a:lnTo>
                      <a:lnTo>
                        <a:pt x="238" y="96"/>
                      </a:lnTo>
                      <a:lnTo>
                        <a:pt x="236" y="96"/>
                      </a:lnTo>
                      <a:lnTo>
                        <a:pt x="236" y="94"/>
                      </a:lnTo>
                      <a:lnTo>
                        <a:pt x="236" y="92"/>
                      </a:lnTo>
                      <a:lnTo>
                        <a:pt x="236" y="88"/>
                      </a:lnTo>
                      <a:lnTo>
                        <a:pt x="236" y="86"/>
                      </a:lnTo>
                      <a:lnTo>
                        <a:pt x="236" y="84"/>
                      </a:lnTo>
                      <a:lnTo>
                        <a:pt x="234" y="84"/>
                      </a:lnTo>
                      <a:lnTo>
                        <a:pt x="234" y="82"/>
                      </a:lnTo>
                      <a:lnTo>
                        <a:pt x="230" y="82"/>
                      </a:lnTo>
                      <a:lnTo>
                        <a:pt x="230" y="80"/>
                      </a:lnTo>
                      <a:lnTo>
                        <a:pt x="228" y="78"/>
                      </a:lnTo>
                      <a:lnTo>
                        <a:pt x="228" y="76"/>
                      </a:lnTo>
                      <a:lnTo>
                        <a:pt x="228" y="74"/>
                      </a:lnTo>
                      <a:lnTo>
                        <a:pt x="228" y="72"/>
                      </a:lnTo>
                      <a:lnTo>
                        <a:pt x="226" y="70"/>
                      </a:lnTo>
                      <a:lnTo>
                        <a:pt x="222" y="70"/>
                      </a:lnTo>
                      <a:lnTo>
                        <a:pt x="218" y="70"/>
                      </a:lnTo>
                      <a:lnTo>
                        <a:pt x="214" y="70"/>
                      </a:lnTo>
                      <a:lnTo>
                        <a:pt x="212" y="70"/>
                      </a:lnTo>
                      <a:lnTo>
                        <a:pt x="210" y="70"/>
                      </a:lnTo>
                      <a:lnTo>
                        <a:pt x="208" y="70"/>
                      </a:lnTo>
                      <a:lnTo>
                        <a:pt x="208" y="68"/>
                      </a:lnTo>
                      <a:lnTo>
                        <a:pt x="208" y="66"/>
                      </a:lnTo>
                      <a:lnTo>
                        <a:pt x="208" y="64"/>
                      </a:lnTo>
                      <a:lnTo>
                        <a:pt x="208" y="62"/>
                      </a:lnTo>
                      <a:lnTo>
                        <a:pt x="208" y="60"/>
                      </a:lnTo>
                      <a:lnTo>
                        <a:pt x="206" y="60"/>
                      </a:lnTo>
                      <a:lnTo>
                        <a:pt x="204" y="60"/>
                      </a:lnTo>
                      <a:lnTo>
                        <a:pt x="200" y="60"/>
                      </a:lnTo>
                      <a:lnTo>
                        <a:pt x="196" y="58"/>
                      </a:lnTo>
                      <a:lnTo>
                        <a:pt x="192" y="58"/>
                      </a:lnTo>
                      <a:lnTo>
                        <a:pt x="184" y="58"/>
                      </a:lnTo>
                      <a:lnTo>
                        <a:pt x="180" y="58"/>
                      </a:lnTo>
                      <a:lnTo>
                        <a:pt x="176" y="58"/>
                      </a:lnTo>
                      <a:lnTo>
                        <a:pt x="172" y="58"/>
                      </a:lnTo>
                      <a:lnTo>
                        <a:pt x="170" y="58"/>
                      </a:lnTo>
                      <a:lnTo>
                        <a:pt x="166" y="58"/>
                      </a:lnTo>
                      <a:lnTo>
                        <a:pt x="164" y="58"/>
                      </a:lnTo>
                      <a:lnTo>
                        <a:pt x="162" y="58"/>
                      </a:lnTo>
                      <a:lnTo>
                        <a:pt x="158" y="54"/>
                      </a:lnTo>
                      <a:lnTo>
                        <a:pt x="154" y="52"/>
                      </a:lnTo>
                      <a:lnTo>
                        <a:pt x="150" y="50"/>
                      </a:lnTo>
                      <a:lnTo>
                        <a:pt x="148" y="46"/>
                      </a:lnTo>
                      <a:lnTo>
                        <a:pt x="140" y="42"/>
                      </a:lnTo>
                      <a:lnTo>
                        <a:pt x="136" y="38"/>
                      </a:lnTo>
                      <a:lnTo>
                        <a:pt x="132" y="34"/>
                      </a:lnTo>
                      <a:lnTo>
                        <a:pt x="128" y="32"/>
                      </a:lnTo>
                      <a:lnTo>
                        <a:pt x="124" y="30"/>
                      </a:lnTo>
                      <a:lnTo>
                        <a:pt x="122" y="28"/>
                      </a:lnTo>
                      <a:lnTo>
                        <a:pt x="120" y="26"/>
                      </a:lnTo>
                      <a:lnTo>
                        <a:pt x="118" y="26"/>
                      </a:lnTo>
                      <a:lnTo>
                        <a:pt x="118" y="24"/>
                      </a:lnTo>
                      <a:lnTo>
                        <a:pt x="116" y="24"/>
                      </a:lnTo>
                      <a:lnTo>
                        <a:pt x="116" y="22"/>
                      </a:lnTo>
                      <a:lnTo>
                        <a:pt x="114" y="22"/>
                      </a:lnTo>
                      <a:lnTo>
                        <a:pt x="112" y="20"/>
                      </a:lnTo>
                      <a:lnTo>
                        <a:pt x="108" y="18"/>
                      </a:lnTo>
                      <a:lnTo>
                        <a:pt x="106" y="16"/>
                      </a:lnTo>
                      <a:lnTo>
                        <a:pt x="102" y="14"/>
                      </a:lnTo>
                      <a:lnTo>
                        <a:pt x="100" y="12"/>
                      </a:lnTo>
                      <a:lnTo>
                        <a:pt x="98" y="10"/>
                      </a:lnTo>
                      <a:lnTo>
                        <a:pt x="94" y="10"/>
                      </a:lnTo>
                      <a:lnTo>
                        <a:pt x="92" y="8"/>
                      </a:lnTo>
                      <a:lnTo>
                        <a:pt x="88" y="6"/>
                      </a:lnTo>
                      <a:lnTo>
                        <a:pt x="88" y="4"/>
                      </a:lnTo>
                      <a:lnTo>
                        <a:pt x="86" y="4"/>
                      </a:lnTo>
                      <a:lnTo>
                        <a:pt x="84" y="4"/>
                      </a:lnTo>
                      <a:lnTo>
                        <a:pt x="82" y="4"/>
                      </a:lnTo>
                      <a:lnTo>
                        <a:pt x="78" y="4"/>
                      </a:lnTo>
                      <a:lnTo>
                        <a:pt x="76" y="4"/>
                      </a:lnTo>
                      <a:lnTo>
                        <a:pt x="74" y="4"/>
                      </a:lnTo>
                      <a:lnTo>
                        <a:pt x="72" y="4"/>
                      </a:lnTo>
                      <a:lnTo>
                        <a:pt x="70" y="2"/>
                      </a:lnTo>
                      <a:lnTo>
                        <a:pt x="70" y="0"/>
                      </a:lnTo>
                      <a:lnTo>
                        <a:pt x="68" y="0"/>
                      </a:lnTo>
                      <a:lnTo>
                        <a:pt x="68" y="2"/>
                      </a:lnTo>
                      <a:lnTo>
                        <a:pt x="66" y="2"/>
                      </a:lnTo>
                      <a:lnTo>
                        <a:pt x="64" y="4"/>
                      </a:lnTo>
                      <a:lnTo>
                        <a:pt x="62" y="6"/>
                      </a:lnTo>
                      <a:lnTo>
                        <a:pt x="60" y="6"/>
                      </a:lnTo>
                      <a:lnTo>
                        <a:pt x="60" y="8"/>
                      </a:lnTo>
                      <a:lnTo>
                        <a:pt x="58" y="8"/>
                      </a:lnTo>
                      <a:lnTo>
                        <a:pt x="56" y="8"/>
                      </a:lnTo>
                      <a:lnTo>
                        <a:pt x="54" y="8"/>
                      </a:lnTo>
                      <a:lnTo>
                        <a:pt x="52" y="8"/>
                      </a:lnTo>
                      <a:lnTo>
                        <a:pt x="50" y="8"/>
                      </a:lnTo>
                      <a:lnTo>
                        <a:pt x="50" y="10"/>
                      </a:lnTo>
                      <a:lnTo>
                        <a:pt x="48" y="10"/>
                      </a:lnTo>
                      <a:lnTo>
                        <a:pt x="48" y="12"/>
                      </a:lnTo>
                      <a:lnTo>
                        <a:pt x="44" y="12"/>
                      </a:lnTo>
                      <a:lnTo>
                        <a:pt x="42" y="12"/>
                      </a:lnTo>
                      <a:lnTo>
                        <a:pt x="40" y="12"/>
                      </a:lnTo>
                      <a:lnTo>
                        <a:pt x="38" y="12"/>
                      </a:lnTo>
                      <a:lnTo>
                        <a:pt x="36" y="12"/>
                      </a:lnTo>
                      <a:lnTo>
                        <a:pt x="34" y="12"/>
                      </a:lnTo>
                      <a:lnTo>
                        <a:pt x="30" y="12"/>
                      </a:lnTo>
                      <a:lnTo>
                        <a:pt x="28" y="14"/>
                      </a:lnTo>
                      <a:lnTo>
                        <a:pt x="26" y="14"/>
                      </a:lnTo>
                      <a:lnTo>
                        <a:pt x="26" y="16"/>
                      </a:lnTo>
                      <a:lnTo>
                        <a:pt x="28" y="16"/>
                      </a:lnTo>
                      <a:lnTo>
                        <a:pt x="30" y="16"/>
                      </a:lnTo>
                      <a:lnTo>
                        <a:pt x="32" y="16"/>
                      </a:lnTo>
                      <a:lnTo>
                        <a:pt x="34" y="16"/>
                      </a:lnTo>
                      <a:lnTo>
                        <a:pt x="36" y="16"/>
                      </a:lnTo>
                      <a:lnTo>
                        <a:pt x="38" y="16"/>
                      </a:lnTo>
                      <a:lnTo>
                        <a:pt x="38" y="18"/>
                      </a:lnTo>
                      <a:lnTo>
                        <a:pt x="40" y="20"/>
                      </a:lnTo>
                      <a:lnTo>
                        <a:pt x="42" y="22"/>
                      </a:lnTo>
                      <a:lnTo>
                        <a:pt x="42" y="24"/>
                      </a:lnTo>
                      <a:lnTo>
                        <a:pt x="44" y="28"/>
                      </a:lnTo>
                      <a:lnTo>
                        <a:pt x="46" y="30"/>
                      </a:lnTo>
                      <a:lnTo>
                        <a:pt x="46" y="32"/>
                      </a:lnTo>
                      <a:lnTo>
                        <a:pt x="46" y="34"/>
                      </a:lnTo>
                      <a:lnTo>
                        <a:pt x="46" y="36"/>
                      </a:lnTo>
                      <a:lnTo>
                        <a:pt x="44" y="38"/>
                      </a:lnTo>
                      <a:lnTo>
                        <a:pt x="44" y="40"/>
                      </a:lnTo>
                      <a:lnTo>
                        <a:pt x="42" y="42"/>
                      </a:lnTo>
                      <a:lnTo>
                        <a:pt x="40" y="44"/>
                      </a:lnTo>
                      <a:lnTo>
                        <a:pt x="38" y="44"/>
                      </a:lnTo>
                      <a:lnTo>
                        <a:pt x="36" y="44"/>
                      </a:lnTo>
                      <a:lnTo>
                        <a:pt x="34" y="44"/>
                      </a:lnTo>
                      <a:lnTo>
                        <a:pt x="32" y="44"/>
                      </a:lnTo>
                      <a:lnTo>
                        <a:pt x="30" y="44"/>
                      </a:lnTo>
                      <a:lnTo>
                        <a:pt x="30" y="46"/>
                      </a:lnTo>
                      <a:lnTo>
                        <a:pt x="28" y="48"/>
                      </a:lnTo>
                      <a:lnTo>
                        <a:pt x="28" y="50"/>
                      </a:lnTo>
                      <a:lnTo>
                        <a:pt x="26" y="54"/>
                      </a:lnTo>
                      <a:lnTo>
                        <a:pt x="26" y="56"/>
                      </a:lnTo>
                      <a:lnTo>
                        <a:pt x="24" y="58"/>
                      </a:lnTo>
                      <a:lnTo>
                        <a:pt x="22" y="58"/>
                      </a:lnTo>
                      <a:lnTo>
                        <a:pt x="22" y="60"/>
                      </a:lnTo>
                      <a:lnTo>
                        <a:pt x="20" y="60"/>
                      </a:lnTo>
                      <a:lnTo>
                        <a:pt x="18" y="60"/>
                      </a:lnTo>
                      <a:lnTo>
                        <a:pt x="14" y="60"/>
                      </a:lnTo>
                      <a:lnTo>
                        <a:pt x="12" y="58"/>
                      </a:lnTo>
                      <a:lnTo>
                        <a:pt x="10" y="58"/>
                      </a:lnTo>
                      <a:lnTo>
                        <a:pt x="8" y="58"/>
                      </a:lnTo>
                      <a:lnTo>
                        <a:pt x="6" y="56"/>
                      </a:lnTo>
                      <a:lnTo>
                        <a:pt x="4" y="56"/>
                      </a:lnTo>
                      <a:lnTo>
                        <a:pt x="2" y="58"/>
                      </a:lnTo>
                      <a:lnTo>
                        <a:pt x="2" y="60"/>
                      </a:lnTo>
                      <a:lnTo>
                        <a:pt x="2" y="62"/>
                      </a:lnTo>
                      <a:lnTo>
                        <a:pt x="2" y="64"/>
                      </a:lnTo>
                      <a:lnTo>
                        <a:pt x="2" y="66"/>
                      </a:lnTo>
                      <a:lnTo>
                        <a:pt x="0" y="68"/>
                      </a:lnTo>
                      <a:lnTo>
                        <a:pt x="0" y="74"/>
                      </a:lnTo>
                      <a:lnTo>
                        <a:pt x="0" y="78"/>
                      </a:lnTo>
                      <a:lnTo>
                        <a:pt x="0" y="82"/>
                      </a:lnTo>
                      <a:lnTo>
                        <a:pt x="0" y="84"/>
                      </a:lnTo>
                      <a:lnTo>
                        <a:pt x="0" y="86"/>
                      </a:lnTo>
                      <a:lnTo>
                        <a:pt x="2" y="88"/>
                      </a:lnTo>
                      <a:lnTo>
                        <a:pt x="2" y="90"/>
                      </a:lnTo>
                      <a:lnTo>
                        <a:pt x="4" y="90"/>
                      </a:lnTo>
                      <a:lnTo>
                        <a:pt x="6" y="92"/>
                      </a:lnTo>
                      <a:lnTo>
                        <a:pt x="10" y="94"/>
                      </a:lnTo>
                      <a:lnTo>
                        <a:pt x="12" y="94"/>
                      </a:lnTo>
                      <a:lnTo>
                        <a:pt x="14" y="96"/>
                      </a:lnTo>
                      <a:lnTo>
                        <a:pt x="16" y="96"/>
                      </a:lnTo>
                      <a:lnTo>
                        <a:pt x="16" y="98"/>
                      </a:lnTo>
                      <a:lnTo>
                        <a:pt x="18" y="100"/>
                      </a:lnTo>
                      <a:lnTo>
                        <a:pt x="20" y="104"/>
                      </a:lnTo>
                      <a:lnTo>
                        <a:pt x="20" y="106"/>
                      </a:lnTo>
                      <a:lnTo>
                        <a:pt x="22" y="110"/>
                      </a:lnTo>
                      <a:lnTo>
                        <a:pt x="24" y="112"/>
                      </a:lnTo>
                      <a:lnTo>
                        <a:pt x="26" y="116"/>
                      </a:lnTo>
                      <a:lnTo>
                        <a:pt x="26" y="118"/>
                      </a:lnTo>
                      <a:lnTo>
                        <a:pt x="28" y="120"/>
                      </a:lnTo>
                      <a:lnTo>
                        <a:pt x="30" y="122"/>
                      </a:lnTo>
                      <a:lnTo>
                        <a:pt x="32" y="122"/>
                      </a:lnTo>
                      <a:lnTo>
                        <a:pt x="36" y="126"/>
                      </a:lnTo>
                      <a:lnTo>
                        <a:pt x="38" y="130"/>
                      </a:lnTo>
                      <a:lnTo>
                        <a:pt x="40" y="130"/>
                      </a:lnTo>
                      <a:lnTo>
                        <a:pt x="40" y="132"/>
                      </a:lnTo>
                      <a:lnTo>
                        <a:pt x="42" y="134"/>
                      </a:lnTo>
                      <a:lnTo>
                        <a:pt x="42" y="138"/>
                      </a:lnTo>
                      <a:lnTo>
                        <a:pt x="44" y="140"/>
                      </a:lnTo>
                      <a:lnTo>
                        <a:pt x="44" y="144"/>
                      </a:lnTo>
                      <a:lnTo>
                        <a:pt x="46" y="148"/>
                      </a:lnTo>
                      <a:lnTo>
                        <a:pt x="46" y="150"/>
                      </a:lnTo>
                      <a:lnTo>
                        <a:pt x="48" y="154"/>
                      </a:lnTo>
                      <a:lnTo>
                        <a:pt x="50" y="154"/>
                      </a:lnTo>
                      <a:lnTo>
                        <a:pt x="52" y="156"/>
                      </a:lnTo>
                      <a:lnTo>
                        <a:pt x="54" y="156"/>
                      </a:lnTo>
                      <a:lnTo>
                        <a:pt x="56" y="158"/>
                      </a:lnTo>
                      <a:lnTo>
                        <a:pt x="60" y="158"/>
                      </a:lnTo>
                      <a:lnTo>
                        <a:pt x="62" y="158"/>
                      </a:lnTo>
                      <a:lnTo>
                        <a:pt x="64" y="158"/>
                      </a:lnTo>
                      <a:lnTo>
                        <a:pt x="66" y="160"/>
                      </a:lnTo>
                      <a:lnTo>
                        <a:pt x="68" y="162"/>
                      </a:lnTo>
                      <a:lnTo>
                        <a:pt x="70" y="162"/>
                      </a:lnTo>
                      <a:lnTo>
                        <a:pt x="70" y="164"/>
                      </a:lnTo>
                      <a:lnTo>
                        <a:pt x="72" y="166"/>
                      </a:lnTo>
                      <a:lnTo>
                        <a:pt x="72" y="168"/>
                      </a:lnTo>
                      <a:lnTo>
                        <a:pt x="74" y="170"/>
                      </a:lnTo>
                      <a:lnTo>
                        <a:pt x="76" y="176"/>
                      </a:lnTo>
                      <a:lnTo>
                        <a:pt x="78" y="180"/>
                      </a:lnTo>
                      <a:lnTo>
                        <a:pt x="80" y="186"/>
                      </a:lnTo>
                      <a:lnTo>
                        <a:pt x="80" y="192"/>
                      </a:lnTo>
                      <a:lnTo>
                        <a:pt x="80" y="196"/>
                      </a:lnTo>
                      <a:lnTo>
                        <a:pt x="80" y="198"/>
                      </a:lnTo>
                      <a:lnTo>
                        <a:pt x="82" y="200"/>
                      </a:lnTo>
                      <a:lnTo>
                        <a:pt x="82" y="202"/>
                      </a:lnTo>
                      <a:lnTo>
                        <a:pt x="82" y="204"/>
                      </a:lnTo>
                      <a:lnTo>
                        <a:pt x="84" y="208"/>
                      </a:lnTo>
                      <a:lnTo>
                        <a:pt x="84" y="212"/>
                      </a:lnTo>
                      <a:lnTo>
                        <a:pt x="86" y="216"/>
                      </a:lnTo>
                      <a:lnTo>
                        <a:pt x="88" y="220"/>
                      </a:lnTo>
                      <a:lnTo>
                        <a:pt x="92" y="222"/>
                      </a:lnTo>
                      <a:lnTo>
                        <a:pt x="92" y="224"/>
                      </a:lnTo>
                      <a:lnTo>
                        <a:pt x="94" y="224"/>
                      </a:lnTo>
                      <a:lnTo>
                        <a:pt x="96" y="224"/>
                      </a:lnTo>
                      <a:lnTo>
                        <a:pt x="98" y="224"/>
                      </a:lnTo>
                      <a:lnTo>
                        <a:pt x="100" y="224"/>
                      </a:lnTo>
                      <a:lnTo>
                        <a:pt x="102" y="224"/>
                      </a:lnTo>
                      <a:lnTo>
                        <a:pt x="104" y="224"/>
                      </a:lnTo>
                      <a:lnTo>
                        <a:pt x="106" y="226"/>
                      </a:lnTo>
                      <a:lnTo>
                        <a:pt x="106" y="228"/>
                      </a:lnTo>
                      <a:lnTo>
                        <a:pt x="108" y="230"/>
                      </a:lnTo>
                      <a:lnTo>
                        <a:pt x="108" y="232"/>
                      </a:lnTo>
                      <a:lnTo>
                        <a:pt x="110" y="234"/>
                      </a:lnTo>
                      <a:lnTo>
                        <a:pt x="112" y="236"/>
                      </a:lnTo>
                      <a:lnTo>
                        <a:pt x="114" y="242"/>
                      </a:lnTo>
                      <a:lnTo>
                        <a:pt x="118" y="248"/>
                      </a:lnTo>
                      <a:lnTo>
                        <a:pt x="120" y="252"/>
                      </a:lnTo>
                      <a:lnTo>
                        <a:pt x="124" y="256"/>
                      </a:lnTo>
                      <a:lnTo>
                        <a:pt x="124" y="258"/>
                      </a:lnTo>
                      <a:lnTo>
                        <a:pt x="126" y="260"/>
                      </a:lnTo>
                      <a:lnTo>
                        <a:pt x="128" y="262"/>
                      </a:lnTo>
                      <a:lnTo>
                        <a:pt x="128" y="264"/>
                      </a:lnTo>
                      <a:lnTo>
                        <a:pt x="132" y="270"/>
                      </a:lnTo>
                      <a:lnTo>
                        <a:pt x="134" y="274"/>
                      </a:lnTo>
                      <a:lnTo>
                        <a:pt x="138" y="278"/>
                      </a:lnTo>
                      <a:lnTo>
                        <a:pt x="142" y="284"/>
                      </a:lnTo>
                      <a:lnTo>
                        <a:pt x="146" y="290"/>
                      </a:lnTo>
                      <a:lnTo>
                        <a:pt x="146" y="292"/>
                      </a:lnTo>
                      <a:lnTo>
                        <a:pt x="148" y="294"/>
                      </a:lnTo>
                      <a:lnTo>
                        <a:pt x="148" y="296"/>
                      </a:lnTo>
                      <a:lnTo>
                        <a:pt x="148" y="298"/>
                      </a:lnTo>
                      <a:lnTo>
                        <a:pt x="148" y="300"/>
                      </a:lnTo>
                      <a:lnTo>
                        <a:pt x="146" y="304"/>
                      </a:lnTo>
                      <a:lnTo>
                        <a:pt x="148" y="304"/>
                      </a:lnTo>
                      <a:lnTo>
                        <a:pt x="148" y="302"/>
                      </a:lnTo>
                      <a:lnTo>
                        <a:pt x="150" y="300"/>
                      </a:lnTo>
                      <a:lnTo>
                        <a:pt x="152" y="298"/>
                      </a:lnTo>
                      <a:lnTo>
                        <a:pt x="152" y="296"/>
                      </a:lnTo>
                      <a:lnTo>
                        <a:pt x="152" y="294"/>
                      </a:lnTo>
                      <a:lnTo>
                        <a:pt x="152" y="292"/>
                      </a:lnTo>
                      <a:lnTo>
                        <a:pt x="152" y="290"/>
                      </a:lnTo>
                      <a:lnTo>
                        <a:pt x="152" y="288"/>
                      </a:lnTo>
                      <a:lnTo>
                        <a:pt x="152" y="286"/>
                      </a:lnTo>
                      <a:lnTo>
                        <a:pt x="154" y="284"/>
                      </a:lnTo>
                      <a:lnTo>
                        <a:pt x="154" y="282"/>
                      </a:lnTo>
                      <a:lnTo>
                        <a:pt x="156" y="282"/>
                      </a:lnTo>
                      <a:lnTo>
                        <a:pt x="158" y="284"/>
                      </a:lnTo>
                      <a:lnTo>
                        <a:pt x="158" y="286"/>
                      </a:lnTo>
                      <a:lnTo>
                        <a:pt x="160" y="286"/>
                      </a:lnTo>
                      <a:lnTo>
                        <a:pt x="162" y="286"/>
                      </a:lnTo>
                      <a:lnTo>
                        <a:pt x="164" y="286"/>
                      </a:lnTo>
                      <a:lnTo>
                        <a:pt x="166" y="286"/>
                      </a:lnTo>
                      <a:lnTo>
                        <a:pt x="168" y="284"/>
                      </a:lnTo>
                      <a:lnTo>
                        <a:pt x="170" y="284"/>
                      </a:lnTo>
                      <a:lnTo>
                        <a:pt x="172" y="284"/>
                      </a:lnTo>
                      <a:lnTo>
                        <a:pt x="174" y="284"/>
                      </a:lnTo>
                      <a:lnTo>
                        <a:pt x="176" y="284"/>
                      </a:lnTo>
                      <a:lnTo>
                        <a:pt x="180" y="284"/>
                      </a:lnTo>
                      <a:lnTo>
                        <a:pt x="184" y="284"/>
                      </a:lnTo>
                      <a:lnTo>
                        <a:pt x="186" y="284"/>
                      </a:lnTo>
                      <a:lnTo>
                        <a:pt x="188" y="284"/>
                      </a:lnTo>
                      <a:lnTo>
                        <a:pt x="190" y="284"/>
                      </a:lnTo>
                      <a:lnTo>
                        <a:pt x="192" y="284"/>
                      </a:lnTo>
                      <a:lnTo>
                        <a:pt x="192" y="286"/>
                      </a:lnTo>
                      <a:lnTo>
                        <a:pt x="194" y="286"/>
                      </a:lnTo>
                      <a:lnTo>
                        <a:pt x="196" y="286"/>
                      </a:lnTo>
                      <a:lnTo>
                        <a:pt x="198" y="286"/>
                      </a:lnTo>
                      <a:lnTo>
                        <a:pt x="202" y="286"/>
                      </a:lnTo>
                      <a:lnTo>
                        <a:pt x="204" y="286"/>
                      </a:lnTo>
                      <a:lnTo>
                        <a:pt x="206" y="286"/>
                      </a:lnTo>
                      <a:lnTo>
                        <a:pt x="208" y="286"/>
                      </a:lnTo>
                      <a:lnTo>
                        <a:pt x="210" y="286"/>
                      </a:lnTo>
                      <a:lnTo>
                        <a:pt x="212" y="288"/>
                      </a:lnTo>
                      <a:lnTo>
                        <a:pt x="214" y="290"/>
                      </a:lnTo>
                      <a:lnTo>
                        <a:pt x="216" y="292"/>
                      </a:lnTo>
                      <a:lnTo>
                        <a:pt x="218" y="292"/>
                      </a:lnTo>
                      <a:lnTo>
                        <a:pt x="220" y="292"/>
                      </a:lnTo>
                      <a:lnTo>
                        <a:pt x="222" y="290"/>
                      </a:lnTo>
                      <a:lnTo>
                        <a:pt x="222" y="288"/>
                      </a:lnTo>
                      <a:lnTo>
                        <a:pt x="222" y="286"/>
                      </a:lnTo>
                      <a:lnTo>
                        <a:pt x="222" y="284"/>
                      </a:lnTo>
                      <a:lnTo>
                        <a:pt x="224" y="282"/>
                      </a:lnTo>
                      <a:lnTo>
                        <a:pt x="224" y="280"/>
                      </a:lnTo>
                      <a:lnTo>
                        <a:pt x="226" y="278"/>
                      </a:lnTo>
                      <a:lnTo>
                        <a:pt x="228" y="274"/>
                      </a:lnTo>
                      <a:lnTo>
                        <a:pt x="230" y="272"/>
                      </a:lnTo>
                      <a:lnTo>
                        <a:pt x="230" y="270"/>
                      </a:lnTo>
                      <a:lnTo>
                        <a:pt x="232" y="270"/>
                      </a:lnTo>
                      <a:lnTo>
                        <a:pt x="232" y="268"/>
                      </a:lnTo>
                      <a:lnTo>
                        <a:pt x="236" y="266"/>
                      </a:lnTo>
                      <a:lnTo>
                        <a:pt x="238" y="264"/>
                      </a:lnTo>
                      <a:lnTo>
                        <a:pt x="242" y="262"/>
                      </a:lnTo>
                      <a:lnTo>
                        <a:pt x="246" y="262"/>
                      </a:lnTo>
                      <a:lnTo>
                        <a:pt x="250" y="260"/>
                      </a:lnTo>
                      <a:lnTo>
                        <a:pt x="252" y="260"/>
                      </a:lnTo>
                      <a:lnTo>
                        <a:pt x="252" y="258"/>
                      </a:lnTo>
                      <a:lnTo>
                        <a:pt x="254" y="258"/>
                      </a:lnTo>
                      <a:lnTo>
                        <a:pt x="256" y="258"/>
                      </a:lnTo>
                      <a:lnTo>
                        <a:pt x="258" y="258"/>
                      </a:lnTo>
                      <a:lnTo>
                        <a:pt x="260" y="258"/>
                      </a:lnTo>
                      <a:lnTo>
                        <a:pt x="262" y="258"/>
                      </a:lnTo>
                      <a:lnTo>
                        <a:pt x="266" y="258"/>
                      </a:lnTo>
                      <a:lnTo>
                        <a:pt x="270" y="258"/>
                      </a:lnTo>
                      <a:lnTo>
                        <a:pt x="278" y="256"/>
                      </a:lnTo>
                      <a:lnTo>
                        <a:pt x="282" y="256"/>
                      </a:lnTo>
                      <a:lnTo>
                        <a:pt x="286" y="256"/>
                      </a:lnTo>
                      <a:lnTo>
                        <a:pt x="288" y="256"/>
                      </a:lnTo>
                      <a:lnTo>
                        <a:pt x="292" y="254"/>
                      </a:lnTo>
                      <a:lnTo>
                        <a:pt x="294" y="254"/>
                      </a:lnTo>
                      <a:lnTo>
                        <a:pt x="296" y="254"/>
                      </a:lnTo>
                      <a:lnTo>
                        <a:pt x="298" y="254"/>
                      </a:lnTo>
                      <a:lnTo>
                        <a:pt x="302" y="252"/>
                      </a:lnTo>
                      <a:lnTo>
                        <a:pt x="306" y="250"/>
                      </a:lnTo>
                      <a:lnTo>
                        <a:pt x="310" y="250"/>
                      </a:lnTo>
                      <a:lnTo>
                        <a:pt x="314" y="248"/>
                      </a:lnTo>
                      <a:lnTo>
                        <a:pt x="318" y="248"/>
                      </a:lnTo>
                      <a:lnTo>
                        <a:pt x="320" y="246"/>
                      </a:lnTo>
                      <a:lnTo>
                        <a:pt x="324" y="244"/>
                      </a:lnTo>
                      <a:lnTo>
                        <a:pt x="330" y="242"/>
                      </a:lnTo>
                      <a:lnTo>
                        <a:pt x="334" y="242"/>
                      </a:lnTo>
                      <a:lnTo>
                        <a:pt x="336" y="240"/>
                      </a:lnTo>
                      <a:lnTo>
                        <a:pt x="340" y="238"/>
                      </a:lnTo>
                      <a:lnTo>
                        <a:pt x="342" y="238"/>
                      </a:lnTo>
                      <a:lnTo>
                        <a:pt x="344" y="238"/>
                      </a:lnTo>
                      <a:lnTo>
                        <a:pt x="344" y="236"/>
                      </a:lnTo>
                      <a:lnTo>
                        <a:pt x="346" y="236"/>
                      </a:lnTo>
                      <a:lnTo>
                        <a:pt x="346" y="232"/>
                      </a:lnTo>
                      <a:lnTo>
                        <a:pt x="348" y="230"/>
                      </a:lnTo>
                      <a:lnTo>
                        <a:pt x="348" y="224"/>
                      </a:lnTo>
                      <a:lnTo>
                        <a:pt x="350" y="218"/>
                      </a:lnTo>
                      <a:lnTo>
                        <a:pt x="350" y="212"/>
                      </a:lnTo>
                      <a:lnTo>
                        <a:pt x="352" y="208"/>
                      </a:lnTo>
                      <a:lnTo>
                        <a:pt x="352" y="206"/>
                      </a:lnTo>
                      <a:lnTo>
                        <a:pt x="352" y="202"/>
                      </a:lnTo>
                      <a:lnTo>
                        <a:pt x="354" y="200"/>
                      </a:lnTo>
                      <a:lnTo>
                        <a:pt x="354" y="198"/>
                      </a:lnTo>
                      <a:lnTo>
                        <a:pt x="354" y="196"/>
                      </a:lnTo>
                      <a:lnTo>
                        <a:pt x="354" y="194"/>
                      </a:lnTo>
                      <a:lnTo>
                        <a:pt x="352" y="194"/>
                      </a:lnTo>
                      <a:lnTo>
                        <a:pt x="352" y="192"/>
                      </a:lnTo>
                      <a:lnTo>
                        <a:pt x="350" y="192"/>
                      </a:lnTo>
                      <a:lnTo>
                        <a:pt x="348" y="190"/>
                      </a:lnTo>
                      <a:lnTo>
                        <a:pt x="348" y="18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4" name="Freeform 179">
                  <a:extLst>
                    <a:ext uri="{FF2B5EF4-FFF2-40B4-BE49-F238E27FC236}">
                      <a16:creationId xmlns:a16="http://schemas.microsoft.com/office/drawing/2014/main" id="{FF5BB4E5-1B6E-4014-B20A-7D4AF4B9C4E3}"/>
                    </a:ext>
                  </a:extLst>
                </p:cNvPr>
                <p:cNvSpPr>
                  <a:spLocks noChangeAspect="1"/>
                </p:cNvSpPr>
                <p:nvPr/>
              </p:nvSpPr>
              <p:spPr bwMode="auto">
                <a:xfrm>
                  <a:off x="5567032" y="3831803"/>
                  <a:ext cx="42754" cy="55807"/>
                </a:xfrm>
                <a:custGeom>
                  <a:avLst/>
                  <a:gdLst/>
                  <a:ahLst/>
                  <a:cxnLst>
                    <a:cxn ang="0">
                      <a:pos x="14" y="4"/>
                    </a:cxn>
                    <a:cxn ang="0">
                      <a:pos x="12" y="4"/>
                    </a:cxn>
                    <a:cxn ang="0">
                      <a:pos x="10" y="2"/>
                    </a:cxn>
                    <a:cxn ang="0">
                      <a:pos x="10" y="2"/>
                    </a:cxn>
                    <a:cxn ang="0">
                      <a:pos x="8" y="6"/>
                    </a:cxn>
                    <a:cxn ang="0">
                      <a:pos x="6" y="10"/>
                    </a:cxn>
                    <a:cxn ang="0">
                      <a:pos x="4" y="14"/>
                    </a:cxn>
                    <a:cxn ang="0">
                      <a:pos x="4" y="16"/>
                    </a:cxn>
                    <a:cxn ang="0">
                      <a:pos x="4" y="16"/>
                    </a:cxn>
                    <a:cxn ang="0">
                      <a:pos x="2" y="18"/>
                    </a:cxn>
                    <a:cxn ang="0">
                      <a:pos x="0" y="18"/>
                    </a:cxn>
                    <a:cxn ang="0">
                      <a:pos x="0" y="18"/>
                    </a:cxn>
                    <a:cxn ang="0">
                      <a:pos x="0" y="20"/>
                    </a:cxn>
                    <a:cxn ang="0">
                      <a:pos x="0" y="22"/>
                    </a:cxn>
                    <a:cxn ang="0">
                      <a:pos x="2" y="28"/>
                    </a:cxn>
                    <a:cxn ang="0">
                      <a:pos x="2" y="32"/>
                    </a:cxn>
                    <a:cxn ang="0">
                      <a:pos x="4" y="32"/>
                    </a:cxn>
                    <a:cxn ang="0">
                      <a:pos x="6" y="32"/>
                    </a:cxn>
                    <a:cxn ang="0">
                      <a:pos x="10" y="32"/>
                    </a:cxn>
                    <a:cxn ang="0">
                      <a:pos x="12" y="32"/>
                    </a:cxn>
                    <a:cxn ang="0">
                      <a:pos x="12" y="32"/>
                    </a:cxn>
                    <a:cxn ang="0">
                      <a:pos x="14" y="30"/>
                    </a:cxn>
                    <a:cxn ang="0">
                      <a:pos x="16" y="28"/>
                    </a:cxn>
                    <a:cxn ang="0">
                      <a:pos x="18" y="30"/>
                    </a:cxn>
                    <a:cxn ang="0">
                      <a:pos x="20" y="32"/>
                    </a:cxn>
                    <a:cxn ang="0">
                      <a:pos x="22" y="32"/>
                    </a:cxn>
                    <a:cxn ang="0">
                      <a:pos x="22" y="28"/>
                    </a:cxn>
                    <a:cxn ang="0">
                      <a:pos x="26" y="26"/>
                    </a:cxn>
                    <a:cxn ang="0">
                      <a:pos x="26" y="24"/>
                    </a:cxn>
                    <a:cxn ang="0">
                      <a:pos x="26" y="24"/>
                    </a:cxn>
                    <a:cxn ang="0">
                      <a:pos x="26" y="24"/>
                    </a:cxn>
                    <a:cxn ang="0">
                      <a:pos x="24" y="22"/>
                    </a:cxn>
                    <a:cxn ang="0">
                      <a:pos x="24" y="20"/>
                    </a:cxn>
                    <a:cxn ang="0">
                      <a:pos x="24" y="20"/>
                    </a:cxn>
                    <a:cxn ang="0">
                      <a:pos x="18" y="20"/>
                    </a:cxn>
                    <a:cxn ang="0">
                      <a:pos x="16" y="22"/>
                    </a:cxn>
                    <a:cxn ang="0">
                      <a:pos x="16" y="22"/>
                    </a:cxn>
                    <a:cxn ang="0">
                      <a:pos x="16" y="22"/>
                    </a:cxn>
                    <a:cxn ang="0">
                      <a:pos x="16" y="20"/>
                    </a:cxn>
                    <a:cxn ang="0">
                      <a:pos x="20" y="18"/>
                    </a:cxn>
                    <a:cxn ang="0">
                      <a:pos x="24" y="12"/>
                    </a:cxn>
                    <a:cxn ang="0">
                      <a:pos x="26" y="8"/>
                    </a:cxn>
                    <a:cxn ang="0">
                      <a:pos x="26" y="6"/>
                    </a:cxn>
                    <a:cxn ang="0">
                      <a:pos x="26" y="4"/>
                    </a:cxn>
                    <a:cxn ang="0">
                      <a:pos x="22" y="0"/>
                    </a:cxn>
                    <a:cxn ang="0">
                      <a:pos x="20" y="0"/>
                    </a:cxn>
                    <a:cxn ang="0">
                      <a:pos x="20" y="2"/>
                    </a:cxn>
                    <a:cxn ang="0">
                      <a:pos x="16" y="6"/>
                    </a:cxn>
                    <a:cxn ang="0">
                      <a:pos x="16" y="6"/>
                    </a:cxn>
                  </a:cxnLst>
                  <a:rect l="0" t="0" r="r" b="b"/>
                  <a:pathLst>
                    <a:path w="26" h="32">
                      <a:moveTo>
                        <a:pt x="16" y="6"/>
                      </a:moveTo>
                      <a:lnTo>
                        <a:pt x="14" y="4"/>
                      </a:lnTo>
                      <a:lnTo>
                        <a:pt x="12" y="4"/>
                      </a:lnTo>
                      <a:lnTo>
                        <a:pt x="12" y="2"/>
                      </a:lnTo>
                      <a:lnTo>
                        <a:pt x="10" y="2"/>
                      </a:lnTo>
                      <a:lnTo>
                        <a:pt x="10" y="4"/>
                      </a:lnTo>
                      <a:lnTo>
                        <a:pt x="8" y="6"/>
                      </a:lnTo>
                      <a:lnTo>
                        <a:pt x="8" y="8"/>
                      </a:lnTo>
                      <a:lnTo>
                        <a:pt x="6" y="10"/>
                      </a:lnTo>
                      <a:lnTo>
                        <a:pt x="6" y="12"/>
                      </a:lnTo>
                      <a:lnTo>
                        <a:pt x="4" y="14"/>
                      </a:lnTo>
                      <a:lnTo>
                        <a:pt x="4" y="16"/>
                      </a:lnTo>
                      <a:lnTo>
                        <a:pt x="2" y="16"/>
                      </a:lnTo>
                      <a:lnTo>
                        <a:pt x="2" y="18"/>
                      </a:lnTo>
                      <a:lnTo>
                        <a:pt x="0" y="18"/>
                      </a:lnTo>
                      <a:lnTo>
                        <a:pt x="0" y="20"/>
                      </a:lnTo>
                      <a:lnTo>
                        <a:pt x="0" y="22"/>
                      </a:lnTo>
                      <a:lnTo>
                        <a:pt x="2" y="26"/>
                      </a:lnTo>
                      <a:lnTo>
                        <a:pt x="2" y="28"/>
                      </a:lnTo>
                      <a:lnTo>
                        <a:pt x="2" y="30"/>
                      </a:lnTo>
                      <a:lnTo>
                        <a:pt x="2" y="32"/>
                      </a:lnTo>
                      <a:lnTo>
                        <a:pt x="4" y="32"/>
                      </a:lnTo>
                      <a:lnTo>
                        <a:pt x="6" y="32"/>
                      </a:lnTo>
                      <a:lnTo>
                        <a:pt x="8" y="32"/>
                      </a:lnTo>
                      <a:lnTo>
                        <a:pt x="10" y="32"/>
                      </a:lnTo>
                      <a:lnTo>
                        <a:pt x="12" y="32"/>
                      </a:lnTo>
                      <a:lnTo>
                        <a:pt x="12" y="30"/>
                      </a:lnTo>
                      <a:lnTo>
                        <a:pt x="14" y="30"/>
                      </a:lnTo>
                      <a:lnTo>
                        <a:pt x="16" y="28"/>
                      </a:lnTo>
                      <a:lnTo>
                        <a:pt x="18" y="30"/>
                      </a:lnTo>
                      <a:lnTo>
                        <a:pt x="20" y="32"/>
                      </a:lnTo>
                      <a:lnTo>
                        <a:pt x="22" y="32"/>
                      </a:lnTo>
                      <a:lnTo>
                        <a:pt x="22" y="28"/>
                      </a:lnTo>
                      <a:lnTo>
                        <a:pt x="24" y="28"/>
                      </a:lnTo>
                      <a:lnTo>
                        <a:pt x="26" y="26"/>
                      </a:lnTo>
                      <a:lnTo>
                        <a:pt x="26" y="24"/>
                      </a:lnTo>
                      <a:lnTo>
                        <a:pt x="26" y="22"/>
                      </a:lnTo>
                      <a:lnTo>
                        <a:pt x="24" y="22"/>
                      </a:lnTo>
                      <a:lnTo>
                        <a:pt x="24" y="20"/>
                      </a:lnTo>
                      <a:lnTo>
                        <a:pt x="20" y="20"/>
                      </a:lnTo>
                      <a:lnTo>
                        <a:pt x="18" y="20"/>
                      </a:lnTo>
                      <a:lnTo>
                        <a:pt x="16" y="22"/>
                      </a:lnTo>
                      <a:lnTo>
                        <a:pt x="16" y="20"/>
                      </a:lnTo>
                      <a:lnTo>
                        <a:pt x="18" y="20"/>
                      </a:lnTo>
                      <a:lnTo>
                        <a:pt x="20" y="18"/>
                      </a:lnTo>
                      <a:lnTo>
                        <a:pt x="22" y="16"/>
                      </a:lnTo>
                      <a:lnTo>
                        <a:pt x="24" y="12"/>
                      </a:lnTo>
                      <a:lnTo>
                        <a:pt x="26" y="10"/>
                      </a:lnTo>
                      <a:lnTo>
                        <a:pt x="26" y="8"/>
                      </a:lnTo>
                      <a:lnTo>
                        <a:pt x="26" y="6"/>
                      </a:lnTo>
                      <a:lnTo>
                        <a:pt x="26" y="4"/>
                      </a:lnTo>
                      <a:lnTo>
                        <a:pt x="24" y="2"/>
                      </a:lnTo>
                      <a:lnTo>
                        <a:pt x="22" y="0"/>
                      </a:lnTo>
                      <a:lnTo>
                        <a:pt x="20" y="0"/>
                      </a:lnTo>
                      <a:lnTo>
                        <a:pt x="20" y="2"/>
                      </a:lnTo>
                      <a:lnTo>
                        <a:pt x="16"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5" name="Freeform 180">
                  <a:extLst>
                    <a:ext uri="{FF2B5EF4-FFF2-40B4-BE49-F238E27FC236}">
                      <a16:creationId xmlns:a16="http://schemas.microsoft.com/office/drawing/2014/main" id="{C9A9947D-07FF-42E8-BE67-21BF65408520}"/>
                    </a:ext>
                  </a:extLst>
                </p:cNvPr>
                <p:cNvSpPr>
                  <a:spLocks noChangeAspect="1"/>
                </p:cNvSpPr>
                <p:nvPr/>
              </p:nvSpPr>
              <p:spPr bwMode="auto">
                <a:xfrm>
                  <a:off x="5415751" y="3650430"/>
                  <a:ext cx="187457" cy="188348"/>
                </a:xfrm>
                <a:custGeom>
                  <a:avLst/>
                  <a:gdLst/>
                  <a:ahLst/>
                  <a:cxnLst>
                    <a:cxn ang="0">
                      <a:pos x="18" y="16"/>
                    </a:cxn>
                    <a:cxn ang="0">
                      <a:pos x="14" y="20"/>
                    </a:cxn>
                    <a:cxn ang="0">
                      <a:pos x="10" y="22"/>
                    </a:cxn>
                    <a:cxn ang="0">
                      <a:pos x="10" y="24"/>
                    </a:cxn>
                    <a:cxn ang="0">
                      <a:pos x="6" y="26"/>
                    </a:cxn>
                    <a:cxn ang="0">
                      <a:pos x="8" y="30"/>
                    </a:cxn>
                    <a:cxn ang="0">
                      <a:pos x="8" y="40"/>
                    </a:cxn>
                    <a:cxn ang="0">
                      <a:pos x="6" y="46"/>
                    </a:cxn>
                    <a:cxn ang="0">
                      <a:pos x="4" y="48"/>
                    </a:cxn>
                    <a:cxn ang="0">
                      <a:pos x="2" y="54"/>
                    </a:cxn>
                    <a:cxn ang="0">
                      <a:pos x="0" y="58"/>
                    </a:cxn>
                    <a:cxn ang="0">
                      <a:pos x="2" y="66"/>
                    </a:cxn>
                    <a:cxn ang="0">
                      <a:pos x="2" y="72"/>
                    </a:cxn>
                    <a:cxn ang="0">
                      <a:pos x="10" y="72"/>
                    </a:cxn>
                    <a:cxn ang="0">
                      <a:pos x="12" y="72"/>
                    </a:cxn>
                    <a:cxn ang="0">
                      <a:pos x="16" y="68"/>
                    </a:cxn>
                    <a:cxn ang="0">
                      <a:pos x="18" y="74"/>
                    </a:cxn>
                    <a:cxn ang="0">
                      <a:pos x="22" y="74"/>
                    </a:cxn>
                    <a:cxn ang="0">
                      <a:pos x="24" y="64"/>
                    </a:cxn>
                    <a:cxn ang="0">
                      <a:pos x="26" y="60"/>
                    </a:cxn>
                    <a:cxn ang="0">
                      <a:pos x="32" y="64"/>
                    </a:cxn>
                    <a:cxn ang="0">
                      <a:pos x="34" y="70"/>
                    </a:cxn>
                    <a:cxn ang="0">
                      <a:pos x="38" y="70"/>
                    </a:cxn>
                    <a:cxn ang="0">
                      <a:pos x="42" y="68"/>
                    </a:cxn>
                    <a:cxn ang="0">
                      <a:pos x="46" y="64"/>
                    </a:cxn>
                    <a:cxn ang="0">
                      <a:pos x="48" y="70"/>
                    </a:cxn>
                    <a:cxn ang="0">
                      <a:pos x="54" y="68"/>
                    </a:cxn>
                    <a:cxn ang="0">
                      <a:pos x="60" y="70"/>
                    </a:cxn>
                    <a:cxn ang="0">
                      <a:pos x="66" y="70"/>
                    </a:cxn>
                    <a:cxn ang="0">
                      <a:pos x="70" y="72"/>
                    </a:cxn>
                    <a:cxn ang="0">
                      <a:pos x="70" y="74"/>
                    </a:cxn>
                    <a:cxn ang="0">
                      <a:pos x="80" y="82"/>
                    </a:cxn>
                    <a:cxn ang="0">
                      <a:pos x="86" y="90"/>
                    </a:cxn>
                    <a:cxn ang="0">
                      <a:pos x="94" y="96"/>
                    </a:cxn>
                    <a:cxn ang="0">
                      <a:pos x="94" y="100"/>
                    </a:cxn>
                    <a:cxn ang="0">
                      <a:pos x="100" y="100"/>
                    </a:cxn>
                    <a:cxn ang="0">
                      <a:pos x="102" y="104"/>
                    </a:cxn>
                    <a:cxn ang="0">
                      <a:pos x="108" y="108"/>
                    </a:cxn>
                    <a:cxn ang="0">
                      <a:pos x="110" y="106"/>
                    </a:cxn>
                    <a:cxn ang="0">
                      <a:pos x="112" y="104"/>
                    </a:cxn>
                    <a:cxn ang="0">
                      <a:pos x="112" y="100"/>
                    </a:cxn>
                    <a:cxn ang="0">
                      <a:pos x="108" y="96"/>
                    </a:cxn>
                    <a:cxn ang="0">
                      <a:pos x="102" y="96"/>
                    </a:cxn>
                    <a:cxn ang="0">
                      <a:pos x="100" y="88"/>
                    </a:cxn>
                    <a:cxn ang="0">
                      <a:pos x="100" y="84"/>
                    </a:cxn>
                    <a:cxn ang="0">
                      <a:pos x="92" y="80"/>
                    </a:cxn>
                    <a:cxn ang="0">
                      <a:pos x="86" y="76"/>
                    </a:cxn>
                    <a:cxn ang="0">
                      <a:pos x="82" y="66"/>
                    </a:cxn>
                    <a:cxn ang="0">
                      <a:pos x="74" y="64"/>
                    </a:cxn>
                    <a:cxn ang="0">
                      <a:pos x="70" y="62"/>
                    </a:cxn>
                    <a:cxn ang="0">
                      <a:pos x="68" y="56"/>
                    </a:cxn>
                    <a:cxn ang="0">
                      <a:pos x="64" y="58"/>
                    </a:cxn>
                    <a:cxn ang="0">
                      <a:pos x="60" y="54"/>
                    </a:cxn>
                    <a:cxn ang="0">
                      <a:pos x="56" y="54"/>
                    </a:cxn>
                    <a:cxn ang="0">
                      <a:pos x="54" y="52"/>
                    </a:cxn>
                    <a:cxn ang="0">
                      <a:pos x="48" y="44"/>
                    </a:cxn>
                    <a:cxn ang="0">
                      <a:pos x="46" y="28"/>
                    </a:cxn>
                    <a:cxn ang="0">
                      <a:pos x="42" y="12"/>
                    </a:cxn>
                    <a:cxn ang="0">
                      <a:pos x="36" y="2"/>
                    </a:cxn>
                    <a:cxn ang="0">
                      <a:pos x="34" y="0"/>
                    </a:cxn>
                    <a:cxn ang="0">
                      <a:pos x="30" y="10"/>
                    </a:cxn>
                    <a:cxn ang="0">
                      <a:pos x="20" y="12"/>
                    </a:cxn>
                  </a:cxnLst>
                  <a:rect l="0" t="0" r="r" b="b"/>
                  <a:pathLst>
                    <a:path w="114" h="108">
                      <a:moveTo>
                        <a:pt x="18" y="12"/>
                      </a:moveTo>
                      <a:lnTo>
                        <a:pt x="18" y="14"/>
                      </a:lnTo>
                      <a:lnTo>
                        <a:pt x="18" y="16"/>
                      </a:lnTo>
                      <a:lnTo>
                        <a:pt x="18" y="18"/>
                      </a:lnTo>
                      <a:lnTo>
                        <a:pt x="18" y="20"/>
                      </a:lnTo>
                      <a:lnTo>
                        <a:pt x="16" y="20"/>
                      </a:lnTo>
                      <a:lnTo>
                        <a:pt x="14" y="20"/>
                      </a:lnTo>
                      <a:lnTo>
                        <a:pt x="12" y="20"/>
                      </a:lnTo>
                      <a:lnTo>
                        <a:pt x="12" y="22"/>
                      </a:lnTo>
                      <a:lnTo>
                        <a:pt x="10" y="22"/>
                      </a:lnTo>
                      <a:lnTo>
                        <a:pt x="10" y="24"/>
                      </a:lnTo>
                      <a:lnTo>
                        <a:pt x="8" y="24"/>
                      </a:lnTo>
                      <a:lnTo>
                        <a:pt x="8" y="26"/>
                      </a:lnTo>
                      <a:lnTo>
                        <a:pt x="6" y="26"/>
                      </a:lnTo>
                      <a:lnTo>
                        <a:pt x="6" y="28"/>
                      </a:lnTo>
                      <a:lnTo>
                        <a:pt x="8" y="28"/>
                      </a:lnTo>
                      <a:lnTo>
                        <a:pt x="8" y="30"/>
                      </a:lnTo>
                      <a:lnTo>
                        <a:pt x="8" y="32"/>
                      </a:lnTo>
                      <a:lnTo>
                        <a:pt x="8" y="34"/>
                      </a:lnTo>
                      <a:lnTo>
                        <a:pt x="8" y="36"/>
                      </a:lnTo>
                      <a:lnTo>
                        <a:pt x="8" y="38"/>
                      </a:lnTo>
                      <a:lnTo>
                        <a:pt x="8" y="40"/>
                      </a:lnTo>
                      <a:lnTo>
                        <a:pt x="8" y="42"/>
                      </a:lnTo>
                      <a:lnTo>
                        <a:pt x="8" y="44"/>
                      </a:lnTo>
                      <a:lnTo>
                        <a:pt x="6" y="44"/>
                      </a:lnTo>
                      <a:lnTo>
                        <a:pt x="6" y="46"/>
                      </a:lnTo>
                      <a:lnTo>
                        <a:pt x="4" y="46"/>
                      </a:lnTo>
                      <a:lnTo>
                        <a:pt x="4" y="48"/>
                      </a:lnTo>
                      <a:lnTo>
                        <a:pt x="4" y="50"/>
                      </a:lnTo>
                      <a:lnTo>
                        <a:pt x="4" y="52"/>
                      </a:lnTo>
                      <a:lnTo>
                        <a:pt x="2" y="54"/>
                      </a:lnTo>
                      <a:lnTo>
                        <a:pt x="0" y="54"/>
                      </a:lnTo>
                      <a:lnTo>
                        <a:pt x="0" y="56"/>
                      </a:lnTo>
                      <a:lnTo>
                        <a:pt x="0" y="58"/>
                      </a:lnTo>
                      <a:lnTo>
                        <a:pt x="2" y="60"/>
                      </a:lnTo>
                      <a:lnTo>
                        <a:pt x="2" y="62"/>
                      </a:lnTo>
                      <a:lnTo>
                        <a:pt x="2" y="64"/>
                      </a:lnTo>
                      <a:lnTo>
                        <a:pt x="2" y="66"/>
                      </a:lnTo>
                      <a:lnTo>
                        <a:pt x="2" y="68"/>
                      </a:lnTo>
                      <a:lnTo>
                        <a:pt x="2" y="70"/>
                      </a:lnTo>
                      <a:lnTo>
                        <a:pt x="2" y="72"/>
                      </a:lnTo>
                      <a:lnTo>
                        <a:pt x="6" y="72"/>
                      </a:lnTo>
                      <a:lnTo>
                        <a:pt x="8" y="72"/>
                      </a:lnTo>
                      <a:lnTo>
                        <a:pt x="10" y="72"/>
                      </a:lnTo>
                      <a:lnTo>
                        <a:pt x="12" y="72"/>
                      </a:lnTo>
                      <a:lnTo>
                        <a:pt x="12" y="70"/>
                      </a:lnTo>
                      <a:lnTo>
                        <a:pt x="14" y="70"/>
                      </a:lnTo>
                      <a:lnTo>
                        <a:pt x="14" y="68"/>
                      </a:lnTo>
                      <a:lnTo>
                        <a:pt x="16" y="68"/>
                      </a:lnTo>
                      <a:lnTo>
                        <a:pt x="16" y="70"/>
                      </a:lnTo>
                      <a:lnTo>
                        <a:pt x="18" y="72"/>
                      </a:lnTo>
                      <a:lnTo>
                        <a:pt x="18" y="74"/>
                      </a:lnTo>
                      <a:lnTo>
                        <a:pt x="20" y="74"/>
                      </a:lnTo>
                      <a:lnTo>
                        <a:pt x="22" y="74"/>
                      </a:lnTo>
                      <a:lnTo>
                        <a:pt x="22" y="72"/>
                      </a:lnTo>
                      <a:lnTo>
                        <a:pt x="24" y="68"/>
                      </a:lnTo>
                      <a:lnTo>
                        <a:pt x="24" y="66"/>
                      </a:lnTo>
                      <a:lnTo>
                        <a:pt x="24" y="64"/>
                      </a:lnTo>
                      <a:lnTo>
                        <a:pt x="26" y="62"/>
                      </a:lnTo>
                      <a:lnTo>
                        <a:pt x="26" y="60"/>
                      </a:lnTo>
                      <a:lnTo>
                        <a:pt x="26" y="62"/>
                      </a:lnTo>
                      <a:lnTo>
                        <a:pt x="28" y="62"/>
                      </a:lnTo>
                      <a:lnTo>
                        <a:pt x="30" y="64"/>
                      </a:lnTo>
                      <a:lnTo>
                        <a:pt x="32" y="64"/>
                      </a:lnTo>
                      <a:lnTo>
                        <a:pt x="32" y="66"/>
                      </a:lnTo>
                      <a:lnTo>
                        <a:pt x="34" y="68"/>
                      </a:lnTo>
                      <a:lnTo>
                        <a:pt x="34" y="70"/>
                      </a:lnTo>
                      <a:lnTo>
                        <a:pt x="36" y="70"/>
                      </a:lnTo>
                      <a:lnTo>
                        <a:pt x="38" y="70"/>
                      </a:lnTo>
                      <a:lnTo>
                        <a:pt x="40" y="70"/>
                      </a:lnTo>
                      <a:lnTo>
                        <a:pt x="42" y="70"/>
                      </a:lnTo>
                      <a:lnTo>
                        <a:pt x="42" y="68"/>
                      </a:lnTo>
                      <a:lnTo>
                        <a:pt x="44" y="68"/>
                      </a:lnTo>
                      <a:lnTo>
                        <a:pt x="46" y="66"/>
                      </a:lnTo>
                      <a:lnTo>
                        <a:pt x="46" y="64"/>
                      </a:lnTo>
                      <a:lnTo>
                        <a:pt x="46" y="66"/>
                      </a:lnTo>
                      <a:lnTo>
                        <a:pt x="46" y="68"/>
                      </a:lnTo>
                      <a:lnTo>
                        <a:pt x="48" y="68"/>
                      </a:lnTo>
                      <a:lnTo>
                        <a:pt x="48" y="70"/>
                      </a:lnTo>
                      <a:lnTo>
                        <a:pt x="50" y="70"/>
                      </a:lnTo>
                      <a:lnTo>
                        <a:pt x="52" y="68"/>
                      </a:lnTo>
                      <a:lnTo>
                        <a:pt x="54" y="68"/>
                      </a:lnTo>
                      <a:lnTo>
                        <a:pt x="56" y="68"/>
                      </a:lnTo>
                      <a:lnTo>
                        <a:pt x="58" y="68"/>
                      </a:lnTo>
                      <a:lnTo>
                        <a:pt x="60" y="70"/>
                      </a:lnTo>
                      <a:lnTo>
                        <a:pt x="62" y="70"/>
                      </a:lnTo>
                      <a:lnTo>
                        <a:pt x="64" y="70"/>
                      </a:lnTo>
                      <a:lnTo>
                        <a:pt x="66" y="70"/>
                      </a:lnTo>
                      <a:lnTo>
                        <a:pt x="68" y="70"/>
                      </a:lnTo>
                      <a:lnTo>
                        <a:pt x="68" y="72"/>
                      </a:lnTo>
                      <a:lnTo>
                        <a:pt x="70" y="72"/>
                      </a:lnTo>
                      <a:lnTo>
                        <a:pt x="70" y="74"/>
                      </a:lnTo>
                      <a:lnTo>
                        <a:pt x="72" y="74"/>
                      </a:lnTo>
                      <a:lnTo>
                        <a:pt x="74" y="74"/>
                      </a:lnTo>
                      <a:lnTo>
                        <a:pt x="76" y="76"/>
                      </a:lnTo>
                      <a:lnTo>
                        <a:pt x="78" y="80"/>
                      </a:lnTo>
                      <a:lnTo>
                        <a:pt x="80" y="82"/>
                      </a:lnTo>
                      <a:lnTo>
                        <a:pt x="80" y="84"/>
                      </a:lnTo>
                      <a:lnTo>
                        <a:pt x="82" y="86"/>
                      </a:lnTo>
                      <a:lnTo>
                        <a:pt x="82" y="88"/>
                      </a:lnTo>
                      <a:lnTo>
                        <a:pt x="84" y="88"/>
                      </a:lnTo>
                      <a:lnTo>
                        <a:pt x="86" y="90"/>
                      </a:lnTo>
                      <a:lnTo>
                        <a:pt x="90" y="90"/>
                      </a:lnTo>
                      <a:lnTo>
                        <a:pt x="90" y="92"/>
                      </a:lnTo>
                      <a:lnTo>
                        <a:pt x="92" y="92"/>
                      </a:lnTo>
                      <a:lnTo>
                        <a:pt x="92" y="94"/>
                      </a:lnTo>
                      <a:lnTo>
                        <a:pt x="94" y="96"/>
                      </a:lnTo>
                      <a:lnTo>
                        <a:pt x="94" y="98"/>
                      </a:lnTo>
                      <a:lnTo>
                        <a:pt x="94" y="100"/>
                      </a:lnTo>
                      <a:lnTo>
                        <a:pt x="96" y="100"/>
                      </a:lnTo>
                      <a:lnTo>
                        <a:pt x="98" y="100"/>
                      </a:lnTo>
                      <a:lnTo>
                        <a:pt x="100" y="100"/>
                      </a:lnTo>
                      <a:lnTo>
                        <a:pt x="100" y="102"/>
                      </a:lnTo>
                      <a:lnTo>
                        <a:pt x="102" y="104"/>
                      </a:lnTo>
                      <a:lnTo>
                        <a:pt x="104" y="106"/>
                      </a:lnTo>
                      <a:lnTo>
                        <a:pt x="106" y="106"/>
                      </a:lnTo>
                      <a:lnTo>
                        <a:pt x="106" y="108"/>
                      </a:lnTo>
                      <a:lnTo>
                        <a:pt x="108" y="108"/>
                      </a:lnTo>
                      <a:lnTo>
                        <a:pt x="110" y="106"/>
                      </a:lnTo>
                      <a:lnTo>
                        <a:pt x="110" y="104"/>
                      </a:lnTo>
                      <a:lnTo>
                        <a:pt x="112" y="104"/>
                      </a:lnTo>
                      <a:lnTo>
                        <a:pt x="112" y="102"/>
                      </a:lnTo>
                      <a:lnTo>
                        <a:pt x="114" y="102"/>
                      </a:lnTo>
                      <a:lnTo>
                        <a:pt x="112" y="100"/>
                      </a:lnTo>
                      <a:lnTo>
                        <a:pt x="110" y="98"/>
                      </a:lnTo>
                      <a:lnTo>
                        <a:pt x="108" y="96"/>
                      </a:lnTo>
                      <a:lnTo>
                        <a:pt x="106" y="96"/>
                      </a:lnTo>
                      <a:lnTo>
                        <a:pt x="104" y="96"/>
                      </a:lnTo>
                      <a:lnTo>
                        <a:pt x="102" y="96"/>
                      </a:lnTo>
                      <a:lnTo>
                        <a:pt x="102" y="94"/>
                      </a:lnTo>
                      <a:lnTo>
                        <a:pt x="100" y="94"/>
                      </a:lnTo>
                      <a:lnTo>
                        <a:pt x="100" y="92"/>
                      </a:lnTo>
                      <a:lnTo>
                        <a:pt x="100" y="88"/>
                      </a:lnTo>
                      <a:lnTo>
                        <a:pt x="100" y="86"/>
                      </a:lnTo>
                      <a:lnTo>
                        <a:pt x="100" y="84"/>
                      </a:lnTo>
                      <a:lnTo>
                        <a:pt x="98" y="84"/>
                      </a:lnTo>
                      <a:lnTo>
                        <a:pt x="96" y="84"/>
                      </a:lnTo>
                      <a:lnTo>
                        <a:pt x="94" y="82"/>
                      </a:lnTo>
                      <a:lnTo>
                        <a:pt x="92" y="80"/>
                      </a:lnTo>
                      <a:lnTo>
                        <a:pt x="88" y="80"/>
                      </a:lnTo>
                      <a:lnTo>
                        <a:pt x="86" y="78"/>
                      </a:lnTo>
                      <a:lnTo>
                        <a:pt x="86" y="76"/>
                      </a:lnTo>
                      <a:lnTo>
                        <a:pt x="86" y="74"/>
                      </a:lnTo>
                      <a:lnTo>
                        <a:pt x="84" y="70"/>
                      </a:lnTo>
                      <a:lnTo>
                        <a:pt x="84" y="68"/>
                      </a:lnTo>
                      <a:lnTo>
                        <a:pt x="84" y="66"/>
                      </a:lnTo>
                      <a:lnTo>
                        <a:pt x="82" y="66"/>
                      </a:lnTo>
                      <a:lnTo>
                        <a:pt x="82" y="64"/>
                      </a:lnTo>
                      <a:lnTo>
                        <a:pt x="80" y="64"/>
                      </a:lnTo>
                      <a:lnTo>
                        <a:pt x="76" y="64"/>
                      </a:lnTo>
                      <a:lnTo>
                        <a:pt x="74" y="64"/>
                      </a:lnTo>
                      <a:lnTo>
                        <a:pt x="72" y="64"/>
                      </a:lnTo>
                      <a:lnTo>
                        <a:pt x="72" y="62"/>
                      </a:lnTo>
                      <a:lnTo>
                        <a:pt x="70" y="62"/>
                      </a:lnTo>
                      <a:lnTo>
                        <a:pt x="70" y="60"/>
                      </a:lnTo>
                      <a:lnTo>
                        <a:pt x="70" y="58"/>
                      </a:lnTo>
                      <a:lnTo>
                        <a:pt x="68" y="58"/>
                      </a:lnTo>
                      <a:lnTo>
                        <a:pt x="68" y="56"/>
                      </a:lnTo>
                      <a:lnTo>
                        <a:pt x="66" y="58"/>
                      </a:lnTo>
                      <a:lnTo>
                        <a:pt x="64" y="58"/>
                      </a:lnTo>
                      <a:lnTo>
                        <a:pt x="62" y="58"/>
                      </a:lnTo>
                      <a:lnTo>
                        <a:pt x="62" y="56"/>
                      </a:lnTo>
                      <a:lnTo>
                        <a:pt x="60" y="56"/>
                      </a:lnTo>
                      <a:lnTo>
                        <a:pt x="60" y="54"/>
                      </a:lnTo>
                      <a:lnTo>
                        <a:pt x="58" y="54"/>
                      </a:lnTo>
                      <a:lnTo>
                        <a:pt x="56" y="54"/>
                      </a:lnTo>
                      <a:lnTo>
                        <a:pt x="56" y="52"/>
                      </a:lnTo>
                      <a:lnTo>
                        <a:pt x="54" y="52"/>
                      </a:lnTo>
                      <a:lnTo>
                        <a:pt x="54" y="50"/>
                      </a:lnTo>
                      <a:lnTo>
                        <a:pt x="52" y="48"/>
                      </a:lnTo>
                      <a:lnTo>
                        <a:pt x="50" y="48"/>
                      </a:lnTo>
                      <a:lnTo>
                        <a:pt x="48" y="46"/>
                      </a:lnTo>
                      <a:lnTo>
                        <a:pt x="48" y="44"/>
                      </a:lnTo>
                      <a:lnTo>
                        <a:pt x="48" y="42"/>
                      </a:lnTo>
                      <a:lnTo>
                        <a:pt x="46" y="40"/>
                      </a:lnTo>
                      <a:lnTo>
                        <a:pt x="46" y="38"/>
                      </a:lnTo>
                      <a:lnTo>
                        <a:pt x="46" y="34"/>
                      </a:lnTo>
                      <a:lnTo>
                        <a:pt x="46" y="28"/>
                      </a:lnTo>
                      <a:lnTo>
                        <a:pt x="46" y="26"/>
                      </a:lnTo>
                      <a:lnTo>
                        <a:pt x="46" y="22"/>
                      </a:lnTo>
                      <a:lnTo>
                        <a:pt x="44" y="20"/>
                      </a:lnTo>
                      <a:lnTo>
                        <a:pt x="44" y="16"/>
                      </a:lnTo>
                      <a:lnTo>
                        <a:pt x="42" y="12"/>
                      </a:lnTo>
                      <a:lnTo>
                        <a:pt x="40" y="8"/>
                      </a:lnTo>
                      <a:lnTo>
                        <a:pt x="38" y="6"/>
                      </a:lnTo>
                      <a:lnTo>
                        <a:pt x="36" y="2"/>
                      </a:lnTo>
                      <a:lnTo>
                        <a:pt x="36" y="0"/>
                      </a:lnTo>
                      <a:lnTo>
                        <a:pt x="34" y="0"/>
                      </a:lnTo>
                      <a:lnTo>
                        <a:pt x="34" y="2"/>
                      </a:lnTo>
                      <a:lnTo>
                        <a:pt x="34" y="6"/>
                      </a:lnTo>
                      <a:lnTo>
                        <a:pt x="32" y="8"/>
                      </a:lnTo>
                      <a:lnTo>
                        <a:pt x="30" y="10"/>
                      </a:lnTo>
                      <a:lnTo>
                        <a:pt x="28" y="12"/>
                      </a:lnTo>
                      <a:lnTo>
                        <a:pt x="22" y="12"/>
                      </a:lnTo>
                      <a:lnTo>
                        <a:pt x="20" y="12"/>
                      </a:lnTo>
                      <a:lnTo>
                        <a:pt x="18" y="1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6" name="Freeform 181">
                  <a:extLst>
                    <a:ext uri="{FF2B5EF4-FFF2-40B4-BE49-F238E27FC236}">
                      <a16:creationId xmlns:a16="http://schemas.microsoft.com/office/drawing/2014/main" id="{24FC9476-11A6-482D-AD33-51B27AB0098D}"/>
                    </a:ext>
                  </a:extLst>
                </p:cNvPr>
                <p:cNvSpPr>
                  <a:spLocks noChangeAspect="1"/>
                </p:cNvSpPr>
                <p:nvPr/>
              </p:nvSpPr>
              <p:spPr bwMode="auto">
                <a:xfrm>
                  <a:off x="5590054" y="3619039"/>
                  <a:ext cx="282830" cy="202299"/>
                </a:xfrm>
                <a:custGeom>
                  <a:avLst/>
                  <a:gdLst/>
                  <a:ahLst/>
                  <a:cxnLst>
                    <a:cxn ang="0">
                      <a:pos x="106" y="6"/>
                    </a:cxn>
                    <a:cxn ang="0">
                      <a:pos x="92" y="14"/>
                    </a:cxn>
                    <a:cxn ang="0">
                      <a:pos x="86" y="18"/>
                    </a:cxn>
                    <a:cxn ang="0">
                      <a:pos x="80" y="28"/>
                    </a:cxn>
                    <a:cxn ang="0">
                      <a:pos x="78" y="32"/>
                    </a:cxn>
                    <a:cxn ang="0">
                      <a:pos x="78" y="34"/>
                    </a:cxn>
                    <a:cxn ang="0">
                      <a:pos x="76" y="38"/>
                    </a:cxn>
                    <a:cxn ang="0">
                      <a:pos x="72" y="38"/>
                    </a:cxn>
                    <a:cxn ang="0">
                      <a:pos x="66" y="32"/>
                    </a:cxn>
                    <a:cxn ang="0">
                      <a:pos x="62" y="32"/>
                    </a:cxn>
                    <a:cxn ang="0">
                      <a:pos x="52" y="32"/>
                    </a:cxn>
                    <a:cxn ang="0">
                      <a:pos x="50" y="32"/>
                    </a:cxn>
                    <a:cxn ang="0">
                      <a:pos x="48" y="30"/>
                    </a:cxn>
                    <a:cxn ang="0">
                      <a:pos x="40" y="30"/>
                    </a:cxn>
                    <a:cxn ang="0">
                      <a:pos x="28" y="30"/>
                    </a:cxn>
                    <a:cxn ang="0">
                      <a:pos x="24" y="30"/>
                    </a:cxn>
                    <a:cxn ang="0">
                      <a:pos x="18" y="32"/>
                    </a:cxn>
                    <a:cxn ang="0">
                      <a:pos x="14" y="32"/>
                    </a:cxn>
                    <a:cxn ang="0">
                      <a:pos x="14" y="30"/>
                    </a:cxn>
                    <a:cxn ang="0">
                      <a:pos x="10" y="28"/>
                    </a:cxn>
                    <a:cxn ang="0">
                      <a:pos x="8" y="36"/>
                    </a:cxn>
                    <a:cxn ang="0">
                      <a:pos x="6" y="42"/>
                    </a:cxn>
                    <a:cxn ang="0">
                      <a:pos x="8" y="42"/>
                    </a:cxn>
                    <a:cxn ang="0">
                      <a:pos x="6" y="46"/>
                    </a:cxn>
                    <a:cxn ang="0">
                      <a:pos x="2" y="52"/>
                    </a:cxn>
                    <a:cxn ang="0">
                      <a:pos x="0" y="60"/>
                    </a:cxn>
                    <a:cxn ang="0">
                      <a:pos x="4" y="66"/>
                    </a:cxn>
                    <a:cxn ang="0">
                      <a:pos x="8" y="74"/>
                    </a:cxn>
                    <a:cxn ang="0">
                      <a:pos x="6" y="88"/>
                    </a:cxn>
                    <a:cxn ang="0">
                      <a:pos x="4" y="94"/>
                    </a:cxn>
                    <a:cxn ang="0">
                      <a:pos x="4" y="96"/>
                    </a:cxn>
                    <a:cxn ang="0">
                      <a:pos x="10" y="102"/>
                    </a:cxn>
                    <a:cxn ang="0">
                      <a:pos x="12" y="104"/>
                    </a:cxn>
                    <a:cxn ang="0">
                      <a:pos x="12" y="108"/>
                    </a:cxn>
                    <a:cxn ang="0">
                      <a:pos x="18" y="114"/>
                    </a:cxn>
                    <a:cxn ang="0">
                      <a:pos x="34" y="116"/>
                    </a:cxn>
                    <a:cxn ang="0">
                      <a:pos x="42" y="108"/>
                    </a:cxn>
                    <a:cxn ang="0">
                      <a:pos x="46" y="102"/>
                    </a:cxn>
                    <a:cxn ang="0">
                      <a:pos x="58" y="104"/>
                    </a:cxn>
                    <a:cxn ang="0">
                      <a:pos x="76" y="102"/>
                    </a:cxn>
                    <a:cxn ang="0">
                      <a:pos x="86" y="100"/>
                    </a:cxn>
                    <a:cxn ang="0">
                      <a:pos x="92" y="96"/>
                    </a:cxn>
                    <a:cxn ang="0">
                      <a:pos x="102" y="88"/>
                    </a:cxn>
                    <a:cxn ang="0">
                      <a:pos x="108" y="84"/>
                    </a:cxn>
                    <a:cxn ang="0">
                      <a:pos x="116" y="76"/>
                    </a:cxn>
                    <a:cxn ang="0">
                      <a:pos x="128" y="72"/>
                    </a:cxn>
                    <a:cxn ang="0">
                      <a:pos x="138" y="66"/>
                    </a:cxn>
                    <a:cxn ang="0">
                      <a:pos x="144" y="66"/>
                    </a:cxn>
                    <a:cxn ang="0">
                      <a:pos x="152" y="64"/>
                    </a:cxn>
                    <a:cxn ang="0">
                      <a:pos x="156" y="64"/>
                    </a:cxn>
                    <a:cxn ang="0">
                      <a:pos x="158" y="64"/>
                    </a:cxn>
                    <a:cxn ang="0">
                      <a:pos x="160" y="60"/>
                    </a:cxn>
                    <a:cxn ang="0">
                      <a:pos x="168" y="46"/>
                    </a:cxn>
                    <a:cxn ang="0">
                      <a:pos x="170" y="44"/>
                    </a:cxn>
                    <a:cxn ang="0">
                      <a:pos x="166" y="28"/>
                    </a:cxn>
                    <a:cxn ang="0">
                      <a:pos x="158" y="12"/>
                    </a:cxn>
                    <a:cxn ang="0">
                      <a:pos x="154" y="2"/>
                    </a:cxn>
                    <a:cxn ang="0">
                      <a:pos x="154" y="0"/>
                    </a:cxn>
                    <a:cxn ang="0">
                      <a:pos x="150" y="0"/>
                    </a:cxn>
                    <a:cxn ang="0">
                      <a:pos x="136" y="2"/>
                    </a:cxn>
                    <a:cxn ang="0">
                      <a:pos x="118" y="4"/>
                    </a:cxn>
                    <a:cxn ang="0">
                      <a:pos x="110" y="6"/>
                    </a:cxn>
                  </a:cxnLst>
                  <a:rect l="0" t="0" r="r" b="b"/>
                  <a:pathLst>
                    <a:path w="172" h="116">
                      <a:moveTo>
                        <a:pt x="110" y="6"/>
                      </a:moveTo>
                      <a:lnTo>
                        <a:pt x="108" y="6"/>
                      </a:lnTo>
                      <a:lnTo>
                        <a:pt x="106" y="6"/>
                      </a:lnTo>
                      <a:lnTo>
                        <a:pt x="102" y="8"/>
                      </a:lnTo>
                      <a:lnTo>
                        <a:pt x="98" y="10"/>
                      </a:lnTo>
                      <a:lnTo>
                        <a:pt x="94" y="12"/>
                      </a:lnTo>
                      <a:lnTo>
                        <a:pt x="92" y="14"/>
                      </a:lnTo>
                      <a:lnTo>
                        <a:pt x="88" y="16"/>
                      </a:lnTo>
                      <a:lnTo>
                        <a:pt x="86" y="16"/>
                      </a:lnTo>
                      <a:lnTo>
                        <a:pt x="86" y="18"/>
                      </a:lnTo>
                      <a:lnTo>
                        <a:pt x="84" y="20"/>
                      </a:lnTo>
                      <a:lnTo>
                        <a:pt x="82" y="24"/>
                      </a:lnTo>
                      <a:lnTo>
                        <a:pt x="80" y="26"/>
                      </a:lnTo>
                      <a:lnTo>
                        <a:pt x="80" y="28"/>
                      </a:lnTo>
                      <a:lnTo>
                        <a:pt x="78" y="30"/>
                      </a:lnTo>
                      <a:lnTo>
                        <a:pt x="78" y="32"/>
                      </a:lnTo>
                      <a:lnTo>
                        <a:pt x="78" y="34"/>
                      </a:lnTo>
                      <a:lnTo>
                        <a:pt x="76" y="36"/>
                      </a:lnTo>
                      <a:lnTo>
                        <a:pt x="76" y="38"/>
                      </a:lnTo>
                      <a:lnTo>
                        <a:pt x="74" y="38"/>
                      </a:lnTo>
                      <a:lnTo>
                        <a:pt x="72" y="38"/>
                      </a:lnTo>
                      <a:lnTo>
                        <a:pt x="70" y="36"/>
                      </a:lnTo>
                      <a:lnTo>
                        <a:pt x="66" y="34"/>
                      </a:lnTo>
                      <a:lnTo>
                        <a:pt x="66" y="32"/>
                      </a:lnTo>
                      <a:lnTo>
                        <a:pt x="64" y="32"/>
                      </a:lnTo>
                      <a:lnTo>
                        <a:pt x="62" y="32"/>
                      </a:lnTo>
                      <a:lnTo>
                        <a:pt x="60" y="32"/>
                      </a:lnTo>
                      <a:lnTo>
                        <a:pt x="58" y="32"/>
                      </a:lnTo>
                      <a:lnTo>
                        <a:pt x="54" y="32"/>
                      </a:lnTo>
                      <a:lnTo>
                        <a:pt x="52" y="32"/>
                      </a:lnTo>
                      <a:lnTo>
                        <a:pt x="50" y="32"/>
                      </a:lnTo>
                      <a:lnTo>
                        <a:pt x="48" y="32"/>
                      </a:lnTo>
                      <a:lnTo>
                        <a:pt x="48" y="30"/>
                      </a:lnTo>
                      <a:lnTo>
                        <a:pt x="46" y="30"/>
                      </a:lnTo>
                      <a:lnTo>
                        <a:pt x="44" y="30"/>
                      </a:lnTo>
                      <a:lnTo>
                        <a:pt x="42" y="30"/>
                      </a:lnTo>
                      <a:lnTo>
                        <a:pt x="40" y="30"/>
                      </a:lnTo>
                      <a:lnTo>
                        <a:pt x="36" y="30"/>
                      </a:lnTo>
                      <a:lnTo>
                        <a:pt x="32" y="30"/>
                      </a:lnTo>
                      <a:lnTo>
                        <a:pt x="30" y="30"/>
                      </a:lnTo>
                      <a:lnTo>
                        <a:pt x="28" y="30"/>
                      </a:lnTo>
                      <a:lnTo>
                        <a:pt x="26" y="30"/>
                      </a:lnTo>
                      <a:lnTo>
                        <a:pt x="24" y="30"/>
                      </a:lnTo>
                      <a:lnTo>
                        <a:pt x="22" y="32"/>
                      </a:lnTo>
                      <a:lnTo>
                        <a:pt x="20" y="32"/>
                      </a:lnTo>
                      <a:lnTo>
                        <a:pt x="18" y="32"/>
                      </a:lnTo>
                      <a:lnTo>
                        <a:pt x="16" y="32"/>
                      </a:lnTo>
                      <a:lnTo>
                        <a:pt x="14" y="32"/>
                      </a:lnTo>
                      <a:lnTo>
                        <a:pt x="14" y="30"/>
                      </a:lnTo>
                      <a:lnTo>
                        <a:pt x="12" y="30"/>
                      </a:lnTo>
                      <a:lnTo>
                        <a:pt x="12" y="28"/>
                      </a:lnTo>
                      <a:lnTo>
                        <a:pt x="10" y="28"/>
                      </a:lnTo>
                      <a:lnTo>
                        <a:pt x="8" y="30"/>
                      </a:lnTo>
                      <a:lnTo>
                        <a:pt x="8" y="32"/>
                      </a:lnTo>
                      <a:lnTo>
                        <a:pt x="8" y="34"/>
                      </a:lnTo>
                      <a:lnTo>
                        <a:pt x="8" y="36"/>
                      </a:lnTo>
                      <a:lnTo>
                        <a:pt x="6" y="38"/>
                      </a:lnTo>
                      <a:lnTo>
                        <a:pt x="6" y="40"/>
                      </a:lnTo>
                      <a:lnTo>
                        <a:pt x="6" y="42"/>
                      </a:lnTo>
                      <a:lnTo>
                        <a:pt x="8" y="42"/>
                      </a:lnTo>
                      <a:lnTo>
                        <a:pt x="8" y="44"/>
                      </a:lnTo>
                      <a:lnTo>
                        <a:pt x="6" y="46"/>
                      </a:lnTo>
                      <a:lnTo>
                        <a:pt x="4" y="48"/>
                      </a:lnTo>
                      <a:lnTo>
                        <a:pt x="2" y="50"/>
                      </a:lnTo>
                      <a:lnTo>
                        <a:pt x="2" y="52"/>
                      </a:lnTo>
                      <a:lnTo>
                        <a:pt x="0" y="56"/>
                      </a:lnTo>
                      <a:lnTo>
                        <a:pt x="0" y="58"/>
                      </a:lnTo>
                      <a:lnTo>
                        <a:pt x="0" y="60"/>
                      </a:lnTo>
                      <a:lnTo>
                        <a:pt x="0" y="62"/>
                      </a:lnTo>
                      <a:lnTo>
                        <a:pt x="2" y="64"/>
                      </a:lnTo>
                      <a:lnTo>
                        <a:pt x="4" y="66"/>
                      </a:lnTo>
                      <a:lnTo>
                        <a:pt x="6" y="68"/>
                      </a:lnTo>
                      <a:lnTo>
                        <a:pt x="8" y="68"/>
                      </a:lnTo>
                      <a:lnTo>
                        <a:pt x="8" y="74"/>
                      </a:lnTo>
                      <a:lnTo>
                        <a:pt x="6" y="78"/>
                      </a:lnTo>
                      <a:lnTo>
                        <a:pt x="6" y="82"/>
                      </a:lnTo>
                      <a:lnTo>
                        <a:pt x="6" y="84"/>
                      </a:lnTo>
                      <a:lnTo>
                        <a:pt x="6" y="88"/>
                      </a:lnTo>
                      <a:lnTo>
                        <a:pt x="6" y="90"/>
                      </a:lnTo>
                      <a:lnTo>
                        <a:pt x="4" y="90"/>
                      </a:lnTo>
                      <a:lnTo>
                        <a:pt x="4" y="92"/>
                      </a:lnTo>
                      <a:lnTo>
                        <a:pt x="4" y="94"/>
                      </a:lnTo>
                      <a:lnTo>
                        <a:pt x="4" y="96"/>
                      </a:lnTo>
                      <a:lnTo>
                        <a:pt x="6" y="98"/>
                      </a:lnTo>
                      <a:lnTo>
                        <a:pt x="8" y="100"/>
                      </a:lnTo>
                      <a:lnTo>
                        <a:pt x="10" y="102"/>
                      </a:lnTo>
                      <a:lnTo>
                        <a:pt x="12" y="104"/>
                      </a:lnTo>
                      <a:lnTo>
                        <a:pt x="12" y="106"/>
                      </a:lnTo>
                      <a:lnTo>
                        <a:pt x="12" y="108"/>
                      </a:lnTo>
                      <a:lnTo>
                        <a:pt x="12" y="110"/>
                      </a:lnTo>
                      <a:lnTo>
                        <a:pt x="14" y="112"/>
                      </a:lnTo>
                      <a:lnTo>
                        <a:pt x="16" y="114"/>
                      </a:lnTo>
                      <a:lnTo>
                        <a:pt x="18" y="114"/>
                      </a:lnTo>
                      <a:lnTo>
                        <a:pt x="20" y="116"/>
                      </a:lnTo>
                      <a:lnTo>
                        <a:pt x="26" y="116"/>
                      </a:lnTo>
                      <a:lnTo>
                        <a:pt x="30" y="116"/>
                      </a:lnTo>
                      <a:lnTo>
                        <a:pt x="34" y="116"/>
                      </a:lnTo>
                      <a:lnTo>
                        <a:pt x="36" y="114"/>
                      </a:lnTo>
                      <a:lnTo>
                        <a:pt x="38" y="114"/>
                      </a:lnTo>
                      <a:lnTo>
                        <a:pt x="38" y="112"/>
                      </a:lnTo>
                      <a:lnTo>
                        <a:pt x="42" y="108"/>
                      </a:lnTo>
                      <a:lnTo>
                        <a:pt x="42" y="106"/>
                      </a:lnTo>
                      <a:lnTo>
                        <a:pt x="44" y="104"/>
                      </a:lnTo>
                      <a:lnTo>
                        <a:pt x="44" y="102"/>
                      </a:lnTo>
                      <a:lnTo>
                        <a:pt x="46" y="102"/>
                      </a:lnTo>
                      <a:lnTo>
                        <a:pt x="48" y="102"/>
                      </a:lnTo>
                      <a:lnTo>
                        <a:pt x="50" y="102"/>
                      </a:lnTo>
                      <a:lnTo>
                        <a:pt x="54" y="104"/>
                      </a:lnTo>
                      <a:lnTo>
                        <a:pt x="58" y="104"/>
                      </a:lnTo>
                      <a:lnTo>
                        <a:pt x="60" y="104"/>
                      </a:lnTo>
                      <a:lnTo>
                        <a:pt x="64" y="104"/>
                      </a:lnTo>
                      <a:lnTo>
                        <a:pt x="70" y="102"/>
                      </a:lnTo>
                      <a:lnTo>
                        <a:pt x="76" y="102"/>
                      </a:lnTo>
                      <a:lnTo>
                        <a:pt x="78" y="102"/>
                      </a:lnTo>
                      <a:lnTo>
                        <a:pt x="82" y="100"/>
                      </a:lnTo>
                      <a:lnTo>
                        <a:pt x="84" y="100"/>
                      </a:lnTo>
                      <a:lnTo>
                        <a:pt x="86" y="100"/>
                      </a:lnTo>
                      <a:lnTo>
                        <a:pt x="88" y="100"/>
                      </a:lnTo>
                      <a:lnTo>
                        <a:pt x="90" y="98"/>
                      </a:lnTo>
                      <a:lnTo>
                        <a:pt x="92" y="96"/>
                      </a:lnTo>
                      <a:lnTo>
                        <a:pt x="94" y="94"/>
                      </a:lnTo>
                      <a:lnTo>
                        <a:pt x="96" y="92"/>
                      </a:lnTo>
                      <a:lnTo>
                        <a:pt x="98" y="90"/>
                      </a:lnTo>
                      <a:lnTo>
                        <a:pt x="102" y="88"/>
                      </a:lnTo>
                      <a:lnTo>
                        <a:pt x="104" y="88"/>
                      </a:lnTo>
                      <a:lnTo>
                        <a:pt x="106" y="86"/>
                      </a:lnTo>
                      <a:lnTo>
                        <a:pt x="108" y="84"/>
                      </a:lnTo>
                      <a:lnTo>
                        <a:pt x="110" y="82"/>
                      </a:lnTo>
                      <a:lnTo>
                        <a:pt x="112" y="80"/>
                      </a:lnTo>
                      <a:lnTo>
                        <a:pt x="114" y="78"/>
                      </a:lnTo>
                      <a:lnTo>
                        <a:pt x="116" y="76"/>
                      </a:lnTo>
                      <a:lnTo>
                        <a:pt x="118" y="76"/>
                      </a:lnTo>
                      <a:lnTo>
                        <a:pt x="120" y="74"/>
                      </a:lnTo>
                      <a:lnTo>
                        <a:pt x="124" y="74"/>
                      </a:lnTo>
                      <a:lnTo>
                        <a:pt x="128" y="72"/>
                      </a:lnTo>
                      <a:lnTo>
                        <a:pt x="132" y="70"/>
                      </a:lnTo>
                      <a:lnTo>
                        <a:pt x="134" y="68"/>
                      </a:lnTo>
                      <a:lnTo>
                        <a:pt x="138" y="66"/>
                      </a:lnTo>
                      <a:lnTo>
                        <a:pt x="140" y="66"/>
                      </a:lnTo>
                      <a:lnTo>
                        <a:pt x="144" y="66"/>
                      </a:lnTo>
                      <a:lnTo>
                        <a:pt x="146" y="66"/>
                      </a:lnTo>
                      <a:lnTo>
                        <a:pt x="148" y="64"/>
                      </a:lnTo>
                      <a:lnTo>
                        <a:pt x="150" y="64"/>
                      </a:lnTo>
                      <a:lnTo>
                        <a:pt x="152" y="64"/>
                      </a:lnTo>
                      <a:lnTo>
                        <a:pt x="154" y="64"/>
                      </a:lnTo>
                      <a:lnTo>
                        <a:pt x="156" y="64"/>
                      </a:lnTo>
                      <a:lnTo>
                        <a:pt x="158" y="64"/>
                      </a:lnTo>
                      <a:lnTo>
                        <a:pt x="158" y="62"/>
                      </a:lnTo>
                      <a:lnTo>
                        <a:pt x="160" y="60"/>
                      </a:lnTo>
                      <a:lnTo>
                        <a:pt x="162" y="56"/>
                      </a:lnTo>
                      <a:lnTo>
                        <a:pt x="164" y="52"/>
                      </a:lnTo>
                      <a:lnTo>
                        <a:pt x="166" y="50"/>
                      </a:lnTo>
                      <a:lnTo>
                        <a:pt x="168" y="46"/>
                      </a:lnTo>
                      <a:lnTo>
                        <a:pt x="170" y="44"/>
                      </a:lnTo>
                      <a:lnTo>
                        <a:pt x="172" y="42"/>
                      </a:lnTo>
                      <a:lnTo>
                        <a:pt x="172" y="40"/>
                      </a:lnTo>
                      <a:lnTo>
                        <a:pt x="170" y="36"/>
                      </a:lnTo>
                      <a:lnTo>
                        <a:pt x="166" y="28"/>
                      </a:lnTo>
                      <a:lnTo>
                        <a:pt x="164" y="24"/>
                      </a:lnTo>
                      <a:lnTo>
                        <a:pt x="162" y="18"/>
                      </a:lnTo>
                      <a:lnTo>
                        <a:pt x="160" y="14"/>
                      </a:lnTo>
                      <a:lnTo>
                        <a:pt x="158" y="12"/>
                      </a:lnTo>
                      <a:lnTo>
                        <a:pt x="156" y="8"/>
                      </a:lnTo>
                      <a:lnTo>
                        <a:pt x="156" y="6"/>
                      </a:lnTo>
                      <a:lnTo>
                        <a:pt x="156" y="4"/>
                      </a:lnTo>
                      <a:lnTo>
                        <a:pt x="154" y="2"/>
                      </a:lnTo>
                      <a:lnTo>
                        <a:pt x="154" y="0"/>
                      </a:lnTo>
                      <a:lnTo>
                        <a:pt x="152" y="0"/>
                      </a:lnTo>
                      <a:lnTo>
                        <a:pt x="150" y="0"/>
                      </a:lnTo>
                      <a:lnTo>
                        <a:pt x="148" y="2"/>
                      </a:lnTo>
                      <a:lnTo>
                        <a:pt x="144" y="2"/>
                      </a:lnTo>
                      <a:lnTo>
                        <a:pt x="140" y="2"/>
                      </a:lnTo>
                      <a:lnTo>
                        <a:pt x="136" y="2"/>
                      </a:lnTo>
                      <a:lnTo>
                        <a:pt x="132" y="2"/>
                      </a:lnTo>
                      <a:lnTo>
                        <a:pt x="126" y="4"/>
                      </a:lnTo>
                      <a:lnTo>
                        <a:pt x="122" y="4"/>
                      </a:lnTo>
                      <a:lnTo>
                        <a:pt x="118" y="4"/>
                      </a:lnTo>
                      <a:lnTo>
                        <a:pt x="116" y="4"/>
                      </a:lnTo>
                      <a:lnTo>
                        <a:pt x="112" y="4"/>
                      </a:lnTo>
                      <a:lnTo>
                        <a:pt x="11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7" name="Freeform 195">
                  <a:extLst>
                    <a:ext uri="{FF2B5EF4-FFF2-40B4-BE49-F238E27FC236}">
                      <a16:creationId xmlns:a16="http://schemas.microsoft.com/office/drawing/2014/main" id="{ADC3DEE6-38B8-4556-9CC3-E886F70CC804}"/>
                    </a:ext>
                  </a:extLst>
                </p:cNvPr>
                <p:cNvSpPr>
                  <a:spLocks noChangeAspect="1"/>
                </p:cNvSpPr>
                <p:nvPr/>
              </p:nvSpPr>
              <p:spPr bwMode="auto">
                <a:xfrm>
                  <a:off x="5668983" y="3249319"/>
                  <a:ext cx="55908" cy="48831"/>
                </a:xfrm>
                <a:custGeom>
                  <a:avLst/>
                  <a:gdLst/>
                  <a:ahLst/>
                  <a:cxnLst>
                    <a:cxn ang="0">
                      <a:pos x="12" y="0"/>
                    </a:cxn>
                    <a:cxn ang="0">
                      <a:pos x="10" y="0"/>
                    </a:cxn>
                    <a:cxn ang="0">
                      <a:pos x="8" y="0"/>
                    </a:cxn>
                    <a:cxn ang="0">
                      <a:pos x="8" y="0"/>
                    </a:cxn>
                    <a:cxn ang="0">
                      <a:pos x="8" y="2"/>
                    </a:cxn>
                    <a:cxn ang="0">
                      <a:pos x="6" y="4"/>
                    </a:cxn>
                    <a:cxn ang="0">
                      <a:pos x="4" y="10"/>
                    </a:cxn>
                    <a:cxn ang="0">
                      <a:pos x="4" y="14"/>
                    </a:cxn>
                    <a:cxn ang="0">
                      <a:pos x="0" y="16"/>
                    </a:cxn>
                    <a:cxn ang="0">
                      <a:pos x="8" y="18"/>
                    </a:cxn>
                    <a:cxn ang="0">
                      <a:pos x="12" y="18"/>
                    </a:cxn>
                    <a:cxn ang="0">
                      <a:pos x="14" y="18"/>
                    </a:cxn>
                    <a:cxn ang="0">
                      <a:pos x="16" y="20"/>
                    </a:cxn>
                    <a:cxn ang="0">
                      <a:pos x="16" y="24"/>
                    </a:cxn>
                    <a:cxn ang="0">
                      <a:pos x="16" y="28"/>
                    </a:cxn>
                    <a:cxn ang="0">
                      <a:pos x="18" y="28"/>
                    </a:cxn>
                    <a:cxn ang="0">
                      <a:pos x="22" y="28"/>
                    </a:cxn>
                    <a:cxn ang="0">
                      <a:pos x="30" y="28"/>
                    </a:cxn>
                    <a:cxn ang="0">
                      <a:pos x="30" y="26"/>
                    </a:cxn>
                    <a:cxn ang="0">
                      <a:pos x="26" y="20"/>
                    </a:cxn>
                    <a:cxn ang="0">
                      <a:pos x="24" y="18"/>
                    </a:cxn>
                    <a:cxn ang="0">
                      <a:pos x="24" y="16"/>
                    </a:cxn>
                    <a:cxn ang="0">
                      <a:pos x="22" y="16"/>
                    </a:cxn>
                    <a:cxn ang="0">
                      <a:pos x="22" y="14"/>
                    </a:cxn>
                    <a:cxn ang="0">
                      <a:pos x="20" y="14"/>
                    </a:cxn>
                    <a:cxn ang="0">
                      <a:pos x="20" y="12"/>
                    </a:cxn>
                    <a:cxn ang="0">
                      <a:pos x="20" y="10"/>
                    </a:cxn>
                    <a:cxn ang="0">
                      <a:pos x="20" y="10"/>
                    </a:cxn>
                    <a:cxn ang="0">
                      <a:pos x="22" y="10"/>
                    </a:cxn>
                    <a:cxn ang="0">
                      <a:pos x="24" y="10"/>
                    </a:cxn>
                    <a:cxn ang="0">
                      <a:pos x="26" y="8"/>
                    </a:cxn>
                    <a:cxn ang="0">
                      <a:pos x="28" y="8"/>
                    </a:cxn>
                    <a:cxn ang="0">
                      <a:pos x="28" y="8"/>
                    </a:cxn>
                    <a:cxn ang="0">
                      <a:pos x="28" y="6"/>
                    </a:cxn>
                    <a:cxn ang="0">
                      <a:pos x="28" y="6"/>
                    </a:cxn>
                    <a:cxn ang="0">
                      <a:pos x="28" y="4"/>
                    </a:cxn>
                    <a:cxn ang="0">
                      <a:pos x="26" y="2"/>
                    </a:cxn>
                    <a:cxn ang="0">
                      <a:pos x="24" y="2"/>
                    </a:cxn>
                    <a:cxn ang="0">
                      <a:pos x="22" y="4"/>
                    </a:cxn>
                    <a:cxn ang="0">
                      <a:pos x="22" y="4"/>
                    </a:cxn>
                    <a:cxn ang="0">
                      <a:pos x="22" y="2"/>
                    </a:cxn>
                    <a:cxn ang="0">
                      <a:pos x="20" y="0"/>
                    </a:cxn>
                    <a:cxn ang="0">
                      <a:pos x="20" y="0"/>
                    </a:cxn>
                    <a:cxn ang="0">
                      <a:pos x="12" y="0"/>
                    </a:cxn>
                  </a:cxnLst>
                  <a:rect l="0" t="0" r="r" b="b"/>
                  <a:pathLst>
                    <a:path w="34" h="28">
                      <a:moveTo>
                        <a:pt x="12" y="0"/>
                      </a:moveTo>
                      <a:lnTo>
                        <a:pt x="12" y="0"/>
                      </a:lnTo>
                      <a:lnTo>
                        <a:pt x="10" y="0"/>
                      </a:lnTo>
                      <a:lnTo>
                        <a:pt x="8" y="0"/>
                      </a:lnTo>
                      <a:lnTo>
                        <a:pt x="8" y="2"/>
                      </a:lnTo>
                      <a:lnTo>
                        <a:pt x="6" y="4"/>
                      </a:lnTo>
                      <a:lnTo>
                        <a:pt x="6" y="6"/>
                      </a:lnTo>
                      <a:lnTo>
                        <a:pt x="4" y="10"/>
                      </a:lnTo>
                      <a:lnTo>
                        <a:pt x="4" y="12"/>
                      </a:lnTo>
                      <a:lnTo>
                        <a:pt x="4" y="14"/>
                      </a:lnTo>
                      <a:lnTo>
                        <a:pt x="2" y="16"/>
                      </a:lnTo>
                      <a:lnTo>
                        <a:pt x="0" y="16"/>
                      </a:lnTo>
                      <a:lnTo>
                        <a:pt x="6" y="16"/>
                      </a:lnTo>
                      <a:lnTo>
                        <a:pt x="8" y="18"/>
                      </a:lnTo>
                      <a:lnTo>
                        <a:pt x="10" y="18"/>
                      </a:lnTo>
                      <a:lnTo>
                        <a:pt x="12" y="18"/>
                      </a:lnTo>
                      <a:lnTo>
                        <a:pt x="14" y="18"/>
                      </a:lnTo>
                      <a:lnTo>
                        <a:pt x="16" y="20"/>
                      </a:lnTo>
                      <a:lnTo>
                        <a:pt x="16" y="22"/>
                      </a:lnTo>
                      <a:lnTo>
                        <a:pt x="16" y="24"/>
                      </a:lnTo>
                      <a:lnTo>
                        <a:pt x="16" y="26"/>
                      </a:lnTo>
                      <a:lnTo>
                        <a:pt x="16" y="28"/>
                      </a:lnTo>
                      <a:lnTo>
                        <a:pt x="18" y="28"/>
                      </a:lnTo>
                      <a:lnTo>
                        <a:pt x="20" y="28"/>
                      </a:lnTo>
                      <a:lnTo>
                        <a:pt x="22" y="28"/>
                      </a:lnTo>
                      <a:lnTo>
                        <a:pt x="26" y="28"/>
                      </a:lnTo>
                      <a:lnTo>
                        <a:pt x="30" y="28"/>
                      </a:lnTo>
                      <a:lnTo>
                        <a:pt x="34" y="28"/>
                      </a:lnTo>
                      <a:lnTo>
                        <a:pt x="30" y="26"/>
                      </a:lnTo>
                      <a:lnTo>
                        <a:pt x="26" y="22"/>
                      </a:lnTo>
                      <a:lnTo>
                        <a:pt x="26" y="20"/>
                      </a:lnTo>
                      <a:lnTo>
                        <a:pt x="24" y="20"/>
                      </a:lnTo>
                      <a:lnTo>
                        <a:pt x="24" y="18"/>
                      </a:lnTo>
                      <a:lnTo>
                        <a:pt x="24" y="16"/>
                      </a:lnTo>
                      <a:lnTo>
                        <a:pt x="22" y="16"/>
                      </a:lnTo>
                      <a:lnTo>
                        <a:pt x="22" y="14"/>
                      </a:lnTo>
                      <a:lnTo>
                        <a:pt x="20" y="14"/>
                      </a:lnTo>
                      <a:lnTo>
                        <a:pt x="20" y="12"/>
                      </a:lnTo>
                      <a:lnTo>
                        <a:pt x="20" y="10"/>
                      </a:lnTo>
                      <a:lnTo>
                        <a:pt x="22" y="10"/>
                      </a:lnTo>
                      <a:lnTo>
                        <a:pt x="24" y="10"/>
                      </a:lnTo>
                      <a:lnTo>
                        <a:pt x="26" y="8"/>
                      </a:lnTo>
                      <a:lnTo>
                        <a:pt x="28" y="8"/>
                      </a:lnTo>
                      <a:lnTo>
                        <a:pt x="28" y="6"/>
                      </a:lnTo>
                      <a:lnTo>
                        <a:pt x="28" y="4"/>
                      </a:lnTo>
                      <a:lnTo>
                        <a:pt x="28" y="2"/>
                      </a:lnTo>
                      <a:lnTo>
                        <a:pt x="26" y="2"/>
                      </a:lnTo>
                      <a:lnTo>
                        <a:pt x="24" y="2"/>
                      </a:lnTo>
                      <a:lnTo>
                        <a:pt x="22" y="4"/>
                      </a:lnTo>
                      <a:lnTo>
                        <a:pt x="22" y="2"/>
                      </a:lnTo>
                      <a:lnTo>
                        <a:pt x="20" y="0"/>
                      </a:lnTo>
                      <a:lnTo>
                        <a:pt x="1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grpSp>
            <p:nvGrpSpPr>
              <p:cNvPr id="166" name="Group 165">
                <a:extLst>
                  <a:ext uri="{FF2B5EF4-FFF2-40B4-BE49-F238E27FC236}">
                    <a16:creationId xmlns:a16="http://schemas.microsoft.com/office/drawing/2014/main" id="{5B89C6F2-90B5-415C-B961-199398585C44}"/>
                  </a:ext>
                </a:extLst>
              </p:cNvPr>
              <p:cNvGrpSpPr/>
              <p:nvPr/>
            </p:nvGrpSpPr>
            <p:grpSpPr>
              <a:xfrm>
                <a:off x="3207375" y="1639641"/>
                <a:ext cx="5257022" cy="1236470"/>
                <a:chOff x="3207375" y="1639641"/>
                <a:chExt cx="5257022" cy="1236470"/>
              </a:xfrm>
              <a:grpFill/>
            </p:grpSpPr>
            <p:sp>
              <p:nvSpPr>
                <p:cNvPr id="167" name="Freeform 166">
                  <a:extLst>
                    <a:ext uri="{FF2B5EF4-FFF2-40B4-BE49-F238E27FC236}">
                      <a16:creationId xmlns:a16="http://schemas.microsoft.com/office/drawing/2014/main" id="{F831D346-2752-40F2-9011-C7C7BDB9E99B}"/>
                    </a:ext>
                  </a:extLst>
                </p:cNvPr>
                <p:cNvSpPr>
                  <a:spLocks noChangeAspect="1"/>
                </p:cNvSpPr>
                <p:nvPr/>
              </p:nvSpPr>
              <p:spPr bwMode="auto">
                <a:xfrm>
                  <a:off x="5655828" y="1964018"/>
                  <a:ext cx="42754" cy="24416"/>
                </a:xfrm>
                <a:custGeom>
                  <a:avLst/>
                  <a:gdLst/>
                  <a:ahLst/>
                  <a:cxnLst>
                    <a:cxn ang="0">
                      <a:pos x="2" y="0"/>
                    </a:cxn>
                    <a:cxn ang="0">
                      <a:pos x="0" y="2"/>
                    </a:cxn>
                    <a:cxn ang="0">
                      <a:pos x="2" y="2"/>
                    </a:cxn>
                    <a:cxn ang="0">
                      <a:pos x="2" y="4"/>
                    </a:cxn>
                    <a:cxn ang="0">
                      <a:pos x="4" y="4"/>
                    </a:cxn>
                    <a:cxn ang="0">
                      <a:pos x="6" y="6"/>
                    </a:cxn>
                    <a:cxn ang="0">
                      <a:pos x="8" y="8"/>
                    </a:cxn>
                    <a:cxn ang="0">
                      <a:pos x="12" y="10"/>
                    </a:cxn>
                    <a:cxn ang="0">
                      <a:pos x="16" y="12"/>
                    </a:cxn>
                    <a:cxn ang="0">
                      <a:pos x="20" y="12"/>
                    </a:cxn>
                    <a:cxn ang="0">
                      <a:pos x="22" y="14"/>
                    </a:cxn>
                    <a:cxn ang="0">
                      <a:pos x="24" y="14"/>
                    </a:cxn>
                    <a:cxn ang="0">
                      <a:pos x="24" y="12"/>
                    </a:cxn>
                    <a:cxn ang="0">
                      <a:pos x="26" y="12"/>
                    </a:cxn>
                    <a:cxn ang="0">
                      <a:pos x="26" y="10"/>
                    </a:cxn>
                    <a:cxn ang="0">
                      <a:pos x="24" y="10"/>
                    </a:cxn>
                    <a:cxn ang="0">
                      <a:pos x="24" y="8"/>
                    </a:cxn>
                    <a:cxn ang="0">
                      <a:pos x="22" y="6"/>
                    </a:cxn>
                    <a:cxn ang="0">
                      <a:pos x="20" y="6"/>
                    </a:cxn>
                    <a:cxn ang="0">
                      <a:pos x="20" y="4"/>
                    </a:cxn>
                    <a:cxn ang="0">
                      <a:pos x="16" y="2"/>
                    </a:cxn>
                    <a:cxn ang="0">
                      <a:pos x="10" y="2"/>
                    </a:cxn>
                    <a:cxn ang="0">
                      <a:pos x="6" y="0"/>
                    </a:cxn>
                    <a:cxn ang="0">
                      <a:pos x="4" y="0"/>
                    </a:cxn>
                    <a:cxn ang="0">
                      <a:pos x="2" y="0"/>
                    </a:cxn>
                    <a:cxn ang="0">
                      <a:pos x="2" y="0"/>
                    </a:cxn>
                    <a:cxn ang="0">
                      <a:pos x="2" y="0"/>
                    </a:cxn>
                    <a:cxn ang="0">
                      <a:pos x="2" y="0"/>
                    </a:cxn>
                    <a:cxn ang="0">
                      <a:pos x="2" y="0"/>
                    </a:cxn>
                  </a:cxnLst>
                  <a:rect l="0" t="0" r="r" b="b"/>
                  <a:pathLst>
                    <a:path w="26" h="14">
                      <a:moveTo>
                        <a:pt x="2" y="0"/>
                      </a:moveTo>
                      <a:lnTo>
                        <a:pt x="0" y="2"/>
                      </a:lnTo>
                      <a:lnTo>
                        <a:pt x="2" y="2"/>
                      </a:lnTo>
                      <a:lnTo>
                        <a:pt x="2" y="4"/>
                      </a:lnTo>
                      <a:lnTo>
                        <a:pt x="4" y="4"/>
                      </a:lnTo>
                      <a:lnTo>
                        <a:pt x="6" y="6"/>
                      </a:lnTo>
                      <a:lnTo>
                        <a:pt x="8" y="8"/>
                      </a:lnTo>
                      <a:lnTo>
                        <a:pt x="12" y="10"/>
                      </a:lnTo>
                      <a:lnTo>
                        <a:pt x="16" y="12"/>
                      </a:lnTo>
                      <a:lnTo>
                        <a:pt x="20" y="12"/>
                      </a:lnTo>
                      <a:lnTo>
                        <a:pt x="22" y="14"/>
                      </a:lnTo>
                      <a:lnTo>
                        <a:pt x="24" y="14"/>
                      </a:lnTo>
                      <a:lnTo>
                        <a:pt x="24" y="12"/>
                      </a:lnTo>
                      <a:lnTo>
                        <a:pt x="26" y="12"/>
                      </a:lnTo>
                      <a:lnTo>
                        <a:pt x="26" y="10"/>
                      </a:lnTo>
                      <a:lnTo>
                        <a:pt x="24" y="10"/>
                      </a:lnTo>
                      <a:lnTo>
                        <a:pt x="24" y="8"/>
                      </a:lnTo>
                      <a:lnTo>
                        <a:pt x="22" y="6"/>
                      </a:lnTo>
                      <a:lnTo>
                        <a:pt x="20" y="6"/>
                      </a:lnTo>
                      <a:lnTo>
                        <a:pt x="20" y="4"/>
                      </a:lnTo>
                      <a:lnTo>
                        <a:pt x="16" y="2"/>
                      </a:lnTo>
                      <a:lnTo>
                        <a:pt x="10" y="2"/>
                      </a:lnTo>
                      <a:lnTo>
                        <a:pt x="6" y="0"/>
                      </a:lnTo>
                      <a:lnTo>
                        <a:pt x="4" y="0"/>
                      </a:lnTo>
                      <a:lnTo>
                        <a:pt x="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8" name="Freeform 167">
                  <a:extLst>
                    <a:ext uri="{FF2B5EF4-FFF2-40B4-BE49-F238E27FC236}">
                      <a16:creationId xmlns:a16="http://schemas.microsoft.com/office/drawing/2014/main" id="{BACEC232-77E9-40DD-AC08-EB505E18F79A}"/>
                    </a:ext>
                  </a:extLst>
                </p:cNvPr>
                <p:cNvSpPr>
                  <a:spLocks noChangeAspect="1"/>
                </p:cNvSpPr>
                <p:nvPr/>
              </p:nvSpPr>
              <p:spPr bwMode="auto">
                <a:xfrm>
                  <a:off x="5497969" y="1789622"/>
                  <a:ext cx="269676" cy="163932"/>
                </a:xfrm>
                <a:custGeom>
                  <a:avLst/>
                  <a:gdLst/>
                  <a:ahLst/>
                  <a:cxnLst>
                    <a:cxn ang="0">
                      <a:pos x="4" y="62"/>
                    </a:cxn>
                    <a:cxn ang="0">
                      <a:pos x="6" y="66"/>
                    </a:cxn>
                    <a:cxn ang="0">
                      <a:pos x="14" y="64"/>
                    </a:cxn>
                    <a:cxn ang="0">
                      <a:pos x="8" y="68"/>
                    </a:cxn>
                    <a:cxn ang="0">
                      <a:pos x="0" y="74"/>
                    </a:cxn>
                    <a:cxn ang="0">
                      <a:pos x="16" y="80"/>
                    </a:cxn>
                    <a:cxn ang="0">
                      <a:pos x="34" y="88"/>
                    </a:cxn>
                    <a:cxn ang="0">
                      <a:pos x="38" y="92"/>
                    </a:cxn>
                    <a:cxn ang="0">
                      <a:pos x="52" y="94"/>
                    </a:cxn>
                    <a:cxn ang="0">
                      <a:pos x="70" y="94"/>
                    </a:cxn>
                    <a:cxn ang="0">
                      <a:pos x="80" y="94"/>
                    </a:cxn>
                    <a:cxn ang="0">
                      <a:pos x="72" y="92"/>
                    </a:cxn>
                    <a:cxn ang="0">
                      <a:pos x="52" y="84"/>
                    </a:cxn>
                    <a:cxn ang="0">
                      <a:pos x="44" y="68"/>
                    </a:cxn>
                    <a:cxn ang="0">
                      <a:pos x="48" y="62"/>
                    </a:cxn>
                    <a:cxn ang="0">
                      <a:pos x="46" y="54"/>
                    </a:cxn>
                    <a:cxn ang="0">
                      <a:pos x="56" y="54"/>
                    </a:cxn>
                    <a:cxn ang="0">
                      <a:pos x="54" y="50"/>
                    </a:cxn>
                    <a:cxn ang="0">
                      <a:pos x="58" y="48"/>
                    </a:cxn>
                    <a:cxn ang="0">
                      <a:pos x="58" y="48"/>
                    </a:cxn>
                    <a:cxn ang="0">
                      <a:pos x="62" y="46"/>
                    </a:cxn>
                    <a:cxn ang="0">
                      <a:pos x="58" y="42"/>
                    </a:cxn>
                    <a:cxn ang="0">
                      <a:pos x="68" y="42"/>
                    </a:cxn>
                    <a:cxn ang="0">
                      <a:pos x="64" y="36"/>
                    </a:cxn>
                    <a:cxn ang="0">
                      <a:pos x="70" y="40"/>
                    </a:cxn>
                    <a:cxn ang="0">
                      <a:pos x="70" y="32"/>
                    </a:cxn>
                    <a:cxn ang="0">
                      <a:pos x="80" y="32"/>
                    </a:cxn>
                    <a:cxn ang="0">
                      <a:pos x="92" y="26"/>
                    </a:cxn>
                    <a:cxn ang="0">
                      <a:pos x="98" y="24"/>
                    </a:cxn>
                    <a:cxn ang="0">
                      <a:pos x="136" y="18"/>
                    </a:cxn>
                    <a:cxn ang="0">
                      <a:pos x="156" y="14"/>
                    </a:cxn>
                    <a:cxn ang="0">
                      <a:pos x="162" y="4"/>
                    </a:cxn>
                    <a:cxn ang="0">
                      <a:pos x="148" y="0"/>
                    </a:cxn>
                    <a:cxn ang="0">
                      <a:pos x="126" y="4"/>
                    </a:cxn>
                    <a:cxn ang="0">
                      <a:pos x="100" y="10"/>
                    </a:cxn>
                    <a:cxn ang="0">
                      <a:pos x="82" y="8"/>
                    </a:cxn>
                    <a:cxn ang="0">
                      <a:pos x="78" y="14"/>
                    </a:cxn>
                    <a:cxn ang="0">
                      <a:pos x="70" y="12"/>
                    </a:cxn>
                    <a:cxn ang="0">
                      <a:pos x="58" y="16"/>
                    </a:cxn>
                    <a:cxn ang="0">
                      <a:pos x="52" y="18"/>
                    </a:cxn>
                    <a:cxn ang="0">
                      <a:pos x="44" y="20"/>
                    </a:cxn>
                    <a:cxn ang="0">
                      <a:pos x="48" y="22"/>
                    </a:cxn>
                    <a:cxn ang="0">
                      <a:pos x="40" y="24"/>
                    </a:cxn>
                    <a:cxn ang="0">
                      <a:pos x="32" y="24"/>
                    </a:cxn>
                    <a:cxn ang="0">
                      <a:pos x="30" y="28"/>
                    </a:cxn>
                    <a:cxn ang="0">
                      <a:pos x="36" y="26"/>
                    </a:cxn>
                    <a:cxn ang="0">
                      <a:pos x="38" y="30"/>
                    </a:cxn>
                    <a:cxn ang="0">
                      <a:pos x="44" y="30"/>
                    </a:cxn>
                    <a:cxn ang="0">
                      <a:pos x="40" y="32"/>
                    </a:cxn>
                    <a:cxn ang="0">
                      <a:pos x="32" y="34"/>
                    </a:cxn>
                    <a:cxn ang="0">
                      <a:pos x="34" y="36"/>
                    </a:cxn>
                    <a:cxn ang="0">
                      <a:pos x="34" y="38"/>
                    </a:cxn>
                    <a:cxn ang="0">
                      <a:pos x="26" y="40"/>
                    </a:cxn>
                    <a:cxn ang="0">
                      <a:pos x="36" y="40"/>
                    </a:cxn>
                    <a:cxn ang="0">
                      <a:pos x="24" y="42"/>
                    </a:cxn>
                    <a:cxn ang="0">
                      <a:pos x="24" y="44"/>
                    </a:cxn>
                    <a:cxn ang="0">
                      <a:pos x="18" y="48"/>
                    </a:cxn>
                    <a:cxn ang="0">
                      <a:pos x="20" y="52"/>
                    </a:cxn>
                    <a:cxn ang="0">
                      <a:pos x="28" y="48"/>
                    </a:cxn>
                    <a:cxn ang="0">
                      <a:pos x="24" y="54"/>
                    </a:cxn>
                    <a:cxn ang="0">
                      <a:pos x="16" y="54"/>
                    </a:cxn>
                    <a:cxn ang="0">
                      <a:pos x="12" y="60"/>
                    </a:cxn>
                  </a:cxnLst>
                  <a:rect l="0" t="0" r="r" b="b"/>
                  <a:pathLst>
                    <a:path w="164" h="94">
                      <a:moveTo>
                        <a:pt x="14" y="62"/>
                      </a:moveTo>
                      <a:lnTo>
                        <a:pt x="10" y="62"/>
                      </a:lnTo>
                      <a:lnTo>
                        <a:pt x="8" y="62"/>
                      </a:lnTo>
                      <a:lnTo>
                        <a:pt x="6" y="62"/>
                      </a:lnTo>
                      <a:lnTo>
                        <a:pt x="4" y="62"/>
                      </a:lnTo>
                      <a:lnTo>
                        <a:pt x="6" y="64"/>
                      </a:lnTo>
                      <a:lnTo>
                        <a:pt x="6" y="66"/>
                      </a:lnTo>
                      <a:lnTo>
                        <a:pt x="8" y="64"/>
                      </a:lnTo>
                      <a:lnTo>
                        <a:pt x="10" y="64"/>
                      </a:lnTo>
                      <a:lnTo>
                        <a:pt x="12" y="64"/>
                      </a:lnTo>
                      <a:lnTo>
                        <a:pt x="14" y="64"/>
                      </a:lnTo>
                      <a:lnTo>
                        <a:pt x="12" y="64"/>
                      </a:lnTo>
                      <a:lnTo>
                        <a:pt x="10" y="66"/>
                      </a:lnTo>
                      <a:lnTo>
                        <a:pt x="10" y="68"/>
                      </a:lnTo>
                      <a:lnTo>
                        <a:pt x="8" y="68"/>
                      </a:lnTo>
                      <a:lnTo>
                        <a:pt x="6" y="68"/>
                      </a:lnTo>
                      <a:lnTo>
                        <a:pt x="4" y="68"/>
                      </a:lnTo>
                      <a:lnTo>
                        <a:pt x="2" y="70"/>
                      </a:lnTo>
                      <a:lnTo>
                        <a:pt x="0" y="70"/>
                      </a:lnTo>
                      <a:lnTo>
                        <a:pt x="0" y="72"/>
                      </a:lnTo>
                      <a:lnTo>
                        <a:pt x="0" y="74"/>
                      </a:lnTo>
                      <a:lnTo>
                        <a:pt x="0" y="76"/>
                      </a:lnTo>
                      <a:lnTo>
                        <a:pt x="2" y="76"/>
                      </a:lnTo>
                      <a:lnTo>
                        <a:pt x="4" y="78"/>
                      </a:lnTo>
                      <a:lnTo>
                        <a:pt x="6" y="80"/>
                      </a:lnTo>
                      <a:lnTo>
                        <a:pt x="12" y="80"/>
                      </a:lnTo>
                      <a:lnTo>
                        <a:pt x="14" y="80"/>
                      </a:lnTo>
                      <a:lnTo>
                        <a:pt x="16" y="80"/>
                      </a:lnTo>
                      <a:lnTo>
                        <a:pt x="20" y="80"/>
                      </a:lnTo>
                      <a:lnTo>
                        <a:pt x="22" y="82"/>
                      </a:lnTo>
                      <a:lnTo>
                        <a:pt x="28" y="82"/>
                      </a:lnTo>
                      <a:lnTo>
                        <a:pt x="30" y="84"/>
                      </a:lnTo>
                      <a:lnTo>
                        <a:pt x="32" y="84"/>
                      </a:lnTo>
                      <a:lnTo>
                        <a:pt x="32" y="86"/>
                      </a:lnTo>
                      <a:lnTo>
                        <a:pt x="34" y="88"/>
                      </a:lnTo>
                      <a:lnTo>
                        <a:pt x="34" y="90"/>
                      </a:lnTo>
                      <a:lnTo>
                        <a:pt x="34" y="92"/>
                      </a:lnTo>
                      <a:lnTo>
                        <a:pt x="36" y="92"/>
                      </a:lnTo>
                      <a:lnTo>
                        <a:pt x="38" y="92"/>
                      </a:lnTo>
                      <a:lnTo>
                        <a:pt x="42" y="92"/>
                      </a:lnTo>
                      <a:lnTo>
                        <a:pt x="44" y="92"/>
                      </a:lnTo>
                      <a:lnTo>
                        <a:pt x="46" y="92"/>
                      </a:lnTo>
                      <a:lnTo>
                        <a:pt x="50" y="94"/>
                      </a:lnTo>
                      <a:lnTo>
                        <a:pt x="52" y="94"/>
                      </a:lnTo>
                      <a:lnTo>
                        <a:pt x="58" y="94"/>
                      </a:lnTo>
                      <a:lnTo>
                        <a:pt x="62" y="94"/>
                      </a:lnTo>
                      <a:lnTo>
                        <a:pt x="66" y="94"/>
                      </a:lnTo>
                      <a:lnTo>
                        <a:pt x="68" y="94"/>
                      </a:lnTo>
                      <a:lnTo>
                        <a:pt x="70" y="94"/>
                      </a:lnTo>
                      <a:lnTo>
                        <a:pt x="72" y="94"/>
                      </a:lnTo>
                      <a:lnTo>
                        <a:pt x="74" y="94"/>
                      </a:lnTo>
                      <a:lnTo>
                        <a:pt x="76" y="94"/>
                      </a:lnTo>
                      <a:lnTo>
                        <a:pt x="78" y="94"/>
                      </a:lnTo>
                      <a:lnTo>
                        <a:pt x="80" y="94"/>
                      </a:lnTo>
                      <a:lnTo>
                        <a:pt x="78" y="94"/>
                      </a:lnTo>
                      <a:lnTo>
                        <a:pt x="76" y="94"/>
                      </a:lnTo>
                      <a:lnTo>
                        <a:pt x="74" y="92"/>
                      </a:lnTo>
                      <a:lnTo>
                        <a:pt x="72" y="92"/>
                      </a:lnTo>
                      <a:lnTo>
                        <a:pt x="68" y="92"/>
                      </a:lnTo>
                      <a:lnTo>
                        <a:pt x="64" y="90"/>
                      </a:lnTo>
                      <a:lnTo>
                        <a:pt x="60" y="88"/>
                      </a:lnTo>
                      <a:lnTo>
                        <a:pt x="58" y="88"/>
                      </a:lnTo>
                      <a:lnTo>
                        <a:pt x="56" y="86"/>
                      </a:lnTo>
                      <a:lnTo>
                        <a:pt x="54" y="84"/>
                      </a:lnTo>
                      <a:lnTo>
                        <a:pt x="52" y="84"/>
                      </a:lnTo>
                      <a:lnTo>
                        <a:pt x="52" y="80"/>
                      </a:lnTo>
                      <a:lnTo>
                        <a:pt x="50" y="80"/>
                      </a:lnTo>
                      <a:lnTo>
                        <a:pt x="48" y="76"/>
                      </a:lnTo>
                      <a:lnTo>
                        <a:pt x="46" y="74"/>
                      </a:lnTo>
                      <a:lnTo>
                        <a:pt x="44" y="72"/>
                      </a:lnTo>
                      <a:lnTo>
                        <a:pt x="44" y="70"/>
                      </a:lnTo>
                      <a:lnTo>
                        <a:pt x="44" y="68"/>
                      </a:lnTo>
                      <a:lnTo>
                        <a:pt x="44" y="66"/>
                      </a:lnTo>
                      <a:lnTo>
                        <a:pt x="46" y="66"/>
                      </a:lnTo>
                      <a:lnTo>
                        <a:pt x="48" y="64"/>
                      </a:lnTo>
                      <a:lnTo>
                        <a:pt x="48" y="62"/>
                      </a:lnTo>
                      <a:lnTo>
                        <a:pt x="48" y="60"/>
                      </a:lnTo>
                      <a:lnTo>
                        <a:pt x="48" y="58"/>
                      </a:lnTo>
                      <a:lnTo>
                        <a:pt x="48" y="56"/>
                      </a:lnTo>
                      <a:lnTo>
                        <a:pt x="46" y="54"/>
                      </a:lnTo>
                      <a:lnTo>
                        <a:pt x="50" y="54"/>
                      </a:lnTo>
                      <a:lnTo>
                        <a:pt x="52" y="54"/>
                      </a:lnTo>
                      <a:lnTo>
                        <a:pt x="54" y="54"/>
                      </a:lnTo>
                      <a:lnTo>
                        <a:pt x="56" y="54"/>
                      </a:lnTo>
                      <a:lnTo>
                        <a:pt x="54" y="52"/>
                      </a:lnTo>
                      <a:lnTo>
                        <a:pt x="52" y="52"/>
                      </a:lnTo>
                      <a:lnTo>
                        <a:pt x="52" y="50"/>
                      </a:lnTo>
                      <a:lnTo>
                        <a:pt x="50" y="50"/>
                      </a:lnTo>
                      <a:lnTo>
                        <a:pt x="54" y="50"/>
                      </a:lnTo>
                      <a:lnTo>
                        <a:pt x="56" y="50"/>
                      </a:lnTo>
                      <a:lnTo>
                        <a:pt x="58" y="50"/>
                      </a:lnTo>
                      <a:lnTo>
                        <a:pt x="60" y="50"/>
                      </a:lnTo>
                      <a:lnTo>
                        <a:pt x="58" y="48"/>
                      </a:lnTo>
                      <a:lnTo>
                        <a:pt x="56" y="48"/>
                      </a:lnTo>
                      <a:lnTo>
                        <a:pt x="58" y="48"/>
                      </a:lnTo>
                      <a:lnTo>
                        <a:pt x="60" y="48"/>
                      </a:lnTo>
                      <a:lnTo>
                        <a:pt x="62" y="46"/>
                      </a:lnTo>
                      <a:lnTo>
                        <a:pt x="60" y="44"/>
                      </a:lnTo>
                      <a:lnTo>
                        <a:pt x="58" y="42"/>
                      </a:lnTo>
                      <a:lnTo>
                        <a:pt x="60" y="42"/>
                      </a:lnTo>
                      <a:lnTo>
                        <a:pt x="62" y="42"/>
                      </a:lnTo>
                      <a:lnTo>
                        <a:pt x="64" y="42"/>
                      </a:lnTo>
                      <a:lnTo>
                        <a:pt x="66" y="42"/>
                      </a:lnTo>
                      <a:lnTo>
                        <a:pt x="68" y="42"/>
                      </a:lnTo>
                      <a:lnTo>
                        <a:pt x="68" y="40"/>
                      </a:lnTo>
                      <a:lnTo>
                        <a:pt x="66" y="40"/>
                      </a:lnTo>
                      <a:lnTo>
                        <a:pt x="66" y="38"/>
                      </a:lnTo>
                      <a:lnTo>
                        <a:pt x="64" y="36"/>
                      </a:lnTo>
                      <a:lnTo>
                        <a:pt x="66" y="38"/>
                      </a:lnTo>
                      <a:lnTo>
                        <a:pt x="68" y="38"/>
                      </a:lnTo>
                      <a:lnTo>
                        <a:pt x="70" y="38"/>
                      </a:lnTo>
                      <a:lnTo>
                        <a:pt x="70" y="40"/>
                      </a:lnTo>
                      <a:lnTo>
                        <a:pt x="70" y="36"/>
                      </a:lnTo>
                      <a:lnTo>
                        <a:pt x="70" y="34"/>
                      </a:lnTo>
                      <a:lnTo>
                        <a:pt x="70" y="32"/>
                      </a:lnTo>
                      <a:lnTo>
                        <a:pt x="72" y="32"/>
                      </a:lnTo>
                      <a:lnTo>
                        <a:pt x="74" y="34"/>
                      </a:lnTo>
                      <a:lnTo>
                        <a:pt x="76" y="34"/>
                      </a:lnTo>
                      <a:lnTo>
                        <a:pt x="78" y="34"/>
                      </a:lnTo>
                      <a:lnTo>
                        <a:pt x="80" y="32"/>
                      </a:lnTo>
                      <a:lnTo>
                        <a:pt x="82" y="32"/>
                      </a:lnTo>
                      <a:lnTo>
                        <a:pt x="84" y="32"/>
                      </a:lnTo>
                      <a:lnTo>
                        <a:pt x="86" y="30"/>
                      </a:lnTo>
                      <a:lnTo>
                        <a:pt x="88" y="28"/>
                      </a:lnTo>
                      <a:lnTo>
                        <a:pt x="90" y="28"/>
                      </a:lnTo>
                      <a:lnTo>
                        <a:pt x="92" y="26"/>
                      </a:lnTo>
                      <a:lnTo>
                        <a:pt x="94" y="26"/>
                      </a:lnTo>
                      <a:lnTo>
                        <a:pt x="94" y="24"/>
                      </a:lnTo>
                      <a:lnTo>
                        <a:pt x="98" y="24"/>
                      </a:lnTo>
                      <a:lnTo>
                        <a:pt x="102" y="24"/>
                      </a:lnTo>
                      <a:lnTo>
                        <a:pt x="106" y="24"/>
                      </a:lnTo>
                      <a:lnTo>
                        <a:pt x="110" y="22"/>
                      </a:lnTo>
                      <a:lnTo>
                        <a:pt x="116" y="22"/>
                      </a:lnTo>
                      <a:lnTo>
                        <a:pt x="120" y="20"/>
                      </a:lnTo>
                      <a:lnTo>
                        <a:pt x="130" y="20"/>
                      </a:lnTo>
                      <a:lnTo>
                        <a:pt x="136" y="18"/>
                      </a:lnTo>
                      <a:lnTo>
                        <a:pt x="140" y="18"/>
                      </a:lnTo>
                      <a:lnTo>
                        <a:pt x="144" y="16"/>
                      </a:lnTo>
                      <a:lnTo>
                        <a:pt x="148" y="16"/>
                      </a:lnTo>
                      <a:lnTo>
                        <a:pt x="150" y="16"/>
                      </a:lnTo>
                      <a:lnTo>
                        <a:pt x="152" y="16"/>
                      </a:lnTo>
                      <a:lnTo>
                        <a:pt x="152" y="14"/>
                      </a:lnTo>
                      <a:lnTo>
                        <a:pt x="156" y="14"/>
                      </a:lnTo>
                      <a:lnTo>
                        <a:pt x="158" y="12"/>
                      </a:lnTo>
                      <a:lnTo>
                        <a:pt x="162" y="10"/>
                      </a:lnTo>
                      <a:lnTo>
                        <a:pt x="162" y="8"/>
                      </a:lnTo>
                      <a:lnTo>
                        <a:pt x="164" y="8"/>
                      </a:lnTo>
                      <a:lnTo>
                        <a:pt x="164" y="6"/>
                      </a:lnTo>
                      <a:lnTo>
                        <a:pt x="162" y="4"/>
                      </a:lnTo>
                      <a:lnTo>
                        <a:pt x="160" y="2"/>
                      </a:lnTo>
                      <a:lnTo>
                        <a:pt x="158" y="2"/>
                      </a:lnTo>
                      <a:lnTo>
                        <a:pt x="154" y="0"/>
                      </a:lnTo>
                      <a:lnTo>
                        <a:pt x="152" y="0"/>
                      </a:lnTo>
                      <a:lnTo>
                        <a:pt x="148" y="0"/>
                      </a:lnTo>
                      <a:lnTo>
                        <a:pt x="142" y="0"/>
                      </a:lnTo>
                      <a:lnTo>
                        <a:pt x="140" y="0"/>
                      </a:lnTo>
                      <a:lnTo>
                        <a:pt x="136" y="2"/>
                      </a:lnTo>
                      <a:lnTo>
                        <a:pt x="132" y="2"/>
                      </a:lnTo>
                      <a:lnTo>
                        <a:pt x="130" y="2"/>
                      </a:lnTo>
                      <a:lnTo>
                        <a:pt x="128" y="4"/>
                      </a:lnTo>
                      <a:lnTo>
                        <a:pt x="126" y="4"/>
                      </a:lnTo>
                      <a:lnTo>
                        <a:pt x="122" y="6"/>
                      </a:lnTo>
                      <a:lnTo>
                        <a:pt x="118" y="8"/>
                      </a:lnTo>
                      <a:lnTo>
                        <a:pt x="114" y="8"/>
                      </a:lnTo>
                      <a:lnTo>
                        <a:pt x="110" y="10"/>
                      </a:lnTo>
                      <a:lnTo>
                        <a:pt x="106" y="10"/>
                      </a:lnTo>
                      <a:lnTo>
                        <a:pt x="102" y="10"/>
                      </a:lnTo>
                      <a:lnTo>
                        <a:pt x="100" y="10"/>
                      </a:lnTo>
                      <a:lnTo>
                        <a:pt x="92" y="10"/>
                      </a:lnTo>
                      <a:lnTo>
                        <a:pt x="90" y="10"/>
                      </a:lnTo>
                      <a:lnTo>
                        <a:pt x="88" y="10"/>
                      </a:lnTo>
                      <a:lnTo>
                        <a:pt x="86" y="8"/>
                      </a:lnTo>
                      <a:lnTo>
                        <a:pt x="84" y="8"/>
                      </a:lnTo>
                      <a:lnTo>
                        <a:pt x="82" y="8"/>
                      </a:lnTo>
                      <a:lnTo>
                        <a:pt x="80" y="10"/>
                      </a:lnTo>
                      <a:lnTo>
                        <a:pt x="80" y="12"/>
                      </a:lnTo>
                      <a:lnTo>
                        <a:pt x="78" y="14"/>
                      </a:lnTo>
                      <a:lnTo>
                        <a:pt x="74" y="14"/>
                      </a:lnTo>
                      <a:lnTo>
                        <a:pt x="72" y="14"/>
                      </a:lnTo>
                      <a:lnTo>
                        <a:pt x="72" y="12"/>
                      </a:lnTo>
                      <a:lnTo>
                        <a:pt x="70" y="12"/>
                      </a:lnTo>
                      <a:lnTo>
                        <a:pt x="68" y="14"/>
                      </a:lnTo>
                      <a:lnTo>
                        <a:pt x="66" y="14"/>
                      </a:lnTo>
                      <a:lnTo>
                        <a:pt x="64" y="14"/>
                      </a:lnTo>
                      <a:lnTo>
                        <a:pt x="64" y="16"/>
                      </a:lnTo>
                      <a:lnTo>
                        <a:pt x="60" y="16"/>
                      </a:lnTo>
                      <a:lnTo>
                        <a:pt x="58" y="16"/>
                      </a:lnTo>
                      <a:lnTo>
                        <a:pt x="58" y="18"/>
                      </a:lnTo>
                      <a:lnTo>
                        <a:pt x="56" y="18"/>
                      </a:lnTo>
                      <a:lnTo>
                        <a:pt x="54" y="18"/>
                      </a:lnTo>
                      <a:lnTo>
                        <a:pt x="52" y="18"/>
                      </a:lnTo>
                      <a:lnTo>
                        <a:pt x="50" y="18"/>
                      </a:lnTo>
                      <a:lnTo>
                        <a:pt x="48" y="18"/>
                      </a:lnTo>
                      <a:lnTo>
                        <a:pt x="46" y="20"/>
                      </a:lnTo>
                      <a:lnTo>
                        <a:pt x="44" y="20"/>
                      </a:lnTo>
                      <a:lnTo>
                        <a:pt x="46" y="22"/>
                      </a:lnTo>
                      <a:lnTo>
                        <a:pt x="48" y="22"/>
                      </a:lnTo>
                      <a:lnTo>
                        <a:pt x="48" y="24"/>
                      </a:lnTo>
                      <a:lnTo>
                        <a:pt x="46" y="24"/>
                      </a:lnTo>
                      <a:lnTo>
                        <a:pt x="44" y="24"/>
                      </a:lnTo>
                      <a:lnTo>
                        <a:pt x="42" y="24"/>
                      </a:lnTo>
                      <a:lnTo>
                        <a:pt x="40" y="24"/>
                      </a:lnTo>
                      <a:lnTo>
                        <a:pt x="38" y="24"/>
                      </a:lnTo>
                      <a:lnTo>
                        <a:pt x="36" y="24"/>
                      </a:lnTo>
                      <a:lnTo>
                        <a:pt x="34" y="24"/>
                      </a:lnTo>
                      <a:lnTo>
                        <a:pt x="32" y="24"/>
                      </a:lnTo>
                      <a:lnTo>
                        <a:pt x="32" y="26"/>
                      </a:lnTo>
                      <a:lnTo>
                        <a:pt x="30" y="26"/>
                      </a:lnTo>
                      <a:lnTo>
                        <a:pt x="30" y="28"/>
                      </a:lnTo>
                      <a:lnTo>
                        <a:pt x="30" y="30"/>
                      </a:lnTo>
                      <a:lnTo>
                        <a:pt x="34" y="28"/>
                      </a:lnTo>
                      <a:lnTo>
                        <a:pt x="36" y="26"/>
                      </a:lnTo>
                      <a:lnTo>
                        <a:pt x="38" y="26"/>
                      </a:lnTo>
                      <a:lnTo>
                        <a:pt x="38" y="28"/>
                      </a:lnTo>
                      <a:lnTo>
                        <a:pt x="38" y="30"/>
                      </a:lnTo>
                      <a:lnTo>
                        <a:pt x="40" y="30"/>
                      </a:lnTo>
                      <a:lnTo>
                        <a:pt x="42" y="30"/>
                      </a:lnTo>
                      <a:lnTo>
                        <a:pt x="44" y="30"/>
                      </a:lnTo>
                      <a:lnTo>
                        <a:pt x="44" y="32"/>
                      </a:lnTo>
                      <a:lnTo>
                        <a:pt x="42" y="32"/>
                      </a:lnTo>
                      <a:lnTo>
                        <a:pt x="40" y="32"/>
                      </a:lnTo>
                      <a:lnTo>
                        <a:pt x="36" y="32"/>
                      </a:lnTo>
                      <a:lnTo>
                        <a:pt x="34" y="32"/>
                      </a:lnTo>
                      <a:lnTo>
                        <a:pt x="32" y="34"/>
                      </a:lnTo>
                      <a:lnTo>
                        <a:pt x="32" y="36"/>
                      </a:lnTo>
                      <a:lnTo>
                        <a:pt x="30" y="36"/>
                      </a:lnTo>
                      <a:lnTo>
                        <a:pt x="34" y="36"/>
                      </a:lnTo>
                      <a:lnTo>
                        <a:pt x="36" y="36"/>
                      </a:lnTo>
                      <a:lnTo>
                        <a:pt x="38" y="36"/>
                      </a:lnTo>
                      <a:lnTo>
                        <a:pt x="36" y="38"/>
                      </a:lnTo>
                      <a:lnTo>
                        <a:pt x="34" y="38"/>
                      </a:lnTo>
                      <a:lnTo>
                        <a:pt x="32" y="38"/>
                      </a:lnTo>
                      <a:lnTo>
                        <a:pt x="30" y="38"/>
                      </a:lnTo>
                      <a:lnTo>
                        <a:pt x="28" y="38"/>
                      </a:lnTo>
                      <a:lnTo>
                        <a:pt x="26" y="38"/>
                      </a:lnTo>
                      <a:lnTo>
                        <a:pt x="26" y="40"/>
                      </a:lnTo>
                      <a:lnTo>
                        <a:pt x="30" y="40"/>
                      </a:lnTo>
                      <a:lnTo>
                        <a:pt x="32" y="40"/>
                      </a:lnTo>
                      <a:lnTo>
                        <a:pt x="34" y="40"/>
                      </a:lnTo>
                      <a:lnTo>
                        <a:pt x="36" y="40"/>
                      </a:lnTo>
                      <a:lnTo>
                        <a:pt x="34" y="40"/>
                      </a:lnTo>
                      <a:lnTo>
                        <a:pt x="32" y="40"/>
                      </a:lnTo>
                      <a:lnTo>
                        <a:pt x="28" y="40"/>
                      </a:lnTo>
                      <a:lnTo>
                        <a:pt x="26" y="40"/>
                      </a:lnTo>
                      <a:lnTo>
                        <a:pt x="24" y="42"/>
                      </a:lnTo>
                      <a:lnTo>
                        <a:pt x="24" y="44"/>
                      </a:lnTo>
                      <a:lnTo>
                        <a:pt x="24" y="46"/>
                      </a:lnTo>
                      <a:lnTo>
                        <a:pt x="22" y="46"/>
                      </a:lnTo>
                      <a:lnTo>
                        <a:pt x="20" y="46"/>
                      </a:lnTo>
                      <a:lnTo>
                        <a:pt x="18" y="46"/>
                      </a:lnTo>
                      <a:lnTo>
                        <a:pt x="18" y="48"/>
                      </a:lnTo>
                      <a:lnTo>
                        <a:pt x="20" y="50"/>
                      </a:lnTo>
                      <a:lnTo>
                        <a:pt x="20" y="52"/>
                      </a:lnTo>
                      <a:lnTo>
                        <a:pt x="22" y="50"/>
                      </a:lnTo>
                      <a:lnTo>
                        <a:pt x="24" y="50"/>
                      </a:lnTo>
                      <a:lnTo>
                        <a:pt x="26" y="48"/>
                      </a:lnTo>
                      <a:lnTo>
                        <a:pt x="28" y="48"/>
                      </a:lnTo>
                      <a:lnTo>
                        <a:pt x="26" y="50"/>
                      </a:lnTo>
                      <a:lnTo>
                        <a:pt x="26" y="52"/>
                      </a:lnTo>
                      <a:lnTo>
                        <a:pt x="24" y="52"/>
                      </a:lnTo>
                      <a:lnTo>
                        <a:pt x="24" y="54"/>
                      </a:lnTo>
                      <a:lnTo>
                        <a:pt x="22" y="54"/>
                      </a:lnTo>
                      <a:lnTo>
                        <a:pt x="20" y="54"/>
                      </a:lnTo>
                      <a:lnTo>
                        <a:pt x="18" y="54"/>
                      </a:lnTo>
                      <a:lnTo>
                        <a:pt x="16" y="54"/>
                      </a:lnTo>
                      <a:lnTo>
                        <a:pt x="14" y="56"/>
                      </a:lnTo>
                      <a:lnTo>
                        <a:pt x="12" y="58"/>
                      </a:lnTo>
                      <a:lnTo>
                        <a:pt x="12" y="60"/>
                      </a:lnTo>
                      <a:lnTo>
                        <a:pt x="14" y="60"/>
                      </a:lnTo>
                      <a:lnTo>
                        <a:pt x="14" y="6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9" name="Freeform 168">
                  <a:extLst>
                    <a:ext uri="{FF2B5EF4-FFF2-40B4-BE49-F238E27FC236}">
                      <a16:creationId xmlns:a16="http://schemas.microsoft.com/office/drawing/2014/main" id="{8711A36A-B10A-437E-86C2-1B3699E6EC45}"/>
                    </a:ext>
                  </a:extLst>
                </p:cNvPr>
                <p:cNvSpPr>
                  <a:spLocks noChangeAspect="1"/>
                </p:cNvSpPr>
                <p:nvPr/>
              </p:nvSpPr>
              <p:spPr bwMode="auto">
                <a:xfrm>
                  <a:off x="5458505" y="1988434"/>
                  <a:ext cx="46042" cy="24416"/>
                </a:xfrm>
                <a:custGeom>
                  <a:avLst/>
                  <a:gdLst/>
                  <a:ahLst/>
                  <a:cxnLst>
                    <a:cxn ang="0">
                      <a:pos x="6" y="14"/>
                    </a:cxn>
                    <a:cxn ang="0">
                      <a:pos x="10" y="14"/>
                    </a:cxn>
                    <a:cxn ang="0">
                      <a:pos x="12" y="14"/>
                    </a:cxn>
                    <a:cxn ang="0">
                      <a:pos x="14" y="14"/>
                    </a:cxn>
                    <a:cxn ang="0">
                      <a:pos x="16" y="14"/>
                    </a:cxn>
                    <a:cxn ang="0">
                      <a:pos x="16" y="14"/>
                    </a:cxn>
                    <a:cxn ang="0">
                      <a:pos x="18" y="12"/>
                    </a:cxn>
                    <a:cxn ang="0">
                      <a:pos x="20" y="10"/>
                    </a:cxn>
                    <a:cxn ang="0">
                      <a:pos x="20" y="10"/>
                    </a:cxn>
                    <a:cxn ang="0">
                      <a:pos x="22" y="8"/>
                    </a:cxn>
                    <a:cxn ang="0">
                      <a:pos x="24" y="6"/>
                    </a:cxn>
                    <a:cxn ang="0">
                      <a:pos x="24" y="6"/>
                    </a:cxn>
                    <a:cxn ang="0">
                      <a:pos x="26" y="6"/>
                    </a:cxn>
                    <a:cxn ang="0">
                      <a:pos x="26" y="6"/>
                    </a:cxn>
                    <a:cxn ang="0">
                      <a:pos x="26" y="6"/>
                    </a:cxn>
                    <a:cxn ang="0">
                      <a:pos x="28" y="6"/>
                    </a:cxn>
                    <a:cxn ang="0">
                      <a:pos x="28" y="6"/>
                    </a:cxn>
                    <a:cxn ang="0">
                      <a:pos x="28" y="6"/>
                    </a:cxn>
                    <a:cxn ang="0">
                      <a:pos x="28" y="6"/>
                    </a:cxn>
                    <a:cxn ang="0">
                      <a:pos x="28" y="6"/>
                    </a:cxn>
                    <a:cxn ang="0">
                      <a:pos x="26" y="4"/>
                    </a:cxn>
                    <a:cxn ang="0">
                      <a:pos x="24" y="4"/>
                    </a:cxn>
                    <a:cxn ang="0">
                      <a:pos x="22" y="2"/>
                    </a:cxn>
                    <a:cxn ang="0">
                      <a:pos x="20" y="2"/>
                    </a:cxn>
                    <a:cxn ang="0">
                      <a:pos x="18" y="2"/>
                    </a:cxn>
                    <a:cxn ang="0">
                      <a:pos x="16" y="0"/>
                    </a:cxn>
                    <a:cxn ang="0">
                      <a:pos x="14" y="0"/>
                    </a:cxn>
                    <a:cxn ang="0">
                      <a:pos x="12" y="0"/>
                    </a:cxn>
                    <a:cxn ang="0">
                      <a:pos x="8" y="0"/>
                    </a:cxn>
                    <a:cxn ang="0">
                      <a:pos x="6" y="2"/>
                    </a:cxn>
                    <a:cxn ang="0">
                      <a:pos x="4" y="2"/>
                    </a:cxn>
                    <a:cxn ang="0">
                      <a:pos x="2" y="4"/>
                    </a:cxn>
                    <a:cxn ang="0">
                      <a:pos x="0" y="4"/>
                    </a:cxn>
                    <a:cxn ang="0">
                      <a:pos x="0" y="6"/>
                    </a:cxn>
                    <a:cxn ang="0">
                      <a:pos x="0" y="6"/>
                    </a:cxn>
                    <a:cxn ang="0">
                      <a:pos x="0" y="6"/>
                    </a:cxn>
                    <a:cxn ang="0">
                      <a:pos x="0" y="8"/>
                    </a:cxn>
                    <a:cxn ang="0">
                      <a:pos x="0" y="8"/>
                    </a:cxn>
                    <a:cxn ang="0">
                      <a:pos x="0" y="8"/>
                    </a:cxn>
                    <a:cxn ang="0">
                      <a:pos x="0" y="10"/>
                    </a:cxn>
                    <a:cxn ang="0">
                      <a:pos x="2" y="12"/>
                    </a:cxn>
                    <a:cxn ang="0">
                      <a:pos x="4" y="12"/>
                    </a:cxn>
                    <a:cxn ang="0">
                      <a:pos x="6" y="14"/>
                    </a:cxn>
                    <a:cxn ang="0">
                      <a:pos x="6" y="14"/>
                    </a:cxn>
                    <a:cxn ang="0">
                      <a:pos x="6" y="14"/>
                    </a:cxn>
                  </a:cxnLst>
                  <a:rect l="0" t="0" r="r" b="b"/>
                  <a:pathLst>
                    <a:path w="28" h="14">
                      <a:moveTo>
                        <a:pt x="6" y="14"/>
                      </a:moveTo>
                      <a:lnTo>
                        <a:pt x="10" y="14"/>
                      </a:lnTo>
                      <a:lnTo>
                        <a:pt x="12" y="14"/>
                      </a:lnTo>
                      <a:lnTo>
                        <a:pt x="14" y="14"/>
                      </a:lnTo>
                      <a:lnTo>
                        <a:pt x="16" y="14"/>
                      </a:lnTo>
                      <a:lnTo>
                        <a:pt x="18" y="12"/>
                      </a:lnTo>
                      <a:lnTo>
                        <a:pt x="20" y="10"/>
                      </a:lnTo>
                      <a:lnTo>
                        <a:pt x="22" y="8"/>
                      </a:lnTo>
                      <a:lnTo>
                        <a:pt x="24" y="6"/>
                      </a:lnTo>
                      <a:lnTo>
                        <a:pt x="26" y="6"/>
                      </a:lnTo>
                      <a:lnTo>
                        <a:pt x="28" y="6"/>
                      </a:lnTo>
                      <a:lnTo>
                        <a:pt x="26" y="4"/>
                      </a:lnTo>
                      <a:lnTo>
                        <a:pt x="24" y="4"/>
                      </a:lnTo>
                      <a:lnTo>
                        <a:pt x="22" y="2"/>
                      </a:lnTo>
                      <a:lnTo>
                        <a:pt x="20" y="2"/>
                      </a:lnTo>
                      <a:lnTo>
                        <a:pt x="18" y="2"/>
                      </a:lnTo>
                      <a:lnTo>
                        <a:pt x="16" y="0"/>
                      </a:lnTo>
                      <a:lnTo>
                        <a:pt x="14" y="0"/>
                      </a:lnTo>
                      <a:lnTo>
                        <a:pt x="12" y="0"/>
                      </a:lnTo>
                      <a:lnTo>
                        <a:pt x="8" y="0"/>
                      </a:lnTo>
                      <a:lnTo>
                        <a:pt x="6" y="2"/>
                      </a:lnTo>
                      <a:lnTo>
                        <a:pt x="4" y="2"/>
                      </a:lnTo>
                      <a:lnTo>
                        <a:pt x="2" y="4"/>
                      </a:lnTo>
                      <a:lnTo>
                        <a:pt x="0" y="4"/>
                      </a:lnTo>
                      <a:lnTo>
                        <a:pt x="0" y="6"/>
                      </a:lnTo>
                      <a:lnTo>
                        <a:pt x="0" y="8"/>
                      </a:lnTo>
                      <a:lnTo>
                        <a:pt x="0" y="10"/>
                      </a:lnTo>
                      <a:lnTo>
                        <a:pt x="2" y="12"/>
                      </a:lnTo>
                      <a:lnTo>
                        <a:pt x="4" y="12"/>
                      </a:lnTo>
                      <a:lnTo>
                        <a:pt x="6"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0" name="Freeform 182">
                  <a:extLst>
                    <a:ext uri="{FF2B5EF4-FFF2-40B4-BE49-F238E27FC236}">
                      <a16:creationId xmlns:a16="http://schemas.microsoft.com/office/drawing/2014/main" id="{4DB86E4D-E8DF-42E6-AF85-931E3270CD18}"/>
                    </a:ext>
                  </a:extLst>
                </p:cNvPr>
                <p:cNvSpPr>
                  <a:spLocks noChangeAspect="1" noEditPoints="1"/>
                </p:cNvSpPr>
                <p:nvPr/>
              </p:nvSpPr>
              <p:spPr bwMode="auto">
                <a:xfrm>
                  <a:off x="5287491" y="1678008"/>
                  <a:ext cx="338739" cy="45343"/>
                </a:xfrm>
                <a:custGeom>
                  <a:avLst/>
                  <a:gdLst/>
                  <a:ahLst/>
                  <a:cxnLst>
                    <a:cxn ang="0">
                      <a:pos x="168" y="2"/>
                    </a:cxn>
                    <a:cxn ang="0">
                      <a:pos x="178" y="4"/>
                    </a:cxn>
                    <a:cxn ang="0">
                      <a:pos x="206" y="10"/>
                    </a:cxn>
                    <a:cxn ang="0">
                      <a:pos x="198" y="6"/>
                    </a:cxn>
                    <a:cxn ang="0">
                      <a:pos x="186" y="10"/>
                    </a:cxn>
                    <a:cxn ang="0">
                      <a:pos x="204" y="12"/>
                    </a:cxn>
                    <a:cxn ang="0">
                      <a:pos x="152" y="6"/>
                    </a:cxn>
                    <a:cxn ang="0">
                      <a:pos x="160" y="20"/>
                    </a:cxn>
                    <a:cxn ang="0">
                      <a:pos x="164" y="24"/>
                    </a:cxn>
                    <a:cxn ang="0">
                      <a:pos x="166" y="10"/>
                    </a:cxn>
                    <a:cxn ang="0">
                      <a:pos x="158" y="12"/>
                    </a:cxn>
                    <a:cxn ang="0">
                      <a:pos x="152" y="14"/>
                    </a:cxn>
                    <a:cxn ang="0">
                      <a:pos x="156" y="18"/>
                    </a:cxn>
                    <a:cxn ang="0">
                      <a:pos x="162" y="16"/>
                    </a:cxn>
                    <a:cxn ang="0">
                      <a:pos x="174" y="14"/>
                    </a:cxn>
                    <a:cxn ang="0">
                      <a:pos x="166" y="10"/>
                    </a:cxn>
                    <a:cxn ang="0">
                      <a:pos x="166" y="10"/>
                    </a:cxn>
                    <a:cxn ang="0">
                      <a:pos x="22" y="20"/>
                    </a:cxn>
                    <a:cxn ang="0">
                      <a:pos x="28" y="16"/>
                    </a:cxn>
                    <a:cxn ang="0">
                      <a:pos x="26" y="10"/>
                    </a:cxn>
                    <a:cxn ang="0">
                      <a:pos x="0" y="12"/>
                    </a:cxn>
                    <a:cxn ang="0">
                      <a:pos x="10" y="16"/>
                    </a:cxn>
                    <a:cxn ang="0">
                      <a:pos x="24" y="14"/>
                    </a:cxn>
                    <a:cxn ang="0">
                      <a:pos x="28" y="12"/>
                    </a:cxn>
                    <a:cxn ang="0">
                      <a:pos x="66" y="14"/>
                    </a:cxn>
                    <a:cxn ang="0">
                      <a:pos x="56" y="12"/>
                    </a:cxn>
                    <a:cxn ang="0">
                      <a:pos x="48" y="8"/>
                    </a:cxn>
                    <a:cxn ang="0">
                      <a:pos x="38" y="16"/>
                    </a:cxn>
                    <a:cxn ang="0">
                      <a:pos x="32" y="20"/>
                    </a:cxn>
                    <a:cxn ang="0">
                      <a:pos x="44" y="22"/>
                    </a:cxn>
                    <a:cxn ang="0">
                      <a:pos x="52" y="20"/>
                    </a:cxn>
                    <a:cxn ang="0">
                      <a:pos x="52" y="22"/>
                    </a:cxn>
                    <a:cxn ang="0">
                      <a:pos x="58" y="24"/>
                    </a:cxn>
                    <a:cxn ang="0">
                      <a:pos x="68" y="24"/>
                    </a:cxn>
                    <a:cxn ang="0">
                      <a:pos x="94" y="16"/>
                    </a:cxn>
                    <a:cxn ang="0">
                      <a:pos x="82" y="18"/>
                    </a:cxn>
                    <a:cxn ang="0">
                      <a:pos x="98" y="16"/>
                    </a:cxn>
                    <a:cxn ang="0">
                      <a:pos x="138" y="2"/>
                    </a:cxn>
                    <a:cxn ang="0">
                      <a:pos x="136" y="2"/>
                    </a:cxn>
                    <a:cxn ang="0">
                      <a:pos x="140" y="10"/>
                    </a:cxn>
                    <a:cxn ang="0">
                      <a:pos x="140" y="14"/>
                    </a:cxn>
                    <a:cxn ang="0">
                      <a:pos x="130" y="18"/>
                    </a:cxn>
                    <a:cxn ang="0">
                      <a:pos x="134" y="20"/>
                    </a:cxn>
                    <a:cxn ang="0">
                      <a:pos x="142" y="18"/>
                    </a:cxn>
                    <a:cxn ang="0">
                      <a:pos x="126" y="20"/>
                    </a:cxn>
                    <a:cxn ang="0">
                      <a:pos x="116" y="22"/>
                    </a:cxn>
                    <a:cxn ang="0">
                      <a:pos x="126" y="22"/>
                    </a:cxn>
                    <a:cxn ang="0">
                      <a:pos x="92" y="8"/>
                    </a:cxn>
                    <a:cxn ang="0">
                      <a:pos x="90" y="12"/>
                    </a:cxn>
                    <a:cxn ang="0">
                      <a:pos x="98" y="8"/>
                    </a:cxn>
                    <a:cxn ang="0">
                      <a:pos x="104" y="14"/>
                    </a:cxn>
                    <a:cxn ang="0">
                      <a:pos x="110" y="16"/>
                    </a:cxn>
                    <a:cxn ang="0">
                      <a:pos x="130" y="6"/>
                    </a:cxn>
                    <a:cxn ang="0">
                      <a:pos x="106" y="10"/>
                    </a:cxn>
                    <a:cxn ang="0">
                      <a:pos x="108" y="10"/>
                    </a:cxn>
                    <a:cxn ang="0">
                      <a:pos x="112" y="12"/>
                    </a:cxn>
                    <a:cxn ang="0">
                      <a:pos x="128" y="14"/>
                    </a:cxn>
                    <a:cxn ang="0">
                      <a:pos x="128" y="10"/>
                    </a:cxn>
                    <a:cxn ang="0">
                      <a:pos x="120" y="12"/>
                    </a:cxn>
                    <a:cxn ang="0">
                      <a:pos x="110" y="8"/>
                    </a:cxn>
                    <a:cxn ang="0">
                      <a:pos x="116" y="2"/>
                    </a:cxn>
                    <a:cxn ang="0">
                      <a:pos x="110" y="6"/>
                    </a:cxn>
                  </a:cxnLst>
                  <a:rect l="0" t="0" r="r" b="b"/>
                  <a:pathLst>
                    <a:path w="206" h="26">
                      <a:moveTo>
                        <a:pt x="186" y="0"/>
                      </a:moveTo>
                      <a:lnTo>
                        <a:pt x="186" y="0"/>
                      </a:lnTo>
                      <a:lnTo>
                        <a:pt x="166" y="0"/>
                      </a:lnTo>
                      <a:lnTo>
                        <a:pt x="166" y="4"/>
                      </a:lnTo>
                      <a:lnTo>
                        <a:pt x="168" y="2"/>
                      </a:lnTo>
                      <a:lnTo>
                        <a:pt x="172" y="2"/>
                      </a:lnTo>
                      <a:lnTo>
                        <a:pt x="174" y="2"/>
                      </a:lnTo>
                      <a:lnTo>
                        <a:pt x="176" y="2"/>
                      </a:lnTo>
                      <a:lnTo>
                        <a:pt x="178" y="4"/>
                      </a:lnTo>
                      <a:lnTo>
                        <a:pt x="182" y="4"/>
                      </a:lnTo>
                      <a:lnTo>
                        <a:pt x="182" y="2"/>
                      </a:lnTo>
                      <a:lnTo>
                        <a:pt x="184" y="2"/>
                      </a:lnTo>
                      <a:lnTo>
                        <a:pt x="186" y="0"/>
                      </a:lnTo>
                      <a:close/>
                      <a:moveTo>
                        <a:pt x="206" y="10"/>
                      </a:moveTo>
                      <a:lnTo>
                        <a:pt x="206" y="8"/>
                      </a:lnTo>
                      <a:lnTo>
                        <a:pt x="204" y="8"/>
                      </a:lnTo>
                      <a:lnTo>
                        <a:pt x="202" y="6"/>
                      </a:lnTo>
                      <a:lnTo>
                        <a:pt x="200" y="6"/>
                      </a:lnTo>
                      <a:lnTo>
                        <a:pt x="198" y="6"/>
                      </a:lnTo>
                      <a:lnTo>
                        <a:pt x="196" y="6"/>
                      </a:lnTo>
                      <a:lnTo>
                        <a:pt x="192" y="6"/>
                      </a:lnTo>
                      <a:lnTo>
                        <a:pt x="190" y="8"/>
                      </a:lnTo>
                      <a:lnTo>
                        <a:pt x="188" y="10"/>
                      </a:lnTo>
                      <a:lnTo>
                        <a:pt x="186" y="10"/>
                      </a:lnTo>
                      <a:lnTo>
                        <a:pt x="184" y="12"/>
                      </a:lnTo>
                      <a:lnTo>
                        <a:pt x="196" y="12"/>
                      </a:lnTo>
                      <a:lnTo>
                        <a:pt x="204" y="12"/>
                      </a:lnTo>
                      <a:lnTo>
                        <a:pt x="206" y="12"/>
                      </a:lnTo>
                      <a:lnTo>
                        <a:pt x="206" y="10"/>
                      </a:lnTo>
                      <a:close/>
                      <a:moveTo>
                        <a:pt x="152" y="6"/>
                      </a:moveTo>
                      <a:lnTo>
                        <a:pt x="144" y="6"/>
                      </a:lnTo>
                      <a:lnTo>
                        <a:pt x="146" y="8"/>
                      </a:lnTo>
                      <a:lnTo>
                        <a:pt x="152" y="6"/>
                      </a:lnTo>
                      <a:close/>
                      <a:moveTo>
                        <a:pt x="160" y="20"/>
                      </a:moveTo>
                      <a:lnTo>
                        <a:pt x="158" y="20"/>
                      </a:lnTo>
                      <a:lnTo>
                        <a:pt x="156" y="18"/>
                      </a:lnTo>
                      <a:lnTo>
                        <a:pt x="146" y="24"/>
                      </a:lnTo>
                      <a:lnTo>
                        <a:pt x="164" y="24"/>
                      </a:lnTo>
                      <a:lnTo>
                        <a:pt x="162" y="22"/>
                      </a:lnTo>
                      <a:lnTo>
                        <a:pt x="160" y="20"/>
                      </a:lnTo>
                      <a:close/>
                      <a:moveTo>
                        <a:pt x="170" y="12"/>
                      </a:moveTo>
                      <a:lnTo>
                        <a:pt x="166" y="12"/>
                      </a:lnTo>
                      <a:lnTo>
                        <a:pt x="166" y="10"/>
                      </a:lnTo>
                      <a:lnTo>
                        <a:pt x="164" y="10"/>
                      </a:lnTo>
                      <a:lnTo>
                        <a:pt x="162" y="12"/>
                      </a:lnTo>
                      <a:lnTo>
                        <a:pt x="160" y="12"/>
                      </a:lnTo>
                      <a:lnTo>
                        <a:pt x="158" y="12"/>
                      </a:lnTo>
                      <a:lnTo>
                        <a:pt x="156" y="12"/>
                      </a:lnTo>
                      <a:lnTo>
                        <a:pt x="154" y="12"/>
                      </a:lnTo>
                      <a:lnTo>
                        <a:pt x="152" y="12"/>
                      </a:lnTo>
                      <a:lnTo>
                        <a:pt x="150" y="12"/>
                      </a:lnTo>
                      <a:lnTo>
                        <a:pt x="152" y="14"/>
                      </a:lnTo>
                      <a:lnTo>
                        <a:pt x="154" y="16"/>
                      </a:lnTo>
                      <a:lnTo>
                        <a:pt x="154" y="18"/>
                      </a:lnTo>
                      <a:lnTo>
                        <a:pt x="156" y="18"/>
                      </a:lnTo>
                      <a:lnTo>
                        <a:pt x="158" y="16"/>
                      </a:lnTo>
                      <a:lnTo>
                        <a:pt x="160" y="16"/>
                      </a:lnTo>
                      <a:lnTo>
                        <a:pt x="160" y="14"/>
                      </a:lnTo>
                      <a:lnTo>
                        <a:pt x="160" y="16"/>
                      </a:lnTo>
                      <a:lnTo>
                        <a:pt x="162" y="16"/>
                      </a:lnTo>
                      <a:lnTo>
                        <a:pt x="166" y="16"/>
                      </a:lnTo>
                      <a:lnTo>
                        <a:pt x="168" y="16"/>
                      </a:lnTo>
                      <a:lnTo>
                        <a:pt x="172" y="14"/>
                      </a:lnTo>
                      <a:lnTo>
                        <a:pt x="174" y="14"/>
                      </a:lnTo>
                      <a:lnTo>
                        <a:pt x="176" y="12"/>
                      </a:lnTo>
                      <a:lnTo>
                        <a:pt x="172" y="12"/>
                      </a:lnTo>
                      <a:lnTo>
                        <a:pt x="170" y="12"/>
                      </a:lnTo>
                      <a:close/>
                      <a:moveTo>
                        <a:pt x="166" y="10"/>
                      </a:moveTo>
                      <a:lnTo>
                        <a:pt x="166" y="10"/>
                      </a:lnTo>
                      <a:lnTo>
                        <a:pt x="168" y="10"/>
                      </a:lnTo>
                      <a:lnTo>
                        <a:pt x="170" y="8"/>
                      </a:lnTo>
                      <a:lnTo>
                        <a:pt x="160" y="8"/>
                      </a:lnTo>
                      <a:lnTo>
                        <a:pt x="164" y="10"/>
                      </a:lnTo>
                      <a:lnTo>
                        <a:pt x="166" y="10"/>
                      </a:lnTo>
                      <a:close/>
                      <a:moveTo>
                        <a:pt x="24" y="16"/>
                      </a:moveTo>
                      <a:lnTo>
                        <a:pt x="24" y="16"/>
                      </a:lnTo>
                      <a:lnTo>
                        <a:pt x="22" y="16"/>
                      </a:lnTo>
                      <a:lnTo>
                        <a:pt x="22" y="18"/>
                      </a:lnTo>
                      <a:lnTo>
                        <a:pt x="22" y="20"/>
                      </a:lnTo>
                      <a:lnTo>
                        <a:pt x="24" y="22"/>
                      </a:lnTo>
                      <a:lnTo>
                        <a:pt x="26" y="20"/>
                      </a:lnTo>
                      <a:lnTo>
                        <a:pt x="26" y="18"/>
                      </a:lnTo>
                      <a:lnTo>
                        <a:pt x="28" y="18"/>
                      </a:lnTo>
                      <a:lnTo>
                        <a:pt x="28" y="16"/>
                      </a:lnTo>
                      <a:lnTo>
                        <a:pt x="26" y="16"/>
                      </a:lnTo>
                      <a:lnTo>
                        <a:pt x="24" y="16"/>
                      </a:lnTo>
                      <a:close/>
                      <a:moveTo>
                        <a:pt x="28" y="12"/>
                      </a:moveTo>
                      <a:lnTo>
                        <a:pt x="26" y="12"/>
                      </a:lnTo>
                      <a:lnTo>
                        <a:pt x="26" y="10"/>
                      </a:lnTo>
                      <a:lnTo>
                        <a:pt x="22" y="10"/>
                      </a:lnTo>
                      <a:lnTo>
                        <a:pt x="20" y="12"/>
                      </a:lnTo>
                      <a:lnTo>
                        <a:pt x="18" y="12"/>
                      </a:lnTo>
                      <a:lnTo>
                        <a:pt x="16" y="12"/>
                      </a:lnTo>
                      <a:lnTo>
                        <a:pt x="0" y="12"/>
                      </a:lnTo>
                      <a:lnTo>
                        <a:pt x="2" y="12"/>
                      </a:lnTo>
                      <a:lnTo>
                        <a:pt x="4" y="14"/>
                      </a:lnTo>
                      <a:lnTo>
                        <a:pt x="6" y="14"/>
                      </a:lnTo>
                      <a:lnTo>
                        <a:pt x="10" y="16"/>
                      </a:lnTo>
                      <a:lnTo>
                        <a:pt x="14" y="16"/>
                      </a:lnTo>
                      <a:lnTo>
                        <a:pt x="18" y="14"/>
                      </a:lnTo>
                      <a:lnTo>
                        <a:pt x="20" y="14"/>
                      </a:lnTo>
                      <a:lnTo>
                        <a:pt x="22" y="14"/>
                      </a:lnTo>
                      <a:lnTo>
                        <a:pt x="24" y="14"/>
                      </a:lnTo>
                      <a:lnTo>
                        <a:pt x="26" y="12"/>
                      </a:lnTo>
                      <a:lnTo>
                        <a:pt x="28" y="12"/>
                      </a:lnTo>
                      <a:lnTo>
                        <a:pt x="30" y="12"/>
                      </a:lnTo>
                      <a:lnTo>
                        <a:pt x="28" y="12"/>
                      </a:lnTo>
                      <a:close/>
                      <a:moveTo>
                        <a:pt x="52" y="14"/>
                      </a:moveTo>
                      <a:lnTo>
                        <a:pt x="58" y="14"/>
                      </a:lnTo>
                      <a:lnTo>
                        <a:pt x="60" y="16"/>
                      </a:lnTo>
                      <a:lnTo>
                        <a:pt x="62" y="14"/>
                      </a:lnTo>
                      <a:lnTo>
                        <a:pt x="66" y="14"/>
                      </a:lnTo>
                      <a:lnTo>
                        <a:pt x="66" y="12"/>
                      </a:lnTo>
                      <a:lnTo>
                        <a:pt x="62" y="12"/>
                      </a:lnTo>
                      <a:lnTo>
                        <a:pt x="60" y="12"/>
                      </a:lnTo>
                      <a:lnTo>
                        <a:pt x="56" y="12"/>
                      </a:lnTo>
                      <a:lnTo>
                        <a:pt x="56" y="10"/>
                      </a:lnTo>
                      <a:lnTo>
                        <a:pt x="54" y="8"/>
                      </a:lnTo>
                      <a:lnTo>
                        <a:pt x="48" y="8"/>
                      </a:lnTo>
                      <a:lnTo>
                        <a:pt x="46" y="10"/>
                      </a:lnTo>
                      <a:lnTo>
                        <a:pt x="44" y="12"/>
                      </a:lnTo>
                      <a:lnTo>
                        <a:pt x="44" y="14"/>
                      </a:lnTo>
                      <a:lnTo>
                        <a:pt x="40" y="14"/>
                      </a:lnTo>
                      <a:lnTo>
                        <a:pt x="38" y="16"/>
                      </a:lnTo>
                      <a:lnTo>
                        <a:pt x="34" y="16"/>
                      </a:lnTo>
                      <a:lnTo>
                        <a:pt x="32" y="16"/>
                      </a:lnTo>
                      <a:lnTo>
                        <a:pt x="30" y="18"/>
                      </a:lnTo>
                      <a:lnTo>
                        <a:pt x="32" y="20"/>
                      </a:lnTo>
                      <a:lnTo>
                        <a:pt x="34" y="20"/>
                      </a:lnTo>
                      <a:lnTo>
                        <a:pt x="36" y="20"/>
                      </a:lnTo>
                      <a:lnTo>
                        <a:pt x="42" y="20"/>
                      </a:lnTo>
                      <a:lnTo>
                        <a:pt x="44" y="22"/>
                      </a:lnTo>
                      <a:lnTo>
                        <a:pt x="44" y="16"/>
                      </a:lnTo>
                      <a:lnTo>
                        <a:pt x="50" y="16"/>
                      </a:lnTo>
                      <a:lnTo>
                        <a:pt x="52" y="14"/>
                      </a:lnTo>
                      <a:close/>
                      <a:moveTo>
                        <a:pt x="54" y="18"/>
                      </a:moveTo>
                      <a:lnTo>
                        <a:pt x="52" y="20"/>
                      </a:lnTo>
                      <a:lnTo>
                        <a:pt x="50" y="20"/>
                      </a:lnTo>
                      <a:lnTo>
                        <a:pt x="50" y="22"/>
                      </a:lnTo>
                      <a:lnTo>
                        <a:pt x="52" y="22"/>
                      </a:lnTo>
                      <a:lnTo>
                        <a:pt x="54" y="22"/>
                      </a:lnTo>
                      <a:lnTo>
                        <a:pt x="54" y="24"/>
                      </a:lnTo>
                      <a:lnTo>
                        <a:pt x="56" y="24"/>
                      </a:lnTo>
                      <a:lnTo>
                        <a:pt x="58" y="24"/>
                      </a:lnTo>
                      <a:lnTo>
                        <a:pt x="58" y="26"/>
                      </a:lnTo>
                      <a:lnTo>
                        <a:pt x="62" y="26"/>
                      </a:lnTo>
                      <a:lnTo>
                        <a:pt x="62" y="24"/>
                      </a:lnTo>
                      <a:lnTo>
                        <a:pt x="66" y="24"/>
                      </a:lnTo>
                      <a:lnTo>
                        <a:pt x="68" y="24"/>
                      </a:lnTo>
                      <a:lnTo>
                        <a:pt x="70" y="24"/>
                      </a:lnTo>
                      <a:lnTo>
                        <a:pt x="70" y="22"/>
                      </a:lnTo>
                      <a:lnTo>
                        <a:pt x="64" y="22"/>
                      </a:lnTo>
                      <a:lnTo>
                        <a:pt x="54" y="18"/>
                      </a:lnTo>
                      <a:close/>
                      <a:moveTo>
                        <a:pt x="94" y="16"/>
                      </a:moveTo>
                      <a:lnTo>
                        <a:pt x="90" y="14"/>
                      </a:lnTo>
                      <a:lnTo>
                        <a:pt x="86" y="14"/>
                      </a:lnTo>
                      <a:lnTo>
                        <a:pt x="84" y="16"/>
                      </a:lnTo>
                      <a:lnTo>
                        <a:pt x="82" y="18"/>
                      </a:lnTo>
                      <a:lnTo>
                        <a:pt x="82" y="22"/>
                      </a:lnTo>
                      <a:lnTo>
                        <a:pt x="96" y="18"/>
                      </a:lnTo>
                      <a:lnTo>
                        <a:pt x="96" y="16"/>
                      </a:lnTo>
                      <a:lnTo>
                        <a:pt x="98" y="16"/>
                      </a:lnTo>
                      <a:lnTo>
                        <a:pt x="96" y="16"/>
                      </a:lnTo>
                      <a:lnTo>
                        <a:pt x="94" y="16"/>
                      </a:lnTo>
                      <a:close/>
                      <a:moveTo>
                        <a:pt x="136" y="2"/>
                      </a:moveTo>
                      <a:lnTo>
                        <a:pt x="136" y="2"/>
                      </a:lnTo>
                      <a:lnTo>
                        <a:pt x="138" y="2"/>
                      </a:lnTo>
                      <a:lnTo>
                        <a:pt x="138" y="0"/>
                      </a:lnTo>
                      <a:lnTo>
                        <a:pt x="126" y="0"/>
                      </a:lnTo>
                      <a:lnTo>
                        <a:pt x="126" y="4"/>
                      </a:lnTo>
                      <a:lnTo>
                        <a:pt x="134" y="4"/>
                      </a:lnTo>
                      <a:lnTo>
                        <a:pt x="136" y="2"/>
                      </a:lnTo>
                      <a:close/>
                      <a:moveTo>
                        <a:pt x="132" y="10"/>
                      </a:moveTo>
                      <a:lnTo>
                        <a:pt x="132" y="12"/>
                      </a:lnTo>
                      <a:lnTo>
                        <a:pt x="138" y="12"/>
                      </a:lnTo>
                      <a:lnTo>
                        <a:pt x="140" y="12"/>
                      </a:lnTo>
                      <a:lnTo>
                        <a:pt x="140" y="10"/>
                      </a:lnTo>
                      <a:lnTo>
                        <a:pt x="140" y="8"/>
                      </a:lnTo>
                      <a:lnTo>
                        <a:pt x="134" y="8"/>
                      </a:lnTo>
                      <a:lnTo>
                        <a:pt x="132" y="10"/>
                      </a:lnTo>
                      <a:close/>
                      <a:moveTo>
                        <a:pt x="140" y="14"/>
                      </a:moveTo>
                      <a:lnTo>
                        <a:pt x="134" y="14"/>
                      </a:lnTo>
                      <a:lnTo>
                        <a:pt x="132" y="16"/>
                      </a:lnTo>
                      <a:lnTo>
                        <a:pt x="130" y="16"/>
                      </a:lnTo>
                      <a:lnTo>
                        <a:pt x="130" y="18"/>
                      </a:lnTo>
                      <a:lnTo>
                        <a:pt x="132" y="20"/>
                      </a:lnTo>
                      <a:lnTo>
                        <a:pt x="134" y="20"/>
                      </a:lnTo>
                      <a:lnTo>
                        <a:pt x="136" y="20"/>
                      </a:lnTo>
                      <a:lnTo>
                        <a:pt x="138" y="18"/>
                      </a:lnTo>
                      <a:lnTo>
                        <a:pt x="140" y="18"/>
                      </a:lnTo>
                      <a:lnTo>
                        <a:pt x="142" y="18"/>
                      </a:lnTo>
                      <a:lnTo>
                        <a:pt x="142" y="16"/>
                      </a:lnTo>
                      <a:lnTo>
                        <a:pt x="140" y="14"/>
                      </a:lnTo>
                      <a:close/>
                      <a:moveTo>
                        <a:pt x="128" y="20"/>
                      </a:moveTo>
                      <a:lnTo>
                        <a:pt x="126" y="20"/>
                      </a:lnTo>
                      <a:lnTo>
                        <a:pt x="126" y="18"/>
                      </a:lnTo>
                      <a:lnTo>
                        <a:pt x="114" y="18"/>
                      </a:lnTo>
                      <a:lnTo>
                        <a:pt x="114" y="20"/>
                      </a:lnTo>
                      <a:lnTo>
                        <a:pt x="116" y="20"/>
                      </a:lnTo>
                      <a:lnTo>
                        <a:pt x="116" y="22"/>
                      </a:lnTo>
                      <a:lnTo>
                        <a:pt x="118" y="24"/>
                      </a:lnTo>
                      <a:lnTo>
                        <a:pt x="120" y="24"/>
                      </a:lnTo>
                      <a:lnTo>
                        <a:pt x="122" y="22"/>
                      </a:lnTo>
                      <a:lnTo>
                        <a:pt x="126" y="22"/>
                      </a:lnTo>
                      <a:lnTo>
                        <a:pt x="130" y="22"/>
                      </a:lnTo>
                      <a:lnTo>
                        <a:pt x="132" y="22"/>
                      </a:lnTo>
                      <a:lnTo>
                        <a:pt x="130" y="20"/>
                      </a:lnTo>
                      <a:lnTo>
                        <a:pt x="128" y="20"/>
                      </a:lnTo>
                      <a:close/>
                      <a:moveTo>
                        <a:pt x="92" y="8"/>
                      </a:moveTo>
                      <a:lnTo>
                        <a:pt x="90" y="8"/>
                      </a:lnTo>
                      <a:lnTo>
                        <a:pt x="88" y="10"/>
                      </a:lnTo>
                      <a:lnTo>
                        <a:pt x="90" y="12"/>
                      </a:lnTo>
                      <a:lnTo>
                        <a:pt x="94" y="12"/>
                      </a:lnTo>
                      <a:lnTo>
                        <a:pt x="96" y="10"/>
                      </a:lnTo>
                      <a:lnTo>
                        <a:pt x="98" y="8"/>
                      </a:lnTo>
                      <a:lnTo>
                        <a:pt x="94" y="8"/>
                      </a:lnTo>
                      <a:lnTo>
                        <a:pt x="92" y="8"/>
                      </a:lnTo>
                      <a:close/>
                      <a:moveTo>
                        <a:pt x="106" y="14"/>
                      </a:moveTo>
                      <a:lnTo>
                        <a:pt x="104" y="14"/>
                      </a:lnTo>
                      <a:lnTo>
                        <a:pt x="104" y="16"/>
                      </a:lnTo>
                      <a:lnTo>
                        <a:pt x="104" y="20"/>
                      </a:lnTo>
                      <a:lnTo>
                        <a:pt x="106" y="20"/>
                      </a:lnTo>
                      <a:lnTo>
                        <a:pt x="106" y="22"/>
                      </a:lnTo>
                      <a:lnTo>
                        <a:pt x="110" y="16"/>
                      </a:lnTo>
                      <a:lnTo>
                        <a:pt x="108" y="16"/>
                      </a:lnTo>
                      <a:lnTo>
                        <a:pt x="106" y="14"/>
                      </a:lnTo>
                      <a:close/>
                      <a:moveTo>
                        <a:pt x="126" y="6"/>
                      </a:moveTo>
                      <a:lnTo>
                        <a:pt x="128" y="6"/>
                      </a:lnTo>
                      <a:lnTo>
                        <a:pt x="130" y="6"/>
                      </a:lnTo>
                      <a:lnTo>
                        <a:pt x="122" y="4"/>
                      </a:lnTo>
                      <a:lnTo>
                        <a:pt x="122" y="8"/>
                      </a:lnTo>
                      <a:lnTo>
                        <a:pt x="124" y="8"/>
                      </a:lnTo>
                      <a:lnTo>
                        <a:pt x="126" y="6"/>
                      </a:lnTo>
                      <a:close/>
                      <a:moveTo>
                        <a:pt x="106" y="10"/>
                      </a:moveTo>
                      <a:lnTo>
                        <a:pt x="104" y="8"/>
                      </a:lnTo>
                      <a:lnTo>
                        <a:pt x="102" y="8"/>
                      </a:lnTo>
                      <a:lnTo>
                        <a:pt x="102" y="10"/>
                      </a:lnTo>
                      <a:lnTo>
                        <a:pt x="100" y="12"/>
                      </a:lnTo>
                      <a:lnTo>
                        <a:pt x="108" y="10"/>
                      </a:lnTo>
                      <a:lnTo>
                        <a:pt x="106" y="10"/>
                      </a:lnTo>
                      <a:close/>
                      <a:moveTo>
                        <a:pt x="110" y="12"/>
                      </a:moveTo>
                      <a:lnTo>
                        <a:pt x="114" y="12"/>
                      </a:lnTo>
                      <a:lnTo>
                        <a:pt x="114" y="10"/>
                      </a:lnTo>
                      <a:lnTo>
                        <a:pt x="112" y="12"/>
                      </a:lnTo>
                      <a:lnTo>
                        <a:pt x="110" y="12"/>
                      </a:lnTo>
                      <a:close/>
                      <a:moveTo>
                        <a:pt x="122" y="14"/>
                      </a:moveTo>
                      <a:lnTo>
                        <a:pt x="124" y="14"/>
                      </a:lnTo>
                      <a:lnTo>
                        <a:pt x="128" y="14"/>
                      </a:lnTo>
                      <a:lnTo>
                        <a:pt x="130" y="14"/>
                      </a:lnTo>
                      <a:lnTo>
                        <a:pt x="130" y="12"/>
                      </a:lnTo>
                      <a:lnTo>
                        <a:pt x="130" y="10"/>
                      </a:lnTo>
                      <a:lnTo>
                        <a:pt x="128" y="10"/>
                      </a:lnTo>
                      <a:lnTo>
                        <a:pt x="126" y="10"/>
                      </a:lnTo>
                      <a:lnTo>
                        <a:pt x="124" y="10"/>
                      </a:lnTo>
                      <a:lnTo>
                        <a:pt x="122" y="10"/>
                      </a:lnTo>
                      <a:lnTo>
                        <a:pt x="120" y="12"/>
                      </a:lnTo>
                      <a:lnTo>
                        <a:pt x="122" y="14"/>
                      </a:lnTo>
                      <a:close/>
                      <a:moveTo>
                        <a:pt x="110" y="6"/>
                      </a:moveTo>
                      <a:lnTo>
                        <a:pt x="110" y="8"/>
                      </a:lnTo>
                      <a:lnTo>
                        <a:pt x="120" y="8"/>
                      </a:lnTo>
                      <a:lnTo>
                        <a:pt x="120" y="2"/>
                      </a:lnTo>
                      <a:lnTo>
                        <a:pt x="118" y="2"/>
                      </a:lnTo>
                      <a:lnTo>
                        <a:pt x="116" y="2"/>
                      </a:lnTo>
                      <a:lnTo>
                        <a:pt x="110" y="2"/>
                      </a:lnTo>
                      <a:lnTo>
                        <a:pt x="110" y="4"/>
                      </a:lnTo>
                      <a:lnTo>
                        <a:pt x="108" y="4"/>
                      </a:lnTo>
                      <a:lnTo>
                        <a:pt x="108" y="6"/>
                      </a:lnTo>
                      <a:lnTo>
                        <a:pt x="11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1" name="Freeform 225">
                  <a:extLst>
                    <a:ext uri="{FF2B5EF4-FFF2-40B4-BE49-F238E27FC236}">
                      <a16:creationId xmlns:a16="http://schemas.microsoft.com/office/drawing/2014/main" id="{875A53BE-096C-4461-B7B2-94DF6D0847EA}"/>
                    </a:ext>
                  </a:extLst>
                </p:cNvPr>
                <p:cNvSpPr>
                  <a:spLocks noChangeAspect="1"/>
                </p:cNvSpPr>
                <p:nvPr/>
              </p:nvSpPr>
              <p:spPr bwMode="auto">
                <a:xfrm>
                  <a:off x="7857629" y="1974482"/>
                  <a:ext cx="39464" cy="13951"/>
                </a:xfrm>
                <a:custGeom>
                  <a:avLst/>
                  <a:gdLst/>
                  <a:ahLst/>
                  <a:cxnLst>
                    <a:cxn ang="0">
                      <a:pos x="24" y="6"/>
                    </a:cxn>
                    <a:cxn ang="0">
                      <a:pos x="24" y="6"/>
                    </a:cxn>
                    <a:cxn ang="0">
                      <a:pos x="24" y="6"/>
                    </a:cxn>
                    <a:cxn ang="0">
                      <a:pos x="22" y="4"/>
                    </a:cxn>
                    <a:cxn ang="0">
                      <a:pos x="20" y="4"/>
                    </a:cxn>
                    <a:cxn ang="0">
                      <a:pos x="20" y="4"/>
                    </a:cxn>
                    <a:cxn ang="0">
                      <a:pos x="18" y="2"/>
                    </a:cxn>
                    <a:cxn ang="0">
                      <a:pos x="12" y="2"/>
                    </a:cxn>
                    <a:cxn ang="0">
                      <a:pos x="8" y="0"/>
                    </a:cxn>
                    <a:cxn ang="0">
                      <a:pos x="6" y="0"/>
                    </a:cxn>
                    <a:cxn ang="0">
                      <a:pos x="4" y="0"/>
                    </a:cxn>
                    <a:cxn ang="0">
                      <a:pos x="2" y="0"/>
                    </a:cxn>
                    <a:cxn ang="0">
                      <a:pos x="0" y="0"/>
                    </a:cxn>
                    <a:cxn ang="0">
                      <a:pos x="0" y="0"/>
                    </a:cxn>
                    <a:cxn ang="0">
                      <a:pos x="0" y="0"/>
                    </a:cxn>
                    <a:cxn ang="0">
                      <a:pos x="0" y="0"/>
                    </a:cxn>
                    <a:cxn ang="0">
                      <a:pos x="0" y="0"/>
                    </a:cxn>
                    <a:cxn ang="0">
                      <a:pos x="2" y="0"/>
                    </a:cxn>
                    <a:cxn ang="0">
                      <a:pos x="2" y="2"/>
                    </a:cxn>
                    <a:cxn ang="0">
                      <a:pos x="4" y="2"/>
                    </a:cxn>
                    <a:cxn ang="0">
                      <a:pos x="6" y="4"/>
                    </a:cxn>
                    <a:cxn ang="0">
                      <a:pos x="10" y="6"/>
                    </a:cxn>
                    <a:cxn ang="0">
                      <a:pos x="14" y="6"/>
                    </a:cxn>
                    <a:cxn ang="0">
                      <a:pos x="18" y="8"/>
                    </a:cxn>
                    <a:cxn ang="0">
                      <a:pos x="20" y="8"/>
                    </a:cxn>
                    <a:cxn ang="0">
                      <a:pos x="22" y="8"/>
                    </a:cxn>
                    <a:cxn ang="0">
                      <a:pos x="22" y="6"/>
                    </a:cxn>
                    <a:cxn ang="0">
                      <a:pos x="24" y="6"/>
                    </a:cxn>
                    <a:cxn ang="0">
                      <a:pos x="24" y="6"/>
                    </a:cxn>
                    <a:cxn ang="0">
                      <a:pos x="24" y="6"/>
                    </a:cxn>
                  </a:cxnLst>
                  <a:rect l="0" t="0" r="r" b="b"/>
                  <a:pathLst>
                    <a:path w="24" h="8">
                      <a:moveTo>
                        <a:pt x="24" y="6"/>
                      </a:moveTo>
                      <a:lnTo>
                        <a:pt x="24" y="6"/>
                      </a:lnTo>
                      <a:lnTo>
                        <a:pt x="22" y="4"/>
                      </a:lnTo>
                      <a:lnTo>
                        <a:pt x="20" y="4"/>
                      </a:lnTo>
                      <a:lnTo>
                        <a:pt x="18" y="2"/>
                      </a:lnTo>
                      <a:lnTo>
                        <a:pt x="12" y="2"/>
                      </a:lnTo>
                      <a:lnTo>
                        <a:pt x="8" y="0"/>
                      </a:lnTo>
                      <a:lnTo>
                        <a:pt x="6" y="0"/>
                      </a:lnTo>
                      <a:lnTo>
                        <a:pt x="4" y="0"/>
                      </a:lnTo>
                      <a:lnTo>
                        <a:pt x="2" y="0"/>
                      </a:lnTo>
                      <a:lnTo>
                        <a:pt x="0" y="0"/>
                      </a:lnTo>
                      <a:lnTo>
                        <a:pt x="2" y="0"/>
                      </a:lnTo>
                      <a:lnTo>
                        <a:pt x="2" y="2"/>
                      </a:lnTo>
                      <a:lnTo>
                        <a:pt x="4" y="2"/>
                      </a:lnTo>
                      <a:lnTo>
                        <a:pt x="6" y="4"/>
                      </a:lnTo>
                      <a:lnTo>
                        <a:pt x="10" y="6"/>
                      </a:lnTo>
                      <a:lnTo>
                        <a:pt x="14" y="6"/>
                      </a:lnTo>
                      <a:lnTo>
                        <a:pt x="18" y="8"/>
                      </a:lnTo>
                      <a:lnTo>
                        <a:pt x="20" y="8"/>
                      </a:lnTo>
                      <a:lnTo>
                        <a:pt x="22" y="8"/>
                      </a:lnTo>
                      <a:lnTo>
                        <a:pt x="22" y="6"/>
                      </a:lnTo>
                      <a:lnTo>
                        <a:pt x="24"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2" name="Freeform 226">
                  <a:extLst>
                    <a:ext uri="{FF2B5EF4-FFF2-40B4-BE49-F238E27FC236}">
                      <a16:creationId xmlns:a16="http://schemas.microsoft.com/office/drawing/2014/main" id="{F4F8CDEE-26BE-4EF7-88C2-E18F93F75F0B}"/>
                    </a:ext>
                  </a:extLst>
                </p:cNvPr>
                <p:cNvSpPr>
                  <a:spLocks noChangeAspect="1" noEditPoints="1"/>
                </p:cNvSpPr>
                <p:nvPr/>
              </p:nvSpPr>
              <p:spPr bwMode="auto">
                <a:xfrm>
                  <a:off x="7022292" y="1807061"/>
                  <a:ext cx="302562" cy="76734"/>
                </a:xfrm>
                <a:custGeom>
                  <a:avLst/>
                  <a:gdLst/>
                  <a:ahLst/>
                  <a:cxnLst>
                    <a:cxn ang="0">
                      <a:pos x="130" y="36"/>
                    </a:cxn>
                    <a:cxn ang="0">
                      <a:pos x="100" y="34"/>
                    </a:cxn>
                    <a:cxn ang="0">
                      <a:pos x="106" y="44"/>
                    </a:cxn>
                    <a:cxn ang="0">
                      <a:pos x="114" y="42"/>
                    </a:cxn>
                    <a:cxn ang="0">
                      <a:pos x="138" y="44"/>
                    </a:cxn>
                    <a:cxn ang="0">
                      <a:pos x="140" y="42"/>
                    </a:cxn>
                    <a:cxn ang="0">
                      <a:pos x="88" y="12"/>
                    </a:cxn>
                    <a:cxn ang="0">
                      <a:pos x="98" y="16"/>
                    </a:cxn>
                    <a:cxn ang="0">
                      <a:pos x="110" y="18"/>
                    </a:cxn>
                    <a:cxn ang="0">
                      <a:pos x="114" y="12"/>
                    </a:cxn>
                    <a:cxn ang="0">
                      <a:pos x="110" y="10"/>
                    </a:cxn>
                    <a:cxn ang="0">
                      <a:pos x="92" y="8"/>
                    </a:cxn>
                    <a:cxn ang="0">
                      <a:pos x="84" y="10"/>
                    </a:cxn>
                    <a:cxn ang="0">
                      <a:pos x="96" y="30"/>
                    </a:cxn>
                    <a:cxn ang="0">
                      <a:pos x="82" y="30"/>
                    </a:cxn>
                    <a:cxn ang="0">
                      <a:pos x="82" y="34"/>
                    </a:cxn>
                    <a:cxn ang="0">
                      <a:pos x="98" y="34"/>
                    </a:cxn>
                    <a:cxn ang="0">
                      <a:pos x="128" y="12"/>
                    </a:cxn>
                    <a:cxn ang="0">
                      <a:pos x="182" y="20"/>
                    </a:cxn>
                    <a:cxn ang="0">
                      <a:pos x="168" y="18"/>
                    </a:cxn>
                    <a:cxn ang="0">
                      <a:pos x="152" y="12"/>
                    </a:cxn>
                    <a:cxn ang="0">
                      <a:pos x="146" y="10"/>
                    </a:cxn>
                    <a:cxn ang="0">
                      <a:pos x="136" y="12"/>
                    </a:cxn>
                    <a:cxn ang="0">
                      <a:pos x="128" y="12"/>
                    </a:cxn>
                    <a:cxn ang="0">
                      <a:pos x="134" y="16"/>
                    </a:cxn>
                    <a:cxn ang="0">
                      <a:pos x="140" y="18"/>
                    </a:cxn>
                    <a:cxn ang="0">
                      <a:pos x="152" y="22"/>
                    </a:cxn>
                    <a:cxn ang="0">
                      <a:pos x="178" y="24"/>
                    </a:cxn>
                    <a:cxn ang="0">
                      <a:pos x="184" y="20"/>
                    </a:cxn>
                    <a:cxn ang="0">
                      <a:pos x="128" y="10"/>
                    </a:cxn>
                    <a:cxn ang="0">
                      <a:pos x="82" y="14"/>
                    </a:cxn>
                    <a:cxn ang="0">
                      <a:pos x="76" y="12"/>
                    </a:cxn>
                    <a:cxn ang="0">
                      <a:pos x="78" y="10"/>
                    </a:cxn>
                    <a:cxn ang="0">
                      <a:pos x="72" y="6"/>
                    </a:cxn>
                    <a:cxn ang="0">
                      <a:pos x="58" y="4"/>
                    </a:cxn>
                    <a:cxn ang="0">
                      <a:pos x="58" y="6"/>
                    </a:cxn>
                    <a:cxn ang="0">
                      <a:pos x="58" y="8"/>
                    </a:cxn>
                    <a:cxn ang="0">
                      <a:pos x="48" y="4"/>
                    </a:cxn>
                    <a:cxn ang="0">
                      <a:pos x="28" y="0"/>
                    </a:cxn>
                    <a:cxn ang="0">
                      <a:pos x="20" y="4"/>
                    </a:cxn>
                    <a:cxn ang="0">
                      <a:pos x="26" y="12"/>
                    </a:cxn>
                    <a:cxn ang="0">
                      <a:pos x="40" y="18"/>
                    </a:cxn>
                    <a:cxn ang="0">
                      <a:pos x="54" y="22"/>
                    </a:cxn>
                    <a:cxn ang="0">
                      <a:pos x="62" y="20"/>
                    </a:cxn>
                    <a:cxn ang="0">
                      <a:pos x="8" y="8"/>
                    </a:cxn>
                    <a:cxn ang="0">
                      <a:pos x="0" y="6"/>
                    </a:cxn>
                    <a:cxn ang="0">
                      <a:pos x="4" y="12"/>
                    </a:cxn>
                    <a:cxn ang="0">
                      <a:pos x="8" y="8"/>
                    </a:cxn>
                    <a:cxn ang="0">
                      <a:pos x="0" y="6"/>
                    </a:cxn>
                  </a:cxnLst>
                  <a:rect l="0" t="0" r="r" b="b"/>
                  <a:pathLst>
                    <a:path w="184" h="44">
                      <a:moveTo>
                        <a:pt x="138" y="42"/>
                      </a:moveTo>
                      <a:lnTo>
                        <a:pt x="136" y="40"/>
                      </a:lnTo>
                      <a:lnTo>
                        <a:pt x="134" y="38"/>
                      </a:lnTo>
                      <a:lnTo>
                        <a:pt x="130" y="36"/>
                      </a:lnTo>
                      <a:lnTo>
                        <a:pt x="128" y="36"/>
                      </a:lnTo>
                      <a:lnTo>
                        <a:pt x="126" y="36"/>
                      </a:lnTo>
                      <a:lnTo>
                        <a:pt x="126" y="34"/>
                      </a:lnTo>
                      <a:lnTo>
                        <a:pt x="100" y="34"/>
                      </a:lnTo>
                      <a:lnTo>
                        <a:pt x="100" y="36"/>
                      </a:lnTo>
                      <a:lnTo>
                        <a:pt x="98" y="44"/>
                      </a:lnTo>
                      <a:lnTo>
                        <a:pt x="100" y="44"/>
                      </a:lnTo>
                      <a:lnTo>
                        <a:pt x="106" y="44"/>
                      </a:lnTo>
                      <a:lnTo>
                        <a:pt x="108" y="42"/>
                      </a:lnTo>
                      <a:lnTo>
                        <a:pt x="112" y="42"/>
                      </a:lnTo>
                      <a:lnTo>
                        <a:pt x="114" y="42"/>
                      </a:lnTo>
                      <a:lnTo>
                        <a:pt x="118" y="42"/>
                      </a:lnTo>
                      <a:lnTo>
                        <a:pt x="126" y="42"/>
                      </a:lnTo>
                      <a:lnTo>
                        <a:pt x="130" y="44"/>
                      </a:lnTo>
                      <a:lnTo>
                        <a:pt x="138" y="44"/>
                      </a:lnTo>
                      <a:lnTo>
                        <a:pt x="140" y="44"/>
                      </a:lnTo>
                      <a:lnTo>
                        <a:pt x="140" y="42"/>
                      </a:lnTo>
                      <a:lnTo>
                        <a:pt x="138" y="42"/>
                      </a:lnTo>
                      <a:close/>
                      <a:moveTo>
                        <a:pt x="84" y="10"/>
                      </a:moveTo>
                      <a:lnTo>
                        <a:pt x="86" y="12"/>
                      </a:lnTo>
                      <a:lnTo>
                        <a:pt x="88" y="12"/>
                      </a:lnTo>
                      <a:lnTo>
                        <a:pt x="92" y="14"/>
                      </a:lnTo>
                      <a:lnTo>
                        <a:pt x="94" y="14"/>
                      </a:lnTo>
                      <a:lnTo>
                        <a:pt x="96" y="14"/>
                      </a:lnTo>
                      <a:lnTo>
                        <a:pt x="98" y="16"/>
                      </a:lnTo>
                      <a:lnTo>
                        <a:pt x="100" y="16"/>
                      </a:lnTo>
                      <a:lnTo>
                        <a:pt x="102" y="16"/>
                      </a:lnTo>
                      <a:lnTo>
                        <a:pt x="108" y="16"/>
                      </a:lnTo>
                      <a:lnTo>
                        <a:pt x="110" y="18"/>
                      </a:lnTo>
                      <a:lnTo>
                        <a:pt x="112" y="18"/>
                      </a:lnTo>
                      <a:lnTo>
                        <a:pt x="114" y="16"/>
                      </a:lnTo>
                      <a:lnTo>
                        <a:pt x="114" y="14"/>
                      </a:lnTo>
                      <a:lnTo>
                        <a:pt x="114" y="12"/>
                      </a:lnTo>
                      <a:lnTo>
                        <a:pt x="112" y="10"/>
                      </a:lnTo>
                      <a:lnTo>
                        <a:pt x="110" y="10"/>
                      </a:lnTo>
                      <a:lnTo>
                        <a:pt x="104" y="10"/>
                      </a:lnTo>
                      <a:lnTo>
                        <a:pt x="100" y="8"/>
                      </a:lnTo>
                      <a:lnTo>
                        <a:pt x="96" y="8"/>
                      </a:lnTo>
                      <a:lnTo>
                        <a:pt x="92" y="8"/>
                      </a:lnTo>
                      <a:lnTo>
                        <a:pt x="82" y="8"/>
                      </a:lnTo>
                      <a:lnTo>
                        <a:pt x="82" y="10"/>
                      </a:lnTo>
                      <a:lnTo>
                        <a:pt x="84" y="10"/>
                      </a:lnTo>
                      <a:close/>
                      <a:moveTo>
                        <a:pt x="98" y="32"/>
                      </a:moveTo>
                      <a:lnTo>
                        <a:pt x="98" y="32"/>
                      </a:lnTo>
                      <a:lnTo>
                        <a:pt x="98" y="30"/>
                      </a:lnTo>
                      <a:lnTo>
                        <a:pt x="96" y="30"/>
                      </a:lnTo>
                      <a:lnTo>
                        <a:pt x="92" y="28"/>
                      </a:lnTo>
                      <a:lnTo>
                        <a:pt x="84" y="28"/>
                      </a:lnTo>
                      <a:lnTo>
                        <a:pt x="82" y="30"/>
                      </a:lnTo>
                      <a:lnTo>
                        <a:pt x="80" y="32"/>
                      </a:lnTo>
                      <a:lnTo>
                        <a:pt x="80" y="34"/>
                      </a:lnTo>
                      <a:lnTo>
                        <a:pt x="82" y="34"/>
                      </a:lnTo>
                      <a:lnTo>
                        <a:pt x="84" y="36"/>
                      </a:lnTo>
                      <a:lnTo>
                        <a:pt x="94" y="36"/>
                      </a:lnTo>
                      <a:lnTo>
                        <a:pt x="96" y="34"/>
                      </a:lnTo>
                      <a:lnTo>
                        <a:pt x="98" y="34"/>
                      </a:lnTo>
                      <a:lnTo>
                        <a:pt x="98" y="32"/>
                      </a:lnTo>
                      <a:close/>
                      <a:moveTo>
                        <a:pt x="128" y="12"/>
                      </a:moveTo>
                      <a:lnTo>
                        <a:pt x="128" y="12"/>
                      </a:lnTo>
                      <a:close/>
                      <a:moveTo>
                        <a:pt x="184" y="20"/>
                      </a:moveTo>
                      <a:lnTo>
                        <a:pt x="182" y="20"/>
                      </a:lnTo>
                      <a:lnTo>
                        <a:pt x="180" y="20"/>
                      </a:lnTo>
                      <a:lnTo>
                        <a:pt x="178" y="18"/>
                      </a:lnTo>
                      <a:lnTo>
                        <a:pt x="174" y="18"/>
                      </a:lnTo>
                      <a:lnTo>
                        <a:pt x="168" y="18"/>
                      </a:lnTo>
                      <a:lnTo>
                        <a:pt x="158" y="18"/>
                      </a:lnTo>
                      <a:lnTo>
                        <a:pt x="156" y="16"/>
                      </a:lnTo>
                      <a:lnTo>
                        <a:pt x="154" y="14"/>
                      </a:lnTo>
                      <a:lnTo>
                        <a:pt x="152" y="12"/>
                      </a:lnTo>
                      <a:lnTo>
                        <a:pt x="150" y="12"/>
                      </a:lnTo>
                      <a:lnTo>
                        <a:pt x="148" y="12"/>
                      </a:lnTo>
                      <a:lnTo>
                        <a:pt x="146" y="10"/>
                      </a:lnTo>
                      <a:lnTo>
                        <a:pt x="144" y="12"/>
                      </a:lnTo>
                      <a:lnTo>
                        <a:pt x="140" y="12"/>
                      </a:lnTo>
                      <a:lnTo>
                        <a:pt x="136" y="12"/>
                      </a:lnTo>
                      <a:lnTo>
                        <a:pt x="136" y="14"/>
                      </a:lnTo>
                      <a:lnTo>
                        <a:pt x="132" y="12"/>
                      </a:lnTo>
                      <a:lnTo>
                        <a:pt x="130" y="12"/>
                      </a:lnTo>
                      <a:lnTo>
                        <a:pt x="128" y="12"/>
                      </a:lnTo>
                      <a:lnTo>
                        <a:pt x="130" y="12"/>
                      </a:lnTo>
                      <a:lnTo>
                        <a:pt x="132" y="14"/>
                      </a:lnTo>
                      <a:lnTo>
                        <a:pt x="134" y="16"/>
                      </a:lnTo>
                      <a:lnTo>
                        <a:pt x="136" y="18"/>
                      </a:lnTo>
                      <a:lnTo>
                        <a:pt x="138" y="18"/>
                      </a:lnTo>
                      <a:lnTo>
                        <a:pt x="140" y="18"/>
                      </a:lnTo>
                      <a:lnTo>
                        <a:pt x="142" y="20"/>
                      </a:lnTo>
                      <a:lnTo>
                        <a:pt x="144" y="20"/>
                      </a:lnTo>
                      <a:lnTo>
                        <a:pt x="148" y="20"/>
                      </a:lnTo>
                      <a:lnTo>
                        <a:pt x="152" y="22"/>
                      </a:lnTo>
                      <a:lnTo>
                        <a:pt x="154" y="22"/>
                      </a:lnTo>
                      <a:lnTo>
                        <a:pt x="164" y="24"/>
                      </a:lnTo>
                      <a:lnTo>
                        <a:pt x="168" y="24"/>
                      </a:lnTo>
                      <a:lnTo>
                        <a:pt x="178" y="24"/>
                      </a:lnTo>
                      <a:lnTo>
                        <a:pt x="180" y="24"/>
                      </a:lnTo>
                      <a:lnTo>
                        <a:pt x="182" y="22"/>
                      </a:lnTo>
                      <a:lnTo>
                        <a:pt x="184" y="22"/>
                      </a:lnTo>
                      <a:lnTo>
                        <a:pt x="184" y="20"/>
                      </a:lnTo>
                      <a:close/>
                      <a:moveTo>
                        <a:pt x="126" y="10"/>
                      </a:moveTo>
                      <a:lnTo>
                        <a:pt x="128" y="12"/>
                      </a:lnTo>
                      <a:lnTo>
                        <a:pt x="128" y="10"/>
                      </a:lnTo>
                      <a:lnTo>
                        <a:pt x="126" y="10"/>
                      </a:lnTo>
                      <a:close/>
                      <a:moveTo>
                        <a:pt x="90" y="16"/>
                      </a:moveTo>
                      <a:lnTo>
                        <a:pt x="86" y="16"/>
                      </a:lnTo>
                      <a:lnTo>
                        <a:pt x="82" y="14"/>
                      </a:lnTo>
                      <a:lnTo>
                        <a:pt x="82" y="12"/>
                      </a:lnTo>
                      <a:lnTo>
                        <a:pt x="80" y="12"/>
                      </a:lnTo>
                      <a:lnTo>
                        <a:pt x="78" y="12"/>
                      </a:lnTo>
                      <a:lnTo>
                        <a:pt x="76" y="12"/>
                      </a:lnTo>
                      <a:lnTo>
                        <a:pt x="76" y="10"/>
                      </a:lnTo>
                      <a:lnTo>
                        <a:pt x="78" y="10"/>
                      </a:lnTo>
                      <a:lnTo>
                        <a:pt x="78" y="8"/>
                      </a:lnTo>
                      <a:lnTo>
                        <a:pt x="74" y="6"/>
                      </a:lnTo>
                      <a:lnTo>
                        <a:pt x="72" y="6"/>
                      </a:lnTo>
                      <a:lnTo>
                        <a:pt x="68" y="4"/>
                      </a:lnTo>
                      <a:lnTo>
                        <a:pt x="66" y="4"/>
                      </a:lnTo>
                      <a:lnTo>
                        <a:pt x="64" y="4"/>
                      </a:lnTo>
                      <a:lnTo>
                        <a:pt x="58" y="4"/>
                      </a:lnTo>
                      <a:lnTo>
                        <a:pt x="58" y="2"/>
                      </a:lnTo>
                      <a:lnTo>
                        <a:pt x="56" y="2"/>
                      </a:lnTo>
                      <a:lnTo>
                        <a:pt x="58" y="4"/>
                      </a:lnTo>
                      <a:lnTo>
                        <a:pt x="58" y="6"/>
                      </a:lnTo>
                      <a:lnTo>
                        <a:pt x="60" y="8"/>
                      </a:lnTo>
                      <a:lnTo>
                        <a:pt x="60" y="10"/>
                      </a:lnTo>
                      <a:lnTo>
                        <a:pt x="58" y="8"/>
                      </a:lnTo>
                      <a:lnTo>
                        <a:pt x="56" y="8"/>
                      </a:lnTo>
                      <a:lnTo>
                        <a:pt x="54" y="6"/>
                      </a:lnTo>
                      <a:lnTo>
                        <a:pt x="50" y="6"/>
                      </a:lnTo>
                      <a:lnTo>
                        <a:pt x="48" y="4"/>
                      </a:lnTo>
                      <a:lnTo>
                        <a:pt x="38" y="2"/>
                      </a:lnTo>
                      <a:lnTo>
                        <a:pt x="34" y="2"/>
                      </a:lnTo>
                      <a:lnTo>
                        <a:pt x="30" y="2"/>
                      </a:lnTo>
                      <a:lnTo>
                        <a:pt x="28" y="0"/>
                      </a:lnTo>
                      <a:lnTo>
                        <a:pt x="22" y="0"/>
                      </a:lnTo>
                      <a:lnTo>
                        <a:pt x="20" y="2"/>
                      </a:lnTo>
                      <a:lnTo>
                        <a:pt x="18" y="4"/>
                      </a:lnTo>
                      <a:lnTo>
                        <a:pt x="20" y="4"/>
                      </a:lnTo>
                      <a:lnTo>
                        <a:pt x="20" y="6"/>
                      </a:lnTo>
                      <a:lnTo>
                        <a:pt x="20" y="8"/>
                      </a:lnTo>
                      <a:lnTo>
                        <a:pt x="24" y="10"/>
                      </a:lnTo>
                      <a:lnTo>
                        <a:pt x="26" y="12"/>
                      </a:lnTo>
                      <a:lnTo>
                        <a:pt x="28" y="14"/>
                      </a:lnTo>
                      <a:lnTo>
                        <a:pt x="32" y="16"/>
                      </a:lnTo>
                      <a:lnTo>
                        <a:pt x="36" y="16"/>
                      </a:lnTo>
                      <a:lnTo>
                        <a:pt x="40" y="18"/>
                      </a:lnTo>
                      <a:lnTo>
                        <a:pt x="44" y="20"/>
                      </a:lnTo>
                      <a:lnTo>
                        <a:pt x="48" y="20"/>
                      </a:lnTo>
                      <a:lnTo>
                        <a:pt x="50" y="22"/>
                      </a:lnTo>
                      <a:lnTo>
                        <a:pt x="54" y="22"/>
                      </a:lnTo>
                      <a:lnTo>
                        <a:pt x="56" y="24"/>
                      </a:lnTo>
                      <a:lnTo>
                        <a:pt x="58" y="24"/>
                      </a:lnTo>
                      <a:lnTo>
                        <a:pt x="60" y="24"/>
                      </a:lnTo>
                      <a:lnTo>
                        <a:pt x="62" y="20"/>
                      </a:lnTo>
                      <a:lnTo>
                        <a:pt x="62" y="18"/>
                      </a:lnTo>
                      <a:lnTo>
                        <a:pt x="92" y="18"/>
                      </a:lnTo>
                      <a:lnTo>
                        <a:pt x="90" y="16"/>
                      </a:lnTo>
                      <a:close/>
                      <a:moveTo>
                        <a:pt x="8" y="8"/>
                      </a:moveTo>
                      <a:lnTo>
                        <a:pt x="6" y="8"/>
                      </a:lnTo>
                      <a:lnTo>
                        <a:pt x="4" y="6"/>
                      </a:lnTo>
                      <a:lnTo>
                        <a:pt x="2" y="6"/>
                      </a:lnTo>
                      <a:lnTo>
                        <a:pt x="0" y="6"/>
                      </a:lnTo>
                      <a:lnTo>
                        <a:pt x="2" y="8"/>
                      </a:lnTo>
                      <a:lnTo>
                        <a:pt x="2" y="10"/>
                      </a:lnTo>
                      <a:lnTo>
                        <a:pt x="4" y="12"/>
                      </a:lnTo>
                      <a:lnTo>
                        <a:pt x="6" y="14"/>
                      </a:lnTo>
                      <a:lnTo>
                        <a:pt x="12" y="10"/>
                      </a:lnTo>
                      <a:lnTo>
                        <a:pt x="10" y="8"/>
                      </a:lnTo>
                      <a:lnTo>
                        <a:pt x="8" y="8"/>
                      </a:lnTo>
                      <a:close/>
                      <a:moveTo>
                        <a:pt x="0" y="6"/>
                      </a:moveTo>
                      <a:lnTo>
                        <a:pt x="0" y="6"/>
                      </a:lnTo>
                      <a:lnTo>
                        <a:pt x="0" y="4"/>
                      </a:lnTo>
                      <a:lnTo>
                        <a:pt x="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3" name="Freeform 227">
                  <a:extLst>
                    <a:ext uri="{FF2B5EF4-FFF2-40B4-BE49-F238E27FC236}">
                      <a16:creationId xmlns:a16="http://schemas.microsoft.com/office/drawing/2014/main" id="{42BDCA9D-1602-455D-9109-AA50A49A88F2}"/>
                    </a:ext>
                  </a:extLst>
                </p:cNvPr>
                <p:cNvSpPr>
                  <a:spLocks noChangeAspect="1"/>
                </p:cNvSpPr>
                <p:nvPr/>
              </p:nvSpPr>
              <p:spPr bwMode="auto">
                <a:xfrm>
                  <a:off x="8030287" y="1929140"/>
                  <a:ext cx="65775" cy="24416"/>
                </a:xfrm>
                <a:custGeom>
                  <a:avLst/>
                  <a:gdLst/>
                  <a:ahLst/>
                  <a:cxnLst>
                    <a:cxn ang="0">
                      <a:pos x="38" y="6"/>
                    </a:cxn>
                    <a:cxn ang="0">
                      <a:pos x="36" y="6"/>
                    </a:cxn>
                    <a:cxn ang="0">
                      <a:pos x="32" y="6"/>
                    </a:cxn>
                    <a:cxn ang="0">
                      <a:pos x="30" y="4"/>
                    </a:cxn>
                    <a:cxn ang="0">
                      <a:pos x="24" y="4"/>
                    </a:cxn>
                    <a:cxn ang="0">
                      <a:pos x="20" y="2"/>
                    </a:cxn>
                    <a:cxn ang="0">
                      <a:pos x="18" y="2"/>
                    </a:cxn>
                    <a:cxn ang="0">
                      <a:pos x="14" y="0"/>
                    </a:cxn>
                    <a:cxn ang="0">
                      <a:pos x="10" y="0"/>
                    </a:cxn>
                    <a:cxn ang="0">
                      <a:pos x="8" y="2"/>
                    </a:cxn>
                    <a:cxn ang="0">
                      <a:pos x="4" y="2"/>
                    </a:cxn>
                    <a:cxn ang="0">
                      <a:pos x="2" y="2"/>
                    </a:cxn>
                    <a:cxn ang="0">
                      <a:pos x="2" y="4"/>
                    </a:cxn>
                    <a:cxn ang="0">
                      <a:pos x="0" y="6"/>
                    </a:cxn>
                    <a:cxn ang="0">
                      <a:pos x="0" y="8"/>
                    </a:cxn>
                    <a:cxn ang="0">
                      <a:pos x="0" y="10"/>
                    </a:cxn>
                    <a:cxn ang="0">
                      <a:pos x="0" y="10"/>
                    </a:cxn>
                    <a:cxn ang="0">
                      <a:pos x="0" y="12"/>
                    </a:cxn>
                    <a:cxn ang="0">
                      <a:pos x="2" y="12"/>
                    </a:cxn>
                    <a:cxn ang="0">
                      <a:pos x="4" y="14"/>
                    </a:cxn>
                    <a:cxn ang="0">
                      <a:pos x="12" y="14"/>
                    </a:cxn>
                    <a:cxn ang="0">
                      <a:pos x="14" y="12"/>
                    </a:cxn>
                    <a:cxn ang="0">
                      <a:pos x="18" y="12"/>
                    </a:cxn>
                    <a:cxn ang="0">
                      <a:pos x="34" y="12"/>
                    </a:cxn>
                    <a:cxn ang="0">
                      <a:pos x="34" y="12"/>
                    </a:cxn>
                    <a:cxn ang="0">
                      <a:pos x="36" y="12"/>
                    </a:cxn>
                    <a:cxn ang="0">
                      <a:pos x="38" y="10"/>
                    </a:cxn>
                    <a:cxn ang="0">
                      <a:pos x="40" y="8"/>
                    </a:cxn>
                    <a:cxn ang="0">
                      <a:pos x="40" y="8"/>
                    </a:cxn>
                    <a:cxn ang="0">
                      <a:pos x="38" y="6"/>
                    </a:cxn>
                  </a:cxnLst>
                  <a:rect l="0" t="0" r="r" b="b"/>
                  <a:pathLst>
                    <a:path w="40" h="14">
                      <a:moveTo>
                        <a:pt x="38" y="6"/>
                      </a:moveTo>
                      <a:lnTo>
                        <a:pt x="36" y="6"/>
                      </a:lnTo>
                      <a:lnTo>
                        <a:pt x="32" y="6"/>
                      </a:lnTo>
                      <a:lnTo>
                        <a:pt x="30" y="4"/>
                      </a:lnTo>
                      <a:lnTo>
                        <a:pt x="24" y="4"/>
                      </a:lnTo>
                      <a:lnTo>
                        <a:pt x="20" y="2"/>
                      </a:lnTo>
                      <a:lnTo>
                        <a:pt x="18" y="2"/>
                      </a:lnTo>
                      <a:lnTo>
                        <a:pt x="14" y="0"/>
                      </a:lnTo>
                      <a:lnTo>
                        <a:pt x="10" y="0"/>
                      </a:lnTo>
                      <a:lnTo>
                        <a:pt x="8" y="2"/>
                      </a:lnTo>
                      <a:lnTo>
                        <a:pt x="4" y="2"/>
                      </a:lnTo>
                      <a:lnTo>
                        <a:pt x="2" y="2"/>
                      </a:lnTo>
                      <a:lnTo>
                        <a:pt x="2" y="4"/>
                      </a:lnTo>
                      <a:lnTo>
                        <a:pt x="0" y="6"/>
                      </a:lnTo>
                      <a:lnTo>
                        <a:pt x="0" y="8"/>
                      </a:lnTo>
                      <a:lnTo>
                        <a:pt x="0" y="10"/>
                      </a:lnTo>
                      <a:lnTo>
                        <a:pt x="0" y="12"/>
                      </a:lnTo>
                      <a:lnTo>
                        <a:pt x="2" y="12"/>
                      </a:lnTo>
                      <a:lnTo>
                        <a:pt x="4" y="14"/>
                      </a:lnTo>
                      <a:lnTo>
                        <a:pt x="12" y="14"/>
                      </a:lnTo>
                      <a:lnTo>
                        <a:pt x="14" y="12"/>
                      </a:lnTo>
                      <a:lnTo>
                        <a:pt x="18" y="12"/>
                      </a:lnTo>
                      <a:lnTo>
                        <a:pt x="34" y="12"/>
                      </a:lnTo>
                      <a:lnTo>
                        <a:pt x="36" y="12"/>
                      </a:lnTo>
                      <a:lnTo>
                        <a:pt x="38" y="10"/>
                      </a:lnTo>
                      <a:lnTo>
                        <a:pt x="40" y="8"/>
                      </a:lnTo>
                      <a:lnTo>
                        <a:pt x="38"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4" name="Freeform 229">
                  <a:extLst>
                    <a:ext uri="{FF2B5EF4-FFF2-40B4-BE49-F238E27FC236}">
                      <a16:creationId xmlns:a16="http://schemas.microsoft.com/office/drawing/2014/main" id="{EA712D14-27B8-49FE-8628-8AE658F90F66}"/>
                    </a:ext>
                  </a:extLst>
                </p:cNvPr>
                <p:cNvSpPr>
                  <a:spLocks noChangeAspect="1"/>
                </p:cNvSpPr>
                <p:nvPr/>
              </p:nvSpPr>
              <p:spPr bwMode="auto">
                <a:xfrm>
                  <a:off x="6019232" y="1887283"/>
                  <a:ext cx="19733" cy="13951"/>
                </a:xfrm>
                <a:custGeom>
                  <a:avLst/>
                  <a:gdLst/>
                  <a:ahLst/>
                  <a:cxnLst>
                    <a:cxn ang="0">
                      <a:pos x="8" y="2"/>
                    </a:cxn>
                    <a:cxn ang="0">
                      <a:pos x="6" y="2"/>
                    </a:cxn>
                    <a:cxn ang="0">
                      <a:pos x="4" y="0"/>
                    </a:cxn>
                    <a:cxn ang="0">
                      <a:pos x="2" y="0"/>
                    </a:cxn>
                    <a:cxn ang="0">
                      <a:pos x="2" y="0"/>
                    </a:cxn>
                    <a:cxn ang="0">
                      <a:pos x="0" y="0"/>
                    </a:cxn>
                    <a:cxn ang="0">
                      <a:pos x="0" y="2"/>
                    </a:cxn>
                    <a:cxn ang="0">
                      <a:pos x="0" y="2"/>
                    </a:cxn>
                    <a:cxn ang="0">
                      <a:pos x="0" y="4"/>
                    </a:cxn>
                    <a:cxn ang="0">
                      <a:pos x="0" y="4"/>
                    </a:cxn>
                    <a:cxn ang="0">
                      <a:pos x="0" y="6"/>
                    </a:cxn>
                    <a:cxn ang="0">
                      <a:pos x="4" y="6"/>
                    </a:cxn>
                    <a:cxn ang="0">
                      <a:pos x="6" y="8"/>
                    </a:cxn>
                    <a:cxn ang="0">
                      <a:pos x="8" y="8"/>
                    </a:cxn>
                    <a:cxn ang="0">
                      <a:pos x="10" y="8"/>
                    </a:cxn>
                    <a:cxn ang="0">
                      <a:pos x="12" y="8"/>
                    </a:cxn>
                    <a:cxn ang="0">
                      <a:pos x="12" y="8"/>
                    </a:cxn>
                    <a:cxn ang="0">
                      <a:pos x="12" y="8"/>
                    </a:cxn>
                    <a:cxn ang="0">
                      <a:pos x="12" y="6"/>
                    </a:cxn>
                    <a:cxn ang="0">
                      <a:pos x="10" y="6"/>
                    </a:cxn>
                    <a:cxn ang="0">
                      <a:pos x="10" y="6"/>
                    </a:cxn>
                    <a:cxn ang="0">
                      <a:pos x="8" y="4"/>
                    </a:cxn>
                    <a:cxn ang="0">
                      <a:pos x="8" y="2"/>
                    </a:cxn>
                    <a:cxn ang="0">
                      <a:pos x="8" y="2"/>
                    </a:cxn>
                    <a:cxn ang="0">
                      <a:pos x="8" y="2"/>
                    </a:cxn>
                  </a:cxnLst>
                  <a:rect l="0" t="0" r="r" b="b"/>
                  <a:pathLst>
                    <a:path w="12" h="8">
                      <a:moveTo>
                        <a:pt x="8" y="2"/>
                      </a:moveTo>
                      <a:lnTo>
                        <a:pt x="6" y="2"/>
                      </a:lnTo>
                      <a:lnTo>
                        <a:pt x="4" y="0"/>
                      </a:lnTo>
                      <a:lnTo>
                        <a:pt x="2" y="0"/>
                      </a:lnTo>
                      <a:lnTo>
                        <a:pt x="0" y="0"/>
                      </a:lnTo>
                      <a:lnTo>
                        <a:pt x="0" y="2"/>
                      </a:lnTo>
                      <a:lnTo>
                        <a:pt x="0" y="4"/>
                      </a:lnTo>
                      <a:lnTo>
                        <a:pt x="0" y="6"/>
                      </a:lnTo>
                      <a:lnTo>
                        <a:pt x="4" y="6"/>
                      </a:lnTo>
                      <a:lnTo>
                        <a:pt x="6" y="8"/>
                      </a:lnTo>
                      <a:lnTo>
                        <a:pt x="8" y="8"/>
                      </a:lnTo>
                      <a:lnTo>
                        <a:pt x="10" y="8"/>
                      </a:lnTo>
                      <a:lnTo>
                        <a:pt x="12" y="8"/>
                      </a:lnTo>
                      <a:lnTo>
                        <a:pt x="12" y="6"/>
                      </a:lnTo>
                      <a:lnTo>
                        <a:pt x="10" y="6"/>
                      </a:lnTo>
                      <a:lnTo>
                        <a:pt x="8" y="4"/>
                      </a:lnTo>
                      <a:lnTo>
                        <a:pt x="8"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5" name="Freeform 230">
                  <a:extLst>
                    <a:ext uri="{FF2B5EF4-FFF2-40B4-BE49-F238E27FC236}">
                      <a16:creationId xmlns:a16="http://schemas.microsoft.com/office/drawing/2014/main" id="{6496CD09-BDDB-4D06-9CDB-B467E8EF6392}"/>
                    </a:ext>
                  </a:extLst>
                </p:cNvPr>
                <p:cNvSpPr>
                  <a:spLocks noChangeAspect="1"/>
                </p:cNvSpPr>
                <p:nvPr/>
              </p:nvSpPr>
              <p:spPr bwMode="auto">
                <a:xfrm>
                  <a:off x="7857628" y="1974482"/>
                  <a:ext cx="39464" cy="13951"/>
                </a:xfrm>
                <a:custGeom>
                  <a:avLst/>
                  <a:gdLst/>
                  <a:ahLst/>
                  <a:cxnLst>
                    <a:cxn ang="0">
                      <a:pos x="24" y="6"/>
                    </a:cxn>
                    <a:cxn ang="0">
                      <a:pos x="24" y="6"/>
                    </a:cxn>
                    <a:cxn ang="0">
                      <a:pos x="24" y="6"/>
                    </a:cxn>
                    <a:cxn ang="0">
                      <a:pos x="22" y="4"/>
                    </a:cxn>
                    <a:cxn ang="0">
                      <a:pos x="20" y="4"/>
                    </a:cxn>
                    <a:cxn ang="0">
                      <a:pos x="20" y="4"/>
                    </a:cxn>
                    <a:cxn ang="0">
                      <a:pos x="18" y="2"/>
                    </a:cxn>
                    <a:cxn ang="0">
                      <a:pos x="12" y="2"/>
                    </a:cxn>
                    <a:cxn ang="0">
                      <a:pos x="8" y="0"/>
                    </a:cxn>
                    <a:cxn ang="0">
                      <a:pos x="6" y="0"/>
                    </a:cxn>
                    <a:cxn ang="0">
                      <a:pos x="4" y="0"/>
                    </a:cxn>
                    <a:cxn ang="0">
                      <a:pos x="2" y="0"/>
                    </a:cxn>
                    <a:cxn ang="0">
                      <a:pos x="0" y="0"/>
                    </a:cxn>
                    <a:cxn ang="0">
                      <a:pos x="0" y="0"/>
                    </a:cxn>
                    <a:cxn ang="0">
                      <a:pos x="0" y="0"/>
                    </a:cxn>
                    <a:cxn ang="0">
                      <a:pos x="0" y="0"/>
                    </a:cxn>
                    <a:cxn ang="0">
                      <a:pos x="0" y="0"/>
                    </a:cxn>
                    <a:cxn ang="0">
                      <a:pos x="2" y="0"/>
                    </a:cxn>
                    <a:cxn ang="0">
                      <a:pos x="2" y="2"/>
                    </a:cxn>
                    <a:cxn ang="0">
                      <a:pos x="4" y="2"/>
                    </a:cxn>
                    <a:cxn ang="0">
                      <a:pos x="6" y="4"/>
                    </a:cxn>
                    <a:cxn ang="0">
                      <a:pos x="10" y="6"/>
                    </a:cxn>
                    <a:cxn ang="0">
                      <a:pos x="14" y="6"/>
                    </a:cxn>
                    <a:cxn ang="0">
                      <a:pos x="18" y="8"/>
                    </a:cxn>
                    <a:cxn ang="0">
                      <a:pos x="20" y="8"/>
                    </a:cxn>
                    <a:cxn ang="0">
                      <a:pos x="22" y="8"/>
                    </a:cxn>
                    <a:cxn ang="0">
                      <a:pos x="22" y="6"/>
                    </a:cxn>
                    <a:cxn ang="0">
                      <a:pos x="24" y="6"/>
                    </a:cxn>
                    <a:cxn ang="0">
                      <a:pos x="24" y="6"/>
                    </a:cxn>
                    <a:cxn ang="0">
                      <a:pos x="24" y="6"/>
                    </a:cxn>
                  </a:cxnLst>
                  <a:rect l="0" t="0" r="r" b="b"/>
                  <a:pathLst>
                    <a:path w="24" h="8">
                      <a:moveTo>
                        <a:pt x="24" y="6"/>
                      </a:moveTo>
                      <a:lnTo>
                        <a:pt x="24" y="6"/>
                      </a:lnTo>
                      <a:lnTo>
                        <a:pt x="22" y="4"/>
                      </a:lnTo>
                      <a:lnTo>
                        <a:pt x="20" y="4"/>
                      </a:lnTo>
                      <a:lnTo>
                        <a:pt x="18" y="2"/>
                      </a:lnTo>
                      <a:lnTo>
                        <a:pt x="12" y="2"/>
                      </a:lnTo>
                      <a:lnTo>
                        <a:pt x="8" y="0"/>
                      </a:lnTo>
                      <a:lnTo>
                        <a:pt x="6" y="0"/>
                      </a:lnTo>
                      <a:lnTo>
                        <a:pt x="4" y="0"/>
                      </a:lnTo>
                      <a:lnTo>
                        <a:pt x="2" y="0"/>
                      </a:lnTo>
                      <a:lnTo>
                        <a:pt x="0" y="0"/>
                      </a:lnTo>
                      <a:lnTo>
                        <a:pt x="2" y="0"/>
                      </a:lnTo>
                      <a:lnTo>
                        <a:pt x="2" y="2"/>
                      </a:lnTo>
                      <a:lnTo>
                        <a:pt x="4" y="2"/>
                      </a:lnTo>
                      <a:lnTo>
                        <a:pt x="6" y="4"/>
                      </a:lnTo>
                      <a:lnTo>
                        <a:pt x="10" y="6"/>
                      </a:lnTo>
                      <a:lnTo>
                        <a:pt x="14" y="6"/>
                      </a:lnTo>
                      <a:lnTo>
                        <a:pt x="18" y="8"/>
                      </a:lnTo>
                      <a:lnTo>
                        <a:pt x="20" y="8"/>
                      </a:lnTo>
                      <a:lnTo>
                        <a:pt x="22" y="8"/>
                      </a:lnTo>
                      <a:lnTo>
                        <a:pt x="22" y="6"/>
                      </a:lnTo>
                      <a:lnTo>
                        <a:pt x="24"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6" name="Freeform 231">
                  <a:extLst>
                    <a:ext uri="{FF2B5EF4-FFF2-40B4-BE49-F238E27FC236}">
                      <a16:creationId xmlns:a16="http://schemas.microsoft.com/office/drawing/2014/main" id="{E7EA0163-5DBC-4194-92E9-1A33227B3337}"/>
                    </a:ext>
                  </a:extLst>
                </p:cNvPr>
                <p:cNvSpPr>
                  <a:spLocks noChangeAspect="1"/>
                </p:cNvSpPr>
                <p:nvPr/>
              </p:nvSpPr>
              <p:spPr bwMode="auto">
                <a:xfrm>
                  <a:off x="5836708" y="1873332"/>
                  <a:ext cx="26310" cy="13951"/>
                </a:xfrm>
                <a:custGeom>
                  <a:avLst/>
                  <a:gdLst/>
                  <a:ahLst/>
                  <a:cxnLst>
                    <a:cxn ang="0">
                      <a:pos x="8" y="8"/>
                    </a:cxn>
                    <a:cxn ang="0">
                      <a:pos x="10" y="8"/>
                    </a:cxn>
                    <a:cxn ang="0">
                      <a:pos x="12" y="8"/>
                    </a:cxn>
                    <a:cxn ang="0">
                      <a:pos x="14" y="8"/>
                    </a:cxn>
                    <a:cxn ang="0">
                      <a:pos x="14" y="6"/>
                    </a:cxn>
                    <a:cxn ang="0">
                      <a:pos x="14" y="6"/>
                    </a:cxn>
                    <a:cxn ang="0">
                      <a:pos x="16" y="6"/>
                    </a:cxn>
                    <a:cxn ang="0">
                      <a:pos x="16" y="4"/>
                    </a:cxn>
                    <a:cxn ang="0">
                      <a:pos x="16" y="4"/>
                    </a:cxn>
                    <a:cxn ang="0">
                      <a:pos x="14" y="2"/>
                    </a:cxn>
                    <a:cxn ang="0">
                      <a:pos x="14" y="2"/>
                    </a:cxn>
                    <a:cxn ang="0">
                      <a:pos x="12" y="2"/>
                    </a:cxn>
                    <a:cxn ang="0">
                      <a:pos x="12" y="0"/>
                    </a:cxn>
                    <a:cxn ang="0">
                      <a:pos x="10" y="0"/>
                    </a:cxn>
                    <a:cxn ang="0">
                      <a:pos x="8" y="0"/>
                    </a:cxn>
                    <a:cxn ang="0">
                      <a:pos x="6" y="0"/>
                    </a:cxn>
                    <a:cxn ang="0">
                      <a:pos x="4" y="0"/>
                    </a:cxn>
                    <a:cxn ang="0">
                      <a:pos x="2" y="2"/>
                    </a:cxn>
                    <a:cxn ang="0">
                      <a:pos x="0" y="2"/>
                    </a:cxn>
                    <a:cxn ang="0">
                      <a:pos x="0" y="2"/>
                    </a:cxn>
                    <a:cxn ang="0">
                      <a:pos x="0" y="2"/>
                    </a:cxn>
                    <a:cxn ang="0">
                      <a:pos x="0" y="2"/>
                    </a:cxn>
                    <a:cxn ang="0">
                      <a:pos x="0" y="2"/>
                    </a:cxn>
                    <a:cxn ang="0">
                      <a:pos x="2" y="4"/>
                    </a:cxn>
                    <a:cxn ang="0">
                      <a:pos x="2" y="6"/>
                    </a:cxn>
                    <a:cxn ang="0">
                      <a:pos x="4" y="8"/>
                    </a:cxn>
                    <a:cxn ang="0">
                      <a:pos x="4" y="8"/>
                    </a:cxn>
                    <a:cxn ang="0">
                      <a:pos x="6" y="8"/>
                    </a:cxn>
                    <a:cxn ang="0">
                      <a:pos x="8" y="8"/>
                    </a:cxn>
                    <a:cxn ang="0">
                      <a:pos x="8" y="8"/>
                    </a:cxn>
                    <a:cxn ang="0">
                      <a:pos x="8" y="8"/>
                    </a:cxn>
                    <a:cxn ang="0">
                      <a:pos x="8" y="8"/>
                    </a:cxn>
                  </a:cxnLst>
                  <a:rect l="0" t="0" r="r" b="b"/>
                  <a:pathLst>
                    <a:path w="16" h="8">
                      <a:moveTo>
                        <a:pt x="8" y="8"/>
                      </a:moveTo>
                      <a:lnTo>
                        <a:pt x="10" y="8"/>
                      </a:lnTo>
                      <a:lnTo>
                        <a:pt x="12" y="8"/>
                      </a:lnTo>
                      <a:lnTo>
                        <a:pt x="14" y="8"/>
                      </a:lnTo>
                      <a:lnTo>
                        <a:pt x="14" y="6"/>
                      </a:lnTo>
                      <a:lnTo>
                        <a:pt x="16" y="6"/>
                      </a:lnTo>
                      <a:lnTo>
                        <a:pt x="16" y="4"/>
                      </a:lnTo>
                      <a:lnTo>
                        <a:pt x="14" y="2"/>
                      </a:lnTo>
                      <a:lnTo>
                        <a:pt x="12" y="2"/>
                      </a:lnTo>
                      <a:lnTo>
                        <a:pt x="12" y="0"/>
                      </a:lnTo>
                      <a:lnTo>
                        <a:pt x="10" y="0"/>
                      </a:lnTo>
                      <a:lnTo>
                        <a:pt x="8" y="0"/>
                      </a:lnTo>
                      <a:lnTo>
                        <a:pt x="6" y="0"/>
                      </a:lnTo>
                      <a:lnTo>
                        <a:pt x="4" y="0"/>
                      </a:lnTo>
                      <a:lnTo>
                        <a:pt x="2" y="2"/>
                      </a:lnTo>
                      <a:lnTo>
                        <a:pt x="0" y="2"/>
                      </a:lnTo>
                      <a:lnTo>
                        <a:pt x="2" y="4"/>
                      </a:lnTo>
                      <a:lnTo>
                        <a:pt x="2" y="6"/>
                      </a:lnTo>
                      <a:lnTo>
                        <a:pt x="4" y="8"/>
                      </a:lnTo>
                      <a:lnTo>
                        <a:pt x="6" y="8"/>
                      </a:lnTo>
                      <a:lnTo>
                        <a:pt x="8" y="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nvGrpSpPr>
                <p:cNvPr id="177" name="Group 176">
                  <a:extLst>
                    <a:ext uri="{FF2B5EF4-FFF2-40B4-BE49-F238E27FC236}">
                      <a16:creationId xmlns:a16="http://schemas.microsoft.com/office/drawing/2014/main" id="{33667045-08B4-4BF5-A951-112FEDBAB72B}"/>
                    </a:ext>
                  </a:extLst>
                </p:cNvPr>
                <p:cNvGrpSpPr/>
                <p:nvPr/>
              </p:nvGrpSpPr>
              <p:grpSpPr>
                <a:xfrm>
                  <a:off x="3207375" y="1639641"/>
                  <a:ext cx="5257022" cy="1236470"/>
                  <a:chOff x="3207375" y="1639641"/>
                  <a:chExt cx="5257022" cy="1236470"/>
                </a:xfrm>
                <a:grpFill/>
              </p:grpSpPr>
              <p:sp>
                <p:nvSpPr>
                  <p:cNvPr id="179" name="Freeform 12">
                    <a:extLst>
                      <a:ext uri="{FF2B5EF4-FFF2-40B4-BE49-F238E27FC236}">
                        <a16:creationId xmlns:a16="http://schemas.microsoft.com/office/drawing/2014/main" id="{76AFCA31-6DC6-4CD4-AE4E-ADABD98C287C}"/>
                      </a:ext>
                    </a:extLst>
                  </p:cNvPr>
                  <p:cNvSpPr>
                    <a:spLocks noChangeAspect="1"/>
                  </p:cNvSpPr>
                  <p:nvPr/>
                </p:nvSpPr>
                <p:spPr bwMode="auto">
                  <a:xfrm>
                    <a:off x="3965425" y="2072144"/>
                    <a:ext cx="223633" cy="94174"/>
                  </a:xfrm>
                  <a:custGeom>
                    <a:avLst/>
                    <a:gdLst/>
                    <a:ahLst/>
                    <a:cxnLst>
                      <a:cxn ang="0">
                        <a:pos x="72" y="52"/>
                      </a:cxn>
                      <a:cxn ang="0">
                        <a:pos x="74" y="48"/>
                      </a:cxn>
                      <a:cxn ang="0">
                        <a:pos x="86" y="48"/>
                      </a:cxn>
                      <a:cxn ang="0">
                        <a:pos x="90" y="48"/>
                      </a:cxn>
                      <a:cxn ang="0">
                        <a:pos x="106" y="40"/>
                      </a:cxn>
                      <a:cxn ang="0">
                        <a:pos x="118" y="40"/>
                      </a:cxn>
                      <a:cxn ang="0">
                        <a:pos x="122" y="32"/>
                      </a:cxn>
                      <a:cxn ang="0">
                        <a:pos x="134" y="26"/>
                      </a:cxn>
                      <a:cxn ang="0">
                        <a:pos x="132" y="24"/>
                      </a:cxn>
                      <a:cxn ang="0">
                        <a:pos x="136" y="20"/>
                      </a:cxn>
                      <a:cxn ang="0">
                        <a:pos x="126" y="18"/>
                      </a:cxn>
                      <a:cxn ang="0">
                        <a:pos x="126" y="14"/>
                      </a:cxn>
                      <a:cxn ang="0">
                        <a:pos x="122" y="12"/>
                      </a:cxn>
                      <a:cxn ang="0">
                        <a:pos x="122" y="8"/>
                      </a:cxn>
                      <a:cxn ang="0">
                        <a:pos x="122" y="4"/>
                      </a:cxn>
                      <a:cxn ang="0">
                        <a:pos x="116" y="6"/>
                      </a:cxn>
                      <a:cxn ang="0">
                        <a:pos x="104" y="0"/>
                      </a:cxn>
                      <a:cxn ang="0">
                        <a:pos x="104" y="6"/>
                      </a:cxn>
                      <a:cxn ang="0">
                        <a:pos x="98" y="8"/>
                      </a:cxn>
                      <a:cxn ang="0">
                        <a:pos x="88" y="10"/>
                      </a:cxn>
                      <a:cxn ang="0">
                        <a:pos x="82" y="6"/>
                      </a:cxn>
                      <a:cxn ang="0">
                        <a:pos x="80" y="14"/>
                      </a:cxn>
                      <a:cxn ang="0">
                        <a:pos x="72" y="6"/>
                      </a:cxn>
                      <a:cxn ang="0">
                        <a:pos x="68" y="8"/>
                      </a:cxn>
                      <a:cxn ang="0">
                        <a:pos x="64" y="10"/>
                      </a:cxn>
                      <a:cxn ang="0">
                        <a:pos x="60" y="14"/>
                      </a:cxn>
                      <a:cxn ang="0">
                        <a:pos x="54" y="8"/>
                      </a:cxn>
                      <a:cxn ang="0">
                        <a:pos x="52" y="16"/>
                      </a:cxn>
                      <a:cxn ang="0">
                        <a:pos x="44" y="16"/>
                      </a:cxn>
                      <a:cxn ang="0">
                        <a:pos x="40" y="24"/>
                      </a:cxn>
                      <a:cxn ang="0">
                        <a:pos x="36" y="16"/>
                      </a:cxn>
                      <a:cxn ang="0">
                        <a:pos x="40" y="12"/>
                      </a:cxn>
                      <a:cxn ang="0">
                        <a:pos x="26" y="2"/>
                      </a:cxn>
                      <a:cxn ang="0">
                        <a:pos x="24" y="8"/>
                      </a:cxn>
                      <a:cxn ang="0">
                        <a:pos x="14" y="6"/>
                      </a:cxn>
                      <a:cxn ang="0">
                        <a:pos x="10" y="12"/>
                      </a:cxn>
                      <a:cxn ang="0">
                        <a:pos x="10" y="14"/>
                      </a:cxn>
                      <a:cxn ang="0">
                        <a:pos x="0" y="18"/>
                      </a:cxn>
                      <a:cxn ang="0">
                        <a:pos x="12" y="18"/>
                      </a:cxn>
                      <a:cxn ang="0">
                        <a:pos x="24" y="16"/>
                      </a:cxn>
                      <a:cxn ang="0">
                        <a:pos x="28" y="20"/>
                      </a:cxn>
                      <a:cxn ang="0">
                        <a:pos x="22" y="22"/>
                      </a:cxn>
                      <a:cxn ang="0">
                        <a:pos x="28" y="24"/>
                      </a:cxn>
                      <a:cxn ang="0">
                        <a:pos x="12" y="26"/>
                      </a:cxn>
                      <a:cxn ang="0">
                        <a:pos x="2" y="26"/>
                      </a:cxn>
                      <a:cxn ang="0">
                        <a:pos x="6" y="30"/>
                      </a:cxn>
                      <a:cxn ang="0">
                        <a:pos x="22" y="34"/>
                      </a:cxn>
                      <a:cxn ang="0">
                        <a:pos x="30" y="32"/>
                      </a:cxn>
                      <a:cxn ang="0">
                        <a:pos x="28" y="38"/>
                      </a:cxn>
                      <a:cxn ang="0">
                        <a:pos x="26" y="42"/>
                      </a:cxn>
                      <a:cxn ang="0">
                        <a:pos x="14" y="44"/>
                      </a:cxn>
                      <a:cxn ang="0">
                        <a:pos x="22" y="48"/>
                      </a:cxn>
                      <a:cxn ang="0">
                        <a:pos x="34" y="44"/>
                      </a:cxn>
                      <a:cxn ang="0">
                        <a:pos x="42" y="48"/>
                      </a:cxn>
                      <a:cxn ang="0">
                        <a:pos x="44" y="48"/>
                      </a:cxn>
                      <a:cxn ang="0">
                        <a:pos x="58" y="54"/>
                      </a:cxn>
                    </a:cxnLst>
                    <a:rect l="0" t="0" r="r" b="b"/>
                    <a:pathLst>
                      <a:path w="136" h="54">
                        <a:moveTo>
                          <a:pt x="60" y="54"/>
                        </a:moveTo>
                        <a:lnTo>
                          <a:pt x="64" y="54"/>
                        </a:lnTo>
                        <a:lnTo>
                          <a:pt x="66" y="52"/>
                        </a:lnTo>
                        <a:lnTo>
                          <a:pt x="68" y="52"/>
                        </a:lnTo>
                        <a:lnTo>
                          <a:pt x="70" y="52"/>
                        </a:lnTo>
                        <a:lnTo>
                          <a:pt x="72" y="52"/>
                        </a:lnTo>
                        <a:lnTo>
                          <a:pt x="74" y="50"/>
                        </a:lnTo>
                        <a:lnTo>
                          <a:pt x="74" y="48"/>
                        </a:lnTo>
                        <a:lnTo>
                          <a:pt x="76" y="48"/>
                        </a:lnTo>
                        <a:lnTo>
                          <a:pt x="78" y="48"/>
                        </a:lnTo>
                        <a:lnTo>
                          <a:pt x="80" y="48"/>
                        </a:lnTo>
                        <a:lnTo>
                          <a:pt x="82" y="48"/>
                        </a:lnTo>
                        <a:lnTo>
                          <a:pt x="84" y="48"/>
                        </a:lnTo>
                        <a:lnTo>
                          <a:pt x="86" y="48"/>
                        </a:lnTo>
                        <a:lnTo>
                          <a:pt x="86" y="46"/>
                        </a:lnTo>
                        <a:lnTo>
                          <a:pt x="88" y="46"/>
                        </a:lnTo>
                        <a:lnTo>
                          <a:pt x="90" y="46"/>
                        </a:lnTo>
                        <a:lnTo>
                          <a:pt x="90" y="48"/>
                        </a:lnTo>
                        <a:lnTo>
                          <a:pt x="92" y="48"/>
                        </a:lnTo>
                        <a:lnTo>
                          <a:pt x="92" y="46"/>
                        </a:lnTo>
                        <a:lnTo>
                          <a:pt x="94" y="46"/>
                        </a:lnTo>
                        <a:lnTo>
                          <a:pt x="98" y="44"/>
                        </a:lnTo>
                        <a:lnTo>
                          <a:pt x="100" y="42"/>
                        </a:lnTo>
                        <a:lnTo>
                          <a:pt x="104" y="42"/>
                        </a:lnTo>
                        <a:lnTo>
                          <a:pt x="106" y="40"/>
                        </a:lnTo>
                        <a:lnTo>
                          <a:pt x="110" y="38"/>
                        </a:lnTo>
                        <a:lnTo>
                          <a:pt x="112" y="38"/>
                        </a:lnTo>
                        <a:lnTo>
                          <a:pt x="116" y="38"/>
                        </a:lnTo>
                        <a:lnTo>
                          <a:pt x="116" y="40"/>
                        </a:lnTo>
                        <a:lnTo>
                          <a:pt x="118" y="40"/>
                        </a:lnTo>
                        <a:lnTo>
                          <a:pt x="118" y="38"/>
                        </a:lnTo>
                        <a:lnTo>
                          <a:pt x="120" y="38"/>
                        </a:lnTo>
                        <a:lnTo>
                          <a:pt x="120" y="36"/>
                        </a:lnTo>
                        <a:lnTo>
                          <a:pt x="122" y="34"/>
                        </a:lnTo>
                        <a:lnTo>
                          <a:pt x="122" y="32"/>
                        </a:lnTo>
                        <a:lnTo>
                          <a:pt x="124" y="30"/>
                        </a:lnTo>
                        <a:lnTo>
                          <a:pt x="126" y="30"/>
                        </a:lnTo>
                        <a:lnTo>
                          <a:pt x="128" y="30"/>
                        </a:lnTo>
                        <a:lnTo>
                          <a:pt x="130" y="28"/>
                        </a:lnTo>
                        <a:lnTo>
                          <a:pt x="134" y="26"/>
                        </a:lnTo>
                        <a:lnTo>
                          <a:pt x="136" y="24"/>
                        </a:lnTo>
                        <a:lnTo>
                          <a:pt x="134" y="24"/>
                        </a:lnTo>
                        <a:lnTo>
                          <a:pt x="132" y="24"/>
                        </a:lnTo>
                        <a:lnTo>
                          <a:pt x="134" y="24"/>
                        </a:lnTo>
                        <a:lnTo>
                          <a:pt x="136" y="22"/>
                        </a:lnTo>
                        <a:lnTo>
                          <a:pt x="136" y="20"/>
                        </a:lnTo>
                        <a:lnTo>
                          <a:pt x="136" y="18"/>
                        </a:lnTo>
                        <a:lnTo>
                          <a:pt x="134" y="18"/>
                        </a:lnTo>
                        <a:lnTo>
                          <a:pt x="132" y="18"/>
                        </a:lnTo>
                        <a:lnTo>
                          <a:pt x="130" y="16"/>
                        </a:lnTo>
                        <a:lnTo>
                          <a:pt x="128" y="18"/>
                        </a:lnTo>
                        <a:lnTo>
                          <a:pt x="126" y="18"/>
                        </a:lnTo>
                        <a:lnTo>
                          <a:pt x="126" y="16"/>
                        </a:lnTo>
                        <a:lnTo>
                          <a:pt x="126" y="14"/>
                        </a:lnTo>
                        <a:lnTo>
                          <a:pt x="124" y="14"/>
                        </a:lnTo>
                        <a:lnTo>
                          <a:pt x="122" y="14"/>
                        </a:lnTo>
                        <a:lnTo>
                          <a:pt x="120" y="14"/>
                        </a:lnTo>
                        <a:lnTo>
                          <a:pt x="122" y="12"/>
                        </a:lnTo>
                        <a:lnTo>
                          <a:pt x="122" y="10"/>
                        </a:lnTo>
                        <a:lnTo>
                          <a:pt x="124" y="10"/>
                        </a:lnTo>
                        <a:lnTo>
                          <a:pt x="122" y="8"/>
                        </a:lnTo>
                        <a:lnTo>
                          <a:pt x="120" y="8"/>
                        </a:lnTo>
                        <a:lnTo>
                          <a:pt x="120" y="6"/>
                        </a:lnTo>
                        <a:lnTo>
                          <a:pt x="122" y="6"/>
                        </a:lnTo>
                        <a:lnTo>
                          <a:pt x="122" y="4"/>
                        </a:lnTo>
                        <a:lnTo>
                          <a:pt x="120" y="4"/>
                        </a:lnTo>
                        <a:lnTo>
                          <a:pt x="118" y="4"/>
                        </a:lnTo>
                        <a:lnTo>
                          <a:pt x="116" y="6"/>
                        </a:lnTo>
                        <a:lnTo>
                          <a:pt x="114" y="6"/>
                        </a:lnTo>
                        <a:lnTo>
                          <a:pt x="114" y="4"/>
                        </a:lnTo>
                        <a:lnTo>
                          <a:pt x="112" y="4"/>
                        </a:lnTo>
                        <a:lnTo>
                          <a:pt x="110" y="2"/>
                        </a:lnTo>
                        <a:lnTo>
                          <a:pt x="108" y="0"/>
                        </a:lnTo>
                        <a:lnTo>
                          <a:pt x="106" y="0"/>
                        </a:lnTo>
                        <a:lnTo>
                          <a:pt x="104" y="0"/>
                        </a:lnTo>
                        <a:lnTo>
                          <a:pt x="104" y="2"/>
                        </a:lnTo>
                        <a:lnTo>
                          <a:pt x="104" y="4"/>
                        </a:lnTo>
                        <a:lnTo>
                          <a:pt x="104" y="6"/>
                        </a:lnTo>
                        <a:lnTo>
                          <a:pt x="102" y="6"/>
                        </a:lnTo>
                        <a:lnTo>
                          <a:pt x="100" y="6"/>
                        </a:lnTo>
                        <a:lnTo>
                          <a:pt x="100" y="8"/>
                        </a:lnTo>
                        <a:lnTo>
                          <a:pt x="98" y="8"/>
                        </a:lnTo>
                        <a:lnTo>
                          <a:pt x="96" y="8"/>
                        </a:lnTo>
                        <a:lnTo>
                          <a:pt x="94" y="6"/>
                        </a:lnTo>
                        <a:lnTo>
                          <a:pt x="92" y="6"/>
                        </a:lnTo>
                        <a:lnTo>
                          <a:pt x="90" y="8"/>
                        </a:lnTo>
                        <a:lnTo>
                          <a:pt x="88" y="10"/>
                        </a:lnTo>
                        <a:lnTo>
                          <a:pt x="86" y="10"/>
                        </a:lnTo>
                        <a:lnTo>
                          <a:pt x="86" y="8"/>
                        </a:lnTo>
                        <a:lnTo>
                          <a:pt x="84" y="8"/>
                        </a:lnTo>
                        <a:lnTo>
                          <a:pt x="82" y="6"/>
                        </a:lnTo>
                        <a:lnTo>
                          <a:pt x="80" y="6"/>
                        </a:lnTo>
                        <a:lnTo>
                          <a:pt x="80" y="8"/>
                        </a:lnTo>
                        <a:lnTo>
                          <a:pt x="78" y="8"/>
                        </a:lnTo>
                        <a:lnTo>
                          <a:pt x="78" y="10"/>
                        </a:lnTo>
                        <a:lnTo>
                          <a:pt x="78" y="12"/>
                        </a:lnTo>
                        <a:lnTo>
                          <a:pt x="80" y="14"/>
                        </a:lnTo>
                        <a:lnTo>
                          <a:pt x="78" y="14"/>
                        </a:lnTo>
                        <a:lnTo>
                          <a:pt x="78" y="12"/>
                        </a:lnTo>
                        <a:lnTo>
                          <a:pt x="76" y="10"/>
                        </a:lnTo>
                        <a:lnTo>
                          <a:pt x="74" y="8"/>
                        </a:lnTo>
                        <a:lnTo>
                          <a:pt x="72" y="6"/>
                        </a:lnTo>
                        <a:lnTo>
                          <a:pt x="70" y="6"/>
                        </a:lnTo>
                        <a:lnTo>
                          <a:pt x="68" y="6"/>
                        </a:lnTo>
                        <a:lnTo>
                          <a:pt x="68" y="8"/>
                        </a:lnTo>
                        <a:lnTo>
                          <a:pt x="66" y="8"/>
                        </a:lnTo>
                        <a:lnTo>
                          <a:pt x="64" y="8"/>
                        </a:lnTo>
                        <a:lnTo>
                          <a:pt x="64" y="10"/>
                        </a:lnTo>
                        <a:lnTo>
                          <a:pt x="64" y="12"/>
                        </a:lnTo>
                        <a:lnTo>
                          <a:pt x="64" y="14"/>
                        </a:lnTo>
                        <a:lnTo>
                          <a:pt x="62" y="14"/>
                        </a:lnTo>
                        <a:lnTo>
                          <a:pt x="60" y="14"/>
                        </a:lnTo>
                        <a:lnTo>
                          <a:pt x="58" y="12"/>
                        </a:lnTo>
                        <a:lnTo>
                          <a:pt x="56" y="10"/>
                        </a:lnTo>
                        <a:lnTo>
                          <a:pt x="54" y="8"/>
                        </a:lnTo>
                        <a:lnTo>
                          <a:pt x="52" y="8"/>
                        </a:lnTo>
                        <a:lnTo>
                          <a:pt x="52" y="10"/>
                        </a:lnTo>
                        <a:lnTo>
                          <a:pt x="52" y="12"/>
                        </a:lnTo>
                        <a:lnTo>
                          <a:pt x="52" y="14"/>
                        </a:lnTo>
                        <a:lnTo>
                          <a:pt x="52" y="16"/>
                        </a:lnTo>
                        <a:lnTo>
                          <a:pt x="50" y="18"/>
                        </a:lnTo>
                        <a:lnTo>
                          <a:pt x="48" y="18"/>
                        </a:lnTo>
                        <a:lnTo>
                          <a:pt x="48" y="16"/>
                        </a:lnTo>
                        <a:lnTo>
                          <a:pt x="46" y="16"/>
                        </a:lnTo>
                        <a:lnTo>
                          <a:pt x="44" y="16"/>
                        </a:lnTo>
                        <a:lnTo>
                          <a:pt x="42" y="18"/>
                        </a:lnTo>
                        <a:lnTo>
                          <a:pt x="42" y="20"/>
                        </a:lnTo>
                        <a:lnTo>
                          <a:pt x="40" y="20"/>
                        </a:lnTo>
                        <a:lnTo>
                          <a:pt x="40" y="22"/>
                        </a:lnTo>
                        <a:lnTo>
                          <a:pt x="40" y="24"/>
                        </a:lnTo>
                        <a:lnTo>
                          <a:pt x="38" y="22"/>
                        </a:lnTo>
                        <a:lnTo>
                          <a:pt x="38" y="20"/>
                        </a:lnTo>
                        <a:lnTo>
                          <a:pt x="38" y="18"/>
                        </a:lnTo>
                        <a:lnTo>
                          <a:pt x="36" y="16"/>
                        </a:lnTo>
                        <a:lnTo>
                          <a:pt x="36" y="14"/>
                        </a:lnTo>
                        <a:lnTo>
                          <a:pt x="38" y="14"/>
                        </a:lnTo>
                        <a:lnTo>
                          <a:pt x="38" y="12"/>
                        </a:lnTo>
                        <a:lnTo>
                          <a:pt x="40" y="12"/>
                        </a:lnTo>
                        <a:lnTo>
                          <a:pt x="40" y="10"/>
                        </a:lnTo>
                        <a:lnTo>
                          <a:pt x="38" y="8"/>
                        </a:lnTo>
                        <a:lnTo>
                          <a:pt x="36" y="6"/>
                        </a:lnTo>
                        <a:lnTo>
                          <a:pt x="34" y="6"/>
                        </a:lnTo>
                        <a:lnTo>
                          <a:pt x="30" y="4"/>
                        </a:lnTo>
                        <a:lnTo>
                          <a:pt x="28" y="2"/>
                        </a:lnTo>
                        <a:lnTo>
                          <a:pt x="26" y="2"/>
                        </a:lnTo>
                        <a:lnTo>
                          <a:pt x="24" y="2"/>
                        </a:lnTo>
                        <a:lnTo>
                          <a:pt x="22" y="2"/>
                        </a:lnTo>
                        <a:lnTo>
                          <a:pt x="22" y="4"/>
                        </a:lnTo>
                        <a:lnTo>
                          <a:pt x="22" y="6"/>
                        </a:lnTo>
                        <a:lnTo>
                          <a:pt x="22" y="8"/>
                        </a:lnTo>
                        <a:lnTo>
                          <a:pt x="24" y="8"/>
                        </a:lnTo>
                        <a:lnTo>
                          <a:pt x="24" y="10"/>
                        </a:lnTo>
                        <a:lnTo>
                          <a:pt x="22" y="10"/>
                        </a:lnTo>
                        <a:lnTo>
                          <a:pt x="22" y="8"/>
                        </a:lnTo>
                        <a:lnTo>
                          <a:pt x="20" y="8"/>
                        </a:lnTo>
                        <a:lnTo>
                          <a:pt x="16" y="6"/>
                        </a:lnTo>
                        <a:lnTo>
                          <a:pt x="14" y="6"/>
                        </a:lnTo>
                        <a:lnTo>
                          <a:pt x="12" y="8"/>
                        </a:lnTo>
                        <a:lnTo>
                          <a:pt x="10" y="8"/>
                        </a:lnTo>
                        <a:lnTo>
                          <a:pt x="10" y="10"/>
                        </a:lnTo>
                        <a:lnTo>
                          <a:pt x="8" y="10"/>
                        </a:lnTo>
                        <a:lnTo>
                          <a:pt x="8" y="12"/>
                        </a:lnTo>
                        <a:lnTo>
                          <a:pt x="10" y="12"/>
                        </a:lnTo>
                        <a:lnTo>
                          <a:pt x="12" y="12"/>
                        </a:lnTo>
                        <a:lnTo>
                          <a:pt x="12" y="14"/>
                        </a:lnTo>
                        <a:lnTo>
                          <a:pt x="10" y="14"/>
                        </a:lnTo>
                        <a:lnTo>
                          <a:pt x="8" y="14"/>
                        </a:lnTo>
                        <a:lnTo>
                          <a:pt x="6" y="14"/>
                        </a:lnTo>
                        <a:lnTo>
                          <a:pt x="4" y="14"/>
                        </a:lnTo>
                        <a:lnTo>
                          <a:pt x="4" y="16"/>
                        </a:lnTo>
                        <a:lnTo>
                          <a:pt x="2" y="16"/>
                        </a:lnTo>
                        <a:lnTo>
                          <a:pt x="0" y="16"/>
                        </a:lnTo>
                        <a:lnTo>
                          <a:pt x="0" y="18"/>
                        </a:lnTo>
                        <a:lnTo>
                          <a:pt x="2" y="18"/>
                        </a:lnTo>
                        <a:lnTo>
                          <a:pt x="4" y="20"/>
                        </a:lnTo>
                        <a:lnTo>
                          <a:pt x="6" y="20"/>
                        </a:lnTo>
                        <a:lnTo>
                          <a:pt x="8" y="20"/>
                        </a:lnTo>
                        <a:lnTo>
                          <a:pt x="10" y="20"/>
                        </a:lnTo>
                        <a:lnTo>
                          <a:pt x="12" y="18"/>
                        </a:lnTo>
                        <a:lnTo>
                          <a:pt x="14" y="18"/>
                        </a:lnTo>
                        <a:lnTo>
                          <a:pt x="16" y="16"/>
                        </a:lnTo>
                        <a:lnTo>
                          <a:pt x="18" y="16"/>
                        </a:lnTo>
                        <a:lnTo>
                          <a:pt x="20" y="16"/>
                        </a:lnTo>
                        <a:lnTo>
                          <a:pt x="22" y="16"/>
                        </a:lnTo>
                        <a:lnTo>
                          <a:pt x="24" y="16"/>
                        </a:lnTo>
                        <a:lnTo>
                          <a:pt x="26" y="16"/>
                        </a:lnTo>
                        <a:lnTo>
                          <a:pt x="28" y="18"/>
                        </a:lnTo>
                        <a:lnTo>
                          <a:pt x="30" y="18"/>
                        </a:lnTo>
                        <a:lnTo>
                          <a:pt x="28" y="20"/>
                        </a:lnTo>
                        <a:lnTo>
                          <a:pt x="26" y="20"/>
                        </a:lnTo>
                        <a:lnTo>
                          <a:pt x="24" y="22"/>
                        </a:lnTo>
                        <a:lnTo>
                          <a:pt x="22" y="22"/>
                        </a:lnTo>
                        <a:lnTo>
                          <a:pt x="24" y="22"/>
                        </a:lnTo>
                        <a:lnTo>
                          <a:pt x="24" y="24"/>
                        </a:lnTo>
                        <a:lnTo>
                          <a:pt x="26" y="24"/>
                        </a:lnTo>
                        <a:lnTo>
                          <a:pt x="28" y="24"/>
                        </a:lnTo>
                        <a:lnTo>
                          <a:pt x="26" y="24"/>
                        </a:lnTo>
                        <a:lnTo>
                          <a:pt x="24" y="26"/>
                        </a:lnTo>
                        <a:lnTo>
                          <a:pt x="20" y="26"/>
                        </a:lnTo>
                        <a:lnTo>
                          <a:pt x="18" y="26"/>
                        </a:lnTo>
                        <a:lnTo>
                          <a:pt x="14" y="26"/>
                        </a:lnTo>
                        <a:lnTo>
                          <a:pt x="12" y="26"/>
                        </a:lnTo>
                        <a:lnTo>
                          <a:pt x="10" y="26"/>
                        </a:lnTo>
                        <a:lnTo>
                          <a:pt x="8" y="26"/>
                        </a:lnTo>
                        <a:lnTo>
                          <a:pt x="6" y="26"/>
                        </a:lnTo>
                        <a:lnTo>
                          <a:pt x="4" y="26"/>
                        </a:lnTo>
                        <a:lnTo>
                          <a:pt x="2" y="26"/>
                        </a:lnTo>
                        <a:lnTo>
                          <a:pt x="0" y="26"/>
                        </a:lnTo>
                        <a:lnTo>
                          <a:pt x="0" y="28"/>
                        </a:lnTo>
                        <a:lnTo>
                          <a:pt x="2" y="28"/>
                        </a:lnTo>
                        <a:lnTo>
                          <a:pt x="2" y="30"/>
                        </a:lnTo>
                        <a:lnTo>
                          <a:pt x="4" y="30"/>
                        </a:lnTo>
                        <a:lnTo>
                          <a:pt x="6" y="30"/>
                        </a:lnTo>
                        <a:lnTo>
                          <a:pt x="10" y="30"/>
                        </a:lnTo>
                        <a:lnTo>
                          <a:pt x="12" y="30"/>
                        </a:lnTo>
                        <a:lnTo>
                          <a:pt x="14" y="30"/>
                        </a:lnTo>
                        <a:lnTo>
                          <a:pt x="16" y="30"/>
                        </a:lnTo>
                        <a:lnTo>
                          <a:pt x="20" y="32"/>
                        </a:lnTo>
                        <a:lnTo>
                          <a:pt x="20" y="34"/>
                        </a:lnTo>
                        <a:lnTo>
                          <a:pt x="22" y="34"/>
                        </a:lnTo>
                        <a:lnTo>
                          <a:pt x="24" y="34"/>
                        </a:lnTo>
                        <a:lnTo>
                          <a:pt x="26" y="34"/>
                        </a:lnTo>
                        <a:lnTo>
                          <a:pt x="28" y="34"/>
                        </a:lnTo>
                        <a:lnTo>
                          <a:pt x="30" y="32"/>
                        </a:lnTo>
                        <a:lnTo>
                          <a:pt x="28" y="34"/>
                        </a:lnTo>
                        <a:lnTo>
                          <a:pt x="26" y="36"/>
                        </a:lnTo>
                        <a:lnTo>
                          <a:pt x="28" y="38"/>
                        </a:lnTo>
                        <a:lnTo>
                          <a:pt x="30" y="38"/>
                        </a:lnTo>
                        <a:lnTo>
                          <a:pt x="28" y="38"/>
                        </a:lnTo>
                        <a:lnTo>
                          <a:pt x="28" y="40"/>
                        </a:lnTo>
                        <a:lnTo>
                          <a:pt x="26" y="42"/>
                        </a:lnTo>
                        <a:lnTo>
                          <a:pt x="24" y="44"/>
                        </a:lnTo>
                        <a:lnTo>
                          <a:pt x="22" y="44"/>
                        </a:lnTo>
                        <a:lnTo>
                          <a:pt x="20" y="44"/>
                        </a:lnTo>
                        <a:lnTo>
                          <a:pt x="18" y="44"/>
                        </a:lnTo>
                        <a:lnTo>
                          <a:pt x="16" y="44"/>
                        </a:lnTo>
                        <a:lnTo>
                          <a:pt x="14" y="44"/>
                        </a:lnTo>
                        <a:lnTo>
                          <a:pt x="14" y="46"/>
                        </a:lnTo>
                        <a:lnTo>
                          <a:pt x="16" y="48"/>
                        </a:lnTo>
                        <a:lnTo>
                          <a:pt x="18" y="48"/>
                        </a:lnTo>
                        <a:lnTo>
                          <a:pt x="20" y="48"/>
                        </a:lnTo>
                        <a:lnTo>
                          <a:pt x="22" y="48"/>
                        </a:lnTo>
                        <a:lnTo>
                          <a:pt x="24" y="48"/>
                        </a:lnTo>
                        <a:lnTo>
                          <a:pt x="26" y="48"/>
                        </a:lnTo>
                        <a:lnTo>
                          <a:pt x="28" y="48"/>
                        </a:lnTo>
                        <a:lnTo>
                          <a:pt x="30" y="46"/>
                        </a:lnTo>
                        <a:lnTo>
                          <a:pt x="32" y="46"/>
                        </a:lnTo>
                        <a:lnTo>
                          <a:pt x="34" y="46"/>
                        </a:lnTo>
                        <a:lnTo>
                          <a:pt x="34" y="44"/>
                        </a:lnTo>
                        <a:lnTo>
                          <a:pt x="36" y="46"/>
                        </a:lnTo>
                        <a:lnTo>
                          <a:pt x="38" y="48"/>
                        </a:lnTo>
                        <a:lnTo>
                          <a:pt x="40" y="48"/>
                        </a:lnTo>
                        <a:lnTo>
                          <a:pt x="42" y="48"/>
                        </a:lnTo>
                        <a:lnTo>
                          <a:pt x="44" y="46"/>
                        </a:lnTo>
                        <a:lnTo>
                          <a:pt x="44" y="48"/>
                        </a:lnTo>
                        <a:lnTo>
                          <a:pt x="46" y="50"/>
                        </a:lnTo>
                        <a:lnTo>
                          <a:pt x="48" y="50"/>
                        </a:lnTo>
                        <a:lnTo>
                          <a:pt x="52" y="52"/>
                        </a:lnTo>
                        <a:lnTo>
                          <a:pt x="56" y="54"/>
                        </a:lnTo>
                        <a:lnTo>
                          <a:pt x="58" y="54"/>
                        </a:lnTo>
                        <a:lnTo>
                          <a:pt x="60" y="5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nvGrpSpPr>
                  <p:cNvPr id="180" name="Group 179">
                    <a:extLst>
                      <a:ext uri="{FF2B5EF4-FFF2-40B4-BE49-F238E27FC236}">
                        <a16:creationId xmlns:a16="http://schemas.microsoft.com/office/drawing/2014/main" id="{A4B42132-2605-4513-A512-327E354E91E3}"/>
                      </a:ext>
                    </a:extLst>
                  </p:cNvPr>
                  <p:cNvGrpSpPr/>
                  <p:nvPr/>
                </p:nvGrpSpPr>
                <p:grpSpPr>
                  <a:xfrm>
                    <a:off x="3207375" y="1639641"/>
                    <a:ext cx="5257022" cy="1236470"/>
                    <a:chOff x="3207375" y="1639641"/>
                    <a:chExt cx="5257022" cy="1236470"/>
                  </a:xfrm>
                  <a:grpFill/>
                </p:grpSpPr>
                <p:sp>
                  <p:nvSpPr>
                    <p:cNvPr id="181" name="Freeform 13">
                      <a:extLst>
                        <a:ext uri="{FF2B5EF4-FFF2-40B4-BE49-F238E27FC236}">
                          <a16:creationId xmlns:a16="http://schemas.microsoft.com/office/drawing/2014/main" id="{CAE6355D-30B8-4D50-A719-99A6F7A4BC8E}"/>
                        </a:ext>
                      </a:extLst>
                    </p:cNvPr>
                    <p:cNvSpPr>
                      <a:spLocks noChangeAspect="1" noEditPoints="1"/>
                    </p:cNvSpPr>
                    <p:nvPr/>
                  </p:nvSpPr>
                  <p:spPr bwMode="auto">
                    <a:xfrm>
                      <a:off x="3207375" y="1639641"/>
                      <a:ext cx="1106655" cy="631314"/>
                    </a:xfrm>
                    <a:custGeom>
                      <a:avLst/>
                      <a:gdLst/>
                      <a:ahLst/>
                      <a:cxnLst>
                        <a:cxn ang="0">
                          <a:pos x="574" y="28"/>
                        </a:cxn>
                        <a:cxn ang="0">
                          <a:pos x="566" y="18"/>
                        </a:cxn>
                        <a:cxn ang="0">
                          <a:pos x="498" y="20"/>
                        </a:cxn>
                        <a:cxn ang="0">
                          <a:pos x="578" y="14"/>
                        </a:cxn>
                        <a:cxn ang="0">
                          <a:pos x="480" y="4"/>
                        </a:cxn>
                        <a:cxn ang="0">
                          <a:pos x="362" y="4"/>
                        </a:cxn>
                        <a:cxn ang="0">
                          <a:pos x="350" y="12"/>
                        </a:cxn>
                        <a:cxn ang="0">
                          <a:pos x="276" y="22"/>
                        </a:cxn>
                        <a:cxn ang="0">
                          <a:pos x="202" y="24"/>
                        </a:cxn>
                        <a:cxn ang="0">
                          <a:pos x="116" y="34"/>
                        </a:cxn>
                        <a:cxn ang="0">
                          <a:pos x="110" y="44"/>
                        </a:cxn>
                        <a:cxn ang="0">
                          <a:pos x="28" y="62"/>
                        </a:cxn>
                        <a:cxn ang="0">
                          <a:pos x="36" y="76"/>
                        </a:cxn>
                        <a:cxn ang="0">
                          <a:pos x="18" y="82"/>
                        </a:cxn>
                        <a:cxn ang="0">
                          <a:pos x="30" y="98"/>
                        </a:cxn>
                        <a:cxn ang="0">
                          <a:pos x="78" y="94"/>
                        </a:cxn>
                        <a:cxn ang="0">
                          <a:pos x="124" y="112"/>
                        </a:cxn>
                        <a:cxn ang="0">
                          <a:pos x="136" y="136"/>
                        </a:cxn>
                        <a:cxn ang="0">
                          <a:pos x="122" y="156"/>
                        </a:cxn>
                        <a:cxn ang="0">
                          <a:pos x="144" y="162"/>
                        </a:cxn>
                        <a:cxn ang="0">
                          <a:pos x="160" y="174"/>
                        </a:cxn>
                        <a:cxn ang="0">
                          <a:pos x="118" y="182"/>
                        </a:cxn>
                        <a:cxn ang="0">
                          <a:pos x="160" y="194"/>
                        </a:cxn>
                        <a:cxn ang="0">
                          <a:pos x="148" y="212"/>
                        </a:cxn>
                        <a:cxn ang="0">
                          <a:pos x="140" y="226"/>
                        </a:cxn>
                        <a:cxn ang="0">
                          <a:pos x="110" y="224"/>
                        </a:cxn>
                        <a:cxn ang="0">
                          <a:pos x="128" y="234"/>
                        </a:cxn>
                        <a:cxn ang="0">
                          <a:pos x="90" y="250"/>
                        </a:cxn>
                        <a:cxn ang="0">
                          <a:pos x="98" y="272"/>
                        </a:cxn>
                        <a:cxn ang="0">
                          <a:pos x="106" y="278"/>
                        </a:cxn>
                        <a:cxn ang="0">
                          <a:pos x="106" y="290"/>
                        </a:cxn>
                        <a:cxn ang="0">
                          <a:pos x="98" y="304"/>
                        </a:cxn>
                        <a:cxn ang="0">
                          <a:pos x="110" y="330"/>
                        </a:cxn>
                        <a:cxn ang="0">
                          <a:pos x="138" y="346"/>
                        </a:cxn>
                        <a:cxn ang="0">
                          <a:pos x="146" y="350"/>
                        </a:cxn>
                        <a:cxn ang="0">
                          <a:pos x="174" y="354"/>
                        </a:cxn>
                        <a:cxn ang="0">
                          <a:pos x="192" y="332"/>
                        </a:cxn>
                        <a:cxn ang="0">
                          <a:pos x="198" y="312"/>
                        </a:cxn>
                        <a:cxn ang="0">
                          <a:pos x="230" y="300"/>
                        </a:cxn>
                        <a:cxn ang="0">
                          <a:pos x="240" y="278"/>
                        </a:cxn>
                        <a:cxn ang="0">
                          <a:pos x="286" y="258"/>
                        </a:cxn>
                        <a:cxn ang="0">
                          <a:pos x="304" y="260"/>
                        </a:cxn>
                        <a:cxn ang="0">
                          <a:pos x="372" y="224"/>
                        </a:cxn>
                        <a:cxn ang="0">
                          <a:pos x="444" y="214"/>
                        </a:cxn>
                        <a:cxn ang="0">
                          <a:pos x="506" y="188"/>
                        </a:cxn>
                        <a:cxn ang="0">
                          <a:pos x="458" y="186"/>
                        </a:cxn>
                        <a:cxn ang="0">
                          <a:pos x="440" y="178"/>
                        </a:cxn>
                        <a:cxn ang="0">
                          <a:pos x="444" y="162"/>
                        </a:cxn>
                        <a:cxn ang="0">
                          <a:pos x="502" y="184"/>
                        </a:cxn>
                        <a:cxn ang="0">
                          <a:pos x="510" y="168"/>
                        </a:cxn>
                        <a:cxn ang="0">
                          <a:pos x="486" y="150"/>
                        </a:cxn>
                        <a:cxn ang="0">
                          <a:pos x="504" y="142"/>
                        </a:cxn>
                        <a:cxn ang="0">
                          <a:pos x="504" y="136"/>
                        </a:cxn>
                        <a:cxn ang="0">
                          <a:pos x="548" y="124"/>
                        </a:cxn>
                        <a:cxn ang="0">
                          <a:pos x="544" y="110"/>
                        </a:cxn>
                        <a:cxn ang="0">
                          <a:pos x="560" y="100"/>
                        </a:cxn>
                        <a:cxn ang="0">
                          <a:pos x="586" y="86"/>
                        </a:cxn>
                        <a:cxn ang="0">
                          <a:pos x="552" y="70"/>
                        </a:cxn>
                        <a:cxn ang="0">
                          <a:pos x="592" y="46"/>
                        </a:cxn>
                        <a:cxn ang="0">
                          <a:pos x="622" y="38"/>
                        </a:cxn>
                        <a:cxn ang="0">
                          <a:pos x="668" y="26"/>
                        </a:cxn>
                        <a:cxn ang="0">
                          <a:pos x="106" y="200"/>
                        </a:cxn>
                      </a:cxnLst>
                      <a:rect l="0" t="0" r="r" b="b"/>
                      <a:pathLst>
                        <a:path w="672" h="362">
                          <a:moveTo>
                            <a:pt x="108" y="326"/>
                          </a:moveTo>
                          <a:lnTo>
                            <a:pt x="108" y="326"/>
                          </a:lnTo>
                          <a:lnTo>
                            <a:pt x="106" y="326"/>
                          </a:lnTo>
                          <a:lnTo>
                            <a:pt x="108" y="326"/>
                          </a:lnTo>
                          <a:close/>
                          <a:moveTo>
                            <a:pt x="670" y="24"/>
                          </a:moveTo>
                          <a:lnTo>
                            <a:pt x="670" y="22"/>
                          </a:lnTo>
                          <a:lnTo>
                            <a:pt x="666" y="22"/>
                          </a:lnTo>
                          <a:lnTo>
                            <a:pt x="664" y="22"/>
                          </a:lnTo>
                          <a:lnTo>
                            <a:pt x="662" y="20"/>
                          </a:lnTo>
                          <a:lnTo>
                            <a:pt x="652" y="20"/>
                          </a:lnTo>
                          <a:lnTo>
                            <a:pt x="650" y="20"/>
                          </a:lnTo>
                          <a:lnTo>
                            <a:pt x="622" y="20"/>
                          </a:lnTo>
                          <a:lnTo>
                            <a:pt x="620" y="22"/>
                          </a:lnTo>
                          <a:lnTo>
                            <a:pt x="618" y="22"/>
                          </a:lnTo>
                          <a:lnTo>
                            <a:pt x="616" y="24"/>
                          </a:lnTo>
                          <a:lnTo>
                            <a:pt x="612" y="24"/>
                          </a:lnTo>
                          <a:lnTo>
                            <a:pt x="602" y="24"/>
                          </a:lnTo>
                          <a:lnTo>
                            <a:pt x="600" y="24"/>
                          </a:lnTo>
                          <a:lnTo>
                            <a:pt x="596" y="24"/>
                          </a:lnTo>
                          <a:lnTo>
                            <a:pt x="592" y="22"/>
                          </a:lnTo>
                          <a:lnTo>
                            <a:pt x="584" y="22"/>
                          </a:lnTo>
                          <a:lnTo>
                            <a:pt x="584" y="24"/>
                          </a:lnTo>
                          <a:lnTo>
                            <a:pt x="582" y="24"/>
                          </a:lnTo>
                          <a:lnTo>
                            <a:pt x="580" y="24"/>
                          </a:lnTo>
                          <a:lnTo>
                            <a:pt x="576" y="26"/>
                          </a:lnTo>
                          <a:lnTo>
                            <a:pt x="574" y="28"/>
                          </a:lnTo>
                          <a:lnTo>
                            <a:pt x="570" y="28"/>
                          </a:lnTo>
                          <a:lnTo>
                            <a:pt x="566" y="30"/>
                          </a:lnTo>
                          <a:lnTo>
                            <a:pt x="564" y="30"/>
                          </a:lnTo>
                          <a:lnTo>
                            <a:pt x="562" y="30"/>
                          </a:lnTo>
                          <a:lnTo>
                            <a:pt x="562" y="32"/>
                          </a:lnTo>
                          <a:lnTo>
                            <a:pt x="558" y="32"/>
                          </a:lnTo>
                          <a:lnTo>
                            <a:pt x="556" y="32"/>
                          </a:lnTo>
                          <a:lnTo>
                            <a:pt x="554" y="34"/>
                          </a:lnTo>
                          <a:lnTo>
                            <a:pt x="550" y="34"/>
                          </a:lnTo>
                          <a:lnTo>
                            <a:pt x="548" y="34"/>
                          </a:lnTo>
                          <a:lnTo>
                            <a:pt x="544" y="34"/>
                          </a:lnTo>
                          <a:lnTo>
                            <a:pt x="546" y="32"/>
                          </a:lnTo>
                          <a:lnTo>
                            <a:pt x="548" y="32"/>
                          </a:lnTo>
                          <a:lnTo>
                            <a:pt x="550" y="32"/>
                          </a:lnTo>
                          <a:lnTo>
                            <a:pt x="552" y="30"/>
                          </a:lnTo>
                          <a:lnTo>
                            <a:pt x="554" y="30"/>
                          </a:lnTo>
                          <a:lnTo>
                            <a:pt x="560" y="28"/>
                          </a:lnTo>
                          <a:lnTo>
                            <a:pt x="564" y="26"/>
                          </a:lnTo>
                          <a:lnTo>
                            <a:pt x="566" y="26"/>
                          </a:lnTo>
                          <a:lnTo>
                            <a:pt x="568" y="24"/>
                          </a:lnTo>
                          <a:lnTo>
                            <a:pt x="570" y="24"/>
                          </a:lnTo>
                          <a:lnTo>
                            <a:pt x="572" y="24"/>
                          </a:lnTo>
                          <a:lnTo>
                            <a:pt x="572" y="22"/>
                          </a:lnTo>
                          <a:lnTo>
                            <a:pt x="570" y="20"/>
                          </a:lnTo>
                          <a:lnTo>
                            <a:pt x="566" y="18"/>
                          </a:lnTo>
                          <a:lnTo>
                            <a:pt x="564" y="18"/>
                          </a:lnTo>
                          <a:lnTo>
                            <a:pt x="562" y="18"/>
                          </a:lnTo>
                          <a:lnTo>
                            <a:pt x="556" y="18"/>
                          </a:lnTo>
                          <a:lnTo>
                            <a:pt x="552" y="20"/>
                          </a:lnTo>
                          <a:lnTo>
                            <a:pt x="550" y="20"/>
                          </a:lnTo>
                          <a:lnTo>
                            <a:pt x="548" y="22"/>
                          </a:lnTo>
                          <a:lnTo>
                            <a:pt x="546" y="22"/>
                          </a:lnTo>
                          <a:lnTo>
                            <a:pt x="540" y="24"/>
                          </a:lnTo>
                          <a:lnTo>
                            <a:pt x="536" y="24"/>
                          </a:lnTo>
                          <a:lnTo>
                            <a:pt x="532" y="24"/>
                          </a:lnTo>
                          <a:lnTo>
                            <a:pt x="526" y="24"/>
                          </a:lnTo>
                          <a:lnTo>
                            <a:pt x="524" y="26"/>
                          </a:lnTo>
                          <a:lnTo>
                            <a:pt x="520" y="26"/>
                          </a:lnTo>
                          <a:lnTo>
                            <a:pt x="522" y="24"/>
                          </a:lnTo>
                          <a:lnTo>
                            <a:pt x="526" y="24"/>
                          </a:lnTo>
                          <a:lnTo>
                            <a:pt x="528" y="22"/>
                          </a:lnTo>
                          <a:lnTo>
                            <a:pt x="530" y="22"/>
                          </a:lnTo>
                          <a:lnTo>
                            <a:pt x="534" y="22"/>
                          </a:lnTo>
                          <a:lnTo>
                            <a:pt x="534" y="20"/>
                          </a:lnTo>
                          <a:lnTo>
                            <a:pt x="536" y="20"/>
                          </a:lnTo>
                          <a:lnTo>
                            <a:pt x="538" y="20"/>
                          </a:lnTo>
                          <a:lnTo>
                            <a:pt x="534" y="20"/>
                          </a:lnTo>
                          <a:lnTo>
                            <a:pt x="532" y="18"/>
                          </a:lnTo>
                          <a:lnTo>
                            <a:pt x="504" y="18"/>
                          </a:lnTo>
                          <a:lnTo>
                            <a:pt x="502" y="20"/>
                          </a:lnTo>
                          <a:lnTo>
                            <a:pt x="498" y="20"/>
                          </a:lnTo>
                          <a:lnTo>
                            <a:pt x="494" y="20"/>
                          </a:lnTo>
                          <a:lnTo>
                            <a:pt x="484" y="20"/>
                          </a:lnTo>
                          <a:lnTo>
                            <a:pt x="482" y="18"/>
                          </a:lnTo>
                          <a:lnTo>
                            <a:pt x="480" y="18"/>
                          </a:lnTo>
                          <a:lnTo>
                            <a:pt x="480" y="20"/>
                          </a:lnTo>
                          <a:lnTo>
                            <a:pt x="478" y="20"/>
                          </a:lnTo>
                          <a:lnTo>
                            <a:pt x="476" y="20"/>
                          </a:lnTo>
                          <a:lnTo>
                            <a:pt x="472" y="22"/>
                          </a:lnTo>
                          <a:lnTo>
                            <a:pt x="468" y="22"/>
                          </a:lnTo>
                          <a:lnTo>
                            <a:pt x="466" y="22"/>
                          </a:lnTo>
                          <a:lnTo>
                            <a:pt x="464" y="22"/>
                          </a:lnTo>
                          <a:lnTo>
                            <a:pt x="464" y="20"/>
                          </a:lnTo>
                          <a:lnTo>
                            <a:pt x="466" y="20"/>
                          </a:lnTo>
                          <a:lnTo>
                            <a:pt x="468" y="20"/>
                          </a:lnTo>
                          <a:lnTo>
                            <a:pt x="470" y="20"/>
                          </a:lnTo>
                          <a:lnTo>
                            <a:pt x="472" y="18"/>
                          </a:lnTo>
                          <a:lnTo>
                            <a:pt x="476" y="18"/>
                          </a:lnTo>
                          <a:lnTo>
                            <a:pt x="480" y="18"/>
                          </a:lnTo>
                          <a:lnTo>
                            <a:pt x="486" y="16"/>
                          </a:lnTo>
                          <a:lnTo>
                            <a:pt x="534" y="16"/>
                          </a:lnTo>
                          <a:lnTo>
                            <a:pt x="538" y="16"/>
                          </a:lnTo>
                          <a:lnTo>
                            <a:pt x="570" y="16"/>
                          </a:lnTo>
                          <a:lnTo>
                            <a:pt x="572" y="14"/>
                          </a:lnTo>
                          <a:lnTo>
                            <a:pt x="576" y="14"/>
                          </a:lnTo>
                          <a:lnTo>
                            <a:pt x="578" y="14"/>
                          </a:lnTo>
                          <a:lnTo>
                            <a:pt x="580" y="14"/>
                          </a:lnTo>
                          <a:lnTo>
                            <a:pt x="580" y="12"/>
                          </a:lnTo>
                          <a:lnTo>
                            <a:pt x="578" y="10"/>
                          </a:lnTo>
                          <a:lnTo>
                            <a:pt x="576" y="10"/>
                          </a:lnTo>
                          <a:lnTo>
                            <a:pt x="572" y="10"/>
                          </a:lnTo>
                          <a:lnTo>
                            <a:pt x="568" y="10"/>
                          </a:lnTo>
                          <a:lnTo>
                            <a:pt x="554" y="10"/>
                          </a:lnTo>
                          <a:lnTo>
                            <a:pt x="552" y="10"/>
                          </a:lnTo>
                          <a:lnTo>
                            <a:pt x="542" y="10"/>
                          </a:lnTo>
                          <a:lnTo>
                            <a:pt x="544" y="10"/>
                          </a:lnTo>
                          <a:lnTo>
                            <a:pt x="546" y="8"/>
                          </a:lnTo>
                          <a:lnTo>
                            <a:pt x="546" y="6"/>
                          </a:lnTo>
                          <a:lnTo>
                            <a:pt x="530" y="6"/>
                          </a:lnTo>
                          <a:lnTo>
                            <a:pt x="528" y="8"/>
                          </a:lnTo>
                          <a:lnTo>
                            <a:pt x="528" y="6"/>
                          </a:lnTo>
                          <a:lnTo>
                            <a:pt x="518" y="6"/>
                          </a:lnTo>
                          <a:lnTo>
                            <a:pt x="516" y="6"/>
                          </a:lnTo>
                          <a:lnTo>
                            <a:pt x="526" y="6"/>
                          </a:lnTo>
                          <a:lnTo>
                            <a:pt x="528" y="4"/>
                          </a:lnTo>
                          <a:lnTo>
                            <a:pt x="528" y="2"/>
                          </a:lnTo>
                          <a:lnTo>
                            <a:pt x="526" y="2"/>
                          </a:lnTo>
                          <a:lnTo>
                            <a:pt x="522" y="2"/>
                          </a:lnTo>
                          <a:lnTo>
                            <a:pt x="504" y="2"/>
                          </a:lnTo>
                          <a:lnTo>
                            <a:pt x="500" y="2"/>
                          </a:lnTo>
                          <a:lnTo>
                            <a:pt x="480" y="2"/>
                          </a:lnTo>
                          <a:lnTo>
                            <a:pt x="480" y="4"/>
                          </a:lnTo>
                          <a:lnTo>
                            <a:pt x="480" y="2"/>
                          </a:lnTo>
                          <a:lnTo>
                            <a:pt x="472" y="2"/>
                          </a:lnTo>
                          <a:lnTo>
                            <a:pt x="468" y="2"/>
                          </a:lnTo>
                          <a:lnTo>
                            <a:pt x="460" y="2"/>
                          </a:lnTo>
                          <a:lnTo>
                            <a:pt x="458" y="0"/>
                          </a:lnTo>
                          <a:lnTo>
                            <a:pt x="452" y="0"/>
                          </a:lnTo>
                          <a:lnTo>
                            <a:pt x="446" y="2"/>
                          </a:lnTo>
                          <a:lnTo>
                            <a:pt x="442" y="2"/>
                          </a:lnTo>
                          <a:lnTo>
                            <a:pt x="440" y="2"/>
                          </a:lnTo>
                          <a:lnTo>
                            <a:pt x="406" y="2"/>
                          </a:lnTo>
                          <a:lnTo>
                            <a:pt x="406" y="4"/>
                          </a:lnTo>
                          <a:lnTo>
                            <a:pt x="408" y="4"/>
                          </a:lnTo>
                          <a:lnTo>
                            <a:pt x="408" y="6"/>
                          </a:lnTo>
                          <a:lnTo>
                            <a:pt x="416" y="6"/>
                          </a:lnTo>
                          <a:lnTo>
                            <a:pt x="414" y="6"/>
                          </a:lnTo>
                          <a:lnTo>
                            <a:pt x="410" y="6"/>
                          </a:lnTo>
                          <a:lnTo>
                            <a:pt x="408" y="8"/>
                          </a:lnTo>
                          <a:lnTo>
                            <a:pt x="396" y="8"/>
                          </a:lnTo>
                          <a:lnTo>
                            <a:pt x="394" y="6"/>
                          </a:lnTo>
                          <a:lnTo>
                            <a:pt x="388" y="6"/>
                          </a:lnTo>
                          <a:lnTo>
                            <a:pt x="384" y="6"/>
                          </a:lnTo>
                          <a:lnTo>
                            <a:pt x="380" y="6"/>
                          </a:lnTo>
                          <a:lnTo>
                            <a:pt x="376" y="4"/>
                          </a:lnTo>
                          <a:lnTo>
                            <a:pt x="370" y="4"/>
                          </a:lnTo>
                          <a:lnTo>
                            <a:pt x="368" y="4"/>
                          </a:lnTo>
                          <a:lnTo>
                            <a:pt x="364" y="4"/>
                          </a:lnTo>
                          <a:lnTo>
                            <a:pt x="362" y="4"/>
                          </a:lnTo>
                          <a:lnTo>
                            <a:pt x="348" y="4"/>
                          </a:lnTo>
                          <a:lnTo>
                            <a:pt x="346" y="6"/>
                          </a:lnTo>
                          <a:lnTo>
                            <a:pt x="342" y="6"/>
                          </a:lnTo>
                          <a:lnTo>
                            <a:pt x="340" y="6"/>
                          </a:lnTo>
                          <a:lnTo>
                            <a:pt x="336" y="6"/>
                          </a:lnTo>
                          <a:lnTo>
                            <a:pt x="336" y="8"/>
                          </a:lnTo>
                          <a:lnTo>
                            <a:pt x="338" y="10"/>
                          </a:lnTo>
                          <a:lnTo>
                            <a:pt x="342" y="10"/>
                          </a:lnTo>
                          <a:lnTo>
                            <a:pt x="346" y="10"/>
                          </a:lnTo>
                          <a:lnTo>
                            <a:pt x="356" y="10"/>
                          </a:lnTo>
                          <a:lnTo>
                            <a:pt x="360" y="10"/>
                          </a:lnTo>
                          <a:lnTo>
                            <a:pt x="374" y="10"/>
                          </a:lnTo>
                          <a:lnTo>
                            <a:pt x="376" y="12"/>
                          </a:lnTo>
                          <a:lnTo>
                            <a:pt x="380" y="12"/>
                          </a:lnTo>
                          <a:lnTo>
                            <a:pt x="382" y="12"/>
                          </a:lnTo>
                          <a:lnTo>
                            <a:pt x="386" y="12"/>
                          </a:lnTo>
                          <a:lnTo>
                            <a:pt x="388" y="14"/>
                          </a:lnTo>
                          <a:lnTo>
                            <a:pt x="362" y="14"/>
                          </a:lnTo>
                          <a:lnTo>
                            <a:pt x="360" y="12"/>
                          </a:lnTo>
                          <a:lnTo>
                            <a:pt x="356" y="12"/>
                          </a:lnTo>
                          <a:lnTo>
                            <a:pt x="354" y="10"/>
                          </a:lnTo>
                          <a:lnTo>
                            <a:pt x="348" y="10"/>
                          </a:lnTo>
                          <a:lnTo>
                            <a:pt x="348" y="12"/>
                          </a:lnTo>
                          <a:lnTo>
                            <a:pt x="350" y="12"/>
                          </a:lnTo>
                          <a:lnTo>
                            <a:pt x="354" y="12"/>
                          </a:lnTo>
                          <a:lnTo>
                            <a:pt x="356" y="14"/>
                          </a:lnTo>
                          <a:lnTo>
                            <a:pt x="346" y="14"/>
                          </a:lnTo>
                          <a:lnTo>
                            <a:pt x="344" y="14"/>
                          </a:lnTo>
                          <a:lnTo>
                            <a:pt x="342" y="16"/>
                          </a:lnTo>
                          <a:lnTo>
                            <a:pt x="340" y="18"/>
                          </a:lnTo>
                          <a:lnTo>
                            <a:pt x="340" y="20"/>
                          </a:lnTo>
                          <a:lnTo>
                            <a:pt x="338" y="20"/>
                          </a:lnTo>
                          <a:lnTo>
                            <a:pt x="340" y="20"/>
                          </a:lnTo>
                          <a:lnTo>
                            <a:pt x="340" y="22"/>
                          </a:lnTo>
                          <a:lnTo>
                            <a:pt x="336" y="22"/>
                          </a:lnTo>
                          <a:lnTo>
                            <a:pt x="334" y="22"/>
                          </a:lnTo>
                          <a:lnTo>
                            <a:pt x="330" y="22"/>
                          </a:lnTo>
                          <a:lnTo>
                            <a:pt x="328" y="20"/>
                          </a:lnTo>
                          <a:lnTo>
                            <a:pt x="326" y="20"/>
                          </a:lnTo>
                          <a:lnTo>
                            <a:pt x="324" y="18"/>
                          </a:lnTo>
                          <a:lnTo>
                            <a:pt x="322" y="18"/>
                          </a:lnTo>
                          <a:lnTo>
                            <a:pt x="318" y="16"/>
                          </a:lnTo>
                          <a:lnTo>
                            <a:pt x="316" y="16"/>
                          </a:lnTo>
                          <a:lnTo>
                            <a:pt x="310" y="14"/>
                          </a:lnTo>
                          <a:lnTo>
                            <a:pt x="302" y="14"/>
                          </a:lnTo>
                          <a:lnTo>
                            <a:pt x="284" y="14"/>
                          </a:lnTo>
                          <a:lnTo>
                            <a:pt x="284" y="20"/>
                          </a:lnTo>
                          <a:lnTo>
                            <a:pt x="280" y="20"/>
                          </a:lnTo>
                          <a:lnTo>
                            <a:pt x="276" y="22"/>
                          </a:lnTo>
                          <a:lnTo>
                            <a:pt x="272" y="20"/>
                          </a:lnTo>
                          <a:lnTo>
                            <a:pt x="268" y="20"/>
                          </a:lnTo>
                          <a:lnTo>
                            <a:pt x="264" y="18"/>
                          </a:lnTo>
                          <a:lnTo>
                            <a:pt x="258" y="18"/>
                          </a:lnTo>
                          <a:lnTo>
                            <a:pt x="256" y="18"/>
                          </a:lnTo>
                          <a:lnTo>
                            <a:pt x="252" y="18"/>
                          </a:lnTo>
                          <a:lnTo>
                            <a:pt x="250" y="20"/>
                          </a:lnTo>
                          <a:lnTo>
                            <a:pt x="248" y="20"/>
                          </a:lnTo>
                          <a:lnTo>
                            <a:pt x="248" y="22"/>
                          </a:lnTo>
                          <a:lnTo>
                            <a:pt x="246" y="22"/>
                          </a:lnTo>
                          <a:lnTo>
                            <a:pt x="246" y="20"/>
                          </a:lnTo>
                          <a:lnTo>
                            <a:pt x="248" y="20"/>
                          </a:lnTo>
                          <a:lnTo>
                            <a:pt x="248" y="16"/>
                          </a:lnTo>
                          <a:lnTo>
                            <a:pt x="246" y="16"/>
                          </a:lnTo>
                          <a:lnTo>
                            <a:pt x="222" y="16"/>
                          </a:lnTo>
                          <a:lnTo>
                            <a:pt x="216" y="16"/>
                          </a:lnTo>
                          <a:lnTo>
                            <a:pt x="208" y="16"/>
                          </a:lnTo>
                          <a:lnTo>
                            <a:pt x="206" y="18"/>
                          </a:lnTo>
                          <a:lnTo>
                            <a:pt x="200" y="18"/>
                          </a:lnTo>
                          <a:lnTo>
                            <a:pt x="196" y="16"/>
                          </a:lnTo>
                          <a:lnTo>
                            <a:pt x="192" y="16"/>
                          </a:lnTo>
                          <a:lnTo>
                            <a:pt x="192" y="18"/>
                          </a:lnTo>
                          <a:lnTo>
                            <a:pt x="194" y="20"/>
                          </a:lnTo>
                          <a:lnTo>
                            <a:pt x="196" y="20"/>
                          </a:lnTo>
                          <a:lnTo>
                            <a:pt x="200" y="22"/>
                          </a:lnTo>
                          <a:lnTo>
                            <a:pt x="202" y="24"/>
                          </a:lnTo>
                          <a:lnTo>
                            <a:pt x="204" y="24"/>
                          </a:lnTo>
                          <a:lnTo>
                            <a:pt x="202" y="24"/>
                          </a:lnTo>
                          <a:lnTo>
                            <a:pt x="200" y="24"/>
                          </a:lnTo>
                          <a:lnTo>
                            <a:pt x="196" y="22"/>
                          </a:lnTo>
                          <a:lnTo>
                            <a:pt x="192" y="22"/>
                          </a:lnTo>
                          <a:lnTo>
                            <a:pt x="188" y="20"/>
                          </a:lnTo>
                          <a:lnTo>
                            <a:pt x="182" y="20"/>
                          </a:lnTo>
                          <a:lnTo>
                            <a:pt x="180" y="18"/>
                          </a:lnTo>
                          <a:lnTo>
                            <a:pt x="174" y="18"/>
                          </a:lnTo>
                          <a:lnTo>
                            <a:pt x="172" y="20"/>
                          </a:lnTo>
                          <a:lnTo>
                            <a:pt x="170" y="20"/>
                          </a:lnTo>
                          <a:lnTo>
                            <a:pt x="168" y="20"/>
                          </a:lnTo>
                          <a:lnTo>
                            <a:pt x="168" y="22"/>
                          </a:lnTo>
                          <a:lnTo>
                            <a:pt x="168" y="24"/>
                          </a:lnTo>
                          <a:lnTo>
                            <a:pt x="166" y="26"/>
                          </a:lnTo>
                          <a:lnTo>
                            <a:pt x="164" y="26"/>
                          </a:lnTo>
                          <a:lnTo>
                            <a:pt x="162" y="28"/>
                          </a:lnTo>
                          <a:lnTo>
                            <a:pt x="160" y="28"/>
                          </a:lnTo>
                          <a:lnTo>
                            <a:pt x="138" y="28"/>
                          </a:lnTo>
                          <a:lnTo>
                            <a:pt x="136" y="30"/>
                          </a:lnTo>
                          <a:lnTo>
                            <a:pt x="132" y="30"/>
                          </a:lnTo>
                          <a:lnTo>
                            <a:pt x="130" y="30"/>
                          </a:lnTo>
                          <a:lnTo>
                            <a:pt x="126" y="32"/>
                          </a:lnTo>
                          <a:lnTo>
                            <a:pt x="120" y="32"/>
                          </a:lnTo>
                          <a:lnTo>
                            <a:pt x="118" y="32"/>
                          </a:lnTo>
                          <a:lnTo>
                            <a:pt x="116" y="34"/>
                          </a:lnTo>
                          <a:lnTo>
                            <a:pt x="114" y="34"/>
                          </a:lnTo>
                          <a:lnTo>
                            <a:pt x="112" y="34"/>
                          </a:lnTo>
                          <a:lnTo>
                            <a:pt x="108" y="34"/>
                          </a:lnTo>
                          <a:lnTo>
                            <a:pt x="106" y="34"/>
                          </a:lnTo>
                          <a:lnTo>
                            <a:pt x="102" y="34"/>
                          </a:lnTo>
                          <a:lnTo>
                            <a:pt x="96" y="36"/>
                          </a:lnTo>
                          <a:lnTo>
                            <a:pt x="94" y="36"/>
                          </a:lnTo>
                          <a:lnTo>
                            <a:pt x="92" y="38"/>
                          </a:lnTo>
                          <a:lnTo>
                            <a:pt x="90" y="38"/>
                          </a:lnTo>
                          <a:lnTo>
                            <a:pt x="88" y="38"/>
                          </a:lnTo>
                          <a:lnTo>
                            <a:pt x="88" y="40"/>
                          </a:lnTo>
                          <a:lnTo>
                            <a:pt x="90" y="40"/>
                          </a:lnTo>
                          <a:lnTo>
                            <a:pt x="92" y="42"/>
                          </a:lnTo>
                          <a:lnTo>
                            <a:pt x="96" y="42"/>
                          </a:lnTo>
                          <a:lnTo>
                            <a:pt x="102" y="42"/>
                          </a:lnTo>
                          <a:lnTo>
                            <a:pt x="104" y="44"/>
                          </a:lnTo>
                          <a:lnTo>
                            <a:pt x="108" y="44"/>
                          </a:lnTo>
                          <a:lnTo>
                            <a:pt x="108" y="42"/>
                          </a:lnTo>
                          <a:lnTo>
                            <a:pt x="114" y="42"/>
                          </a:lnTo>
                          <a:lnTo>
                            <a:pt x="116" y="42"/>
                          </a:lnTo>
                          <a:lnTo>
                            <a:pt x="114" y="42"/>
                          </a:lnTo>
                          <a:lnTo>
                            <a:pt x="112" y="44"/>
                          </a:lnTo>
                          <a:lnTo>
                            <a:pt x="110" y="44"/>
                          </a:lnTo>
                          <a:lnTo>
                            <a:pt x="108" y="44"/>
                          </a:lnTo>
                          <a:lnTo>
                            <a:pt x="108" y="46"/>
                          </a:lnTo>
                          <a:lnTo>
                            <a:pt x="106" y="46"/>
                          </a:lnTo>
                          <a:lnTo>
                            <a:pt x="104" y="48"/>
                          </a:lnTo>
                          <a:lnTo>
                            <a:pt x="102" y="50"/>
                          </a:lnTo>
                          <a:lnTo>
                            <a:pt x="100" y="50"/>
                          </a:lnTo>
                          <a:lnTo>
                            <a:pt x="96" y="52"/>
                          </a:lnTo>
                          <a:lnTo>
                            <a:pt x="94" y="54"/>
                          </a:lnTo>
                          <a:lnTo>
                            <a:pt x="90" y="54"/>
                          </a:lnTo>
                          <a:lnTo>
                            <a:pt x="86" y="56"/>
                          </a:lnTo>
                          <a:lnTo>
                            <a:pt x="82" y="56"/>
                          </a:lnTo>
                          <a:lnTo>
                            <a:pt x="62" y="56"/>
                          </a:lnTo>
                          <a:lnTo>
                            <a:pt x="56" y="58"/>
                          </a:lnTo>
                          <a:lnTo>
                            <a:pt x="50" y="58"/>
                          </a:lnTo>
                          <a:lnTo>
                            <a:pt x="48" y="58"/>
                          </a:lnTo>
                          <a:lnTo>
                            <a:pt x="46" y="60"/>
                          </a:lnTo>
                          <a:lnTo>
                            <a:pt x="44" y="60"/>
                          </a:lnTo>
                          <a:lnTo>
                            <a:pt x="42" y="62"/>
                          </a:lnTo>
                          <a:lnTo>
                            <a:pt x="38" y="62"/>
                          </a:lnTo>
                          <a:lnTo>
                            <a:pt x="36" y="60"/>
                          </a:lnTo>
                          <a:lnTo>
                            <a:pt x="34" y="60"/>
                          </a:lnTo>
                          <a:lnTo>
                            <a:pt x="30" y="62"/>
                          </a:lnTo>
                          <a:lnTo>
                            <a:pt x="28" y="62"/>
                          </a:lnTo>
                          <a:lnTo>
                            <a:pt x="12" y="62"/>
                          </a:lnTo>
                          <a:lnTo>
                            <a:pt x="8" y="64"/>
                          </a:lnTo>
                          <a:lnTo>
                            <a:pt x="6" y="64"/>
                          </a:lnTo>
                          <a:lnTo>
                            <a:pt x="2" y="64"/>
                          </a:lnTo>
                          <a:lnTo>
                            <a:pt x="2" y="66"/>
                          </a:lnTo>
                          <a:lnTo>
                            <a:pt x="0" y="66"/>
                          </a:lnTo>
                          <a:lnTo>
                            <a:pt x="0" y="68"/>
                          </a:lnTo>
                          <a:lnTo>
                            <a:pt x="2" y="70"/>
                          </a:lnTo>
                          <a:lnTo>
                            <a:pt x="4" y="70"/>
                          </a:lnTo>
                          <a:lnTo>
                            <a:pt x="8" y="74"/>
                          </a:lnTo>
                          <a:lnTo>
                            <a:pt x="10" y="74"/>
                          </a:lnTo>
                          <a:lnTo>
                            <a:pt x="12" y="76"/>
                          </a:lnTo>
                          <a:lnTo>
                            <a:pt x="14" y="76"/>
                          </a:lnTo>
                          <a:lnTo>
                            <a:pt x="16" y="74"/>
                          </a:lnTo>
                          <a:lnTo>
                            <a:pt x="18" y="74"/>
                          </a:lnTo>
                          <a:lnTo>
                            <a:pt x="20" y="74"/>
                          </a:lnTo>
                          <a:lnTo>
                            <a:pt x="22" y="76"/>
                          </a:lnTo>
                          <a:lnTo>
                            <a:pt x="22" y="78"/>
                          </a:lnTo>
                          <a:lnTo>
                            <a:pt x="24" y="78"/>
                          </a:lnTo>
                          <a:lnTo>
                            <a:pt x="26" y="78"/>
                          </a:lnTo>
                          <a:lnTo>
                            <a:pt x="28" y="78"/>
                          </a:lnTo>
                          <a:lnTo>
                            <a:pt x="30" y="78"/>
                          </a:lnTo>
                          <a:lnTo>
                            <a:pt x="32" y="78"/>
                          </a:lnTo>
                          <a:lnTo>
                            <a:pt x="34" y="76"/>
                          </a:lnTo>
                          <a:lnTo>
                            <a:pt x="36" y="76"/>
                          </a:lnTo>
                          <a:lnTo>
                            <a:pt x="36" y="74"/>
                          </a:lnTo>
                          <a:lnTo>
                            <a:pt x="36" y="78"/>
                          </a:lnTo>
                          <a:lnTo>
                            <a:pt x="40" y="78"/>
                          </a:lnTo>
                          <a:lnTo>
                            <a:pt x="44" y="78"/>
                          </a:lnTo>
                          <a:lnTo>
                            <a:pt x="46" y="78"/>
                          </a:lnTo>
                          <a:lnTo>
                            <a:pt x="50" y="76"/>
                          </a:lnTo>
                          <a:lnTo>
                            <a:pt x="52" y="76"/>
                          </a:lnTo>
                          <a:lnTo>
                            <a:pt x="54" y="74"/>
                          </a:lnTo>
                          <a:lnTo>
                            <a:pt x="58" y="74"/>
                          </a:lnTo>
                          <a:lnTo>
                            <a:pt x="58" y="76"/>
                          </a:lnTo>
                          <a:lnTo>
                            <a:pt x="60" y="76"/>
                          </a:lnTo>
                          <a:lnTo>
                            <a:pt x="60" y="78"/>
                          </a:lnTo>
                          <a:lnTo>
                            <a:pt x="58" y="80"/>
                          </a:lnTo>
                          <a:lnTo>
                            <a:pt x="56" y="80"/>
                          </a:lnTo>
                          <a:lnTo>
                            <a:pt x="52" y="82"/>
                          </a:lnTo>
                          <a:lnTo>
                            <a:pt x="50" y="82"/>
                          </a:lnTo>
                          <a:lnTo>
                            <a:pt x="48" y="82"/>
                          </a:lnTo>
                          <a:lnTo>
                            <a:pt x="38" y="82"/>
                          </a:lnTo>
                          <a:lnTo>
                            <a:pt x="36" y="82"/>
                          </a:lnTo>
                          <a:lnTo>
                            <a:pt x="30" y="82"/>
                          </a:lnTo>
                          <a:lnTo>
                            <a:pt x="26" y="82"/>
                          </a:lnTo>
                          <a:lnTo>
                            <a:pt x="22" y="82"/>
                          </a:lnTo>
                          <a:lnTo>
                            <a:pt x="20" y="82"/>
                          </a:lnTo>
                          <a:lnTo>
                            <a:pt x="18" y="82"/>
                          </a:lnTo>
                          <a:lnTo>
                            <a:pt x="18" y="80"/>
                          </a:lnTo>
                          <a:lnTo>
                            <a:pt x="16" y="80"/>
                          </a:lnTo>
                          <a:lnTo>
                            <a:pt x="12" y="80"/>
                          </a:lnTo>
                          <a:lnTo>
                            <a:pt x="10" y="78"/>
                          </a:lnTo>
                          <a:lnTo>
                            <a:pt x="4" y="78"/>
                          </a:lnTo>
                          <a:lnTo>
                            <a:pt x="2" y="82"/>
                          </a:lnTo>
                          <a:lnTo>
                            <a:pt x="2" y="84"/>
                          </a:lnTo>
                          <a:lnTo>
                            <a:pt x="2" y="86"/>
                          </a:lnTo>
                          <a:lnTo>
                            <a:pt x="4" y="88"/>
                          </a:lnTo>
                          <a:lnTo>
                            <a:pt x="6" y="88"/>
                          </a:lnTo>
                          <a:lnTo>
                            <a:pt x="8" y="90"/>
                          </a:lnTo>
                          <a:lnTo>
                            <a:pt x="18" y="90"/>
                          </a:lnTo>
                          <a:lnTo>
                            <a:pt x="16" y="90"/>
                          </a:lnTo>
                          <a:lnTo>
                            <a:pt x="14" y="90"/>
                          </a:lnTo>
                          <a:lnTo>
                            <a:pt x="10" y="92"/>
                          </a:lnTo>
                          <a:lnTo>
                            <a:pt x="10" y="94"/>
                          </a:lnTo>
                          <a:lnTo>
                            <a:pt x="12" y="96"/>
                          </a:lnTo>
                          <a:lnTo>
                            <a:pt x="14" y="96"/>
                          </a:lnTo>
                          <a:lnTo>
                            <a:pt x="16" y="96"/>
                          </a:lnTo>
                          <a:lnTo>
                            <a:pt x="18" y="98"/>
                          </a:lnTo>
                          <a:lnTo>
                            <a:pt x="22" y="98"/>
                          </a:lnTo>
                          <a:lnTo>
                            <a:pt x="30" y="98"/>
                          </a:lnTo>
                          <a:lnTo>
                            <a:pt x="32" y="96"/>
                          </a:lnTo>
                          <a:lnTo>
                            <a:pt x="34" y="96"/>
                          </a:lnTo>
                          <a:lnTo>
                            <a:pt x="36" y="96"/>
                          </a:lnTo>
                          <a:lnTo>
                            <a:pt x="38" y="98"/>
                          </a:lnTo>
                          <a:lnTo>
                            <a:pt x="42" y="98"/>
                          </a:lnTo>
                          <a:lnTo>
                            <a:pt x="44" y="96"/>
                          </a:lnTo>
                          <a:lnTo>
                            <a:pt x="46" y="96"/>
                          </a:lnTo>
                          <a:lnTo>
                            <a:pt x="48" y="96"/>
                          </a:lnTo>
                          <a:lnTo>
                            <a:pt x="48" y="98"/>
                          </a:lnTo>
                          <a:lnTo>
                            <a:pt x="50" y="98"/>
                          </a:lnTo>
                          <a:lnTo>
                            <a:pt x="50" y="100"/>
                          </a:lnTo>
                          <a:lnTo>
                            <a:pt x="50" y="98"/>
                          </a:lnTo>
                          <a:lnTo>
                            <a:pt x="54" y="98"/>
                          </a:lnTo>
                          <a:lnTo>
                            <a:pt x="56" y="96"/>
                          </a:lnTo>
                          <a:lnTo>
                            <a:pt x="58" y="96"/>
                          </a:lnTo>
                          <a:lnTo>
                            <a:pt x="60" y="96"/>
                          </a:lnTo>
                          <a:lnTo>
                            <a:pt x="62" y="94"/>
                          </a:lnTo>
                          <a:lnTo>
                            <a:pt x="64" y="94"/>
                          </a:lnTo>
                          <a:lnTo>
                            <a:pt x="66" y="96"/>
                          </a:lnTo>
                          <a:lnTo>
                            <a:pt x="68" y="96"/>
                          </a:lnTo>
                          <a:lnTo>
                            <a:pt x="72" y="96"/>
                          </a:lnTo>
                          <a:lnTo>
                            <a:pt x="76" y="96"/>
                          </a:lnTo>
                          <a:lnTo>
                            <a:pt x="78" y="94"/>
                          </a:lnTo>
                          <a:lnTo>
                            <a:pt x="80" y="94"/>
                          </a:lnTo>
                          <a:lnTo>
                            <a:pt x="82" y="94"/>
                          </a:lnTo>
                          <a:lnTo>
                            <a:pt x="84" y="96"/>
                          </a:lnTo>
                          <a:lnTo>
                            <a:pt x="86" y="98"/>
                          </a:lnTo>
                          <a:lnTo>
                            <a:pt x="92" y="98"/>
                          </a:lnTo>
                          <a:lnTo>
                            <a:pt x="94" y="96"/>
                          </a:lnTo>
                          <a:lnTo>
                            <a:pt x="96" y="96"/>
                          </a:lnTo>
                          <a:lnTo>
                            <a:pt x="100" y="98"/>
                          </a:lnTo>
                          <a:lnTo>
                            <a:pt x="104" y="98"/>
                          </a:lnTo>
                          <a:lnTo>
                            <a:pt x="106" y="98"/>
                          </a:lnTo>
                          <a:lnTo>
                            <a:pt x="110" y="98"/>
                          </a:lnTo>
                          <a:lnTo>
                            <a:pt x="112" y="100"/>
                          </a:lnTo>
                          <a:lnTo>
                            <a:pt x="114" y="100"/>
                          </a:lnTo>
                          <a:lnTo>
                            <a:pt x="114" y="102"/>
                          </a:lnTo>
                          <a:lnTo>
                            <a:pt x="116" y="102"/>
                          </a:lnTo>
                          <a:lnTo>
                            <a:pt x="116" y="104"/>
                          </a:lnTo>
                          <a:lnTo>
                            <a:pt x="118" y="104"/>
                          </a:lnTo>
                          <a:lnTo>
                            <a:pt x="120" y="104"/>
                          </a:lnTo>
                          <a:lnTo>
                            <a:pt x="124" y="104"/>
                          </a:lnTo>
                          <a:lnTo>
                            <a:pt x="124" y="106"/>
                          </a:lnTo>
                          <a:lnTo>
                            <a:pt x="122" y="106"/>
                          </a:lnTo>
                          <a:lnTo>
                            <a:pt x="120" y="108"/>
                          </a:lnTo>
                          <a:lnTo>
                            <a:pt x="120" y="110"/>
                          </a:lnTo>
                          <a:lnTo>
                            <a:pt x="122" y="110"/>
                          </a:lnTo>
                          <a:lnTo>
                            <a:pt x="122" y="112"/>
                          </a:lnTo>
                          <a:lnTo>
                            <a:pt x="124" y="112"/>
                          </a:lnTo>
                          <a:lnTo>
                            <a:pt x="126" y="114"/>
                          </a:lnTo>
                          <a:lnTo>
                            <a:pt x="128" y="114"/>
                          </a:lnTo>
                          <a:lnTo>
                            <a:pt x="130" y="114"/>
                          </a:lnTo>
                          <a:lnTo>
                            <a:pt x="132" y="116"/>
                          </a:lnTo>
                          <a:lnTo>
                            <a:pt x="134" y="116"/>
                          </a:lnTo>
                          <a:lnTo>
                            <a:pt x="134" y="118"/>
                          </a:lnTo>
                          <a:lnTo>
                            <a:pt x="134" y="120"/>
                          </a:lnTo>
                          <a:lnTo>
                            <a:pt x="132" y="120"/>
                          </a:lnTo>
                          <a:lnTo>
                            <a:pt x="132" y="122"/>
                          </a:lnTo>
                          <a:lnTo>
                            <a:pt x="130" y="122"/>
                          </a:lnTo>
                          <a:lnTo>
                            <a:pt x="128" y="122"/>
                          </a:lnTo>
                          <a:lnTo>
                            <a:pt x="130" y="126"/>
                          </a:lnTo>
                          <a:lnTo>
                            <a:pt x="132" y="128"/>
                          </a:lnTo>
                          <a:lnTo>
                            <a:pt x="134" y="130"/>
                          </a:lnTo>
                          <a:lnTo>
                            <a:pt x="136" y="130"/>
                          </a:lnTo>
                          <a:lnTo>
                            <a:pt x="138" y="130"/>
                          </a:lnTo>
                          <a:lnTo>
                            <a:pt x="138" y="132"/>
                          </a:lnTo>
                          <a:lnTo>
                            <a:pt x="136" y="132"/>
                          </a:lnTo>
                          <a:lnTo>
                            <a:pt x="134" y="132"/>
                          </a:lnTo>
                          <a:lnTo>
                            <a:pt x="132" y="134"/>
                          </a:lnTo>
                          <a:lnTo>
                            <a:pt x="134" y="134"/>
                          </a:lnTo>
                          <a:lnTo>
                            <a:pt x="134" y="136"/>
                          </a:lnTo>
                          <a:lnTo>
                            <a:pt x="136" y="136"/>
                          </a:lnTo>
                          <a:lnTo>
                            <a:pt x="136" y="138"/>
                          </a:lnTo>
                          <a:lnTo>
                            <a:pt x="134" y="138"/>
                          </a:lnTo>
                          <a:lnTo>
                            <a:pt x="132" y="140"/>
                          </a:lnTo>
                          <a:lnTo>
                            <a:pt x="132" y="142"/>
                          </a:lnTo>
                          <a:lnTo>
                            <a:pt x="134" y="144"/>
                          </a:lnTo>
                          <a:lnTo>
                            <a:pt x="136" y="144"/>
                          </a:lnTo>
                          <a:lnTo>
                            <a:pt x="138" y="146"/>
                          </a:lnTo>
                          <a:lnTo>
                            <a:pt x="140" y="146"/>
                          </a:lnTo>
                          <a:lnTo>
                            <a:pt x="140" y="148"/>
                          </a:lnTo>
                          <a:lnTo>
                            <a:pt x="138" y="148"/>
                          </a:lnTo>
                          <a:lnTo>
                            <a:pt x="136" y="150"/>
                          </a:lnTo>
                          <a:lnTo>
                            <a:pt x="134" y="150"/>
                          </a:lnTo>
                          <a:lnTo>
                            <a:pt x="134" y="152"/>
                          </a:lnTo>
                          <a:lnTo>
                            <a:pt x="132" y="152"/>
                          </a:lnTo>
                          <a:lnTo>
                            <a:pt x="130" y="152"/>
                          </a:lnTo>
                          <a:lnTo>
                            <a:pt x="132" y="154"/>
                          </a:lnTo>
                          <a:lnTo>
                            <a:pt x="134" y="154"/>
                          </a:lnTo>
                          <a:lnTo>
                            <a:pt x="130" y="154"/>
                          </a:lnTo>
                          <a:lnTo>
                            <a:pt x="126" y="156"/>
                          </a:lnTo>
                          <a:lnTo>
                            <a:pt x="124" y="156"/>
                          </a:lnTo>
                          <a:lnTo>
                            <a:pt x="122" y="156"/>
                          </a:lnTo>
                          <a:lnTo>
                            <a:pt x="120" y="156"/>
                          </a:lnTo>
                          <a:lnTo>
                            <a:pt x="120" y="158"/>
                          </a:lnTo>
                          <a:lnTo>
                            <a:pt x="122" y="158"/>
                          </a:lnTo>
                          <a:lnTo>
                            <a:pt x="128" y="158"/>
                          </a:lnTo>
                          <a:lnTo>
                            <a:pt x="130" y="160"/>
                          </a:lnTo>
                          <a:lnTo>
                            <a:pt x="128" y="160"/>
                          </a:lnTo>
                          <a:lnTo>
                            <a:pt x="126" y="162"/>
                          </a:lnTo>
                          <a:lnTo>
                            <a:pt x="118" y="162"/>
                          </a:lnTo>
                          <a:lnTo>
                            <a:pt x="116" y="164"/>
                          </a:lnTo>
                          <a:lnTo>
                            <a:pt x="114" y="164"/>
                          </a:lnTo>
                          <a:lnTo>
                            <a:pt x="112" y="164"/>
                          </a:lnTo>
                          <a:lnTo>
                            <a:pt x="112" y="166"/>
                          </a:lnTo>
                          <a:lnTo>
                            <a:pt x="116" y="168"/>
                          </a:lnTo>
                          <a:lnTo>
                            <a:pt x="120" y="170"/>
                          </a:lnTo>
                          <a:lnTo>
                            <a:pt x="122" y="170"/>
                          </a:lnTo>
                          <a:lnTo>
                            <a:pt x="130" y="170"/>
                          </a:lnTo>
                          <a:lnTo>
                            <a:pt x="132" y="170"/>
                          </a:lnTo>
                          <a:lnTo>
                            <a:pt x="132" y="168"/>
                          </a:lnTo>
                          <a:lnTo>
                            <a:pt x="134" y="168"/>
                          </a:lnTo>
                          <a:lnTo>
                            <a:pt x="134" y="166"/>
                          </a:lnTo>
                          <a:lnTo>
                            <a:pt x="142" y="166"/>
                          </a:lnTo>
                          <a:lnTo>
                            <a:pt x="144" y="166"/>
                          </a:lnTo>
                          <a:lnTo>
                            <a:pt x="144" y="162"/>
                          </a:lnTo>
                          <a:lnTo>
                            <a:pt x="144" y="160"/>
                          </a:lnTo>
                          <a:lnTo>
                            <a:pt x="144" y="158"/>
                          </a:lnTo>
                          <a:lnTo>
                            <a:pt x="144" y="160"/>
                          </a:lnTo>
                          <a:lnTo>
                            <a:pt x="146" y="162"/>
                          </a:lnTo>
                          <a:lnTo>
                            <a:pt x="146" y="164"/>
                          </a:lnTo>
                          <a:lnTo>
                            <a:pt x="148" y="162"/>
                          </a:lnTo>
                          <a:lnTo>
                            <a:pt x="150" y="160"/>
                          </a:lnTo>
                          <a:lnTo>
                            <a:pt x="152" y="160"/>
                          </a:lnTo>
                          <a:lnTo>
                            <a:pt x="150" y="160"/>
                          </a:lnTo>
                          <a:lnTo>
                            <a:pt x="150" y="162"/>
                          </a:lnTo>
                          <a:lnTo>
                            <a:pt x="150" y="164"/>
                          </a:lnTo>
                          <a:lnTo>
                            <a:pt x="152" y="164"/>
                          </a:lnTo>
                          <a:lnTo>
                            <a:pt x="154" y="166"/>
                          </a:lnTo>
                          <a:lnTo>
                            <a:pt x="160" y="166"/>
                          </a:lnTo>
                          <a:lnTo>
                            <a:pt x="158" y="168"/>
                          </a:lnTo>
                          <a:lnTo>
                            <a:pt x="158" y="170"/>
                          </a:lnTo>
                          <a:lnTo>
                            <a:pt x="156" y="170"/>
                          </a:lnTo>
                          <a:lnTo>
                            <a:pt x="156" y="172"/>
                          </a:lnTo>
                          <a:lnTo>
                            <a:pt x="158" y="172"/>
                          </a:lnTo>
                          <a:lnTo>
                            <a:pt x="158" y="174"/>
                          </a:lnTo>
                          <a:lnTo>
                            <a:pt x="160" y="174"/>
                          </a:lnTo>
                          <a:lnTo>
                            <a:pt x="162" y="176"/>
                          </a:lnTo>
                          <a:lnTo>
                            <a:pt x="164" y="178"/>
                          </a:lnTo>
                          <a:lnTo>
                            <a:pt x="166" y="180"/>
                          </a:lnTo>
                          <a:lnTo>
                            <a:pt x="164" y="182"/>
                          </a:lnTo>
                          <a:lnTo>
                            <a:pt x="162" y="182"/>
                          </a:lnTo>
                          <a:lnTo>
                            <a:pt x="160" y="184"/>
                          </a:lnTo>
                          <a:lnTo>
                            <a:pt x="158" y="184"/>
                          </a:lnTo>
                          <a:lnTo>
                            <a:pt x="158" y="186"/>
                          </a:lnTo>
                          <a:lnTo>
                            <a:pt x="156" y="186"/>
                          </a:lnTo>
                          <a:lnTo>
                            <a:pt x="156" y="184"/>
                          </a:lnTo>
                          <a:lnTo>
                            <a:pt x="148" y="184"/>
                          </a:lnTo>
                          <a:lnTo>
                            <a:pt x="146" y="184"/>
                          </a:lnTo>
                          <a:lnTo>
                            <a:pt x="144" y="182"/>
                          </a:lnTo>
                          <a:lnTo>
                            <a:pt x="144" y="180"/>
                          </a:lnTo>
                          <a:lnTo>
                            <a:pt x="134" y="180"/>
                          </a:lnTo>
                          <a:lnTo>
                            <a:pt x="132" y="180"/>
                          </a:lnTo>
                          <a:lnTo>
                            <a:pt x="128" y="180"/>
                          </a:lnTo>
                          <a:lnTo>
                            <a:pt x="128" y="178"/>
                          </a:lnTo>
                          <a:lnTo>
                            <a:pt x="126" y="178"/>
                          </a:lnTo>
                          <a:lnTo>
                            <a:pt x="124" y="178"/>
                          </a:lnTo>
                          <a:lnTo>
                            <a:pt x="120" y="178"/>
                          </a:lnTo>
                          <a:lnTo>
                            <a:pt x="118" y="180"/>
                          </a:lnTo>
                          <a:lnTo>
                            <a:pt x="118" y="182"/>
                          </a:lnTo>
                          <a:lnTo>
                            <a:pt x="120" y="182"/>
                          </a:lnTo>
                          <a:lnTo>
                            <a:pt x="120" y="184"/>
                          </a:lnTo>
                          <a:lnTo>
                            <a:pt x="122" y="186"/>
                          </a:lnTo>
                          <a:lnTo>
                            <a:pt x="130" y="186"/>
                          </a:lnTo>
                          <a:lnTo>
                            <a:pt x="132" y="186"/>
                          </a:lnTo>
                          <a:lnTo>
                            <a:pt x="134" y="186"/>
                          </a:lnTo>
                          <a:lnTo>
                            <a:pt x="138" y="192"/>
                          </a:lnTo>
                          <a:lnTo>
                            <a:pt x="140" y="192"/>
                          </a:lnTo>
                          <a:lnTo>
                            <a:pt x="148" y="192"/>
                          </a:lnTo>
                          <a:lnTo>
                            <a:pt x="150" y="192"/>
                          </a:lnTo>
                          <a:lnTo>
                            <a:pt x="152" y="192"/>
                          </a:lnTo>
                          <a:lnTo>
                            <a:pt x="152" y="190"/>
                          </a:lnTo>
                          <a:lnTo>
                            <a:pt x="154" y="192"/>
                          </a:lnTo>
                          <a:lnTo>
                            <a:pt x="156" y="192"/>
                          </a:lnTo>
                          <a:lnTo>
                            <a:pt x="158" y="194"/>
                          </a:lnTo>
                          <a:lnTo>
                            <a:pt x="160" y="192"/>
                          </a:lnTo>
                          <a:lnTo>
                            <a:pt x="162" y="192"/>
                          </a:lnTo>
                          <a:lnTo>
                            <a:pt x="162" y="190"/>
                          </a:lnTo>
                          <a:lnTo>
                            <a:pt x="164" y="190"/>
                          </a:lnTo>
                          <a:lnTo>
                            <a:pt x="164" y="192"/>
                          </a:lnTo>
                          <a:lnTo>
                            <a:pt x="162" y="194"/>
                          </a:lnTo>
                          <a:lnTo>
                            <a:pt x="162" y="196"/>
                          </a:lnTo>
                          <a:lnTo>
                            <a:pt x="160" y="194"/>
                          </a:lnTo>
                          <a:lnTo>
                            <a:pt x="156" y="194"/>
                          </a:lnTo>
                          <a:lnTo>
                            <a:pt x="156" y="196"/>
                          </a:lnTo>
                          <a:lnTo>
                            <a:pt x="156" y="198"/>
                          </a:lnTo>
                          <a:lnTo>
                            <a:pt x="158" y="200"/>
                          </a:lnTo>
                          <a:lnTo>
                            <a:pt x="156" y="200"/>
                          </a:lnTo>
                          <a:lnTo>
                            <a:pt x="154" y="202"/>
                          </a:lnTo>
                          <a:lnTo>
                            <a:pt x="152" y="202"/>
                          </a:lnTo>
                          <a:lnTo>
                            <a:pt x="150" y="202"/>
                          </a:lnTo>
                          <a:lnTo>
                            <a:pt x="152" y="202"/>
                          </a:lnTo>
                          <a:lnTo>
                            <a:pt x="152" y="204"/>
                          </a:lnTo>
                          <a:lnTo>
                            <a:pt x="158" y="204"/>
                          </a:lnTo>
                          <a:lnTo>
                            <a:pt x="156" y="206"/>
                          </a:lnTo>
                          <a:lnTo>
                            <a:pt x="156" y="208"/>
                          </a:lnTo>
                          <a:lnTo>
                            <a:pt x="152" y="208"/>
                          </a:lnTo>
                          <a:lnTo>
                            <a:pt x="150" y="206"/>
                          </a:lnTo>
                          <a:lnTo>
                            <a:pt x="148" y="206"/>
                          </a:lnTo>
                          <a:lnTo>
                            <a:pt x="146" y="206"/>
                          </a:lnTo>
                          <a:lnTo>
                            <a:pt x="144" y="206"/>
                          </a:lnTo>
                          <a:lnTo>
                            <a:pt x="144" y="208"/>
                          </a:lnTo>
                          <a:lnTo>
                            <a:pt x="146" y="208"/>
                          </a:lnTo>
                          <a:lnTo>
                            <a:pt x="146" y="210"/>
                          </a:lnTo>
                          <a:lnTo>
                            <a:pt x="148" y="212"/>
                          </a:lnTo>
                          <a:lnTo>
                            <a:pt x="144" y="212"/>
                          </a:lnTo>
                          <a:lnTo>
                            <a:pt x="144" y="210"/>
                          </a:lnTo>
                          <a:lnTo>
                            <a:pt x="142" y="210"/>
                          </a:lnTo>
                          <a:lnTo>
                            <a:pt x="144" y="212"/>
                          </a:lnTo>
                          <a:lnTo>
                            <a:pt x="144" y="214"/>
                          </a:lnTo>
                          <a:lnTo>
                            <a:pt x="144" y="216"/>
                          </a:lnTo>
                          <a:lnTo>
                            <a:pt x="140" y="216"/>
                          </a:lnTo>
                          <a:lnTo>
                            <a:pt x="140" y="218"/>
                          </a:lnTo>
                          <a:lnTo>
                            <a:pt x="138" y="218"/>
                          </a:lnTo>
                          <a:lnTo>
                            <a:pt x="138" y="220"/>
                          </a:lnTo>
                          <a:lnTo>
                            <a:pt x="138" y="222"/>
                          </a:lnTo>
                          <a:lnTo>
                            <a:pt x="140" y="222"/>
                          </a:lnTo>
                          <a:lnTo>
                            <a:pt x="140" y="224"/>
                          </a:lnTo>
                          <a:lnTo>
                            <a:pt x="142" y="224"/>
                          </a:lnTo>
                          <a:lnTo>
                            <a:pt x="144" y="224"/>
                          </a:lnTo>
                          <a:lnTo>
                            <a:pt x="144" y="228"/>
                          </a:lnTo>
                          <a:lnTo>
                            <a:pt x="142" y="228"/>
                          </a:lnTo>
                          <a:lnTo>
                            <a:pt x="142" y="230"/>
                          </a:lnTo>
                          <a:lnTo>
                            <a:pt x="144" y="230"/>
                          </a:lnTo>
                          <a:lnTo>
                            <a:pt x="142" y="230"/>
                          </a:lnTo>
                          <a:lnTo>
                            <a:pt x="142" y="228"/>
                          </a:lnTo>
                          <a:lnTo>
                            <a:pt x="140" y="226"/>
                          </a:lnTo>
                          <a:lnTo>
                            <a:pt x="138" y="224"/>
                          </a:lnTo>
                          <a:lnTo>
                            <a:pt x="136" y="224"/>
                          </a:lnTo>
                          <a:lnTo>
                            <a:pt x="136" y="222"/>
                          </a:lnTo>
                          <a:lnTo>
                            <a:pt x="134" y="220"/>
                          </a:lnTo>
                          <a:lnTo>
                            <a:pt x="132" y="218"/>
                          </a:lnTo>
                          <a:lnTo>
                            <a:pt x="130" y="216"/>
                          </a:lnTo>
                          <a:lnTo>
                            <a:pt x="130" y="214"/>
                          </a:lnTo>
                          <a:lnTo>
                            <a:pt x="128" y="212"/>
                          </a:lnTo>
                          <a:lnTo>
                            <a:pt x="124" y="212"/>
                          </a:lnTo>
                          <a:lnTo>
                            <a:pt x="122" y="214"/>
                          </a:lnTo>
                          <a:lnTo>
                            <a:pt x="120" y="214"/>
                          </a:lnTo>
                          <a:lnTo>
                            <a:pt x="120" y="216"/>
                          </a:lnTo>
                          <a:lnTo>
                            <a:pt x="118" y="216"/>
                          </a:lnTo>
                          <a:lnTo>
                            <a:pt x="118" y="218"/>
                          </a:lnTo>
                          <a:lnTo>
                            <a:pt x="118" y="220"/>
                          </a:lnTo>
                          <a:lnTo>
                            <a:pt x="120" y="222"/>
                          </a:lnTo>
                          <a:lnTo>
                            <a:pt x="122" y="222"/>
                          </a:lnTo>
                          <a:lnTo>
                            <a:pt x="126" y="224"/>
                          </a:lnTo>
                          <a:lnTo>
                            <a:pt x="128" y="224"/>
                          </a:lnTo>
                          <a:lnTo>
                            <a:pt x="130" y="224"/>
                          </a:lnTo>
                          <a:lnTo>
                            <a:pt x="128" y="224"/>
                          </a:lnTo>
                          <a:lnTo>
                            <a:pt x="118" y="224"/>
                          </a:lnTo>
                          <a:lnTo>
                            <a:pt x="116" y="224"/>
                          </a:lnTo>
                          <a:lnTo>
                            <a:pt x="110" y="224"/>
                          </a:lnTo>
                          <a:lnTo>
                            <a:pt x="108" y="226"/>
                          </a:lnTo>
                          <a:lnTo>
                            <a:pt x="106" y="226"/>
                          </a:lnTo>
                          <a:lnTo>
                            <a:pt x="104" y="226"/>
                          </a:lnTo>
                          <a:lnTo>
                            <a:pt x="102" y="228"/>
                          </a:lnTo>
                          <a:lnTo>
                            <a:pt x="100" y="228"/>
                          </a:lnTo>
                          <a:lnTo>
                            <a:pt x="100" y="230"/>
                          </a:lnTo>
                          <a:lnTo>
                            <a:pt x="108" y="230"/>
                          </a:lnTo>
                          <a:lnTo>
                            <a:pt x="112" y="228"/>
                          </a:lnTo>
                          <a:lnTo>
                            <a:pt x="128" y="228"/>
                          </a:lnTo>
                          <a:lnTo>
                            <a:pt x="130" y="230"/>
                          </a:lnTo>
                          <a:lnTo>
                            <a:pt x="120" y="230"/>
                          </a:lnTo>
                          <a:lnTo>
                            <a:pt x="118" y="230"/>
                          </a:lnTo>
                          <a:lnTo>
                            <a:pt x="110" y="230"/>
                          </a:lnTo>
                          <a:lnTo>
                            <a:pt x="106" y="232"/>
                          </a:lnTo>
                          <a:lnTo>
                            <a:pt x="104" y="232"/>
                          </a:lnTo>
                          <a:lnTo>
                            <a:pt x="102" y="232"/>
                          </a:lnTo>
                          <a:lnTo>
                            <a:pt x="98" y="232"/>
                          </a:lnTo>
                          <a:lnTo>
                            <a:pt x="96" y="234"/>
                          </a:lnTo>
                          <a:lnTo>
                            <a:pt x="96" y="236"/>
                          </a:lnTo>
                          <a:lnTo>
                            <a:pt x="102" y="236"/>
                          </a:lnTo>
                          <a:lnTo>
                            <a:pt x="106" y="236"/>
                          </a:lnTo>
                          <a:lnTo>
                            <a:pt x="116" y="236"/>
                          </a:lnTo>
                          <a:lnTo>
                            <a:pt x="118" y="234"/>
                          </a:lnTo>
                          <a:lnTo>
                            <a:pt x="128" y="234"/>
                          </a:lnTo>
                          <a:lnTo>
                            <a:pt x="130" y="236"/>
                          </a:lnTo>
                          <a:lnTo>
                            <a:pt x="128" y="236"/>
                          </a:lnTo>
                          <a:lnTo>
                            <a:pt x="126" y="236"/>
                          </a:lnTo>
                          <a:lnTo>
                            <a:pt x="118" y="236"/>
                          </a:lnTo>
                          <a:lnTo>
                            <a:pt x="116" y="238"/>
                          </a:lnTo>
                          <a:lnTo>
                            <a:pt x="100" y="238"/>
                          </a:lnTo>
                          <a:lnTo>
                            <a:pt x="96" y="238"/>
                          </a:lnTo>
                          <a:lnTo>
                            <a:pt x="94" y="238"/>
                          </a:lnTo>
                          <a:lnTo>
                            <a:pt x="94" y="240"/>
                          </a:lnTo>
                          <a:lnTo>
                            <a:pt x="96" y="240"/>
                          </a:lnTo>
                          <a:lnTo>
                            <a:pt x="98" y="240"/>
                          </a:lnTo>
                          <a:lnTo>
                            <a:pt x="100" y="242"/>
                          </a:lnTo>
                          <a:lnTo>
                            <a:pt x="102" y="242"/>
                          </a:lnTo>
                          <a:lnTo>
                            <a:pt x="106" y="242"/>
                          </a:lnTo>
                          <a:lnTo>
                            <a:pt x="108" y="244"/>
                          </a:lnTo>
                          <a:lnTo>
                            <a:pt x="106" y="244"/>
                          </a:lnTo>
                          <a:lnTo>
                            <a:pt x="104" y="242"/>
                          </a:lnTo>
                          <a:lnTo>
                            <a:pt x="100" y="242"/>
                          </a:lnTo>
                          <a:lnTo>
                            <a:pt x="100" y="244"/>
                          </a:lnTo>
                          <a:lnTo>
                            <a:pt x="98" y="244"/>
                          </a:lnTo>
                          <a:lnTo>
                            <a:pt x="98" y="246"/>
                          </a:lnTo>
                          <a:lnTo>
                            <a:pt x="96" y="248"/>
                          </a:lnTo>
                          <a:lnTo>
                            <a:pt x="94" y="248"/>
                          </a:lnTo>
                          <a:lnTo>
                            <a:pt x="92" y="248"/>
                          </a:lnTo>
                          <a:lnTo>
                            <a:pt x="90" y="250"/>
                          </a:lnTo>
                          <a:lnTo>
                            <a:pt x="88" y="250"/>
                          </a:lnTo>
                          <a:lnTo>
                            <a:pt x="88" y="252"/>
                          </a:lnTo>
                          <a:lnTo>
                            <a:pt x="98" y="252"/>
                          </a:lnTo>
                          <a:lnTo>
                            <a:pt x="96" y="252"/>
                          </a:lnTo>
                          <a:lnTo>
                            <a:pt x="94" y="254"/>
                          </a:lnTo>
                          <a:lnTo>
                            <a:pt x="92" y="254"/>
                          </a:lnTo>
                          <a:lnTo>
                            <a:pt x="90" y="254"/>
                          </a:lnTo>
                          <a:lnTo>
                            <a:pt x="90" y="256"/>
                          </a:lnTo>
                          <a:lnTo>
                            <a:pt x="90" y="258"/>
                          </a:lnTo>
                          <a:lnTo>
                            <a:pt x="90" y="260"/>
                          </a:lnTo>
                          <a:lnTo>
                            <a:pt x="96" y="260"/>
                          </a:lnTo>
                          <a:lnTo>
                            <a:pt x="100" y="258"/>
                          </a:lnTo>
                          <a:lnTo>
                            <a:pt x="104" y="258"/>
                          </a:lnTo>
                          <a:lnTo>
                            <a:pt x="102" y="260"/>
                          </a:lnTo>
                          <a:lnTo>
                            <a:pt x="100" y="260"/>
                          </a:lnTo>
                          <a:lnTo>
                            <a:pt x="98" y="262"/>
                          </a:lnTo>
                          <a:lnTo>
                            <a:pt x="96" y="262"/>
                          </a:lnTo>
                          <a:lnTo>
                            <a:pt x="94" y="264"/>
                          </a:lnTo>
                          <a:lnTo>
                            <a:pt x="94" y="266"/>
                          </a:lnTo>
                          <a:lnTo>
                            <a:pt x="98" y="266"/>
                          </a:lnTo>
                          <a:lnTo>
                            <a:pt x="100" y="266"/>
                          </a:lnTo>
                          <a:lnTo>
                            <a:pt x="102" y="266"/>
                          </a:lnTo>
                          <a:lnTo>
                            <a:pt x="98" y="270"/>
                          </a:lnTo>
                          <a:lnTo>
                            <a:pt x="98" y="272"/>
                          </a:lnTo>
                          <a:lnTo>
                            <a:pt x="96" y="272"/>
                          </a:lnTo>
                          <a:lnTo>
                            <a:pt x="96" y="274"/>
                          </a:lnTo>
                          <a:lnTo>
                            <a:pt x="96" y="276"/>
                          </a:lnTo>
                          <a:lnTo>
                            <a:pt x="98" y="276"/>
                          </a:lnTo>
                          <a:lnTo>
                            <a:pt x="100" y="274"/>
                          </a:lnTo>
                          <a:lnTo>
                            <a:pt x="102" y="274"/>
                          </a:lnTo>
                          <a:lnTo>
                            <a:pt x="104" y="274"/>
                          </a:lnTo>
                          <a:lnTo>
                            <a:pt x="102" y="274"/>
                          </a:lnTo>
                          <a:lnTo>
                            <a:pt x="102" y="276"/>
                          </a:lnTo>
                          <a:lnTo>
                            <a:pt x="100" y="280"/>
                          </a:lnTo>
                          <a:lnTo>
                            <a:pt x="96" y="280"/>
                          </a:lnTo>
                          <a:lnTo>
                            <a:pt x="94" y="282"/>
                          </a:lnTo>
                          <a:lnTo>
                            <a:pt x="92" y="284"/>
                          </a:lnTo>
                          <a:lnTo>
                            <a:pt x="92" y="286"/>
                          </a:lnTo>
                          <a:lnTo>
                            <a:pt x="92" y="288"/>
                          </a:lnTo>
                          <a:lnTo>
                            <a:pt x="94" y="288"/>
                          </a:lnTo>
                          <a:lnTo>
                            <a:pt x="96" y="286"/>
                          </a:lnTo>
                          <a:lnTo>
                            <a:pt x="98" y="286"/>
                          </a:lnTo>
                          <a:lnTo>
                            <a:pt x="98" y="284"/>
                          </a:lnTo>
                          <a:lnTo>
                            <a:pt x="100" y="284"/>
                          </a:lnTo>
                          <a:lnTo>
                            <a:pt x="100" y="282"/>
                          </a:lnTo>
                          <a:lnTo>
                            <a:pt x="102" y="282"/>
                          </a:lnTo>
                          <a:lnTo>
                            <a:pt x="102" y="280"/>
                          </a:lnTo>
                          <a:lnTo>
                            <a:pt x="104" y="280"/>
                          </a:lnTo>
                          <a:lnTo>
                            <a:pt x="106" y="278"/>
                          </a:lnTo>
                          <a:lnTo>
                            <a:pt x="110" y="278"/>
                          </a:lnTo>
                          <a:lnTo>
                            <a:pt x="112" y="278"/>
                          </a:lnTo>
                          <a:lnTo>
                            <a:pt x="114" y="278"/>
                          </a:lnTo>
                          <a:lnTo>
                            <a:pt x="116" y="276"/>
                          </a:lnTo>
                          <a:lnTo>
                            <a:pt x="118" y="276"/>
                          </a:lnTo>
                          <a:lnTo>
                            <a:pt x="118" y="278"/>
                          </a:lnTo>
                          <a:lnTo>
                            <a:pt x="116" y="278"/>
                          </a:lnTo>
                          <a:lnTo>
                            <a:pt x="116" y="280"/>
                          </a:lnTo>
                          <a:lnTo>
                            <a:pt x="118" y="278"/>
                          </a:lnTo>
                          <a:lnTo>
                            <a:pt x="120" y="276"/>
                          </a:lnTo>
                          <a:lnTo>
                            <a:pt x="120" y="278"/>
                          </a:lnTo>
                          <a:lnTo>
                            <a:pt x="118" y="280"/>
                          </a:lnTo>
                          <a:lnTo>
                            <a:pt x="116" y="282"/>
                          </a:lnTo>
                          <a:lnTo>
                            <a:pt x="118" y="282"/>
                          </a:lnTo>
                          <a:lnTo>
                            <a:pt x="120" y="284"/>
                          </a:lnTo>
                          <a:lnTo>
                            <a:pt x="116" y="284"/>
                          </a:lnTo>
                          <a:lnTo>
                            <a:pt x="114" y="284"/>
                          </a:lnTo>
                          <a:lnTo>
                            <a:pt x="112" y="286"/>
                          </a:lnTo>
                          <a:lnTo>
                            <a:pt x="114" y="286"/>
                          </a:lnTo>
                          <a:lnTo>
                            <a:pt x="114" y="288"/>
                          </a:lnTo>
                          <a:lnTo>
                            <a:pt x="112" y="288"/>
                          </a:lnTo>
                          <a:lnTo>
                            <a:pt x="110" y="288"/>
                          </a:lnTo>
                          <a:lnTo>
                            <a:pt x="106" y="288"/>
                          </a:lnTo>
                          <a:lnTo>
                            <a:pt x="106" y="290"/>
                          </a:lnTo>
                          <a:lnTo>
                            <a:pt x="104" y="290"/>
                          </a:lnTo>
                          <a:lnTo>
                            <a:pt x="104" y="292"/>
                          </a:lnTo>
                          <a:lnTo>
                            <a:pt x="102" y="292"/>
                          </a:lnTo>
                          <a:lnTo>
                            <a:pt x="100" y="292"/>
                          </a:lnTo>
                          <a:lnTo>
                            <a:pt x="98" y="294"/>
                          </a:lnTo>
                          <a:lnTo>
                            <a:pt x="96" y="294"/>
                          </a:lnTo>
                          <a:lnTo>
                            <a:pt x="96" y="296"/>
                          </a:lnTo>
                          <a:lnTo>
                            <a:pt x="102" y="296"/>
                          </a:lnTo>
                          <a:lnTo>
                            <a:pt x="98" y="296"/>
                          </a:lnTo>
                          <a:lnTo>
                            <a:pt x="98" y="298"/>
                          </a:lnTo>
                          <a:lnTo>
                            <a:pt x="96" y="298"/>
                          </a:lnTo>
                          <a:lnTo>
                            <a:pt x="98" y="300"/>
                          </a:lnTo>
                          <a:lnTo>
                            <a:pt x="100" y="300"/>
                          </a:lnTo>
                          <a:lnTo>
                            <a:pt x="104" y="300"/>
                          </a:lnTo>
                          <a:lnTo>
                            <a:pt x="104" y="302"/>
                          </a:lnTo>
                          <a:lnTo>
                            <a:pt x="100" y="302"/>
                          </a:lnTo>
                          <a:lnTo>
                            <a:pt x="98" y="302"/>
                          </a:lnTo>
                          <a:lnTo>
                            <a:pt x="96" y="304"/>
                          </a:lnTo>
                          <a:lnTo>
                            <a:pt x="98" y="304"/>
                          </a:lnTo>
                          <a:lnTo>
                            <a:pt x="100" y="306"/>
                          </a:lnTo>
                          <a:lnTo>
                            <a:pt x="106" y="306"/>
                          </a:lnTo>
                          <a:lnTo>
                            <a:pt x="104" y="308"/>
                          </a:lnTo>
                          <a:lnTo>
                            <a:pt x="102" y="310"/>
                          </a:lnTo>
                          <a:lnTo>
                            <a:pt x="106" y="310"/>
                          </a:lnTo>
                          <a:lnTo>
                            <a:pt x="108" y="310"/>
                          </a:lnTo>
                          <a:lnTo>
                            <a:pt x="106" y="312"/>
                          </a:lnTo>
                          <a:lnTo>
                            <a:pt x="104" y="314"/>
                          </a:lnTo>
                          <a:lnTo>
                            <a:pt x="102" y="316"/>
                          </a:lnTo>
                          <a:lnTo>
                            <a:pt x="102" y="318"/>
                          </a:lnTo>
                          <a:lnTo>
                            <a:pt x="104" y="320"/>
                          </a:lnTo>
                          <a:lnTo>
                            <a:pt x="112" y="320"/>
                          </a:lnTo>
                          <a:lnTo>
                            <a:pt x="110" y="322"/>
                          </a:lnTo>
                          <a:lnTo>
                            <a:pt x="108" y="324"/>
                          </a:lnTo>
                          <a:lnTo>
                            <a:pt x="108" y="326"/>
                          </a:lnTo>
                          <a:lnTo>
                            <a:pt x="110" y="326"/>
                          </a:lnTo>
                          <a:lnTo>
                            <a:pt x="112" y="326"/>
                          </a:lnTo>
                          <a:lnTo>
                            <a:pt x="112" y="324"/>
                          </a:lnTo>
                          <a:lnTo>
                            <a:pt x="114" y="324"/>
                          </a:lnTo>
                          <a:lnTo>
                            <a:pt x="114" y="326"/>
                          </a:lnTo>
                          <a:lnTo>
                            <a:pt x="110" y="328"/>
                          </a:lnTo>
                          <a:lnTo>
                            <a:pt x="110" y="330"/>
                          </a:lnTo>
                          <a:lnTo>
                            <a:pt x="112" y="332"/>
                          </a:lnTo>
                          <a:lnTo>
                            <a:pt x="114" y="332"/>
                          </a:lnTo>
                          <a:lnTo>
                            <a:pt x="118" y="332"/>
                          </a:lnTo>
                          <a:lnTo>
                            <a:pt x="116" y="334"/>
                          </a:lnTo>
                          <a:lnTo>
                            <a:pt x="116" y="336"/>
                          </a:lnTo>
                          <a:lnTo>
                            <a:pt x="118" y="336"/>
                          </a:lnTo>
                          <a:lnTo>
                            <a:pt x="118" y="338"/>
                          </a:lnTo>
                          <a:lnTo>
                            <a:pt x="120" y="338"/>
                          </a:lnTo>
                          <a:lnTo>
                            <a:pt x="120" y="336"/>
                          </a:lnTo>
                          <a:lnTo>
                            <a:pt x="120" y="338"/>
                          </a:lnTo>
                          <a:lnTo>
                            <a:pt x="116" y="342"/>
                          </a:lnTo>
                          <a:lnTo>
                            <a:pt x="118" y="344"/>
                          </a:lnTo>
                          <a:lnTo>
                            <a:pt x="122" y="344"/>
                          </a:lnTo>
                          <a:lnTo>
                            <a:pt x="122" y="346"/>
                          </a:lnTo>
                          <a:lnTo>
                            <a:pt x="126" y="344"/>
                          </a:lnTo>
                          <a:lnTo>
                            <a:pt x="128" y="344"/>
                          </a:lnTo>
                          <a:lnTo>
                            <a:pt x="130" y="344"/>
                          </a:lnTo>
                          <a:lnTo>
                            <a:pt x="132" y="344"/>
                          </a:lnTo>
                          <a:lnTo>
                            <a:pt x="134" y="346"/>
                          </a:lnTo>
                          <a:lnTo>
                            <a:pt x="136" y="346"/>
                          </a:lnTo>
                          <a:lnTo>
                            <a:pt x="138" y="346"/>
                          </a:lnTo>
                          <a:lnTo>
                            <a:pt x="140" y="344"/>
                          </a:lnTo>
                          <a:lnTo>
                            <a:pt x="142" y="342"/>
                          </a:lnTo>
                          <a:lnTo>
                            <a:pt x="144" y="342"/>
                          </a:lnTo>
                          <a:lnTo>
                            <a:pt x="146" y="340"/>
                          </a:lnTo>
                          <a:lnTo>
                            <a:pt x="148" y="340"/>
                          </a:lnTo>
                          <a:lnTo>
                            <a:pt x="150" y="338"/>
                          </a:lnTo>
                          <a:lnTo>
                            <a:pt x="150" y="340"/>
                          </a:lnTo>
                          <a:lnTo>
                            <a:pt x="148" y="342"/>
                          </a:lnTo>
                          <a:lnTo>
                            <a:pt x="150" y="344"/>
                          </a:lnTo>
                          <a:lnTo>
                            <a:pt x="154" y="344"/>
                          </a:lnTo>
                          <a:lnTo>
                            <a:pt x="156" y="344"/>
                          </a:lnTo>
                          <a:lnTo>
                            <a:pt x="156" y="342"/>
                          </a:lnTo>
                          <a:lnTo>
                            <a:pt x="158" y="342"/>
                          </a:lnTo>
                          <a:lnTo>
                            <a:pt x="156" y="344"/>
                          </a:lnTo>
                          <a:lnTo>
                            <a:pt x="154" y="344"/>
                          </a:lnTo>
                          <a:lnTo>
                            <a:pt x="152" y="346"/>
                          </a:lnTo>
                          <a:lnTo>
                            <a:pt x="150" y="346"/>
                          </a:lnTo>
                          <a:lnTo>
                            <a:pt x="150" y="348"/>
                          </a:lnTo>
                          <a:lnTo>
                            <a:pt x="148" y="348"/>
                          </a:lnTo>
                          <a:lnTo>
                            <a:pt x="148" y="350"/>
                          </a:lnTo>
                          <a:lnTo>
                            <a:pt x="146" y="350"/>
                          </a:lnTo>
                          <a:lnTo>
                            <a:pt x="154" y="350"/>
                          </a:lnTo>
                          <a:lnTo>
                            <a:pt x="156" y="350"/>
                          </a:lnTo>
                          <a:lnTo>
                            <a:pt x="160" y="350"/>
                          </a:lnTo>
                          <a:lnTo>
                            <a:pt x="158" y="350"/>
                          </a:lnTo>
                          <a:lnTo>
                            <a:pt x="156" y="352"/>
                          </a:lnTo>
                          <a:lnTo>
                            <a:pt x="154" y="354"/>
                          </a:lnTo>
                          <a:lnTo>
                            <a:pt x="152" y="356"/>
                          </a:lnTo>
                          <a:lnTo>
                            <a:pt x="154" y="358"/>
                          </a:lnTo>
                          <a:lnTo>
                            <a:pt x="156" y="358"/>
                          </a:lnTo>
                          <a:lnTo>
                            <a:pt x="158" y="358"/>
                          </a:lnTo>
                          <a:lnTo>
                            <a:pt x="160" y="358"/>
                          </a:lnTo>
                          <a:lnTo>
                            <a:pt x="164" y="358"/>
                          </a:lnTo>
                          <a:lnTo>
                            <a:pt x="166" y="360"/>
                          </a:lnTo>
                          <a:lnTo>
                            <a:pt x="168" y="362"/>
                          </a:lnTo>
                          <a:lnTo>
                            <a:pt x="170" y="362"/>
                          </a:lnTo>
                          <a:lnTo>
                            <a:pt x="172" y="362"/>
                          </a:lnTo>
                          <a:lnTo>
                            <a:pt x="174" y="360"/>
                          </a:lnTo>
                          <a:lnTo>
                            <a:pt x="176" y="358"/>
                          </a:lnTo>
                          <a:lnTo>
                            <a:pt x="178" y="356"/>
                          </a:lnTo>
                          <a:lnTo>
                            <a:pt x="176" y="356"/>
                          </a:lnTo>
                          <a:lnTo>
                            <a:pt x="176" y="354"/>
                          </a:lnTo>
                          <a:lnTo>
                            <a:pt x="174" y="354"/>
                          </a:lnTo>
                          <a:lnTo>
                            <a:pt x="174" y="352"/>
                          </a:lnTo>
                          <a:lnTo>
                            <a:pt x="180" y="352"/>
                          </a:lnTo>
                          <a:lnTo>
                            <a:pt x="182" y="352"/>
                          </a:lnTo>
                          <a:lnTo>
                            <a:pt x="182" y="350"/>
                          </a:lnTo>
                          <a:lnTo>
                            <a:pt x="182" y="344"/>
                          </a:lnTo>
                          <a:lnTo>
                            <a:pt x="184" y="344"/>
                          </a:lnTo>
                          <a:lnTo>
                            <a:pt x="186" y="344"/>
                          </a:lnTo>
                          <a:lnTo>
                            <a:pt x="186" y="346"/>
                          </a:lnTo>
                          <a:lnTo>
                            <a:pt x="190" y="346"/>
                          </a:lnTo>
                          <a:lnTo>
                            <a:pt x="190" y="344"/>
                          </a:lnTo>
                          <a:lnTo>
                            <a:pt x="190" y="342"/>
                          </a:lnTo>
                          <a:lnTo>
                            <a:pt x="190" y="340"/>
                          </a:lnTo>
                          <a:lnTo>
                            <a:pt x="188" y="340"/>
                          </a:lnTo>
                          <a:lnTo>
                            <a:pt x="188" y="338"/>
                          </a:lnTo>
                          <a:lnTo>
                            <a:pt x="190" y="340"/>
                          </a:lnTo>
                          <a:lnTo>
                            <a:pt x="192" y="342"/>
                          </a:lnTo>
                          <a:lnTo>
                            <a:pt x="194" y="342"/>
                          </a:lnTo>
                          <a:lnTo>
                            <a:pt x="194" y="340"/>
                          </a:lnTo>
                          <a:lnTo>
                            <a:pt x="196" y="338"/>
                          </a:lnTo>
                          <a:lnTo>
                            <a:pt x="194" y="338"/>
                          </a:lnTo>
                          <a:lnTo>
                            <a:pt x="194" y="336"/>
                          </a:lnTo>
                          <a:lnTo>
                            <a:pt x="194" y="334"/>
                          </a:lnTo>
                          <a:lnTo>
                            <a:pt x="192" y="334"/>
                          </a:lnTo>
                          <a:lnTo>
                            <a:pt x="192" y="332"/>
                          </a:lnTo>
                          <a:lnTo>
                            <a:pt x="192" y="334"/>
                          </a:lnTo>
                          <a:lnTo>
                            <a:pt x="198" y="334"/>
                          </a:lnTo>
                          <a:lnTo>
                            <a:pt x="198" y="332"/>
                          </a:lnTo>
                          <a:lnTo>
                            <a:pt x="198" y="330"/>
                          </a:lnTo>
                          <a:lnTo>
                            <a:pt x="196" y="330"/>
                          </a:lnTo>
                          <a:lnTo>
                            <a:pt x="204" y="330"/>
                          </a:lnTo>
                          <a:lnTo>
                            <a:pt x="202" y="328"/>
                          </a:lnTo>
                          <a:lnTo>
                            <a:pt x="202" y="326"/>
                          </a:lnTo>
                          <a:lnTo>
                            <a:pt x="200" y="324"/>
                          </a:lnTo>
                          <a:lnTo>
                            <a:pt x="202" y="324"/>
                          </a:lnTo>
                          <a:lnTo>
                            <a:pt x="202" y="322"/>
                          </a:lnTo>
                          <a:lnTo>
                            <a:pt x="204" y="322"/>
                          </a:lnTo>
                          <a:lnTo>
                            <a:pt x="202" y="320"/>
                          </a:lnTo>
                          <a:lnTo>
                            <a:pt x="200" y="320"/>
                          </a:lnTo>
                          <a:lnTo>
                            <a:pt x="198" y="320"/>
                          </a:lnTo>
                          <a:lnTo>
                            <a:pt x="198" y="318"/>
                          </a:lnTo>
                          <a:lnTo>
                            <a:pt x="200" y="318"/>
                          </a:lnTo>
                          <a:lnTo>
                            <a:pt x="202" y="318"/>
                          </a:lnTo>
                          <a:lnTo>
                            <a:pt x="200" y="314"/>
                          </a:lnTo>
                          <a:lnTo>
                            <a:pt x="198" y="314"/>
                          </a:lnTo>
                          <a:lnTo>
                            <a:pt x="198" y="312"/>
                          </a:lnTo>
                          <a:lnTo>
                            <a:pt x="200" y="314"/>
                          </a:lnTo>
                          <a:lnTo>
                            <a:pt x="202" y="314"/>
                          </a:lnTo>
                          <a:lnTo>
                            <a:pt x="202" y="316"/>
                          </a:lnTo>
                          <a:lnTo>
                            <a:pt x="204" y="316"/>
                          </a:lnTo>
                          <a:lnTo>
                            <a:pt x="206" y="314"/>
                          </a:lnTo>
                          <a:lnTo>
                            <a:pt x="208" y="312"/>
                          </a:lnTo>
                          <a:lnTo>
                            <a:pt x="210" y="312"/>
                          </a:lnTo>
                          <a:lnTo>
                            <a:pt x="214" y="312"/>
                          </a:lnTo>
                          <a:lnTo>
                            <a:pt x="216" y="312"/>
                          </a:lnTo>
                          <a:lnTo>
                            <a:pt x="216" y="308"/>
                          </a:lnTo>
                          <a:lnTo>
                            <a:pt x="214" y="308"/>
                          </a:lnTo>
                          <a:lnTo>
                            <a:pt x="214" y="306"/>
                          </a:lnTo>
                          <a:lnTo>
                            <a:pt x="218" y="306"/>
                          </a:lnTo>
                          <a:lnTo>
                            <a:pt x="220" y="304"/>
                          </a:lnTo>
                          <a:lnTo>
                            <a:pt x="220" y="302"/>
                          </a:lnTo>
                          <a:lnTo>
                            <a:pt x="220" y="300"/>
                          </a:lnTo>
                          <a:lnTo>
                            <a:pt x="222" y="300"/>
                          </a:lnTo>
                          <a:lnTo>
                            <a:pt x="224" y="302"/>
                          </a:lnTo>
                          <a:lnTo>
                            <a:pt x="228" y="302"/>
                          </a:lnTo>
                          <a:lnTo>
                            <a:pt x="230" y="300"/>
                          </a:lnTo>
                          <a:lnTo>
                            <a:pt x="230" y="296"/>
                          </a:lnTo>
                          <a:lnTo>
                            <a:pt x="232" y="298"/>
                          </a:lnTo>
                          <a:lnTo>
                            <a:pt x="234" y="298"/>
                          </a:lnTo>
                          <a:lnTo>
                            <a:pt x="234" y="300"/>
                          </a:lnTo>
                          <a:lnTo>
                            <a:pt x="236" y="300"/>
                          </a:lnTo>
                          <a:lnTo>
                            <a:pt x="236" y="298"/>
                          </a:lnTo>
                          <a:lnTo>
                            <a:pt x="238" y="296"/>
                          </a:lnTo>
                          <a:lnTo>
                            <a:pt x="240" y="296"/>
                          </a:lnTo>
                          <a:lnTo>
                            <a:pt x="240" y="290"/>
                          </a:lnTo>
                          <a:lnTo>
                            <a:pt x="238" y="290"/>
                          </a:lnTo>
                          <a:lnTo>
                            <a:pt x="236" y="290"/>
                          </a:lnTo>
                          <a:lnTo>
                            <a:pt x="234" y="288"/>
                          </a:lnTo>
                          <a:lnTo>
                            <a:pt x="230" y="288"/>
                          </a:lnTo>
                          <a:lnTo>
                            <a:pt x="232" y="288"/>
                          </a:lnTo>
                          <a:lnTo>
                            <a:pt x="234" y="288"/>
                          </a:lnTo>
                          <a:lnTo>
                            <a:pt x="234" y="286"/>
                          </a:lnTo>
                          <a:lnTo>
                            <a:pt x="236" y="286"/>
                          </a:lnTo>
                          <a:lnTo>
                            <a:pt x="238" y="286"/>
                          </a:lnTo>
                          <a:lnTo>
                            <a:pt x="240" y="284"/>
                          </a:lnTo>
                          <a:lnTo>
                            <a:pt x="242" y="284"/>
                          </a:lnTo>
                          <a:lnTo>
                            <a:pt x="242" y="280"/>
                          </a:lnTo>
                          <a:lnTo>
                            <a:pt x="244" y="280"/>
                          </a:lnTo>
                          <a:lnTo>
                            <a:pt x="244" y="278"/>
                          </a:lnTo>
                          <a:lnTo>
                            <a:pt x="242" y="278"/>
                          </a:lnTo>
                          <a:lnTo>
                            <a:pt x="240" y="278"/>
                          </a:lnTo>
                          <a:lnTo>
                            <a:pt x="240" y="276"/>
                          </a:lnTo>
                          <a:lnTo>
                            <a:pt x="240" y="274"/>
                          </a:lnTo>
                          <a:lnTo>
                            <a:pt x="240" y="272"/>
                          </a:lnTo>
                          <a:lnTo>
                            <a:pt x="248" y="272"/>
                          </a:lnTo>
                          <a:lnTo>
                            <a:pt x="250" y="274"/>
                          </a:lnTo>
                          <a:lnTo>
                            <a:pt x="254" y="272"/>
                          </a:lnTo>
                          <a:lnTo>
                            <a:pt x="256" y="272"/>
                          </a:lnTo>
                          <a:lnTo>
                            <a:pt x="256" y="270"/>
                          </a:lnTo>
                          <a:lnTo>
                            <a:pt x="258" y="270"/>
                          </a:lnTo>
                          <a:lnTo>
                            <a:pt x="258" y="268"/>
                          </a:lnTo>
                          <a:lnTo>
                            <a:pt x="256" y="268"/>
                          </a:lnTo>
                          <a:lnTo>
                            <a:pt x="256" y="266"/>
                          </a:lnTo>
                          <a:lnTo>
                            <a:pt x="260" y="266"/>
                          </a:lnTo>
                          <a:lnTo>
                            <a:pt x="262" y="266"/>
                          </a:lnTo>
                          <a:lnTo>
                            <a:pt x="264" y="264"/>
                          </a:lnTo>
                          <a:lnTo>
                            <a:pt x="266" y="266"/>
                          </a:lnTo>
                          <a:lnTo>
                            <a:pt x="276" y="266"/>
                          </a:lnTo>
                          <a:lnTo>
                            <a:pt x="278" y="264"/>
                          </a:lnTo>
                          <a:lnTo>
                            <a:pt x="280" y="262"/>
                          </a:lnTo>
                          <a:lnTo>
                            <a:pt x="282" y="260"/>
                          </a:lnTo>
                          <a:lnTo>
                            <a:pt x="284" y="258"/>
                          </a:lnTo>
                          <a:lnTo>
                            <a:pt x="286" y="258"/>
                          </a:lnTo>
                          <a:lnTo>
                            <a:pt x="286" y="256"/>
                          </a:lnTo>
                          <a:lnTo>
                            <a:pt x="288" y="254"/>
                          </a:lnTo>
                          <a:lnTo>
                            <a:pt x="288" y="252"/>
                          </a:lnTo>
                          <a:lnTo>
                            <a:pt x="290" y="252"/>
                          </a:lnTo>
                          <a:lnTo>
                            <a:pt x="290" y="254"/>
                          </a:lnTo>
                          <a:lnTo>
                            <a:pt x="290" y="256"/>
                          </a:lnTo>
                          <a:lnTo>
                            <a:pt x="288" y="258"/>
                          </a:lnTo>
                          <a:lnTo>
                            <a:pt x="288" y="260"/>
                          </a:lnTo>
                          <a:lnTo>
                            <a:pt x="286" y="262"/>
                          </a:lnTo>
                          <a:lnTo>
                            <a:pt x="286" y="264"/>
                          </a:lnTo>
                          <a:lnTo>
                            <a:pt x="290" y="264"/>
                          </a:lnTo>
                          <a:lnTo>
                            <a:pt x="292" y="264"/>
                          </a:lnTo>
                          <a:lnTo>
                            <a:pt x="292" y="260"/>
                          </a:lnTo>
                          <a:lnTo>
                            <a:pt x="292" y="258"/>
                          </a:lnTo>
                          <a:lnTo>
                            <a:pt x="294" y="260"/>
                          </a:lnTo>
                          <a:lnTo>
                            <a:pt x="296" y="260"/>
                          </a:lnTo>
                          <a:lnTo>
                            <a:pt x="296" y="258"/>
                          </a:lnTo>
                          <a:lnTo>
                            <a:pt x="298" y="258"/>
                          </a:lnTo>
                          <a:lnTo>
                            <a:pt x="298" y="256"/>
                          </a:lnTo>
                          <a:lnTo>
                            <a:pt x="300" y="256"/>
                          </a:lnTo>
                          <a:lnTo>
                            <a:pt x="302" y="258"/>
                          </a:lnTo>
                          <a:lnTo>
                            <a:pt x="304" y="260"/>
                          </a:lnTo>
                          <a:lnTo>
                            <a:pt x="308" y="260"/>
                          </a:lnTo>
                          <a:lnTo>
                            <a:pt x="310" y="258"/>
                          </a:lnTo>
                          <a:lnTo>
                            <a:pt x="312" y="256"/>
                          </a:lnTo>
                          <a:lnTo>
                            <a:pt x="316" y="254"/>
                          </a:lnTo>
                          <a:lnTo>
                            <a:pt x="318" y="252"/>
                          </a:lnTo>
                          <a:lnTo>
                            <a:pt x="326" y="252"/>
                          </a:lnTo>
                          <a:lnTo>
                            <a:pt x="328" y="250"/>
                          </a:lnTo>
                          <a:lnTo>
                            <a:pt x="332" y="250"/>
                          </a:lnTo>
                          <a:lnTo>
                            <a:pt x="336" y="248"/>
                          </a:lnTo>
                          <a:lnTo>
                            <a:pt x="338" y="248"/>
                          </a:lnTo>
                          <a:lnTo>
                            <a:pt x="340" y="246"/>
                          </a:lnTo>
                          <a:lnTo>
                            <a:pt x="342" y="244"/>
                          </a:lnTo>
                          <a:lnTo>
                            <a:pt x="344" y="242"/>
                          </a:lnTo>
                          <a:lnTo>
                            <a:pt x="344" y="240"/>
                          </a:lnTo>
                          <a:lnTo>
                            <a:pt x="346" y="238"/>
                          </a:lnTo>
                          <a:lnTo>
                            <a:pt x="348" y="236"/>
                          </a:lnTo>
                          <a:lnTo>
                            <a:pt x="350" y="234"/>
                          </a:lnTo>
                          <a:lnTo>
                            <a:pt x="354" y="234"/>
                          </a:lnTo>
                          <a:lnTo>
                            <a:pt x="356" y="232"/>
                          </a:lnTo>
                          <a:lnTo>
                            <a:pt x="360" y="230"/>
                          </a:lnTo>
                          <a:lnTo>
                            <a:pt x="362" y="228"/>
                          </a:lnTo>
                          <a:lnTo>
                            <a:pt x="366" y="228"/>
                          </a:lnTo>
                          <a:lnTo>
                            <a:pt x="370" y="226"/>
                          </a:lnTo>
                          <a:lnTo>
                            <a:pt x="372" y="226"/>
                          </a:lnTo>
                          <a:lnTo>
                            <a:pt x="372" y="224"/>
                          </a:lnTo>
                          <a:lnTo>
                            <a:pt x="372" y="222"/>
                          </a:lnTo>
                          <a:lnTo>
                            <a:pt x="372" y="220"/>
                          </a:lnTo>
                          <a:lnTo>
                            <a:pt x="372" y="218"/>
                          </a:lnTo>
                          <a:lnTo>
                            <a:pt x="370" y="216"/>
                          </a:lnTo>
                          <a:lnTo>
                            <a:pt x="372" y="214"/>
                          </a:lnTo>
                          <a:lnTo>
                            <a:pt x="374" y="214"/>
                          </a:lnTo>
                          <a:lnTo>
                            <a:pt x="374" y="216"/>
                          </a:lnTo>
                          <a:lnTo>
                            <a:pt x="376" y="216"/>
                          </a:lnTo>
                          <a:lnTo>
                            <a:pt x="376" y="218"/>
                          </a:lnTo>
                          <a:lnTo>
                            <a:pt x="378" y="220"/>
                          </a:lnTo>
                          <a:lnTo>
                            <a:pt x="380" y="222"/>
                          </a:lnTo>
                          <a:lnTo>
                            <a:pt x="382" y="224"/>
                          </a:lnTo>
                          <a:lnTo>
                            <a:pt x="396" y="224"/>
                          </a:lnTo>
                          <a:lnTo>
                            <a:pt x="400" y="222"/>
                          </a:lnTo>
                          <a:lnTo>
                            <a:pt x="404" y="222"/>
                          </a:lnTo>
                          <a:lnTo>
                            <a:pt x="406" y="222"/>
                          </a:lnTo>
                          <a:lnTo>
                            <a:pt x="408" y="220"/>
                          </a:lnTo>
                          <a:lnTo>
                            <a:pt x="410" y="220"/>
                          </a:lnTo>
                          <a:lnTo>
                            <a:pt x="414" y="218"/>
                          </a:lnTo>
                          <a:lnTo>
                            <a:pt x="418" y="218"/>
                          </a:lnTo>
                          <a:lnTo>
                            <a:pt x="422" y="216"/>
                          </a:lnTo>
                          <a:lnTo>
                            <a:pt x="424" y="216"/>
                          </a:lnTo>
                          <a:lnTo>
                            <a:pt x="428" y="216"/>
                          </a:lnTo>
                          <a:lnTo>
                            <a:pt x="432" y="216"/>
                          </a:lnTo>
                          <a:lnTo>
                            <a:pt x="436" y="214"/>
                          </a:lnTo>
                          <a:lnTo>
                            <a:pt x="442" y="214"/>
                          </a:lnTo>
                          <a:lnTo>
                            <a:pt x="444" y="214"/>
                          </a:lnTo>
                          <a:lnTo>
                            <a:pt x="446" y="214"/>
                          </a:lnTo>
                          <a:lnTo>
                            <a:pt x="448" y="212"/>
                          </a:lnTo>
                          <a:lnTo>
                            <a:pt x="450" y="210"/>
                          </a:lnTo>
                          <a:lnTo>
                            <a:pt x="456" y="210"/>
                          </a:lnTo>
                          <a:lnTo>
                            <a:pt x="458" y="208"/>
                          </a:lnTo>
                          <a:lnTo>
                            <a:pt x="460" y="208"/>
                          </a:lnTo>
                          <a:lnTo>
                            <a:pt x="460" y="206"/>
                          </a:lnTo>
                          <a:lnTo>
                            <a:pt x="466" y="206"/>
                          </a:lnTo>
                          <a:lnTo>
                            <a:pt x="468" y="206"/>
                          </a:lnTo>
                          <a:lnTo>
                            <a:pt x="474" y="200"/>
                          </a:lnTo>
                          <a:lnTo>
                            <a:pt x="476" y="200"/>
                          </a:lnTo>
                          <a:lnTo>
                            <a:pt x="478" y="198"/>
                          </a:lnTo>
                          <a:lnTo>
                            <a:pt x="482" y="198"/>
                          </a:lnTo>
                          <a:lnTo>
                            <a:pt x="484" y="198"/>
                          </a:lnTo>
                          <a:lnTo>
                            <a:pt x="488" y="198"/>
                          </a:lnTo>
                          <a:lnTo>
                            <a:pt x="488" y="196"/>
                          </a:lnTo>
                          <a:lnTo>
                            <a:pt x="492" y="196"/>
                          </a:lnTo>
                          <a:lnTo>
                            <a:pt x="494" y="194"/>
                          </a:lnTo>
                          <a:lnTo>
                            <a:pt x="496" y="194"/>
                          </a:lnTo>
                          <a:lnTo>
                            <a:pt x="500" y="194"/>
                          </a:lnTo>
                          <a:lnTo>
                            <a:pt x="502" y="192"/>
                          </a:lnTo>
                          <a:lnTo>
                            <a:pt x="504" y="192"/>
                          </a:lnTo>
                          <a:lnTo>
                            <a:pt x="504" y="190"/>
                          </a:lnTo>
                          <a:lnTo>
                            <a:pt x="506" y="190"/>
                          </a:lnTo>
                          <a:lnTo>
                            <a:pt x="506" y="188"/>
                          </a:lnTo>
                          <a:lnTo>
                            <a:pt x="504" y="190"/>
                          </a:lnTo>
                          <a:lnTo>
                            <a:pt x="492" y="190"/>
                          </a:lnTo>
                          <a:lnTo>
                            <a:pt x="486" y="188"/>
                          </a:lnTo>
                          <a:lnTo>
                            <a:pt x="482" y="186"/>
                          </a:lnTo>
                          <a:lnTo>
                            <a:pt x="480" y="186"/>
                          </a:lnTo>
                          <a:lnTo>
                            <a:pt x="478" y="186"/>
                          </a:lnTo>
                          <a:lnTo>
                            <a:pt x="468" y="186"/>
                          </a:lnTo>
                          <a:lnTo>
                            <a:pt x="466" y="186"/>
                          </a:lnTo>
                          <a:lnTo>
                            <a:pt x="464" y="186"/>
                          </a:lnTo>
                          <a:lnTo>
                            <a:pt x="462" y="188"/>
                          </a:lnTo>
                          <a:lnTo>
                            <a:pt x="458" y="188"/>
                          </a:lnTo>
                          <a:lnTo>
                            <a:pt x="454" y="188"/>
                          </a:lnTo>
                          <a:lnTo>
                            <a:pt x="450" y="188"/>
                          </a:lnTo>
                          <a:lnTo>
                            <a:pt x="446" y="192"/>
                          </a:lnTo>
                          <a:lnTo>
                            <a:pt x="444" y="192"/>
                          </a:lnTo>
                          <a:lnTo>
                            <a:pt x="432" y="192"/>
                          </a:lnTo>
                          <a:lnTo>
                            <a:pt x="432" y="190"/>
                          </a:lnTo>
                          <a:lnTo>
                            <a:pt x="434" y="190"/>
                          </a:lnTo>
                          <a:lnTo>
                            <a:pt x="436" y="190"/>
                          </a:lnTo>
                          <a:lnTo>
                            <a:pt x="440" y="188"/>
                          </a:lnTo>
                          <a:lnTo>
                            <a:pt x="446" y="188"/>
                          </a:lnTo>
                          <a:lnTo>
                            <a:pt x="450" y="186"/>
                          </a:lnTo>
                          <a:lnTo>
                            <a:pt x="454" y="186"/>
                          </a:lnTo>
                          <a:lnTo>
                            <a:pt x="458" y="186"/>
                          </a:lnTo>
                          <a:lnTo>
                            <a:pt x="460" y="184"/>
                          </a:lnTo>
                          <a:lnTo>
                            <a:pt x="462" y="184"/>
                          </a:lnTo>
                          <a:lnTo>
                            <a:pt x="466" y="182"/>
                          </a:lnTo>
                          <a:lnTo>
                            <a:pt x="470" y="182"/>
                          </a:lnTo>
                          <a:lnTo>
                            <a:pt x="472" y="180"/>
                          </a:lnTo>
                          <a:lnTo>
                            <a:pt x="474" y="180"/>
                          </a:lnTo>
                          <a:lnTo>
                            <a:pt x="474" y="178"/>
                          </a:lnTo>
                          <a:lnTo>
                            <a:pt x="472" y="178"/>
                          </a:lnTo>
                          <a:lnTo>
                            <a:pt x="468" y="176"/>
                          </a:lnTo>
                          <a:lnTo>
                            <a:pt x="466" y="176"/>
                          </a:lnTo>
                          <a:lnTo>
                            <a:pt x="464" y="176"/>
                          </a:lnTo>
                          <a:lnTo>
                            <a:pt x="462" y="176"/>
                          </a:lnTo>
                          <a:lnTo>
                            <a:pt x="460" y="176"/>
                          </a:lnTo>
                          <a:lnTo>
                            <a:pt x="458" y="178"/>
                          </a:lnTo>
                          <a:lnTo>
                            <a:pt x="454" y="178"/>
                          </a:lnTo>
                          <a:lnTo>
                            <a:pt x="450" y="180"/>
                          </a:lnTo>
                          <a:lnTo>
                            <a:pt x="446" y="180"/>
                          </a:lnTo>
                          <a:lnTo>
                            <a:pt x="446" y="182"/>
                          </a:lnTo>
                          <a:lnTo>
                            <a:pt x="442" y="182"/>
                          </a:lnTo>
                          <a:lnTo>
                            <a:pt x="432" y="182"/>
                          </a:lnTo>
                          <a:lnTo>
                            <a:pt x="434" y="182"/>
                          </a:lnTo>
                          <a:lnTo>
                            <a:pt x="436" y="180"/>
                          </a:lnTo>
                          <a:lnTo>
                            <a:pt x="438" y="178"/>
                          </a:lnTo>
                          <a:lnTo>
                            <a:pt x="440" y="178"/>
                          </a:lnTo>
                          <a:lnTo>
                            <a:pt x="442" y="176"/>
                          </a:lnTo>
                          <a:lnTo>
                            <a:pt x="444" y="176"/>
                          </a:lnTo>
                          <a:lnTo>
                            <a:pt x="458" y="176"/>
                          </a:lnTo>
                          <a:lnTo>
                            <a:pt x="460" y="174"/>
                          </a:lnTo>
                          <a:lnTo>
                            <a:pt x="464" y="174"/>
                          </a:lnTo>
                          <a:lnTo>
                            <a:pt x="472" y="174"/>
                          </a:lnTo>
                          <a:lnTo>
                            <a:pt x="474" y="172"/>
                          </a:lnTo>
                          <a:lnTo>
                            <a:pt x="476" y="172"/>
                          </a:lnTo>
                          <a:lnTo>
                            <a:pt x="474" y="170"/>
                          </a:lnTo>
                          <a:lnTo>
                            <a:pt x="472" y="170"/>
                          </a:lnTo>
                          <a:lnTo>
                            <a:pt x="470" y="170"/>
                          </a:lnTo>
                          <a:lnTo>
                            <a:pt x="466" y="168"/>
                          </a:lnTo>
                          <a:lnTo>
                            <a:pt x="460" y="168"/>
                          </a:lnTo>
                          <a:lnTo>
                            <a:pt x="458" y="168"/>
                          </a:lnTo>
                          <a:lnTo>
                            <a:pt x="456" y="168"/>
                          </a:lnTo>
                          <a:lnTo>
                            <a:pt x="454" y="168"/>
                          </a:lnTo>
                          <a:lnTo>
                            <a:pt x="444" y="168"/>
                          </a:lnTo>
                          <a:lnTo>
                            <a:pt x="446" y="168"/>
                          </a:lnTo>
                          <a:lnTo>
                            <a:pt x="448" y="168"/>
                          </a:lnTo>
                          <a:lnTo>
                            <a:pt x="448" y="166"/>
                          </a:lnTo>
                          <a:lnTo>
                            <a:pt x="450" y="166"/>
                          </a:lnTo>
                          <a:lnTo>
                            <a:pt x="448" y="164"/>
                          </a:lnTo>
                          <a:lnTo>
                            <a:pt x="446" y="164"/>
                          </a:lnTo>
                          <a:lnTo>
                            <a:pt x="446" y="162"/>
                          </a:lnTo>
                          <a:lnTo>
                            <a:pt x="444" y="162"/>
                          </a:lnTo>
                          <a:lnTo>
                            <a:pt x="444" y="160"/>
                          </a:lnTo>
                          <a:lnTo>
                            <a:pt x="446" y="160"/>
                          </a:lnTo>
                          <a:lnTo>
                            <a:pt x="448" y="160"/>
                          </a:lnTo>
                          <a:lnTo>
                            <a:pt x="448" y="162"/>
                          </a:lnTo>
                          <a:lnTo>
                            <a:pt x="450" y="162"/>
                          </a:lnTo>
                          <a:lnTo>
                            <a:pt x="452" y="164"/>
                          </a:lnTo>
                          <a:lnTo>
                            <a:pt x="454" y="164"/>
                          </a:lnTo>
                          <a:lnTo>
                            <a:pt x="456" y="166"/>
                          </a:lnTo>
                          <a:lnTo>
                            <a:pt x="460" y="166"/>
                          </a:lnTo>
                          <a:lnTo>
                            <a:pt x="464" y="166"/>
                          </a:lnTo>
                          <a:lnTo>
                            <a:pt x="466" y="168"/>
                          </a:lnTo>
                          <a:lnTo>
                            <a:pt x="470" y="168"/>
                          </a:lnTo>
                          <a:lnTo>
                            <a:pt x="474" y="170"/>
                          </a:lnTo>
                          <a:lnTo>
                            <a:pt x="476" y="170"/>
                          </a:lnTo>
                          <a:lnTo>
                            <a:pt x="480" y="170"/>
                          </a:lnTo>
                          <a:lnTo>
                            <a:pt x="484" y="170"/>
                          </a:lnTo>
                          <a:lnTo>
                            <a:pt x="484" y="172"/>
                          </a:lnTo>
                          <a:lnTo>
                            <a:pt x="484" y="174"/>
                          </a:lnTo>
                          <a:lnTo>
                            <a:pt x="484" y="178"/>
                          </a:lnTo>
                          <a:lnTo>
                            <a:pt x="486" y="180"/>
                          </a:lnTo>
                          <a:lnTo>
                            <a:pt x="488" y="180"/>
                          </a:lnTo>
                          <a:lnTo>
                            <a:pt x="494" y="182"/>
                          </a:lnTo>
                          <a:lnTo>
                            <a:pt x="500" y="182"/>
                          </a:lnTo>
                          <a:lnTo>
                            <a:pt x="502" y="184"/>
                          </a:lnTo>
                          <a:lnTo>
                            <a:pt x="504" y="184"/>
                          </a:lnTo>
                          <a:lnTo>
                            <a:pt x="504" y="180"/>
                          </a:lnTo>
                          <a:lnTo>
                            <a:pt x="504" y="178"/>
                          </a:lnTo>
                          <a:lnTo>
                            <a:pt x="506" y="178"/>
                          </a:lnTo>
                          <a:lnTo>
                            <a:pt x="506" y="180"/>
                          </a:lnTo>
                          <a:lnTo>
                            <a:pt x="506" y="184"/>
                          </a:lnTo>
                          <a:lnTo>
                            <a:pt x="508" y="184"/>
                          </a:lnTo>
                          <a:lnTo>
                            <a:pt x="508" y="186"/>
                          </a:lnTo>
                          <a:lnTo>
                            <a:pt x="510" y="186"/>
                          </a:lnTo>
                          <a:lnTo>
                            <a:pt x="512" y="184"/>
                          </a:lnTo>
                          <a:lnTo>
                            <a:pt x="514" y="184"/>
                          </a:lnTo>
                          <a:lnTo>
                            <a:pt x="516" y="182"/>
                          </a:lnTo>
                          <a:lnTo>
                            <a:pt x="516" y="176"/>
                          </a:lnTo>
                          <a:lnTo>
                            <a:pt x="514" y="176"/>
                          </a:lnTo>
                          <a:lnTo>
                            <a:pt x="516" y="176"/>
                          </a:lnTo>
                          <a:lnTo>
                            <a:pt x="516" y="174"/>
                          </a:lnTo>
                          <a:lnTo>
                            <a:pt x="518" y="172"/>
                          </a:lnTo>
                          <a:lnTo>
                            <a:pt x="518" y="170"/>
                          </a:lnTo>
                          <a:lnTo>
                            <a:pt x="516" y="170"/>
                          </a:lnTo>
                          <a:lnTo>
                            <a:pt x="514" y="170"/>
                          </a:lnTo>
                          <a:lnTo>
                            <a:pt x="512" y="170"/>
                          </a:lnTo>
                          <a:lnTo>
                            <a:pt x="510" y="168"/>
                          </a:lnTo>
                          <a:lnTo>
                            <a:pt x="510" y="166"/>
                          </a:lnTo>
                          <a:lnTo>
                            <a:pt x="508" y="164"/>
                          </a:lnTo>
                          <a:lnTo>
                            <a:pt x="506" y="164"/>
                          </a:lnTo>
                          <a:lnTo>
                            <a:pt x="504" y="164"/>
                          </a:lnTo>
                          <a:lnTo>
                            <a:pt x="506" y="162"/>
                          </a:lnTo>
                          <a:lnTo>
                            <a:pt x="506" y="160"/>
                          </a:lnTo>
                          <a:lnTo>
                            <a:pt x="504" y="158"/>
                          </a:lnTo>
                          <a:lnTo>
                            <a:pt x="500" y="158"/>
                          </a:lnTo>
                          <a:lnTo>
                            <a:pt x="498" y="156"/>
                          </a:lnTo>
                          <a:lnTo>
                            <a:pt x="496" y="156"/>
                          </a:lnTo>
                          <a:lnTo>
                            <a:pt x="494" y="156"/>
                          </a:lnTo>
                          <a:lnTo>
                            <a:pt x="494" y="154"/>
                          </a:lnTo>
                          <a:lnTo>
                            <a:pt x="492" y="154"/>
                          </a:lnTo>
                          <a:lnTo>
                            <a:pt x="486" y="154"/>
                          </a:lnTo>
                          <a:lnTo>
                            <a:pt x="484" y="154"/>
                          </a:lnTo>
                          <a:lnTo>
                            <a:pt x="482" y="156"/>
                          </a:lnTo>
                          <a:lnTo>
                            <a:pt x="480" y="156"/>
                          </a:lnTo>
                          <a:lnTo>
                            <a:pt x="478" y="154"/>
                          </a:lnTo>
                          <a:lnTo>
                            <a:pt x="480" y="154"/>
                          </a:lnTo>
                          <a:lnTo>
                            <a:pt x="482" y="154"/>
                          </a:lnTo>
                          <a:lnTo>
                            <a:pt x="484" y="154"/>
                          </a:lnTo>
                          <a:lnTo>
                            <a:pt x="484" y="152"/>
                          </a:lnTo>
                          <a:lnTo>
                            <a:pt x="486" y="152"/>
                          </a:lnTo>
                          <a:lnTo>
                            <a:pt x="486" y="150"/>
                          </a:lnTo>
                          <a:lnTo>
                            <a:pt x="484" y="150"/>
                          </a:lnTo>
                          <a:lnTo>
                            <a:pt x="482" y="148"/>
                          </a:lnTo>
                          <a:lnTo>
                            <a:pt x="472" y="148"/>
                          </a:lnTo>
                          <a:lnTo>
                            <a:pt x="468" y="148"/>
                          </a:lnTo>
                          <a:lnTo>
                            <a:pt x="462" y="148"/>
                          </a:lnTo>
                          <a:lnTo>
                            <a:pt x="462" y="146"/>
                          </a:lnTo>
                          <a:lnTo>
                            <a:pt x="464" y="144"/>
                          </a:lnTo>
                          <a:lnTo>
                            <a:pt x="464" y="142"/>
                          </a:lnTo>
                          <a:lnTo>
                            <a:pt x="466" y="142"/>
                          </a:lnTo>
                          <a:lnTo>
                            <a:pt x="468" y="142"/>
                          </a:lnTo>
                          <a:lnTo>
                            <a:pt x="472" y="142"/>
                          </a:lnTo>
                          <a:lnTo>
                            <a:pt x="474" y="142"/>
                          </a:lnTo>
                          <a:lnTo>
                            <a:pt x="476" y="144"/>
                          </a:lnTo>
                          <a:lnTo>
                            <a:pt x="478" y="144"/>
                          </a:lnTo>
                          <a:lnTo>
                            <a:pt x="478" y="142"/>
                          </a:lnTo>
                          <a:lnTo>
                            <a:pt x="480" y="142"/>
                          </a:lnTo>
                          <a:lnTo>
                            <a:pt x="482" y="140"/>
                          </a:lnTo>
                          <a:lnTo>
                            <a:pt x="484" y="140"/>
                          </a:lnTo>
                          <a:lnTo>
                            <a:pt x="492" y="140"/>
                          </a:lnTo>
                          <a:lnTo>
                            <a:pt x="494" y="140"/>
                          </a:lnTo>
                          <a:lnTo>
                            <a:pt x="496" y="142"/>
                          </a:lnTo>
                          <a:lnTo>
                            <a:pt x="498" y="142"/>
                          </a:lnTo>
                          <a:lnTo>
                            <a:pt x="500" y="142"/>
                          </a:lnTo>
                          <a:lnTo>
                            <a:pt x="504" y="142"/>
                          </a:lnTo>
                          <a:lnTo>
                            <a:pt x="506" y="142"/>
                          </a:lnTo>
                          <a:lnTo>
                            <a:pt x="508" y="142"/>
                          </a:lnTo>
                          <a:lnTo>
                            <a:pt x="508" y="144"/>
                          </a:lnTo>
                          <a:lnTo>
                            <a:pt x="510" y="146"/>
                          </a:lnTo>
                          <a:lnTo>
                            <a:pt x="514" y="148"/>
                          </a:lnTo>
                          <a:lnTo>
                            <a:pt x="516" y="148"/>
                          </a:lnTo>
                          <a:lnTo>
                            <a:pt x="518" y="150"/>
                          </a:lnTo>
                          <a:lnTo>
                            <a:pt x="520" y="150"/>
                          </a:lnTo>
                          <a:lnTo>
                            <a:pt x="522" y="148"/>
                          </a:lnTo>
                          <a:lnTo>
                            <a:pt x="522" y="144"/>
                          </a:lnTo>
                          <a:lnTo>
                            <a:pt x="518" y="144"/>
                          </a:lnTo>
                          <a:lnTo>
                            <a:pt x="514" y="144"/>
                          </a:lnTo>
                          <a:lnTo>
                            <a:pt x="512" y="142"/>
                          </a:lnTo>
                          <a:lnTo>
                            <a:pt x="510" y="142"/>
                          </a:lnTo>
                          <a:lnTo>
                            <a:pt x="508" y="140"/>
                          </a:lnTo>
                          <a:lnTo>
                            <a:pt x="506" y="140"/>
                          </a:lnTo>
                          <a:lnTo>
                            <a:pt x="504" y="140"/>
                          </a:lnTo>
                          <a:lnTo>
                            <a:pt x="504" y="138"/>
                          </a:lnTo>
                          <a:lnTo>
                            <a:pt x="494" y="138"/>
                          </a:lnTo>
                          <a:lnTo>
                            <a:pt x="496" y="136"/>
                          </a:lnTo>
                          <a:lnTo>
                            <a:pt x="498" y="134"/>
                          </a:lnTo>
                          <a:lnTo>
                            <a:pt x="500" y="134"/>
                          </a:lnTo>
                          <a:lnTo>
                            <a:pt x="502" y="134"/>
                          </a:lnTo>
                          <a:lnTo>
                            <a:pt x="504" y="134"/>
                          </a:lnTo>
                          <a:lnTo>
                            <a:pt x="504" y="136"/>
                          </a:lnTo>
                          <a:lnTo>
                            <a:pt x="506" y="138"/>
                          </a:lnTo>
                          <a:lnTo>
                            <a:pt x="508" y="138"/>
                          </a:lnTo>
                          <a:lnTo>
                            <a:pt x="512" y="138"/>
                          </a:lnTo>
                          <a:lnTo>
                            <a:pt x="514" y="140"/>
                          </a:lnTo>
                          <a:lnTo>
                            <a:pt x="532" y="140"/>
                          </a:lnTo>
                          <a:lnTo>
                            <a:pt x="534" y="138"/>
                          </a:lnTo>
                          <a:lnTo>
                            <a:pt x="540" y="138"/>
                          </a:lnTo>
                          <a:lnTo>
                            <a:pt x="542" y="138"/>
                          </a:lnTo>
                          <a:lnTo>
                            <a:pt x="544" y="138"/>
                          </a:lnTo>
                          <a:lnTo>
                            <a:pt x="544" y="130"/>
                          </a:lnTo>
                          <a:lnTo>
                            <a:pt x="542" y="130"/>
                          </a:lnTo>
                          <a:lnTo>
                            <a:pt x="538" y="130"/>
                          </a:lnTo>
                          <a:lnTo>
                            <a:pt x="536" y="130"/>
                          </a:lnTo>
                          <a:lnTo>
                            <a:pt x="534" y="130"/>
                          </a:lnTo>
                          <a:lnTo>
                            <a:pt x="530" y="130"/>
                          </a:lnTo>
                          <a:lnTo>
                            <a:pt x="530" y="132"/>
                          </a:lnTo>
                          <a:lnTo>
                            <a:pt x="528" y="132"/>
                          </a:lnTo>
                          <a:lnTo>
                            <a:pt x="528" y="130"/>
                          </a:lnTo>
                          <a:lnTo>
                            <a:pt x="526" y="130"/>
                          </a:lnTo>
                          <a:lnTo>
                            <a:pt x="526" y="128"/>
                          </a:lnTo>
                          <a:lnTo>
                            <a:pt x="526" y="126"/>
                          </a:lnTo>
                          <a:lnTo>
                            <a:pt x="540" y="126"/>
                          </a:lnTo>
                          <a:lnTo>
                            <a:pt x="542" y="126"/>
                          </a:lnTo>
                          <a:lnTo>
                            <a:pt x="544" y="126"/>
                          </a:lnTo>
                          <a:lnTo>
                            <a:pt x="546" y="124"/>
                          </a:lnTo>
                          <a:lnTo>
                            <a:pt x="548" y="124"/>
                          </a:lnTo>
                          <a:lnTo>
                            <a:pt x="550" y="124"/>
                          </a:lnTo>
                          <a:lnTo>
                            <a:pt x="552" y="124"/>
                          </a:lnTo>
                          <a:lnTo>
                            <a:pt x="552" y="126"/>
                          </a:lnTo>
                          <a:lnTo>
                            <a:pt x="554" y="126"/>
                          </a:lnTo>
                          <a:lnTo>
                            <a:pt x="556" y="126"/>
                          </a:lnTo>
                          <a:lnTo>
                            <a:pt x="560" y="126"/>
                          </a:lnTo>
                          <a:lnTo>
                            <a:pt x="562" y="124"/>
                          </a:lnTo>
                          <a:lnTo>
                            <a:pt x="564" y="124"/>
                          </a:lnTo>
                          <a:lnTo>
                            <a:pt x="566" y="122"/>
                          </a:lnTo>
                          <a:lnTo>
                            <a:pt x="568" y="122"/>
                          </a:lnTo>
                          <a:lnTo>
                            <a:pt x="568" y="120"/>
                          </a:lnTo>
                          <a:lnTo>
                            <a:pt x="566" y="120"/>
                          </a:lnTo>
                          <a:lnTo>
                            <a:pt x="564" y="120"/>
                          </a:lnTo>
                          <a:lnTo>
                            <a:pt x="548" y="120"/>
                          </a:lnTo>
                          <a:lnTo>
                            <a:pt x="548" y="116"/>
                          </a:lnTo>
                          <a:lnTo>
                            <a:pt x="546" y="116"/>
                          </a:lnTo>
                          <a:lnTo>
                            <a:pt x="544" y="114"/>
                          </a:lnTo>
                          <a:lnTo>
                            <a:pt x="536" y="114"/>
                          </a:lnTo>
                          <a:lnTo>
                            <a:pt x="538" y="114"/>
                          </a:lnTo>
                          <a:lnTo>
                            <a:pt x="542" y="114"/>
                          </a:lnTo>
                          <a:lnTo>
                            <a:pt x="544" y="112"/>
                          </a:lnTo>
                          <a:lnTo>
                            <a:pt x="544" y="110"/>
                          </a:lnTo>
                          <a:lnTo>
                            <a:pt x="542" y="110"/>
                          </a:lnTo>
                          <a:lnTo>
                            <a:pt x="538" y="108"/>
                          </a:lnTo>
                          <a:lnTo>
                            <a:pt x="536" y="108"/>
                          </a:lnTo>
                          <a:lnTo>
                            <a:pt x="532" y="108"/>
                          </a:lnTo>
                          <a:lnTo>
                            <a:pt x="532" y="106"/>
                          </a:lnTo>
                          <a:lnTo>
                            <a:pt x="536" y="106"/>
                          </a:lnTo>
                          <a:lnTo>
                            <a:pt x="540" y="106"/>
                          </a:lnTo>
                          <a:lnTo>
                            <a:pt x="542" y="106"/>
                          </a:lnTo>
                          <a:lnTo>
                            <a:pt x="544" y="106"/>
                          </a:lnTo>
                          <a:lnTo>
                            <a:pt x="546" y="108"/>
                          </a:lnTo>
                          <a:lnTo>
                            <a:pt x="548" y="108"/>
                          </a:lnTo>
                          <a:lnTo>
                            <a:pt x="550" y="108"/>
                          </a:lnTo>
                          <a:lnTo>
                            <a:pt x="552" y="110"/>
                          </a:lnTo>
                          <a:lnTo>
                            <a:pt x="556" y="110"/>
                          </a:lnTo>
                          <a:lnTo>
                            <a:pt x="558" y="110"/>
                          </a:lnTo>
                          <a:lnTo>
                            <a:pt x="558" y="112"/>
                          </a:lnTo>
                          <a:lnTo>
                            <a:pt x="562" y="112"/>
                          </a:lnTo>
                          <a:lnTo>
                            <a:pt x="564" y="112"/>
                          </a:lnTo>
                          <a:lnTo>
                            <a:pt x="564" y="110"/>
                          </a:lnTo>
                          <a:lnTo>
                            <a:pt x="566" y="110"/>
                          </a:lnTo>
                          <a:lnTo>
                            <a:pt x="566" y="108"/>
                          </a:lnTo>
                          <a:lnTo>
                            <a:pt x="566" y="104"/>
                          </a:lnTo>
                          <a:lnTo>
                            <a:pt x="564" y="102"/>
                          </a:lnTo>
                          <a:lnTo>
                            <a:pt x="560" y="100"/>
                          </a:lnTo>
                          <a:lnTo>
                            <a:pt x="560" y="98"/>
                          </a:lnTo>
                          <a:lnTo>
                            <a:pt x="558" y="98"/>
                          </a:lnTo>
                          <a:lnTo>
                            <a:pt x="556" y="98"/>
                          </a:lnTo>
                          <a:lnTo>
                            <a:pt x="554" y="96"/>
                          </a:lnTo>
                          <a:lnTo>
                            <a:pt x="552" y="96"/>
                          </a:lnTo>
                          <a:lnTo>
                            <a:pt x="546" y="96"/>
                          </a:lnTo>
                          <a:lnTo>
                            <a:pt x="546" y="94"/>
                          </a:lnTo>
                          <a:lnTo>
                            <a:pt x="544" y="94"/>
                          </a:lnTo>
                          <a:lnTo>
                            <a:pt x="542" y="94"/>
                          </a:lnTo>
                          <a:lnTo>
                            <a:pt x="540" y="92"/>
                          </a:lnTo>
                          <a:lnTo>
                            <a:pt x="538" y="90"/>
                          </a:lnTo>
                          <a:lnTo>
                            <a:pt x="540" y="90"/>
                          </a:lnTo>
                          <a:lnTo>
                            <a:pt x="540" y="88"/>
                          </a:lnTo>
                          <a:lnTo>
                            <a:pt x="542" y="88"/>
                          </a:lnTo>
                          <a:lnTo>
                            <a:pt x="546" y="88"/>
                          </a:lnTo>
                          <a:lnTo>
                            <a:pt x="548" y="88"/>
                          </a:lnTo>
                          <a:lnTo>
                            <a:pt x="552" y="88"/>
                          </a:lnTo>
                          <a:lnTo>
                            <a:pt x="556" y="88"/>
                          </a:lnTo>
                          <a:lnTo>
                            <a:pt x="558" y="86"/>
                          </a:lnTo>
                          <a:lnTo>
                            <a:pt x="570" y="86"/>
                          </a:lnTo>
                          <a:lnTo>
                            <a:pt x="572" y="88"/>
                          </a:lnTo>
                          <a:lnTo>
                            <a:pt x="580" y="88"/>
                          </a:lnTo>
                          <a:lnTo>
                            <a:pt x="584" y="86"/>
                          </a:lnTo>
                          <a:lnTo>
                            <a:pt x="586" y="86"/>
                          </a:lnTo>
                          <a:lnTo>
                            <a:pt x="588" y="84"/>
                          </a:lnTo>
                          <a:lnTo>
                            <a:pt x="588" y="82"/>
                          </a:lnTo>
                          <a:lnTo>
                            <a:pt x="588" y="80"/>
                          </a:lnTo>
                          <a:lnTo>
                            <a:pt x="584" y="80"/>
                          </a:lnTo>
                          <a:lnTo>
                            <a:pt x="582" y="80"/>
                          </a:lnTo>
                          <a:lnTo>
                            <a:pt x="564" y="80"/>
                          </a:lnTo>
                          <a:lnTo>
                            <a:pt x="564" y="76"/>
                          </a:lnTo>
                          <a:lnTo>
                            <a:pt x="572" y="76"/>
                          </a:lnTo>
                          <a:lnTo>
                            <a:pt x="572" y="74"/>
                          </a:lnTo>
                          <a:lnTo>
                            <a:pt x="570" y="74"/>
                          </a:lnTo>
                          <a:lnTo>
                            <a:pt x="570" y="72"/>
                          </a:lnTo>
                          <a:lnTo>
                            <a:pt x="568" y="72"/>
                          </a:lnTo>
                          <a:lnTo>
                            <a:pt x="568" y="70"/>
                          </a:lnTo>
                          <a:lnTo>
                            <a:pt x="562" y="70"/>
                          </a:lnTo>
                          <a:lnTo>
                            <a:pt x="560" y="72"/>
                          </a:lnTo>
                          <a:lnTo>
                            <a:pt x="560" y="78"/>
                          </a:lnTo>
                          <a:lnTo>
                            <a:pt x="556" y="78"/>
                          </a:lnTo>
                          <a:lnTo>
                            <a:pt x="556" y="76"/>
                          </a:lnTo>
                          <a:lnTo>
                            <a:pt x="554" y="76"/>
                          </a:lnTo>
                          <a:lnTo>
                            <a:pt x="552" y="76"/>
                          </a:lnTo>
                          <a:lnTo>
                            <a:pt x="550" y="74"/>
                          </a:lnTo>
                          <a:lnTo>
                            <a:pt x="550" y="72"/>
                          </a:lnTo>
                          <a:lnTo>
                            <a:pt x="552" y="72"/>
                          </a:lnTo>
                          <a:lnTo>
                            <a:pt x="552" y="70"/>
                          </a:lnTo>
                          <a:lnTo>
                            <a:pt x="556" y="70"/>
                          </a:lnTo>
                          <a:lnTo>
                            <a:pt x="558" y="68"/>
                          </a:lnTo>
                          <a:lnTo>
                            <a:pt x="560" y="68"/>
                          </a:lnTo>
                          <a:lnTo>
                            <a:pt x="562" y="66"/>
                          </a:lnTo>
                          <a:lnTo>
                            <a:pt x="564" y="64"/>
                          </a:lnTo>
                          <a:lnTo>
                            <a:pt x="566" y="60"/>
                          </a:lnTo>
                          <a:lnTo>
                            <a:pt x="568" y="58"/>
                          </a:lnTo>
                          <a:lnTo>
                            <a:pt x="572" y="58"/>
                          </a:lnTo>
                          <a:lnTo>
                            <a:pt x="576" y="60"/>
                          </a:lnTo>
                          <a:lnTo>
                            <a:pt x="576" y="58"/>
                          </a:lnTo>
                          <a:lnTo>
                            <a:pt x="578" y="58"/>
                          </a:lnTo>
                          <a:lnTo>
                            <a:pt x="580" y="58"/>
                          </a:lnTo>
                          <a:lnTo>
                            <a:pt x="582" y="56"/>
                          </a:lnTo>
                          <a:lnTo>
                            <a:pt x="584" y="56"/>
                          </a:lnTo>
                          <a:lnTo>
                            <a:pt x="584" y="54"/>
                          </a:lnTo>
                          <a:lnTo>
                            <a:pt x="586" y="54"/>
                          </a:lnTo>
                          <a:lnTo>
                            <a:pt x="584" y="52"/>
                          </a:lnTo>
                          <a:lnTo>
                            <a:pt x="582" y="52"/>
                          </a:lnTo>
                          <a:lnTo>
                            <a:pt x="582" y="50"/>
                          </a:lnTo>
                          <a:lnTo>
                            <a:pt x="584" y="50"/>
                          </a:lnTo>
                          <a:lnTo>
                            <a:pt x="584" y="48"/>
                          </a:lnTo>
                          <a:lnTo>
                            <a:pt x="586" y="48"/>
                          </a:lnTo>
                          <a:lnTo>
                            <a:pt x="588" y="48"/>
                          </a:lnTo>
                          <a:lnTo>
                            <a:pt x="590" y="46"/>
                          </a:lnTo>
                          <a:lnTo>
                            <a:pt x="592" y="46"/>
                          </a:lnTo>
                          <a:lnTo>
                            <a:pt x="594" y="46"/>
                          </a:lnTo>
                          <a:lnTo>
                            <a:pt x="596" y="46"/>
                          </a:lnTo>
                          <a:lnTo>
                            <a:pt x="598" y="48"/>
                          </a:lnTo>
                          <a:lnTo>
                            <a:pt x="602" y="48"/>
                          </a:lnTo>
                          <a:lnTo>
                            <a:pt x="602" y="46"/>
                          </a:lnTo>
                          <a:lnTo>
                            <a:pt x="604" y="46"/>
                          </a:lnTo>
                          <a:lnTo>
                            <a:pt x="606" y="44"/>
                          </a:lnTo>
                          <a:lnTo>
                            <a:pt x="608" y="44"/>
                          </a:lnTo>
                          <a:lnTo>
                            <a:pt x="608" y="42"/>
                          </a:lnTo>
                          <a:lnTo>
                            <a:pt x="606" y="42"/>
                          </a:lnTo>
                          <a:lnTo>
                            <a:pt x="596" y="42"/>
                          </a:lnTo>
                          <a:lnTo>
                            <a:pt x="592" y="42"/>
                          </a:lnTo>
                          <a:lnTo>
                            <a:pt x="590" y="44"/>
                          </a:lnTo>
                          <a:lnTo>
                            <a:pt x="586" y="44"/>
                          </a:lnTo>
                          <a:lnTo>
                            <a:pt x="584" y="44"/>
                          </a:lnTo>
                          <a:lnTo>
                            <a:pt x="580" y="46"/>
                          </a:lnTo>
                          <a:lnTo>
                            <a:pt x="576" y="46"/>
                          </a:lnTo>
                          <a:lnTo>
                            <a:pt x="576" y="44"/>
                          </a:lnTo>
                          <a:lnTo>
                            <a:pt x="578" y="42"/>
                          </a:lnTo>
                          <a:lnTo>
                            <a:pt x="580" y="42"/>
                          </a:lnTo>
                          <a:lnTo>
                            <a:pt x="582" y="40"/>
                          </a:lnTo>
                          <a:lnTo>
                            <a:pt x="584" y="40"/>
                          </a:lnTo>
                          <a:lnTo>
                            <a:pt x="616" y="40"/>
                          </a:lnTo>
                          <a:lnTo>
                            <a:pt x="620" y="38"/>
                          </a:lnTo>
                          <a:lnTo>
                            <a:pt x="622" y="38"/>
                          </a:lnTo>
                          <a:lnTo>
                            <a:pt x="624" y="36"/>
                          </a:lnTo>
                          <a:lnTo>
                            <a:pt x="622" y="36"/>
                          </a:lnTo>
                          <a:lnTo>
                            <a:pt x="620" y="36"/>
                          </a:lnTo>
                          <a:lnTo>
                            <a:pt x="618" y="36"/>
                          </a:lnTo>
                          <a:lnTo>
                            <a:pt x="616" y="34"/>
                          </a:lnTo>
                          <a:lnTo>
                            <a:pt x="608" y="34"/>
                          </a:lnTo>
                          <a:lnTo>
                            <a:pt x="606" y="36"/>
                          </a:lnTo>
                          <a:lnTo>
                            <a:pt x="592" y="36"/>
                          </a:lnTo>
                          <a:lnTo>
                            <a:pt x="582" y="36"/>
                          </a:lnTo>
                          <a:lnTo>
                            <a:pt x="584" y="34"/>
                          </a:lnTo>
                          <a:lnTo>
                            <a:pt x="590" y="34"/>
                          </a:lnTo>
                          <a:lnTo>
                            <a:pt x="594" y="34"/>
                          </a:lnTo>
                          <a:lnTo>
                            <a:pt x="624" y="34"/>
                          </a:lnTo>
                          <a:lnTo>
                            <a:pt x="628" y="34"/>
                          </a:lnTo>
                          <a:lnTo>
                            <a:pt x="634" y="34"/>
                          </a:lnTo>
                          <a:lnTo>
                            <a:pt x="638" y="32"/>
                          </a:lnTo>
                          <a:lnTo>
                            <a:pt x="640" y="30"/>
                          </a:lnTo>
                          <a:lnTo>
                            <a:pt x="642" y="30"/>
                          </a:lnTo>
                          <a:lnTo>
                            <a:pt x="642" y="28"/>
                          </a:lnTo>
                          <a:lnTo>
                            <a:pt x="658" y="28"/>
                          </a:lnTo>
                          <a:lnTo>
                            <a:pt x="662" y="28"/>
                          </a:lnTo>
                          <a:lnTo>
                            <a:pt x="666" y="26"/>
                          </a:lnTo>
                          <a:lnTo>
                            <a:pt x="668" y="26"/>
                          </a:lnTo>
                          <a:lnTo>
                            <a:pt x="670" y="26"/>
                          </a:lnTo>
                          <a:lnTo>
                            <a:pt x="670" y="24"/>
                          </a:lnTo>
                          <a:lnTo>
                            <a:pt x="672" y="24"/>
                          </a:lnTo>
                          <a:lnTo>
                            <a:pt x="670" y="24"/>
                          </a:lnTo>
                          <a:close/>
                          <a:moveTo>
                            <a:pt x="162" y="350"/>
                          </a:moveTo>
                          <a:lnTo>
                            <a:pt x="160" y="350"/>
                          </a:lnTo>
                          <a:lnTo>
                            <a:pt x="162" y="348"/>
                          </a:lnTo>
                          <a:lnTo>
                            <a:pt x="162" y="350"/>
                          </a:lnTo>
                          <a:close/>
                          <a:moveTo>
                            <a:pt x="518" y="26"/>
                          </a:moveTo>
                          <a:lnTo>
                            <a:pt x="518" y="26"/>
                          </a:lnTo>
                          <a:close/>
                          <a:moveTo>
                            <a:pt x="126" y="190"/>
                          </a:moveTo>
                          <a:lnTo>
                            <a:pt x="122" y="188"/>
                          </a:lnTo>
                          <a:lnTo>
                            <a:pt x="120" y="188"/>
                          </a:lnTo>
                          <a:lnTo>
                            <a:pt x="118" y="188"/>
                          </a:lnTo>
                          <a:lnTo>
                            <a:pt x="112" y="188"/>
                          </a:lnTo>
                          <a:lnTo>
                            <a:pt x="110" y="188"/>
                          </a:lnTo>
                          <a:lnTo>
                            <a:pt x="110" y="192"/>
                          </a:lnTo>
                          <a:lnTo>
                            <a:pt x="108" y="192"/>
                          </a:lnTo>
                          <a:lnTo>
                            <a:pt x="108" y="194"/>
                          </a:lnTo>
                          <a:lnTo>
                            <a:pt x="106" y="194"/>
                          </a:lnTo>
                          <a:lnTo>
                            <a:pt x="106" y="196"/>
                          </a:lnTo>
                          <a:lnTo>
                            <a:pt x="106" y="198"/>
                          </a:lnTo>
                          <a:lnTo>
                            <a:pt x="106" y="200"/>
                          </a:lnTo>
                          <a:lnTo>
                            <a:pt x="108" y="200"/>
                          </a:lnTo>
                          <a:lnTo>
                            <a:pt x="110" y="202"/>
                          </a:lnTo>
                          <a:lnTo>
                            <a:pt x="108" y="204"/>
                          </a:lnTo>
                          <a:lnTo>
                            <a:pt x="118" y="202"/>
                          </a:lnTo>
                          <a:lnTo>
                            <a:pt x="120" y="202"/>
                          </a:lnTo>
                          <a:lnTo>
                            <a:pt x="122" y="202"/>
                          </a:lnTo>
                          <a:lnTo>
                            <a:pt x="124" y="202"/>
                          </a:lnTo>
                          <a:lnTo>
                            <a:pt x="128" y="202"/>
                          </a:lnTo>
                          <a:lnTo>
                            <a:pt x="132" y="202"/>
                          </a:lnTo>
                          <a:lnTo>
                            <a:pt x="134" y="200"/>
                          </a:lnTo>
                          <a:lnTo>
                            <a:pt x="136" y="198"/>
                          </a:lnTo>
                          <a:lnTo>
                            <a:pt x="136" y="196"/>
                          </a:lnTo>
                          <a:lnTo>
                            <a:pt x="136" y="194"/>
                          </a:lnTo>
                          <a:lnTo>
                            <a:pt x="134" y="194"/>
                          </a:lnTo>
                          <a:lnTo>
                            <a:pt x="134" y="192"/>
                          </a:lnTo>
                          <a:lnTo>
                            <a:pt x="132" y="192"/>
                          </a:lnTo>
                          <a:lnTo>
                            <a:pt x="128" y="192"/>
                          </a:lnTo>
                          <a:lnTo>
                            <a:pt x="128" y="190"/>
                          </a:lnTo>
                          <a:lnTo>
                            <a:pt x="126" y="19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2" name="Freeform 117">
                      <a:extLst>
                        <a:ext uri="{FF2B5EF4-FFF2-40B4-BE49-F238E27FC236}">
                          <a16:creationId xmlns:a16="http://schemas.microsoft.com/office/drawing/2014/main" id="{5CD0D533-FB1F-4112-BF4F-DEFA1946DFDD}"/>
                        </a:ext>
                      </a:extLst>
                    </p:cNvPr>
                    <p:cNvSpPr>
                      <a:spLocks noChangeAspect="1" noEditPoints="1"/>
                    </p:cNvSpPr>
                    <p:nvPr/>
                  </p:nvSpPr>
                  <p:spPr bwMode="auto">
                    <a:xfrm>
                      <a:off x="4705387" y="1705912"/>
                      <a:ext cx="279541" cy="90686"/>
                    </a:xfrm>
                    <a:custGeom>
                      <a:avLst/>
                      <a:gdLst/>
                      <a:ahLst/>
                      <a:cxnLst>
                        <a:cxn ang="0">
                          <a:pos x="168" y="2"/>
                        </a:cxn>
                        <a:cxn ang="0">
                          <a:pos x="156" y="2"/>
                        </a:cxn>
                        <a:cxn ang="0">
                          <a:pos x="136" y="2"/>
                        </a:cxn>
                        <a:cxn ang="0">
                          <a:pos x="128" y="0"/>
                        </a:cxn>
                        <a:cxn ang="0">
                          <a:pos x="116" y="4"/>
                        </a:cxn>
                        <a:cxn ang="0">
                          <a:pos x="108" y="2"/>
                        </a:cxn>
                        <a:cxn ang="0">
                          <a:pos x="96" y="0"/>
                        </a:cxn>
                        <a:cxn ang="0">
                          <a:pos x="80" y="4"/>
                        </a:cxn>
                        <a:cxn ang="0">
                          <a:pos x="76" y="2"/>
                        </a:cxn>
                        <a:cxn ang="0">
                          <a:pos x="76" y="6"/>
                        </a:cxn>
                        <a:cxn ang="0">
                          <a:pos x="98" y="14"/>
                        </a:cxn>
                        <a:cxn ang="0">
                          <a:pos x="114" y="14"/>
                        </a:cxn>
                        <a:cxn ang="0">
                          <a:pos x="122" y="14"/>
                        </a:cxn>
                        <a:cxn ang="0">
                          <a:pos x="136" y="20"/>
                        </a:cxn>
                        <a:cxn ang="0">
                          <a:pos x="142" y="16"/>
                        </a:cxn>
                        <a:cxn ang="0">
                          <a:pos x="164" y="10"/>
                        </a:cxn>
                        <a:cxn ang="0">
                          <a:pos x="168" y="2"/>
                        </a:cxn>
                        <a:cxn ang="0">
                          <a:pos x="134" y="30"/>
                        </a:cxn>
                        <a:cxn ang="0">
                          <a:pos x="120" y="24"/>
                        </a:cxn>
                        <a:cxn ang="0">
                          <a:pos x="96" y="20"/>
                        </a:cxn>
                        <a:cxn ang="0">
                          <a:pos x="86" y="16"/>
                        </a:cxn>
                        <a:cxn ang="0">
                          <a:pos x="78" y="10"/>
                        </a:cxn>
                        <a:cxn ang="0">
                          <a:pos x="72" y="8"/>
                        </a:cxn>
                        <a:cxn ang="0">
                          <a:pos x="52" y="6"/>
                        </a:cxn>
                        <a:cxn ang="0">
                          <a:pos x="52" y="14"/>
                        </a:cxn>
                        <a:cxn ang="0">
                          <a:pos x="40" y="8"/>
                        </a:cxn>
                        <a:cxn ang="0">
                          <a:pos x="34" y="12"/>
                        </a:cxn>
                        <a:cxn ang="0">
                          <a:pos x="24" y="12"/>
                        </a:cxn>
                        <a:cxn ang="0">
                          <a:pos x="26" y="8"/>
                        </a:cxn>
                        <a:cxn ang="0">
                          <a:pos x="14" y="8"/>
                        </a:cxn>
                        <a:cxn ang="0">
                          <a:pos x="10" y="6"/>
                        </a:cxn>
                        <a:cxn ang="0">
                          <a:pos x="0" y="10"/>
                        </a:cxn>
                        <a:cxn ang="0">
                          <a:pos x="0" y="16"/>
                        </a:cxn>
                        <a:cxn ang="0">
                          <a:pos x="10" y="20"/>
                        </a:cxn>
                        <a:cxn ang="0">
                          <a:pos x="6" y="22"/>
                        </a:cxn>
                        <a:cxn ang="0">
                          <a:pos x="14" y="26"/>
                        </a:cxn>
                        <a:cxn ang="0">
                          <a:pos x="24" y="32"/>
                        </a:cxn>
                        <a:cxn ang="0">
                          <a:pos x="32" y="28"/>
                        </a:cxn>
                        <a:cxn ang="0">
                          <a:pos x="40" y="24"/>
                        </a:cxn>
                        <a:cxn ang="0">
                          <a:pos x="50" y="28"/>
                        </a:cxn>
                        <a:cxn ang="0">
                          <a:pos x="44" y="30"/>
                        </a:cxn>
                        <a:cxn ang="0">
                          <a:pos x="32" y="34"/>
                        </a:cxn>
                        <a:cxn ang="0">
                          <a:pos x="46" y="38"/>
                        </a:cxn>
                        <a:cxn ang="0">
                          <a:pos x="36" y="42"/>
                        </a:cxn>
                        <a:cxn ang="0">
                          <a:pos x="40" y="44"/>
                        </a:cxn>
                        <a:cxn ang="0">
                          <a:pos x="48" y="48"/>
                        </a:cxn>
                        <a:cxn ang="0">
                          <a:pos x="62" y="52"/>
                        </a:cxn>
                        <a:cxn ang="0">
                          <a:pos x="70" y="48"/>
                        </a:cxn>
                        <a:cxn ang="0">
                          <a:pos x="68" y="40"/>
                        </a:cxn>
                        <a:cxn ang="0">
                          <a:pos x="80" y="34"/>
                        </a:cxn>
                        <a:cxn ang="0">
                          <a:pos x="88" y="26"/>
                        </a:cxn>
                        <a:cxn ang="0">
                          <a:pos x="92" y="26"/>
                        </a:cxn>
                        <a:cxn ang="0">
                          <a:pos x="98" y="24"/>
                        </a:cxn>
                        <a:cxn ang="0">
                          <a:pos x="102" y="26"/>
                        </a:cxn>
                        <a:cxn ang="0">
                          <a:pos x="110" y="32"/>
                        </a:cxn>
                        <a:cxn ang="0">
                          <a:pos x="108" y="42"/>
                        </a:cxn>
                        <a:cxn ang="0">
                          <a:pos x="122" y="42"/>
                        </a:cxn>
                        <a:cxn ang="0">
                          <a:pos x="128" y="46"/>
                        </a:cxn>
                        <a:cxn ang="0">
                          <a:pos x="134" y="42"/>
                        </a:cxn>
                        <a:cxn ang="0">
                          <a:pos x="146" y="38"/>
                        </a:cxn>
                      </a:cxnLst>
                      <a:rect l="0" t="0" r="r" b="b"/>
                      <a:pathLst>
                        <a:path w="170" h="52">
                          <a:moveTo>
                            <a:pt x="80" y="0"/>
                          </a:moveTo>
                          <a:lnTo>
                            <a:pt x="80" y="0"/>
                          </a:lnTo>
                          <a:lnTo>
                            <a:pt x="82" y="0"/>
                          </a:lnTo>
                          <a:lnTo>
                            <a:pt x="80" y="0"/>
                          </a:lnTo>
                          <a:close/>
                          <a:moveTo>
                            <a:pt x="168" y="2"/>
                          </a:moveTo>
                          <a:lnTo>
                            <a:pt x="166" y="2"/>
                          </a:lnTo>
                          <a:lnTo>
                            <a:pt x="160" y="4"/>
                          </a:lnTo>
                          <a:lnTo>
                            <a:pt x="156" y="4"/>
                          </a:lnTo>
                          <a:lnTo>
                            <a:pt x="156" y="2"/>
                          </a:lnTo>
                          <a:lnTo>
                            <a:pt x="154" y="2"/>
                          </a:lnTo>
                          <a:lnTo>
                            <a:pt x="152" y="0"/>
                          </a:lnTo>
                          <a:lnTo>
                            <a:pt x="142" y="0"/>
                          </a:lnTo>
                          <a:lnTo>
                            <a:pt x="140" y="2"/>
                          </a:lnTo>
                          <a:lnTo>
                            <a:pt x="136" y="2"/>
                          </a:lnTo>
                          <a:lnTo>
                            <a:pt x="134" y="4"/>
                          </a:lnTo>
                          <a:lnTo>
                            <a:pt x="130" y="4"/>
                          </a:lnTo>
                          <a:lnTo>
                            <a:pt x="130" y="2"/>
                          </a:lnTo>
                          <a:lnTo>
                            <a:pt x="128" y="2"/>
                          </a:lnTo>
                          <a:lnTo>
                            <a:pt x="128" y="0"/>
                          </a:lnTo>
                          <a:lnTo>
                            <a:pt x="126" y="0"/>
                          </a:lnTo>
                          <a:lnTo>
                            <a:pt x="120" y="0"/>
                          </a:lnTo>
                          <a:lnTo>
                            <a:pt x="118" y="0"/>
                          </a:lnTo>
                          <a:lnTo>
                            <a:pt x="118" y="2"/>
                          </a:lnTo>
                          <a:lnTo>
                            <a:pt x="116" y="4"/>
                          </a:lnTo>
                          <a:lnTo>
                            <a:pt x="116" y="6"/>
                          </a:lnTo>
                          <a:lnTo>
                            <a:pt x="112" y="4"/>
                          </a:lnTo>
                          <a:lnTo>
                            <a:pt x="110" y="4"/>
                          </a:lnTo>
                          <a:lnTo>
                            <a:pt x="108" y="2"/>
                          </a:lnTo>
                          <a:lnTo>
                            <a:pt x="106" y="2"/>
                          </a:lnTo>
                          <a:lnTo>
                            <a:pt x="104" y="0"/>
                          </a:lnTo>
                          <a:lnTo>
                            <a:pt x="102" y="0"/>
                          </a:lnTo>
                          <a:lnTo>
                            <a:pt x="96" y="0"/>
                          </a:lnTo>
                          <a:lnTo>
                            <a:pt x="92" y="2"/>
                          </a:lnTo>
                          <a:lnTo>
                            <a:pt x="90" y="2"/>
                          </a:lnTo>
                          <a:lnTo>
                            <a:pt x="84" y="4"/>
                          </a:lnTo>
                          <a:lnTo>
                            <a:pt x="80" y="4"/>
                          </a:lnTo>
                          <a:lnTo>
                            <a:pt x="80" y="0"/>
                          </a:lnTo>
                          <a:lnTo>
                            <a:pt x="78" y="0"/>
                          </a:lnTo>
                          <a:lnTo>
                            <a:pt x="76" y="2"/>
                          </a:lnTo>
                          <a:lnTo>
                            <a:pt x="74" y="2"/>
                          </a:lnTo>
                          <a:lnTo>
                            <a:pt x="74" y="4"/>
                          </a:lnTo>
                          <a:lnTo>
                            <a:pt x="76" y="6"/>
                          </a:lnTo>
                          <a:lnTo>
                            <a:pt x="76" y="8"/>
                          </a:lnTo>
                          <a:lnTo>
                            <a:pt x="78" y="8"/>
                          </a:lnTo>
                          <a:lnTo>
                            <a:pt x="86" y="12"/>
                          </a:lnTo>
                          <a:lnTo>
                            <a:pt x="96" y="12"/>
                          </a:lnTo>
                          <a:lnTo>
                            <a:pt x="98" y="14"/>
                          </a:lnTo>
                          <a:lnTo>
                            <a:pt x="100" y="14"/>
                          </a:lnTo>
                          <a:lnTo>
                            <a:pt x="102" y="14"/>
                          </a:lnTo>
                          <a:lnTo>
                            <a:pt x="104" y="16"/>
                          </a:lnTo>
                          <a:lnTo>
                            <a:pt x="112" y="16"/>
                          </a:lnTo>
                          <a:lnTo>
                            <a:pt x="114" y="14"/>
                          </a:lnTo>
                          <a:lnTo>
                            <a:pt x="118" y="14"/>
                          </a:lnTo>
                          <a:lnTo>
                            <a:pt x="120" y="14"/>
                          </a:lnTo>
                          <a:lnTo>
                            <a:pt x="122" y="14"/>
                          </a:lnTo>
                          <a:lnTo>
                            <a:pt x="126" y="16"/>
                          </a:lnTo>
                          <a:lnTo>
                            <a:pt x="130" y="18"/>
                          </a:lnTo>
                          <a:lnTo>
                            <a:pt x="132" y="18"/>
                          </a:lnTo>
                          <a:lnTo>
                            <a:pt x="136" y="20"/>
                          </a:lnTo>
                          <a:lnTo>
                            <a:pt x="138" y="20"/>
                          </a:lnTo>
                          <a:lnTo>
                            <a:pt x="140" y="18"/>
                          </a:lnTo>
                          <a:lnTo>
                            <a:pt x="142" y="18"/>
                          </a:lnTo>
                          <a:lnTo>
                            <a:pt x="142" y="16"/>
                          </a:lnTo>
                          <a:lnTo>
                            <a:pt x="158" y="16"/>
                          </a:lnTo>
                          <a:lnTo>
                            <a:pt x="158" y="12"/>
                          </a:lnTo>
                          <a:lnTo>
                            <a:pt x="158" y="10"/>
                          </a:lnTo>
                          <a:lnTo>
                            <a:pt x="164" y="10"/>
                          </a:lnTo>
                          <a:lnTo>
                            <a:pt x="166" y="10"/>
                          </a:lnTo>
                          <a:lnTo>
                            <a:pt x="168" y="8"/>
                          </a:lnTo>
                          <a:lnTo>
                            <a:pt x="170" y="6"/>
                          </a:lnTo>
                          <a:lnTo>
                            <a:pt x="170" y="2"/>
                          </a:lnTo>
                          <a:lnTo>
                            <a:pt x="168" y="2"/>
                          </a:lnTo>
                          <a:close/>
                          <a:moveTo>
                            <a:pt x="144" y="34"/>
                          </a:moveTo>
                          <a:lnTo>
                            <a:pt x="134" y="34"/>
                          </a:lnTo>
                          <a:lnTo>
                            <a:pt x="134" y="30"/>
                          </a:lnTo>
                          <a:lnTo>
                            <a:pt x="132" y="28"/>
                          </a:lnTo>
                          <a:lnTo>
                            <a:pt x="128" y="28"/>
                          </a:lnTo>
                          <a:lnTo>
                            <a:pt x="126" y="28"/>
                          </a:lnTo>
                          <a:lnTo>
                            <a:pt x="120" y="28"/>
                          </a:lnTo>
                          <a:lnTo>
                            <a:pt x="120" y="24"/>
                          </a:lnTo>
                          <a:lnTo>
                            <a:pt x="114" y="24"/>
                          </a:lnTo>
                          <a:lnTo>
                            <a:pt x="114" y="22"/>
                          </a:lnTo>
                          <a:lnTo>
                            <a:pt x="114" y="20"/>
                          </a:lnTo>
                          <a:lnTo>
                            <a:pt x="96" y="20"/>
                          </a:lnTo>
                          <a:lnTo>
                            <a:pt x="96" y="18"/>
                          </a:lnTo>
                          <a:lnTo>
                            <a:pt x="94" y="18"/>
                          </a:lnTo>
                          <a:lnTo>
                            <a:pt x="86" y="18"/>
                          </a:lnTo>
                          <a:lnTo>
                            <a:pt x="86" y="16"/>
                          </a:lnTo>
                          <a:lnTo>
                            <a:pt x="84" y="16"/>
                          </a:lnTo>
                          <a:lnTo>
                            <a:pt x="84" y="14"/>
                          </a:lnTo>
                          <a:lnTo>
                            <a:pt x="82" y="12"/>
                          </a:lnTo>
                          <a:lnTo>
                            <a:pt x="80" y="12"/>
                          </a:lnTo>
                          <a:lnTo>
                            <a:pt x="78" y="10"/>
                          </a:lnTo>
                          <a:lnTo>
                            <a:pt x="72" y="10"/>
                          </a:lnTo>
                          <a:lnTo>
                            <a:pt x="72" y="12"/>
                          </a:lnTo>
                          <a:lnTo>
                            <a:pt x="72" y="10"/>
                          </a:lnTo>
                          <a:lnTo>
                            <a:pt x="72" y="8"/>
                          </a:lnTo>
                          <a:lnTo>
                            <a:pt x="72" y="6"/>
                          </a:lnTo>
                          <a:lnTo>
                            <a:pt x="68" y="6"/>
                          </a:lnTo>
                          <a:lnTo>
                            <a:pt x="66" y="6"/>
                          </a:lnTo>
                          <a:lnTo>
                            <a:pt x="54" y="6"/>
                          </a:lnTo>
                          <a:lnTo>
                            <a:pt x="52" y="6"/>
                          </a:lnTo>
                          <a:lnTo>
                            <a:pt x="50" y="8"/>
                          </a:lnTo>
                          <a:lnTo>
                            <a:pt x="50" y="10"/>
                          </a:lnTo>
                          <a:lnTo>
                            <a:pt x="52" y="12"/>
                          </a:lnTo>
                          <a:lnTo>
                            <a:pt x="54" y="14"/>
                          </a:lnTo>
                          <a:lnTo>
                            <a:pt x="52" y="14"/>
                          </a:lnTo>
                          <a:lnTo>
                            <a:pt x="48" y="12"/>
                          </a:lnTo>
                          <a:lnTo>
                            <a:pt x="46" y="10"/>
                          </a:lnTo>
                          <a:lnTo>
                            <a:pt x="44" y="8"/>
                          </a:lnTo>
                          <a:lnTo>
                            <a:pt x="42" y="8"/>
                          </a:lnTo>
                          <a:lnTo>
                            <a:pt x="40" y="8"/>
                          </a:lnTo>
                          <a:lnTo>
                            <a:pt x="38" y="8"/>
                          </a:lnTo>
                          <a:lnTo>
                            <a:pt x="36" y="10"/>
                          </a:lnTo>
                          <a:lnTo>
                            <a:pt x="34" y="12"/>
                          </a:lnTo>
                          <a:lnTo>
                            <a:pt x="34" y="14"/>
                          </a:lnTo>
                          <a:lnTo>
                            <a:pt x="30" y="14"/>
                          </a:lnTo>
                          <a:lnTo>
                            <a:pt x="26" y="12"/>
                          </a:lnTo>
                          <a:lnTo>
                            <a:pt x="24" y="12"/>
                          </a:lnTo>
                          <a:lnTo>
                            <a:pt x="24" y="10"/>
                          </a:lnTo>
                          <a:lnTo>
                            <a:pt x="24" y="8"/>
                          </a:lnTo>
                          <a:lnTo>
                            <a:pt x="26" y="8"/>
                          </a:lnTo>
                          <a:lnTo>
                            <a:pt x="28" y="6"/>
                          </a:lnTo>
                          <a:lnTo>
                            <a:pt x="22" y="6"/>
                          </a:lnTo>
                          <a:lnTo>
                            <a:pt x="22" y="8"/>
                          </a:lnTo>
                          <a:lnTo>
                            <a:pt x="16" y="8"/>
                          </a:lnTo>
                          <a:lnTo>
                            <a:pt x="14" y="8"/>
                          </a:lnTo>
                          <a:lnTo>
                            <a:pt x="14" y="10"/>
                          </a:lnTo>
                          <a:lnTo>
                            <a:pt x="12" y="10"/>
                          </a:lnTo>
                          <a:lnTo>
                            <a:pt x="10" y="8"/>
                          </a:lnTo>
                          <a:lnTo>
                            <a:pt x="10" y="6"/>
                          </a:lnTo>
                          <a:lnTo>
                            <a:pt x="8" y="6"/>
                          </a:lnTo>
                          <a:lnTo>
                            <a:pt x="8" y="8"/>
                          </a:lnTo>
                          <a:lnTo>
                            <a:pt x="6" y="8"/>
                          </a:lnTo>
                          <a:lnTo>
                            <a:pt x="2" y="10"/>
                          </a:lnTo>
                          <a:lnTo>
                            <a:pt x="0" y="10"/>
                          </a:lnTo>
                          <a:lnTo>
                            <a:pt x="0" y="12"/>
                          </a:lnTo>
                          <a:lnTo>
                            <a:pt x="0" y="14"/>
                          </a:lnTo>
                          <a:lnTo>
                            <a:pt x="0" y="16"/>
                          </a:lnTo>
                          <a:lnTo>
                            <a:pt x="2" y="16"/>
                          </a:lnTo>
                          <a:lnTo>
                            <a:pt x="6" y="18"/>
                          </a:lnTo>
                          <a:lnTo>
                            <a:pt x="10" y="18"/>
                          </a:lnTo>
                          <a:lnTo>
                            <a:pt x="10" y="20"/>
                          </a:lnTo>
                          <a:lnTo>
                            <a:pt x="8" y="20"/>
                          </a:lnTo>
                          <a:lnTo>
                            <a:pt x="6" y="22"/>
                          </a:lnTo>
                          <a:lnTo>
                            <a:pt x="4" y="22"/>
                          </a:lnTo>
                          <a:lnTo>
                            <a:pt x="6" y="22"/>
                          </a:lnTo>
                          <a:lnTo>
                            <a:pt x="8" y="24"/>
                          </a:lnTo>
                          <a:lnTo>
                            <a:pt x="10" y="24"/>
                          </a:lnTo>
                          <a:lnTo>
                            <a:pt x="12" y="26"/>
                          </a:lnTo>
                          <a:lnTo>
                            <a:pt x="14" y="26"/>
                          </a:lnTo>
                          <a:lnTo>
                            <a:pt x="16" y="26"/>
                          </a:lnTo>
                          <a:lnTo>
                            <a:pt x="16" y="28"/>
                          </a:lnTo>
                          <a:lnTo>
                            <a:pt x="18" y="28"/>
                          </a:lnTo>
                          <a:lnTo>
                            <a:pt x="22" y="30"/>
                          </a:lnTo>
                          <a:lnTo>
                            <a:pt x="24" y="32"/>
                          </a:lnTo>
                          <a:lnTo>
                            <a:pt x="26" y="32"/>
                          </a:lnTo>
                          <a:lnTo>
                            <a:pt x="28" y="30"/>
                          </a:lnTo>
                          <a:lnTo>
                            <a:pt x="30" y="30"/>
                          </a:lnTo>
                          <a:lnTo>
                            <a:pt x="30" y="28"/>
                          </a:lnTo>
                          <a:lnTo>
                            <a:pt x="32" y="28"/>
                          </a:lnTo>
                          <a:lnTo>
                            <a:pt x="32" y="26"/>
                          </a:lnTo>
                          <a:lnTo>
                            <a:pt x="34" y="24"/>
                          </a:lnTo>
                          <a:lnTo>
                            <a:pt x="36" y="24"/>
                          </a:lnTo>
                          <a:lnTo>
                            <a:pt x="40" y="24"/>
                          </a:lnTo>
                          <a:lnTo>
                            <a:pt x="44" y="24"/>
                          </a:lnTo>
                          <a:lnTo>
                            <a:pt x="46" y="24"/>
                          </a:lnTo>
                          <a:lnTo>
                            <a:pt x="48" y="26"/>
                          </a:lnTo>
                          <a:lnTo>
                            <a:pt x="50" y="26"/>
                          </a:lnTo>
                          <a:lnTo>
                            <a:pt x="50" y="28"/>
                          </a:lnTo>
                          <a:lnTo>
                            <a:pt x="52" y="28"/>
                          </a:lnTo>
                          <a:lnTo>
                            <a:pt x="48" y="28"/>
                          </a:lnTo>
                          <a:lnTo>
                            <a:pt x="48" y="30"/>
                          </a:lnTo>
                          <a:lnTo>
                            <a:pt x="46" y="30"/>
                          </a:lnTo>
                          <a:lnTo>
                            <a:pt x="44" y="30"/>
                          </a:lnTo>
                          <a:lnTo>
                            <a:pt x="38" y="32"/>
                          </a:lnTo>
                          <a:lnTo>
                            <a:pt x="36" y="32"/>
                          </a:lnTo>
                          <a:lnTo>
                            <a:pt x="34" y="34"/>
                          </a:lnTo>
                          <a:lnTo>
                            <a:pt x="32" y="34"/>
                          </a:lnTo>
                          <a:lnTo>
                            <a:pt x="32" y="36"/>
                          </a:lnTo>
                          <a:lnTo>
                            <a:pt x="42" y="36"/>
                          </a:lnTo>
                          <a:lnTo>
                            <a:pt x="44" y="38"/>
                          </a:lnTo>
                          <a:lnTo>
                            <a:pt x="48" y="38"/>
                          </a:lnTo>
                          <a:lnTo>
                            <a:pt x="46" y="38"/>
                          </a:lnTo>
                          <a:lnTo>
                            <a:pt x="44" y="40"/>
                          </a:lnTo>
                          <a:lnTo>
                            <a:pt x="42" y="40"/>
                          </a:lnTo>
                          <a:lnTo>
                            <a:pt x="40" y="40"/>
                          </a:lnTo>
                          <a:lnTo>
                            <a:pt x="38" y="42"/>
                          </a:lnTo>
                          <a:lnTo>
                            <a:pt x="36" y="42"/>
                          </a:lnTo>
                          <a:lnTo>
                            <a:pt x="34" y="42"/>
                          </a:lnTo>
                          <a:lnTo>
                            <a:pt x="34" y="44"/>
                          </a:lnTo>
                          <a:lnTo>
                            <a:pt x="36" y="44"/>
                          </a:lnTo>
                          <a:lnTo>
                            <a:pt x="38" y="44"/>
                          </a:lnTo>
                          <a:lnTo>
                            <a:pt x="40" y="44"/>
                          </a:lnTo>
                          <a:lnTo>
                            <a:pt x="44" y="46"/>
                          </a:lnTo>
                          <a:lnTo>
                            <a:pt x="46" y="46"/>
                          </a:lnTo>
                          <a:lnTo>
                            <a:pt x="48" y="48"/>
                          </a:lnTo>
                          <a:lnTo>
                            <a:pt x="50" y="48"/>
                          </a:lnTo>
                          <a:lnTo>
                            <a:pt x="52" y="50"/>
                          </a:lnTo>
                          <a:lnTo>
                            <a:pt x="56" y="50"/>
                          </a:lnTo>
                          <a:lnTo>
                            <a:pt x="58" y="50"/>
                          </a:lnTo>
                          <a:lnTo>
                            <a:pt x="62" y="52"/>
                          </a:lnTo>
                          <a:lnTo>
                            <a:pt x="66" y="50"/>
                          </a:lnTo>
                          <a:lnTo>
                            <a:pt x="68" y="50"/>
                          </a:lnTo>
                          <a:lnTo>
                            <a:pt x="70" y="50"/>
                          </a:lnTo>
                          <a:lnTo>
                            <a:pt x="70" y="48"/>
                          </a:lnTo>
                          <a:lnTo>
                            <a:pt x="70" y="46"/>
                          </a:lnTo>
                          <a:lnTo>
                            <a:pt x="70" y="44"/>
                          </a:lnTo>
                          <a:lnTo>
                            <a:pt x="68" y="42"/>
                          </a:lnTo>
                          <a:lnTo>
                            <a:pt x="68" y="40"/>
                          </a:lnTo>
                          <a:lnTo>
                            <a:pt x="70" y="40"/>
                          </a:lnTo>
                          <a:lnTo>
                            <a:pt x="72" y="40"/>
                          </a:lnTo>
                          <a:lnTo>
                            <a:pt x="78" y="40"/>
                          </a:lnTo>
                          <a:lnTo>
                            <a:pt x="78" y="34"/>
                          </a:lnTo>
                          <a:lnTo>
                            <a:pt x="80" y="34"/>
                          </a:lnTo>
                          <a:lnTo>
                            <a:pt x="82" y="32"/>
                          </a:lnTo>
                          <a:lnTo>
                            <a:pt x="86" y="32"/>
                          </a:lnTo>
                          <a:lnTo>
                            <a:pt x="86" y="30"/>
                          </a:lnTo>
                          <a:lnTo>
                            <a:pt x="88" y="28"/>
                          </a:lnTo>
                          <a:lnTo>
                            <a:pt x="88" y="26"/>
                          </a:lnTo>
                          <a:lnTo>
                            <a:pt x="88" y="24"/>
                          </a:lnTo>
                          <a:lnTo>
                            <a:pt x="90" y="26"/>
                          </a:lnTo>
                          <a:lnTo>
                            <a:pt x="92" y="26"/>
                          </a:lnTo>
                          <a:lnTo>
                            <a:pt x="94" y="28"/>
                          </a:lnTo>
                          <a:lnTo>
                            <a:pt x="96" y="26"/>
                          </a:lnTo>
                          <a:lnTo>
                            <a:pt x="96" y="24"/>
                          </a:lnTo>
                          <a:lnTo>
                            <a:pt x="98" y="24"/>
                          </a:lnTo>
                          <a:lnTo>
                            <a:pt x="100" y="24"/>
                          </a:lnTo>
                          <a:lnTo>
                            <a:pt x="100" y="26"/>
                          </a:lnTo>
                          <a:lnTo>
                            <a:pt x="102" y="26"/>
                          </a:lnTo>
                          <a:lnTo>
                            <a:pt x="102" y="28"/>
                          </a:lnTo>
                          <a:lnTo>
                            <a:pt x="104" y="28"/>
                          </a:lnTo>
                          <a:lnTo>
                            <a:pt x="106" y="30"/>
                          </a:lnTo>
                          <a:lnTo>
                            <a:pt x="110" y="30"/>
                          </a:lnTo>
                          <a:lnTo>
                            <a:pt x="110" y="32"/>
                          </a:lnTo>
                          <a:lnTo>
                            <a:pt x="112" y="32"/>
                          </a:lnTo>
                          <a:lnTo>
                            <a:pt x="112" y="38"/>
                          </a:lnTo>
                          <a:lnTo>
                            <a:pt x="110" y="40"/>
                          </a:lnTo>
                          <a:lnTo>
                            <a:pt x="108" y="42"/>
                          </a:lnTo>
                          <a:lnTo>
                            <a:pt x="114" y="42"/>
                          </a:lnTo>
                          <a:lnTo>
                            <a:pt x="116" y="42"/>
                          </a:lnTo>
                          <a:lnTo>
                            <a:pt x="120" y="42"/>
                          </a:lnTo>
                          <a:lnTo>
                            <a:pt x="122" y="42"/>
                          </a:lnTo>
                          <a:lnTo>
                            <a:pt x="122" y="44"/>
                          </a:lnTo>
                          <a:lnTo>
                            <a:pt x="124" y="44"/>
                          </a:lnTo>
                          <a:lnTo>
                            <a:pt x="126" y="44"/>
                          </a:lnTo>
                          <a:lnTo>
                            <a:pt x="128" y="46"/>
                          </a:lnTo>
                          <a:lnTo>
                            <a:pt x="128" y="44"/>
                          </a:lnTo>
                          <a:lnTo>
                            <a:pt x="130" y="44"/>
                          </a:lnTo>
                          <a:lnTo>
                            <a:pt x="134" y="42"/>
                          </a:lnTo>
                          <a:lnTo>
                            <a:pt x="138" y="42"/>
                          </a:lnTo>
                          <a:lnTo>
                            <a:pt x="142" y="40"/>
                          </a:lnTo>
                          <a:lnTo>
                            <a:pt x="144" y="38"/>
                          </a:lnTo>
                          <a:lnTo>
                            <a:pt x="146" y="38"/>
                          </a:lnTo>
                          <a:lnTo>
                            <a:pt x="148" y="36"/>
                          </a:lnTo>
                          <a:lnTo>
                            <a:pt x="148" y="34"/>
                          </a:lnTo>
                          <a:lnTo>
                            <a:pt x="146" y="34"/>
                          </a:lnTo>
                          <a:lnTo>
                            <a:pt x="144" y="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3" name="Freeform 118">
                      <a:extLst>
                        <a:ext uri="{FF2B5EF4-FFF2-40B4-BE49-F238E27FC236}">
                          <a16:creationId xmlns:a16="http://schemas.microsoft.com/office/drawing/2014/main" id="{6EB052B3-7156-4662-BFA4-72413782126B}"/>
                        </a:ext>
                      </a:extLst>
                    </p:cNvPr>
                    <p:cNvSpPr>
                      <a:spLocks noChangeAspect="1" noEditPoints="1"/>
                    </p:cNvSpPr>
                    <p:nvPr/>
                  </p:nvSpPr>
                  <p:spPr bwMode="auto">
                    <a:xfrm>
                      <a:off x="5063858" y="1772182"/>
                      <a:ext cx="3400539" cy="1103929"/>
                    </a:xfrm>
                    <a:custGeom>
                      <a:avLst/>
                      <a:gdLst/>
                      <a:ahLst/>
                      <a:cxnLst>
                        <a:cxn ang="0">
                          <a:pos x="1914" y="142"/>
                        </a:cxn>
                        <a:cxn ang="0">
                          <a:pos x="1698" y="124"/>
                        </a:cxn>
                        <a:cxn ang="0">
                          <a:pos x="1480" y="102"/>
                        </a:cxn>
                        <a:cxn ang="0">
                          <a:pos x="1388" y="78"/>
                        </a:cxn>
                        <a:cxn ang="0">
                          <a:pos x="1266" y="94"/>
                        </a:cxn>
                        <a:cxn ang="0">
                          <a:pos x="1174" y="74"/>
                        </a:cxn>
                        <a:cxn ang="0">
                          <a:pos x="1058" y="66"/>
                        </a:cxn>
                        <a:cxn ang="0">
                          <a:pos x="896" y="72"/>
                        </a:cxn>
                        <a:cxn ang="0">
                          <a:pos x="898" y="14"/>
                        </a:cxn>
                        <a:cxn ang="0">
                          <a:pos x="758" y="24"/>
                        </a:cxn>
                        <a:cxn ang="0">
                          <a:pos x="610" y="60"/>
                        </a:cxn>
                        <a:cxn ang="0">
                          <a:pos x="564" y="92"/>
                        </a:cxn>
                        <a:cxn ang="0">
                          <a:pos x="548" y="104"/>
                        </a:cxn>
                        <a:cxn ang="0">
                          <a:pos x="570" y="140"/>
                        </a:cxn>
                        <a:cxn ang="0">
                          <a:pos x="538" y="134"/>
                        </a:cxn>
                        <a:cxn ang="0">
                          <a:pos x="460" y="104"/>
                        </a:cxn>
                        <a:cxn ang="0">
                          <a:pos x="424" y="120"/>
                        </a:cxn>
                        <a:cxn ang="0">
                          <a:pos x="312" y="140"/>
                        </a:cxn>
                        <a:cxn ang="0">
                          <a:pos x="220" y="144"/>
                        </a:cxn>
                        <a:cxn ang="0">
                          <a:pos x="154" y="194"/>
                        </a:cxn>
                        <a:cxn ang="0">
                          <a:pos x="104" y="210"/>
                        </a:cxn>
                        <a:cxn ang="0">
                          <a:pos x="162" y="172"/>
                        </a:cxn>
                        <a:cxn ang="0">
                          <a:pos x="10" y="130"/>
                        </a:cxn>
                        <a:cxn ang="0">
                          <a:pos x="32" y="202"/>
                        </a:cxn>
                        <a:cxn ang="0">
                          <a:pos x="40" y="280"/>
                        </a:cxn>
                        <a:cxn ang="0">
                          <a:pos x="44" y="358"/>
                        </a:cxn>
                        <a:cxn ang="0">
                          <a:pos x="82" y="418"/>
                        </a:cxn>
                        <a:cxn ang="0">
                          <a:pos x="184" y="464"/>
                        </a:cxn>
                        <a:cxn ang="0">
                          <a:pos x="198" y="528"/>
                        </a:cxn>
                        <a:cxn ang="0">
                          <a:pos x="238" y="586"/>
                        </a:cxn>
                        <a:cxn ang="0">
                          <a:pos x="368" y="618"/>
                        </a:cxn>
                        <a:cxn ang="0">
                          <a:pos x="354" y="530"/>
                        </a:cxn>
                        <a:cxn ang="0">
                          <a:pos x="340" y="456"/>
                        </a:cxn>
                        <a:cxn ang="0">
                          <a:pos x="444" y="454"/>
                        </a:cxn>
                        <a:cxn ang="0">
                          <a:pos x="506" y="410"/>
                        </a:cxn>
                        <a:cxn ang="0">
                          <a:pos x="640" y="378"/>
                        </a:cxn>
                        <a:cxn ang="0">
                          <a:pos x="722" y="386"/>
                        </a:cxn>
                        <a:cxn ang="0">
                          <a:pos x="848" y="450"/>
                        </a:cxn>
                        <a:cxn ang="0">
                          <a:pos x="960" y="458"/>
                        </a:cxn>
                        <a:cxn ang="0">
                          <a:pos x="1056" y="446"/>
                        </a:cxn>
                        <a:cxn ang="0">
                          <a:pos x="1216" y="470"/>
                        </a:cxn>
                        <a:cxn ang="0">
                          <a:pos x="1360" y="472"/>
                        </a:cxn>
                        <a:cxn ang="0">
                          <a:pos x="1408" y="402"/>
                        </a:cxn>
                        <a:cxn ang="0">
                          <a:pos x="1532" y="480"/>
                        </a:cxn>
                        <a:cxn ang="0">
                          <a:pos x="1638" y="528"/>
                        </a:cxn>
                        <a:cxn ang="0">
                          <a:pos x="1646" y="592"/>
                        </a:cxn>
                        <a:cxn ang="0">
                          <a:pos x="1706" y="492"/>
                        </a:cxn>
                        <a:cxn ang="0">
                          <a:pos x="1656" y="404"/>
                        </a:cxn>
                        <a:cxn ang="0">
                          <a:pos x="1556" y="380"/>
                        </a:cxn>
                        <a:cxn ang="0">
                          <a:pos x="1586" y="294"/>
                        </a:cxn>
                        <a:cxn ang="0">
                          <a:pos x="1702" y="300"/>
                        </a:cxn>
                        <a:cxn ang="0">
                          <a:pos x="1732" y="256"/>
                        </a:cxn>
                        <a:cxn ang="0">
                          <a:pos x="1796" y="244"/>
                        </a:cxn>
                        <a:cxn ang="0">
                          <a:pos x="1808" y="328"/>
                        </a:cxn>
                        <a:cxn ang="0">
                          <a:pos x="1920" y="444"/>
                        </a:cxn>
                        <a:cxn ang="0">
                          <a:pos x="1908" y="358"/>
                        </a:cxn>
                        <a:cxn ang="0">
                          <a:pos x="1862" y="284"/>
                        </a:cxn>
                        <a:cxn ang="0">
                          <a:pos x="1948" y="262"/>
                        </a:cxn>
                        <a:cxn ang="0">
                          <a:pos x="1964" y="214"/>
                        </a:cxn>
                        <a:cxn ang="0">
                          <a:pos x="1938" y="180"/>
                        </a:cxn>
                        <a:cxn ang="0">
                          <a:pos x="2050" y="192"/>
                        </a:cxn>
                        <a:cxn ang="0">
                          <a:pos x="1174" y="418"/>
                        </a:cxn>
                        <a:cxn ang="0">
                          <a:pos x="1170" y="400"/>
                        </a:cxn>
                      </a:cxnLst>
                      <a:rect l="0" t="0" r="r" b="b"/>
                      <a:pathLst>
                        <a:path w="2066" h="632">
                          <a:moveTo>
                            <a:pt x="2064" y="180"/>
                          </a:moveTo>
                          <a:lnTo>
                            <a:pt x="2062" y="178"/>
                          </a:lnTo>
                          <a:lnTo>
                            <a:pt x="2060" y="176"/>
                          </a:lnTo>
                          <a:lnTo>
                            <a:pt x="2058" y="176"/>
                          </a:lnTo>
                          <a:lnTo>
                            <a:pt x="2056" y="176"/>
                          </a:lnTo>
                          <a:lnTo>
                            <a:pt x="2054" y="174"/>
                          </a:lnTo>
                          <a:lnTo>
                            <a:pt x="2052" y="174"/>
                          </a:lnTo>
                          <a:lnTo>
                            <a:pt x="2050" y="174"/>
                          </a:lnTo>
                          <a:lnTo>
                            <a:pt x="2048" y="172"/>
                          </a:lnTo>
                          <a:lnTo>
                            <a:pt x="2046" y="172"/>
                          </a:lnTo>
                          <a:lnTo>
                            <a:pt x="2044" y="172"/>
                          </a:lnTo>
                          <a:lnTo>
                            <a:pt x="2042" y="172"/>
                          </a:lnTo>
                          <a:lnTo>
                            <a:pt x="2042" y="170"/>
                          </a:lnTo>
                          <a:lnTo>
                            <a:pt x="2030" y="170"/>
                          </a:lnTo>
                          <a:lnTo>
                            <a:pt x="2028" y="170"/>
                          </a:lnTo>
                          <a:lnTo>
                            <a:pt x="2026" y="168"/>
                          </a:lnTo>
                          <a:lnTo>
                            <a:pt x="2024" y="168"/>
                          </a:lnTo>
                          <a:lnTo>
                            <a:pt x="2024" y="166"/>
                          </a:lnTo>
                          <a:lnTo>
                            <a:pt x="2002" y="166"/>
                          </a:lnTo>
                          <a:lnTo>
                            <a:pt x="1998" y="164"/>
                          </a:lnTo>
                          <a:lnTo>
                            <a:pt x="1996" y="164"/>
                          </a:lnTo>
                          <a:lnTo>
                            <a:pt x="1994" y="162"/>
                          </a:lnTo>
                          <a:lnTo>
                            <a:pt x="1992" y="162"/>
                          </a:lnTo>
                          <a:lnTo>
                            <a:pt x="1982" y="162"/>
                          </a:lnTo>
                          <a:lnTo>
                            <a:pt x="1986" y="164"/>
                          </a:lnTo>
                          <a:lnTo>
                            <a:pt x="1990" y="166"/>
                          </a:lnTo>
                          <a:lnTo>
                            <a:pt x="1994" y="168"/>
                          </a:lnTo>
                          <a:lnTo>
                            <a:pt x="1994" y="170"/>
                          </a:lnTo>
                          <a:lnTo>
                            <a:pt x="1996" y="170"/>
                          </a:lnTo>
                          <a:lnTo>
                            <a:pt x="1998" y="172"/>
                          </a:lnTo>
                          <a:lnTo>
                            <a:pt x="2000" y="172"/>
                          </a:lnTo>
                          <a:lnTo>
                            <a:pt x="2004" y="174"/>
                          </a:lnTo>
                          <a:lnTo>
                            <a:pt x="2006" y="174"/>
                          </a:lnTo>
                          <a:lnTo>
                            <a:pt x="2006" y="176"/>
                          </a:lnTo>
                          <a:lnTo>
                            <a:pt x="2004" y="176"/>
                          </a:lnTo>
                          <a:lnTo>
                            <a:pt x="2000" y="178"/>
                          </a:lnTo>
                          <a:lnTo>
                            <a:pt x="1998" y="176"/>
                          </a:lnTo>
                          <a:lnTo>
                            <a:pt x="1994" y="176"/>
                          </a:lnTo>
                          <a:lnTo>
                            <a:pt x="1992" y="176"/>
                          </a:lnTo>
                          <a:lnTo>
                            <a:pt x="1990" y="174"/>
                          </a:lnTo>
                          <a:lnTo>
                            <a:pt x="1988" y="172"/>
                          </a:lnTo>
                          <a:lnTo>
                            <a:pt x="1986" y="172"/>
                          </a:lnTo>
                          <a:lnTo>
                            <a:pt x="1986" y="170"/>
                          </a:lnTo>
                          <a:lnTo>
                            <a:pt x="1984" y="166"/>
                          </a:lnTo>
                          <a:lnTo>
                            <a:pt x="1982" y="166"/>
                          </a:lnTo>
                          <a:lnTo>
                            <a:pt x="1982" y="164"/>
                          </a:lnTo>
                          <a:lnTo>
                            <a:pt x="1980" y="164"/>
                          </a:lnTo>
                          <a:lnTo>
                            <a:pt x="1978" y="162"/>
                          </a:lnTo>
                          <a:lnTo>
                            <a:pt x="1974" y="160"/>
                          </a:lnTo>
                          <a:lnTo>
                            <a:pt x="1972" y="160"/>
                          </a:lnTo>
                          <a:lnTo>
                            <a:pt x="1968" y="158"/>
                          </a:lnTo>
                          <a:lnTo>
                            <a:pt x="1966" y="156"/>
                          </a:lnTo>
                          <a:lnTo>
                            <a:pt x="1962" y="156"/>
                          </a:lnTo>
                          <a:lnTo>
                            <a:pt x="1958" y="154"/>
                          </a:lnTo>
                          <a:lnTo>
                            <a:pt x="1954" y="152"/>
                          </a:lnTo>
                          <a:lnTo>
                            <a:pt x="1950" y="150"/>
                          </a:lnTo>
                          <a:lnTo>
                            <a:pt x="1944" y="150"/>
                          </a:lnTo>
                          <a:lnTo>
                            <a:pt x="1940" y="148"/>
                          </a:lnTo>
                          <a:lnTo>
                            <a:pt x="1934" y="148"/>
                          </a:lnTo>
                          <a:lnTo>
                            <a:pt x="1930" y="146"/>
                          </a:lnTo>
                          <a:lnTo>
                            <a:pt x="1926" y="144"/>
                          </a:lnTo>
                          <a:lnTo>
                            <a:pt x="1924" y="144"/>
                          </a:lnTo>
                          <a:lnTo>
                            <a:pt x="1920" y="144"/>
                          </a:lnTo>
                          <a:lnTo>
                            <a:pt x="1914" y="142"/>
                          </a:lnTo>
                          <a:lnTo>
                            <a:pt x="1910" y="142"/>
                          </a:lnTo>
                          <a:lnTo>
                            <a:pt x="1906" y="142"/>
                          </a:lnTo>
                          <a:lnTo>
                            <a:pt x="1894" y="140"/>
                          </a:lnTo>
                          <a:lnTo>
                            <a:pt x="1884" y="136"/>
                          </a:lnTo>
                          <a:lnTo>
                            <a:pt x="1872" y="134"/>
                          </a:lnTo>
                          <a:lnTo>
                            <a:pt x="1862" y="132"/>
                          </a:lnTo>
                          <a:lnTo>
                            <a:pt x="1858" y="130"/>
                          </a:lnTo>
                          <a:lnTo>
                            <a:pt x="1852" y="130"/>
                          </a:lnTo>
                          <a:lnTo>
                            <a:pt x="1848" y="128"/>
                          </a:lnTo>
                          <a:lnTo>
                            <a:pt x="1844" y="128"/>
                          </a:lnTo>
                          <a:lnTo>
                            <a:pt x="1828" y="126"/>
                          </a:lnTo>
                          <a:lnTo>
                            <a:pt x="1822" y="124"/>
                          </a:lnTo>
                          <a:lnTo>
                            <a:pt x="1814" y="122"/>
                          </a:lnTo>
                          <a:lnTo>
                            <a:pt x="1812" y="122"/>
                          </a:lnTo>
                          <a:lnTo>
                            <a:pt x="1810" y="122"/>
                          </a:lnTo>
                          <a:lnTo>
                            <a:pt x="1808" y="120"/>
                          </a:lnTo>
                          <a:lnTo>
                            <a:pt x="1804" y="120"/>
                          </a:lnTo>
                          <a:lnTo>
                            <a:pt x="1802" y="120"/>
                          </a:lnTo>
                          <a:lnTo>
                            <a:pt x="1760" y="120"/>
                          </a:lnTo>
                          <a:lnTo>
                            <a:pt x="1758" y="118"/>
                          </a:lnTo>
                          <a:lnTo>
                            <a:pt x="1756" y="116"/>
                          </a:lnTo>
                          <a:lnTo>
                            <a:pt x="1752" y="116"/>
                          </a:lnTo>
                          <a:lnTo>
                            <a:pt x="1748" y="116"/>
                          </a:lnTo>
                          <a:lnTo>
                            <a:pt x="1746" y="116"/>
                          </a:lnTo>
                          <a:lnTo>
                            <a:pt x="1746" y="118"/>
                          </a:lnTo>
                          <a:lnTo>
                            <a:pt x="1744" y="118"/>
                          </a:lnTo>
                          <a:lnTo>
                            <a:pt x="1742" y="116"/>
                          </a:lnTo>
                          <a:lnTo>
                            <a:pt x="1742" y="114"/>
                          </a:lnTo>
                          <a:lnTo>
                            <a:pt x="1740" y="114"/>
                          </a:lnTo>
                          <a:lnTo>
                            <a:pt x="1740" y="112"/>
                          </a:lnTo>
                          <a:lnTo>
                            <a:pt x="1728" y="112"/>
                          </a:lnTo>
                          <a:lnTo>
                            <a:pt x="1730" y="114"/>
                          </a:lnTo>
                          <a:lnTo>
                            <a:pt x="1732" y="116"/>
                          </a:lnTo>
                          <a:lnTo>
                            <a:pt x="1734" y="118"/>
                          </a:lnTo>
                          <a:lnTo>
                            <a:pt x="1732" y="120"/>
                          </a:lnTo>
                          <a:lnTo>
                            <a:pt x="1732" y="122"/>
                          </a:lnTo>
                          <a:lnTo>
                            <a:pt x="1732" y="124"/>
                          </a:lnTo>
                          <a:lnTo>
                            <a:pt x="1734" y="124"/>
                          </a:lnTo>
                          <a:lnTo>
                            <a:pt x="1736" y="126"/>
                          </a:lnTo>
                          <a:lnTo>
                            <a:pt x="1740" y="126"/>
                          </a:lnTo>
                          <a:lnTo>
                            <a:pt x="1742" y="126"/>
                          </a:lnTo>
                          <a:lnTo>
                            <a:pt x="1748" y="128"/>
                          </a:lnTo>
                          <a:lnTo>
                            <a:pt x="1750" y="128"/>
                          </a:lnTo>
                          <a:lnTo>
                            <a:pt x="1752" y="130"/>
                          </a:lnTo>
                          <a:lnTo>
                            <a:pt x="1756" y="130"/>
                          </a:lnTo>
                          <a:lnTo>
                            <a:pt x="1758" y="132"/>
                          </a:lnTo>
                          <a:lnTo>
                            <a:pt x="1758" y="134"/>
                          </a:lnTo>
                          <a:lnTo>
                            <a:pt x="1754" y="136"/>
                          </a:lnTo>
                          <a:lnTo>
                            <a:pt x="1742" y="136"/>
                          </a:lnTo>
                          <a:lnTo>
                            <a:pt x="1740" y="134"/>
                          </a:lnTo>
                          <a:lnTo>
                            <a:pt x="1738" y="132"/>
                          </a:lnTo>
                          <a:lnTo>
                            <a:pt x="1736" y="130"/>
                          </a:lnTo>
                          <a:lnTo>
                            <a:pt x="1734" y="130"/>
                          </a:lnTo>
                          <a:lnTo>
                            <a:pt x="1734" y="128"/>
                          </a:lnTo>
                          <a:lnTo>
                            <a:pt x="1718" y="128"/>
                          </a:lnTo>
                          <a:lnTo>
                            <a:pt x="1716" y="126"/>
                          </a:lnTo>
                          <a:lnTo>
                            <a:pt x="1712" y="126"/>
                          </a:lnTo>
                          <a:lnTo>
                            <a:pt x="1710" y="124"/>
                          </a:lnTo>
                          <a:lnTo>
                            <a:pt x="1708" y="124"/>
                          </a:lnTo>
                          <a:lnTo>
                            <a:pt x="1706" y="122"/>
                          </a:lnTo>
                          <a:lnTo>
                            <a:pt x="1698" y="122"/>
                          </a:lnTo>
                          <a:lnTo>
                            <a:pt x="1698" y="124"/>
                          </a:lnTo>
                          <a:lnTo>
                            <a:pt x="1684" y="124"/>
                          </a:lnTo>
                          <a:lnTo>
                            <a:pt x="1684" y="122"/>
                          </a:lnTo>
                          <a:lnTo>
                            <a:pt x="1660" y="122"/>
                          </a:lnTo>
                          <a:lnTo>
                            <a:pt x="1658" y="120"/>
                          </a:lnTo>
                          <a:lnTo>
                            <a:pt x="1656" y="118"/>
                          </a:lnTo>
                          <a:lnTo>
                            <a:pt x="1654" y="120"/>
                          </a:lnTo>
                          <a:lnTo>
                            <a:pt x="1630" y="120"/>
                          </a:lnTo>
                          <a:lnTo>
                            <a:pt x="1628" y="120"/>
                          </a:lnTo>
                          <a:lnTo>
                            <a:pt x="1626" y="122"/>
                          </a:lnTo>
                          <a:lnTo>
                            <a:pt x="1628" y="124"/>
                          </a:lnTo>
                          <a:lnTo>
                            <a:pt x="1630" y="124"/>
                          </a:lnTo>
                          <a:lnTo>
                            <a:pt x="1634" y="128"/>
                          </a:lnTo>
                          <a:lnTo>
                            <a:pt x="1636" y="130"/>
                          </a:lnTo>
                          <a:lnTo>
                            <a:pt x="1636" y="132"/>
                          </a:lnTo>
                          <a:lnTo>
                            <a:pt x="1634" y="130"/>
                          </a:lnTo>
                          <a:lnTo>
                            <a:pt x="1632" y="128"/>
                          </a:lnTo>
                          <a:lnTo>
                            <a:pt x="1630" y="128"/>
                          </a:lnTo>
                          <a:lnTo>
                            <a:pt x="1628" y="126"/>
                          </a:lnTo>
                          <a:lnTo>
                            <a:pt x="1626" y="126"/>
                          </a:lnTo>
                          <a:lnTo>
                            <a:pt x="1624" y="124"/>
                          </a:lnTo>
                          <a:lnTo>
                            <a:pt x="1622" y="124"/>
                          </a:lnTo>
                          <a:lnTo>
                            <a:pt x="1620" y="122"/>
                          </a:lnTo>
                          <a:lnTo>
                            <a:pt x="1618" y="122"/>
                          </a:lnTo>
                          <a:lnTo>
                            <a:pt x="1616" y="122"/>
                          </a:lnTo>
                          <a:lnTo>
                            <a:pt x="1610" y="122"/>
                          </a:lnTo>
                          <a:lnTo>
                            <a:pt x="1606" y="120"/>
                          </a:lnTo>
                          <a:lnTo>
                            <a:pt x="1602" y="120"/>
                          </a:lnTo>
                          <a:lnTo>
                            <a:pt x="1600" y="120"/>
                          </a:lnTo>
                          <a:lnTo>
                            <a:pt x="1598" y="120"/>
                          </a:lnTo>
                          <a:lnTo>
                            <a:pt x="1598" y="118"/>
                          </a:lnTo>
                          <a:lnTo>
                            <a:pt x="1596" y="116"/>
                          </a:lnTo>
                          <a:lnTo>
                            <a:pt x="1594" y="114"/>
                          </a:lnTo>
                          <a:lnTo>
                            <a:pt x="1592" y="112"/>
                          </a:lnTo>
                          <a:lnTo>
                            <a:pt x="1590" y="110"/>
                          </a:lnTo>
                          <a:lnTo>
                            <a:pt x="1588" y="108"/>
                          </a:lnTo>
                          <a:lnTo>
                            <a:pt x="1584" y="106"/>
                          </a:lnTo>
                          <a:lnTo>
                            <a:pt x="1580" y="106"/>
                          </a:lnTo>
                          <a:lnTo>
                            <a:pt x="1572" y="102"/>
                          </a:lnTo>
                          <a:lnTo>
                            <a:pt x="1568" y="102"/>
                          </a:lnTo>
                          <a:lnTo>
                            <a:pt x="1564" y="102"/>
                          </a:lnTo>
                          <a:lnTo>
                            <a:pt x="1556" y="102"/>
                          </a:lnTo>
                          <a:lnTo>
                            <a:pt x="1552" y="102"/>
                          </a:lnTo>
                          <a:lnTo>
                            <a:pt x="1546" y="102"/>
                          </a:lnTo>
                          <a:lnTo>
                            <a:pt x="1544" y="100"/>
                          </a:lnTo>
                          <a:lnTo>
                            <a:pt x="1538" y="100"/>
                          </a:lnTo>
                          <a:lnTo>
                            <a:pt x="1536" y="100"/>
                          </a:lnTo>
                          <a:lnTo>
                            <a:pt x="1534" y="100"/>
                          </a:lnTo>
                          <a:lnTo>
                            <a:pt x="1532" y="98"/>
                          </a:lnTo>
                          <a:lnTo>
                            <a:pt x="1528" y="98"/>
                          </a:lnTo>
                          <a:lnTo>
                            <a:pt x="1510" y="98"/>
                          </a:lnTo>
                          <a:lnTo>
                            <a:pt x="1508" y="100"/>
                          </a:lnTo>
                          <a:lnTo>
                            <a:pt x="1508" y="102"/>
                          </a:lnTo>
                          <a:lnTo>
                            <a:pt x="1506" y="102"/>
                          </a:lnTo>
                          <a:lnTo>
                            <a:pt x="1504" y="102"/>
                          </a:lnTo>
                          <a:lnTo>
                            <a:pt x="1504" y="104"/>
                          </a:lnTo>
                          <a:lnTo>
                            <a:pt x="1502" y="104"/>
                          </a:lnTo>
                          <a:lnTo>
                            <a:pt x="1494" y="102"/>
                          </a:lnTo>
                          <a:lnTo>
                            <a:pt x="1490" y="102"/>
                          </a:lnTo>
                          <a:lnTo>
                            <a:pt x="1480" y="102"/>
                          </a:lnTo>
                          <a:lnTo>
                            <a:pt x="1478" y="100"/>
                          </a:lnTo>
                          <a:lnTo>
                            <a:pt x="1476" y="98"/>
                          </a:lnTo>
                          <a:lnTo>
                            <a:pt x="1474" y="98"/>
                          </a:lnTo>
                          <a:lnTo>
                            <a:pt x="1470" y="96"/>
                          </a:lnTo>
                          <a:lnTo>
                            <a:pt x="1468" y="96"/>
                          </a:lnTo>
                          <a:lnTo>
                            <a:pt x="1456" y="96"/>
                          </a:lnTo>
                          <a:lnTo>
                            <a:pt x="1456" y="94"/>
                          </a:lnTo>
                          <a:lnTo>
                            <a:pt x="1456" y="92"/>
                          </a:lnTo>
                          <a:lnTo>
                            <a:pt x="1454" y="90"/>
                          </a:lnTo>
                          <a:lnTo>
                            <a:pt x="1440" y="90"/>
                          </a:lnTo>
                          <a:lnTo>
                            <a:pt x="1438" y="90"/>
                          </a:lnTo>
                          <a:lnTo>
                            <a:pt x="1434" y="90"/>
                          </a:lnTo>
                          <a:lnTo>
                            <a:pt x="1432" y="88"/>
                          </a:lnTo>
                          <a:lnTo>
                            <a:pt x="1430" y="88"/>
                          </a:lnTo>
                          <a:lnTo>
                            <a:pt x="1432" y="88"/>
                          </a:lnTo>
                          <a:lnTo>
                            <a:pt x="1434" y="88"/>
                          </a:lnTo>
                          <a:lnTo>
                            <a:pt x="1436" y="86"/>
                          </a:lnTo>
                          <a:lnTo>
                            <a:pt x="1438" y="86"/>
                          </a:lnTo>
                          <a:lnTo>
                            <a:pt x="1434" y="84"/>
                          </a:lnTo>
                          <a:lnTo>
                            <a:pt x="1432" y="84"/>
                          </a:lnTo>
                          <a:lnTo>
                            <a:pt x="1430" y="82"/>
                          </a:lnTo>
                          <a:lnTo>
                            <a:pt x="1428" y="82"/>
                          </a:lnTo>
                          <a:lnTo>
                            <a:pt x="1424" y="82"/>
                          </a:lnTo>
                          <a:lnTo>
                            <a:pt x="1422" y="80"/>
                          </a:lnTo>
                          <a:lnTo>
                            <a:pt x="1418" y="80"/>
                          </a:lnTo>
                          <a:lnTo>
                            <a:pt x="1410" y="80"/>
                          </a:lnTo>
                          <a:lnTo>
                            <a:pt x="1406" y="78"/>
                          </a:lnTo>
                          <a:lnTo>
                            <a:pt x="1394" y="78"/>
                          </a:lnTo>
                          <a:lnTo>
                            <a:pt x="1394" y="80"/>
                          </a:lnTo>
                          <a:lnTo>
                            <a:pt x="1394" y="82"/>
                          </a:lnTo>
                          <a:lnTo>
                            <a:pt x="1394" y="84"/>
                          </a:lnTo>
                          <a:lnTo>
                            <a:pt x="1394" y="88"/>
                          </a:lnTo>
                          <a:lnTo>
                            <a:pt x="1388" y="88"/>
                          </a:lnTo>
                          <a:lnTo>
                            <a:pt x="1384" y="88"/>
                          </a:lnTo>
                          <a:lnTo>
                            <a:pt x="1382" y="86"/>
                          </a:lnTo>
                          <a:lnTo>
                            <a:pt x="1380" y="86"/>
                          </a:lnTo>
                          <a:lnTo>
                            <a:pt x="1382" y="86"/>
                          </a:lnTo>
                          <a:lnTo>
                            <a:pt x="1382" y="84"/>
                          </a:lnTo>
                          <a:lnTo>
                            <a:pt x="1384" y="84"/>
                          </a:lnTo>
                          <a:lnTo>
                            <a:pt x="1382" y="82"/>
                          </a:lnTo>
                          <a:lnTo>
                            <a:pt x="1370" y="82"/>
                          </a:lnTo>
                          <a:lnTo>
                            <a:pt x="1366" y="80"/>
                          </a:lnTo>
                          <a:lnTo>
                            <a:pt x="1364" y="80"/>
                          </a:lnTo>
                          <a:lnTo>
                            <a:pt x="1368" y="80"/>
                          </a:lnTo>
                          <a:lnTo>
                            <a:pt x="1370" y="78"/>
                          </a:lnTo>
                          <a:lnTo>
                            <a:pt x="1374" y="78"/>
                          </a:lnTo>
                          <a:lnTo>
                            <a:pt x="1378" y="78"/>
                          </a:lnTo>
                          <a:lnTo>
                            <a:pt x="1380" y="78"/>
                          </a:lnTo>
                          <a:lnTo>
                            <a:pt x="1382" y="80"/>
                          </a:lnTo>
                          <a:lnTo>
                            <a:pt x="1384" y="82"/>
                          </a:lnTo>
                          <a:lnTo>
                            <a:pt x="1386" y="82"/>
                          </a:lnTo>
                          <a:lnTo>
                            <a:pt x="1386" y="84"/>
                          </a:lnTo>
                          <a:lnTo>
                            <a:pt x="1388" y="84"/>
                          </a:lnTo>
                          <a:lnTo>
                            <a:pt x="1390" y="86"/>
                          </a:lnTo>
                          <a:lnTo>
                            <a:pt x="1392" y="86"/>
                          </a:lnTo>
                          <a:lnTo>
                            <a:pt x="1392" y="80"/>
                          </a:lnTo>
                          <a:lnTo>
                            <a:pt x="1390" y="78"/>
                          </a:lnTo>
                          <a:lnTo>
                            <a:pt x="1388" y="78"/>
                          </a:lnTo>
                          <a:lnTo>
                            <a:pt x="1386" y="78"/>
                          </a:lnTo>
                          <a:lnTo>
                            <a:pt x="1384" y="78"/>
                          </a:lnTo>
                          <a:lnTo>
                            <a:pt x="1382" y="76"/>
                          </a:lnTo>
                          <a:lnTo>
                            <a:pt x="1380" y="76"/>
                          </a:lnTo>
                          <a:lnTo>
                            <a:pt x="1352" y="76"/>
                          </a:lnTo>
                          <a:lnTo>
                            <a:pt x="1352" y="74"/>
                          </a:lnTo>
                          <a:lnTo>
                            <a:pt x="1348" y="74"/>
                          </a:lnTo>
                          <a:lnTo>
                            <a:pt x="1342" y="74"/>
                          </a:lnTo>
                          <a:lnTo>
                            <a:pt x="1332" y="74"/>
                          </a:lnTo>
                          <a:lnTo>
                            <a:pt x="1330" y="76"/>
                          </a:lnTo>
                          <a:lnTo>
                            <a:pt x="1322" y="76"/>
                          </a:lnTo>
                          <a:lnTo>
                            <a:pt x="1318" y="74"/>
                          </a:lnTo>
                          <a:lnTo>
                            <a:pt x="1314" y="72"/>
                          </a:lnTo>
                          <a:lnTo>
                            <a:pt x="1306" y="72"/>
                          </a:lnTo>
                          <a:lnTo>
                            <a:pt x="1310" y="72"/>
                          </a:lnTo>
                          <a:lnTo>
                            <a:pt x="1312" y="74"/>
                          </a:lnTo>
                          <a:lnTo>
                            <a:pt x="1314" y="76"/>
                          </a:lnTo>
                          <a:lnTo>
                            <a:pt x="1310" y="76"/>
                          </a:lnTo>
                          <a:lnTo>
                            <a:pt x="1306" y="76"/>
                          </a:lnTo>
                          <a:lnTo>
                            <a:pt x="1300" y="76"/>
                          </a:lnTo>
                          <a:lnTo>
                            <a:pt x="1300" y="78"/>
                          </a:lnTo>
                          <a:lnTo>
                            <a:pt x="1302" y="78"/>
                          </a:lnTo>
                          <a:lnTo>
                            <a:pt x="1302" y="80"/>
                          </a:lnTo>
                          <a:lnTo>
                            <a:pt x="1304" y="80"/>
                          </a:lnTo>
                          <a:lnTo>
                            <a:pt x="1306" y="82"/>
                          </a:lnTo>
                          <a:lnTo>
                            <a:pt x="1314" y="82"/>
                          </a:lnTo>
                          <a:lnTo>
                            <a:pt x="1314" y="84"/>
                          </a:lnTo>
                          <a:lnTo>
                            <a:pt x="1316" y="86"/>
                          </a:lnTo>
                          <a:lnTo>
                            <a:pt x="1320" y="86"/>
                          </a:lnTo>
                          <a:lnTo>
                            <a:pt x="1320" y="88"/>
                          </a:lnTo>
                          <a:lnTo>
                            <a:pt x="1322" y="90"/>
                          </a:lnTo>
                          <a:lnTo>
                            <a:pt x="1324" y="90"/>
                          </a:lnTo>
                          <a:lnTo>
                            <a:pt x="1326" y="92"/>
                          </a:lnTo>
                          <a:lnTo>
                            <a:pt x="1328" y="92"/>
                          </a:lnTo>
                          <a:lnTo>
                            <a:pt x="1328" y="94"/>
                          </a:lnTo>
                          <a:lnTo>
                            <a:pt x="1322" y="94"/>
                          </a:lnTo>
                          <a:lnTo>
                            <a:pt x="1318" y="92"/>
                          </a:lnTo>
                          <a:lnTo>
                            <a:pt x="1316" y="92"/>
                          </a:lnTo>
                          <a:lnTo>
                            <a:pt x="1314" y="92"/>
                          </a:lnTo>
                          <a:lnTo>
                            <a:pt x="1312" y="90"/>
                          </a:lnTo>
                          <a:lnTo>
                            <a:pt x="1310" y="88"/>
                          </a:lnTo>
                          <a:lnTo>
                            <a:pt x="1306" y="88"/>
                          </a:lnTo>
                          <a:lnTo>
                            <a:pt x="1304" y="90"/>
                          </a:lnTo>
                          <a:lnTo>
                            <a:pt x="1304" y="94"/>
                          </a:lnTo>
                          <a:lnTo>
                            <a:pt x="1308" y="96"/>
                          </a:lnTo>
                          <a:lnTo>
                            <a:pt x="1308" y="98"/>
                          </a:lnTo>
                          <a:lnTo>
                            <a:pt x="1304" y="98"/>
                          </a:lnTo>
                          <a:lnTo>
                            <a:pt x="1302" y="96"/>
                          </a:lnTo>
                          <a:lnTo>
                            <a:pt x="1300" y="96"/>
                          </a:lnTo>
                          <a:lnTo>
                            <a:pt x="1298" y="96"/>
                          </a:lnTo>
                          <a:lnTo>
                            <a:pt x="1296" y="96"/>
                          </a:lnTo>
                          <a:lnTo>
                            <a:pt x="1294" y="94"/>
                          </a:lnTo>
                          <a:lnTo>
                            <a:pt x="1290" y="94"/>
                          </a:lnTo>
                          <a:lnTo>
                            <a:pt x="1288" y="94"/>
                          </a:lnTo>
                          <a:lnTo>
                            <a:pt x="1284" y="92"/>
                          </a:lnTo>
                          <a:lnTo>
                            <a:pt x="1280" y="92"/>
                          </a:lnTo>
                          <a:lnTo>
                            <a:pt x="1278" y="90"/>
                          </a:lnTo>
                          <a:lnTo>
                            <a:pt x="1274" y="90"/>
                          </a:lnTo>
                          <a:lnTo>
                            <a:pt x="1272" y="92"/>
                          </a:lnTo>
                          <a:lnTo>
                            <a:pt x="1270" y="92"/>
                          </a:lnTo>
                          <a:lnTo>
                            <a:pt x="1268" y="94"/>
                          </a:lnTo>
                          <a:lnTo>
                            <a:pt x="1266" y="94"/>
                          </a:lnTo>
                          <a:lnTo>
                            <a:pt x="1264" y="96"/>
                          </a:lnTo>
                          <a:lnTo>
                            <a:pt x="1262" y="96"/>
                          </a:lnTo>
                          <a:lnTo>
                            <a:pt x="1258" y="94"/>
                          </a:lnTo>
                          <a:lnTo>
                            <a:pt x="1254" y="94"/>
                          </a:lnTo>
                          <a:lnTo>
                            <a:pt x="1252" y="94"/>
                          </a:lnTo>
                          <a:lnTo>
                            <a:pt x="1246" y="94"/>
                          </a:lnTo>
                          <a:lnTo>
                            <a:pt x="1246" y="92"/>
                          </a:lnTo>
                          <a:lnTo>
                            <a:pt x="1244" y="92"/>
                          </a:lnTo>
                          <a:lnTo>
                            <a:pt x="1242" y="90"/>
                          </a:lnTo>
                          <a:lnTo>
                            <a:pt x="1240" y="90"/>
                          </a:lnTo>
                          <a:lnTo>
                            <a:pt x="1238" y="88"/>
                          </a:lnTo>
                          <a:lnTo>
                            <a:pt x="1236" y="86"/>
                          </a:lnTo>
                          <a:lnTo>
                            <a:pt x="1234" y="84"/>
                          </a:lnTo>
                          <a:lnTo>
                            <a:pt x="1232" y="84"/>
                          </a:lnTo>
                          <a:lnTo>
                            <a:pt x="1230" y="86"/>
                          </a:lnTo>
                          <a:lnTo>
                            <a:pt x="1230" y="88"/>
                          </a:lnTo>
                          <a:lnTo>
                            <a:pt x="1228" y="90"/>
                          </a:lnTo>
                          <a:lnTo>
                            <a:pt x="1230" y="92"/>
                          </a:lnTo>
                          <a:lnTo>
                            <a:pt x="1232" y="94"/>
                          </a:lnTo>
                          <a:lnTo>
                            <a:pt x="1234" y="96"/>
                          </a:lnTo>
                          <a:lnTo>
                            <a:pt x="1234" y="98"/>
                          </a:lnTo>
                          <a:lnTo>
                            <a:pt x="1236" y="100"/>
                          </a:lnTo>
                          <a:lnTo>
                            <a:pt x="1236" y="104"/>
                          </a:lnTo>
                          <a:lnTo>
                            <a:pt x="1232" y="104"/>
                          </a:lnTo>
                          <a:lnTo>
                            <a:pt x="1230" y="102"/>
                          </a:lnTo>
                          <a:lnTo>
                            <a:pt x="1226" y="102"/>
                          </a:lnTo>
                          <a:lnTo>
                            <a:pt x="1220" y="100"/>
                          </a:lnTo>
                          <a:lnTo>
                            <a:pt x="1210" y="96"/>
                          </a:lnTo>
                          <a:lnTo>
                            <a:pt x="1206" y="96"/>
                          </a:lnTo>
                          <a:lnTo>
                            <a:pt x="1204" y="94"/>
                          </a:lnTo>
                          <a:lnTo>
                            <a:pt x="1202" y="94"/>
                          </a:lnTo>
                          <a:lnTo>
                            <a:pt x="1200" y="94"/>
                          </a:lnTo>
                          <a:lnTo>
                            <a:pt x="1198" y="92"/>
                          </a:lnTo>
                          <a:lnTo>
                            <a:pt x="1196" y="90"/>
                          </a:lnTo>
                          <a:lnTo>
                            <a:pt x="1194" y="90"/>
                          </a:lnTo>
                          <a:lnTo>
                            <a:pt x="1192" y="88"/>
                          </a:lnTo>
                          <a:lnTo>
                            <a:pt x="1192" y="86"/>
                          </a:lnTo>
                          <a:lnTo>
                            <a:pt x="1192" y="90"/>
                          </a:lnTo>
                          <a:lnTo>
                            <a:pt x="1190" y="90"/>
                          </a:lnTo>
                          <a:lnTo>
                            <a:pt x="1186" y="90"/>
                          </a:lnTo>
                          <a:lnTo>
                            <a:pt x="1186" y="88"/>
                          </a:lnTo>
                          <a:lnTo>
                            <a:pt x="1184" y="88"/>
                          </a:lnTo>
                          <a:lnTo>
                            <a:pt x="1180" y="88"/>
                          </a:lnTo>
                          <a:lnTo>
                            <a:pt x="1180" y="86"/>
                          </a:lnTo>
                          <a:lnTo>
                            <a:pt x="1178" y="86"/>
                          </a:lnTo>
                          <a:lnTo>
                            <a:pt x="1176" y="84"/>
                          </a:lnTo>
                          <a:lnTo>
                            <a:pt x="1174" y="84"/>
                          </a:lnTo>
                          <a:lnTo>
                            <a:pt x="1172" y="82"/>
                          </a:lnTo>
                          <a:lnTo>
                            <a:pt x="1174" y="82"/>
                          </a:lnTo>
                          <a:lnTo>
                            <a:pt x="1176" y="82"/>
                          </a:lnTo>
                          <a:lnTo>
                            <a:pt x="1180" y="82"/>
                          </a:lnTo>
                          <a:lnTo>
                            <a:pt x="1182" y="84"/>
                          </a:lnTo>
                          <a:lnTo>
                            <a:pt x="1190" y="84"/>
                          </a:lnTo>
                          <a:lnTo>
                            <a:pt x="1188" y="82"/>
                          </a:lnTo>
                          <a:lnTo>
                            <a:pt x="1186" y="80"/>
                          </a:lnTo>
                          <a:lnTo>
                            <a:pt x="1184" y="78"/>
                          </a:lnTo>
                          <a:lnTo>
                            <a:pt x="1182" y="78"/>
                          </a:lnTo>
                          <a:lnTo>
                            <a:pt x="1182" y="76"/>
                          </a:lnTo>
                          <a:lnTo>
                            <a:pt x="1180" y="76"/>
                          </a:lnTo>
                          <a:lnTo>
                            <a:pt x="1174" y="76"/>
                          </a:lnTo>
                          <a:lnTo>
                            <a:pt x="1174" y="74"/>
                          </a:lnTo>
                          <a:lnTo>
                            <a:pt x="1172" y="72"/>
                          </a:lnTo>
                          <a:lnTo>
                            <a:pt x="1170" y="72"/>
                          </a:lnTo>
                          <a:lnTo>
                            <a:pt x="1162" y="72"/>
                          </a:lnTo>
                          <a:lnTo>
                            <a:pt x="1164" y="70"/>
                          </a:lnTo>
                          <a:lnTo>
                            <a:pt x="1166" y="68"/>
                          </a:lnTo>
                          <a:lnTo>
                            <a:pt x="1166" y="66"/>
                          </a:lnTo>
                          <a:lnTo>
                            <a:pt x="1164" y="66"/>
                          </a:lnTo>
                          <a:lnTo>
                            <a:pt x="1160" y="66"/>
                          </a:lnTo>
                          <a:lnTo>
                            <a:pt x="1158" y="64"/>
                          </a:lnTo>
                          <a:lnTo>
                            <a:pt x="1152" y="64"/>
                          </a:lnTo>
                          <a:lnTo>
                            <a:pt x="1148" y="62"/>
                          </a:lnTo>
                          <a:lnTo>
                            <a:pt x="1148" y="60"/>
                          </a:lnTo>
                          <a:lnTo>
                            <a:pt x="1146" y="60"/>
                          </a:lnTo>
                          <a:lnTo>
                            <a:pt x="1136" y="60"/>
                          </a:lnTo>
                          <a:lnTo>
                            <a:pt x="1136" y="62"/>
                          </a:lnTo>
                          <a:lnTo>
                            <a:pt x="1122" y="62"/>
                          </a:lnTo>
                          <a:lnTo>
                            <a:pt x="1120" y="60"/>
                          </a:lnTo>
                          <a:lnTo>
                            <a:pt x="1118" y="60"/>
                          </a:lnTo>
                          <a:lnTo>
                            <a:pt x="1116" y="60"/>
                          </a:lnTo>
                          <a:lnTo>
                            <a:pt x="1114" y="60"/>
                          </a:lnTo>
                          <a:lnTo>
                            <a:pt x="1112" y="62"/>
                          </a:lnTo>
                          <a:lnTo>
                            <a:pt x="1112" y="58"/>
                          </a:lnTo>
                          <a:lnTo>
                            <a:pt x="1110" y="56"/>
                          </a:lnTo>
                          <a:lnTo>
                            <a:pt x="1108" y="56"/>
                          </a:lnTo>
                          <a:lnTo>
                            <a:pt x="1104" y="56"/>
                          </a:lnTo>
                          <a:lnTo>
                            <a:pt x="1100" y="56"/>
                          </a:lnTo>
                          <a:lnTo>
                            <a:pt x="1098" y="54"/>
                          </a:lnTo>
                          <a:lnTo>
                            <a:pt x="1096" y="54"/>
                          </a:lnTo>
                          <a:lnTo>
                            <a:pt x="1096" y="60"/>
                          </a:lnTo>
                          <a:lnTo>
                            <a:pt x="1092" y="60"/>
                          </a:lnTo>
                          <a:lnTo>
                            <a:pt x="1094" y="62"/>
                          </a:lnTo>
                          <a:lnTo>
                            <a:pt x="1096" y="62"/>
                          </a:lnTo>
                          <a:lnTo>
                            <a:pt x="1096" y="64"/>
                          </a:lnTo>
                          <a:lnTo>
                            <a:pt x="1098" y="64"/>
                          </a:lnTo>
                          <a:lnTo>
                            <a:pt x="1100" y="66"/>
                          </a:lnTo>
                          <a:lnTo>
                            <a:pt x="1102" y="68"/>
                          </a:lnTo>
                          <a:lnTo>
                            <a:pt x="1102" y="70"/>
                          </a:lnTo>
                          <a:lnTo>
                            <a:pt x="1104" y="70"/>
                          </a:lnTo>
                          <a:lnTo>
                            <a:pt x="1104" y="72"/>
                          </a:lnTo>
                          <a:lnTo>
                            <a:pt x="1092" y="72"/>
                          </a:lnTo>
                          <a:lnTo>
                            <a:pt x="1092" y="68"/>
                          </a:lnTo>
                          <a:lnTo>
                            <a:pt x="1076" y="68"/>
                          </a:lnTo>
                          <a:lnTo>
                            <a:pt x="1074" y="70"/>
                          </a:lnTo>
                          <a:lnTo>
                            <a:pt x="1072" y="70"/>
                          </a:lnTo>
                          <a:lnTo>
                            <a:pt x="1072" y="68"/>
                          </a:lnTo>
                          <a:lnTo>
                            <a:pt x="1070" y="70"/>
                          </a:lnTo>
                          <a:lnTo>
                            <a:pt x="1068" y="70"/>
                          </a:lnTo>
                          <a:lnTo>
                            <a:pt x="1066" y="70"/>
                          </a:lnTo>
                          <a:lnTo>
                            <a:pt x="1060" y="70"/>
                          </a:lnTo>
                          <a:lnTo>
                            <a:pt x="1060" y="72"/>
                          </a:lnTo>
                          <a:lnTo>
                            <a:pt x="1060" y="70"/>
                          </a:lnTo>
                          <a:lnTo>
                            <a:pt x="1060" y="68"/>
                          </a:lnTo>
                          <a:lnTo>
                            <a:pt x="1058" y="68"/>
                          </a:lnTo>
                          <a:lnTo>
                            <a:pt x="1058" y="66"/>
                          </a:lnTo>
                          <a:lnTo>
                            <a:pt x="1046" y="66"/>
                          </a:lnTo>
                          <a:lnTo>
                            <a:pt x="1042" y="66"/>
                          </a:lnTo>
                          <a:lnTo>
                            <a:pt x="1040" y="66"/>
                          </a:lnTo>
                          <a:lnTo>
                            <a:pt x="1038" y="64"/>
                          </a:lnTo>
                          <a:lnTo>
                            <a:pt x="1036" y="64"/>
                          </a:lnTo>
                          <a:lnTo>
                            <a:pt x="1038" y="62"/>
                          </a:lnTo>
                          <a:lnTo>
                            <a:pt x="1040" y="60"/>
                          </a:lnTo>
                          <a:lnTo>
                            <a:pt x="1012" y="60"/>
                          </a:lnTo>
                          <a:lnTo>
                            <a:pt x="1010" y="58"/>
                          </a:lnTo>
                          <a:lnTo>
                            <a:pt x="992" y="58"/>
                          </a:lnTo>
                          <a:lnTo>
                            <a:pt x="994" y="58"/>
                          </a:lnTo>
                          <a:lnTo>
                            <a:pt x="994" y="60"/>
                          </a:lnTo>
                          <a:lnTo>
                            <a:pt x="980" y="60"/>
                          </a:lnTo>
                          <a:lnTo>
                            <a:pt x="978" y="60"/>
                          </a:lnTo>
                          <a:lnTo>
                            <a:pt x="978" y="62"/>
                          </a:lnTo>
                          <a:lnTo>
                            <a:pt x="976" y="62"/>
                          </a:lnTo>
                          <a:lnTo>
                            <a:pt x="978" y="62"/>
                          </a:lnTo>
                          <a:lnTo>
                            <a:pt x="976" y="62"/>
                          </a:lnTo>
                          <a:lnTo>
                            <a:pt x="974" y="62"/>
                          </a:lnTo>
                          <a:lnTo>
                            <a:pt x="974" y="60"/>
                          </a:lnTo>
                          <a:lnTo>
                            <a:pt x="972" y="58"/>
                          </a:lnTo>
                          <a:lnTo>
                            <a:pt x="970" y="56"/>
                          </a:lnTo>
                          <a:lnTo>
                            <a:pt x="970" y="54"/>
                          </a:lnTo>
                          <a:lnTo>
                            <a:pt x="968" y="54"/>
                          </a:lnTo>
                          <a:lnTo>
                            <a:pt x="964" y="54"/>
                          </a:lnTo>
                          <a:lnTo>
                            <a:pt x="964" y="56"/>
                          </a:lnTo>
                          <a:lnTo>
                            <a:pt x="964" y="58"/>
                          </a:lnTo>
                          <a:lnTo>
                            <a:pt x="966" y="60"/>
                          </a:lnTo>
                          <a:lnTo>
                            <a:pt x="952" y="60"/>
                          </a:lnTo>
                          <a:lnTo>
                            <a:pt x="952" y="58"/>
                          </a:lnTo>
                          <a:lnTo>
                            <a:pt x="948" y="58"/>
                          </a:lnTo>
                          <a:lnTo>
                            <a:pt x="948" y="54"/>
                          </a:lnTo>
                          <a:lnTo>
                            <a:pt x="944" y="54"/>
                          </a:lnTo>
                          <a:lnTo>
                            <a:pt x="942" y="54"/>
                          </a:lnTo>
                          <a:lnTo>
                            <a:pt x="940" y="54"/>
                          </a:lnTo>
                          <a:lnTo>
                            <a:pt x="938" y="54"/>
                          </a:lnTo>
                          <a:lnTo>
                            <a:pt x="938" y="56"/>
                          </a:lnTo>
                          <a:lnTo>
                            <a:pt x="938" y="54"/>
                          </a:lnTo>
                          <a:lnTo>
                            <a:pt x="936" y="54"/>
                          </a:lnTo>
                          <a:lnTo>
                            <a:pt x="936" y="52"/>
                          </a:lnTo>
                          <a:lnTo>
                            <a:pt x="934" y="52"/>
                          </a:lnTo>
                          <a:lnTo>
                            <a:pt x="930" y="54"/>
                          </a:lnTo>
                          <a:lnTo>
                            <a:pt x="928" y="56"/>
                          </a:lnTo>
                          <a:lnTo>
                            <a:pt x="926" y="56"/>
                          </a:lnTo>
                          <a:lnTo>
                            <a:pt x="926" y="58"/>
                          </a:lnTo>
                          <a:lnTo>
                            <a:pt x="940" y="58"/>
                          </a:lnTo>
                          <a:lnTo>
                            <a:pt x="938" y="60"/>
                          </a:lnTo>
                          <a:lnTo>
                            <a:pt x="936" y="62"/>
                          </a:lnTo>
                          <a:lnTo>
                            <a:pt x="928" y="62"/>
                          </a:lnTo>
                          <a:lnTo>
                            <a:pt x="926" y="64"/>
                          </a:lnTo>
                          <a:lnTo>
                            <a:pt x="926" y="66"/>
                          </a:lnTo>
                          <a:lnTo>
                            <a:pt x="924" y="66"/>
                          </a:lnTo>
                          <a:lnTo>
                            <a:pt x="900" y="66"/>
                          </a:lnTo>
                          <a:lnTo>
                            <a:pt x="898" y="68"/>
                          </a:lnTo>
                          <a:lnTo>
                            <a:pt x="896" y="70"/>
                          </a:lnTo>
                          <a:lnTo>
                            <a:pt x="896" y="72"/>
                          </a:lnTo>
                          <a:lnTo>
                            <a:pt x="894" y="72"/>
                          </a:lnTo>
                          <a:lnTo>
                            <a:pt x="894" y="74"/>
                          </a:lnTo>
                          <a:lnTo>
                            <a:pt x="894" y="72"/>
                          </a:lnTo>
                          <a:lnTo>
                            <a:pt x="892" y="72"/>
                          </a:lnTo>
                          <a:lnTo>
                            <a:pt x="890" y="72"/>
                          </a:lnTo>
                          <a:lnTo>
                            <a:pt x="890" y="66"/>
                          </a:lnTo>
                          <a:lnTo>
                            <a:pt x="892" y="64"/>
                          </a:lnTo>
                          <a:lnTo>
                            <a:pt x="896" y="62"/>
                          </a:lnTo>
                          <a:lnTo>
                            <a:pt x="898" y="62"/>
                          </a:lnTo>
                          <a:lnTo>
                            <a:pt x="900" y="62"/>
                          </a:lnTo>
                          <a:lnTo>
                            <a:pt x="902" y="62"/>
                          </a:lnTo>
                          <a:lnTo>
                            <a:pt x="902" y="60"/>
                          </a:lnTo>
                          <a:lnTo>
                            <a:pt x="904" y="60"/>
                          </a:lnTo>
                          <a:lnTo>
                            <a:pt x="906" y="58"/>
                          </a:lnTo>
                          <a:lnTo>
                            <a:pt x="908" y="58"/>
                          </a:lnTo>
                          <a:lnTo>
                            <a:pt x="910" y="58"/>
                          </a:lnTo>
                          <a:lnTo>
                            <a:pt x="912" y="58"/>
                          </a:lnTo>
                          <a:lnTo>
                            <a:pt x="914" y="56"/>
                          </a:lnTo>
                          <a:lnTo>
                            <a:pt x="916" y="54"/>
                          </a:lnTo>
                          <a:lnTo>
                            <a:pt x="918" y="54"/>
                          </a:lnTo>
                          <a:lnTo>
                            <a:pt x="920" y="52"/>
                          </a:lnTo>
                          <a:lnTo>
                            <a:pt x="922" y="52"/>
                          </a:lnTo>
                          <a:lnTo>
                            <a:pt x="924" y="52"/>
                          </a:lnTo>
                          <a:lnTo>
                            <a:pt x="924" y="50"/>
                          </a:lnTo>
                          <a:lnTo>
                            <a:pt x="924" y="48"/>
                          </a:lnTo>
                          <a:lnTo>
                            <a:pt x="926" y="46"/>
                          </a:lnTo>
                          <a:lnTo>
                            <a:pt x="928" y="44"/>
                          </a:lnTo>
                          <a:lnTo>
                            <a:pt x="930" y="44"/>
                          </a:lnTo>
                          <a:lnTo>
                            <a:pt x="932" y="44"/>
                          </a:lnTo>
                          <a:lnTo>
                            <a:pt x="936" y="42"/>
                          </a:lnTo>
                          <a:lnTo>
                            <a:pt x="940" y="42"/>
                          </a:lnTo>
                          <a:lnTo>
                            <a:pt x="942" y="40"/>
                          </a:lnTo>
                          <a:lnTo>
                            <a:pt x="946" y="40"/>
                          </a:lnTo>
                          <a:lnTo>
                            <a:pt x="946" y="38"/>
                          </a:lnTo>
                          <a:lnTo>
                            <a:pt x="948" y="38"/>
                          </a:lnTo>
                          <a:lnTo>
                            <a:pt x="948" y="32"/>
                          </a:lnTo>
                          <a:lnTo>
                            <a:pt x="946" y="32"/>
                          </a:lnTo>
                          <a:lnTo>
                            <a:pt x="946" y="30"/>
                          </a:lnTo>
                          <a:lnTo>
                            <a:pt x="944" y="30"/>
                          </a:lnTo>
                          <a:lnTo>
                            <a:pt x="932" y="30"/>
                          </a:lnTo>
                          <a:lnTo>
                            <a:pt x="934" y="28"/>
                          </a:lnTo>
                          <a:lnTo>
                            <a:pt x="938" y="26"/>
                          </a:lnTo>
                          <a:lnTo>
                            <a:pt x="940" y="26"/>
                          </a:lnTo>
                          <a:lnTo>
                            <a:pt x="940" y="24"/>
                          </a:lnTo>
                          <a:lnTo>
                            <a:pt x="938" y="24"/>
                          </a:lnTo>
                          <a:lnTo>
                            <a:pt x="938" y="22"/>
                          </a:lnTo>
                          <a:lnTo>
                            <a:pt x="934" y="20"/>
                          </a:lnTo>
                          <a:lnTo>
                            <a:pt x="924" y="20"/>
                          </a:lnTo>
                          <a:lnTo>
                            <a:pt x="922" y="18"/>
                          </a:lnTo>
                          <a:lnTo>
                            <a:pt x="920" y="16"/>
                          </a:lnTo>
                          <a:lnTo>
                            <a:pt x="918" y="16"/>
                          </a:lnTo>
                          <a:lnTo>
                            <a:pt x="914" y="16"/>
                          </a:lnTo>
                          <a:lnTo>
                            <a:pt x="910" y="16"/>
                          </a:lnTo>
                          <a:lnTo>
                            <a:pt x="910" y="18"/>
                          </a:lnTo>
                          <a:lnTo>
                            <a:pt x="908" y="18"/>
                          </a:lnTo>
                          <a:lnTo>
                            <a:pt x="906" y="16"/>
                          </a:lnTo>
                          <a:lnTo>
                            <a:pt x="904" y="16"/>
                          </a:lnTo>
                          <a:lnTo>
                            <a:pt x="902" y="16"/>
                          </a:lnTo>
                          <a:lnTo>
                            <a:pt x="900" y="16"/>
                          </a:lnTo>
                          <a:lnTo>
                            <a:pt x="898" y="14"/>
                          </a:lnTo>
                          <a:lnTo>
                            <a:pt x="896" y="14"/>
                          </a:lnTo>
                          <a:lnTo>
                            <a:pt x="862" y="14"/>
                          </a:lnTo>
                          <a:lnTo>
                            <a:pt x="862" y="18"/>
                          </a:lnTo>
                          <a:lnTo>
                            <a:pt x="846" y="18"/>
                          </a:lnTo>
                          <a:lnTo>
                            <a:pt x="846" y="16"/>
                          </a:lnTo>
                          <a:lnTo>
                            <a:pt x="848" y="16"/>
                          </a:lnTo>
                          <a:lnTo>
                            <a:pt x="848" y="14"/>
                          </a:lnTo>
                          <a:lnTo>
                            <a:pt x="850" y="12"/>
                          </a:lnTo>
                          <a:lnTo>
                            <a:pt x="850" y="10"/>
                          </a:lnTo>
                          <a:lnTo>
                            <a:pt x="848" y="10"/>
                          </a:lnTo>
                          <a:lnTo>
                            <a:pt x="848" y="8"/>
                          </a:lnTo>
                          <a:lnTo>
                            <a:pt x="846" y="8"/>
                          </a:lnTo>
                          <a:lnTo>
                            <a:pt x="842" y="8"/>
                          </a:lnTo>
                          <a:lnTo>
                            <a:pt x="834" y="8"/>
                          </a:lnTo>
                          <a:lnTo>
                            <a:pt x="832" y="8"/>
                          </a:lnTo>
                          <a:lnTo>
                            <a:pt x="812" y="8"/>
                          </a:lnTo>
                          <a:lnTo>
                            <a:pt x="816" y="8"/>
                          </a:lnTo>
                          <a:lnTo>
                            <a:pt x="818" y="8"/>
                          </a:lnTo>
                          <a:lnTo>
                            <a:pt x="822" y="6"/>
                          </a:lnTo>
                          <a:lnTo>
                            <a:pt x="824" y="6"/>
                          </a:lnTo>
                          <a:lnTo>
                            <a:pt x="826" y="6"/>
                          </a:lnTo>
                          <a:lnTo>
                            <a:pt x="826" y="4"/>
                          </a:lnTo>
                          <a:lnTo>
                            <a:pt x="824" y="4"/>
                          </a:lnTo>
                          <a:lnTo>
                            <a:pt x="824" y="2"/>
                          </a:lnTo>
                          <a:lnTo>
                            <a:pt x="822" y="2"/>
                          </a:lnTo>
                          <a:lnTo>
                            <a:pt x="818" y="2"/>
                          </a:lnTo>
                          <a:lnTo>
                            <a:pt x="814" y="2"/>
                          </a:lnTo>
                          <a:lnTo>
                            <a:pt x="812" y="0"/>
                          </a:lnTo>
                          <a:lnTo>
                            <a:pt x="798" y="0"/>
                          </a:lnTo>
                          <a:lnTo>
                            <a:pt x="796" y="2"/>
                          </a:lnTo>
                          <a:lnTo>
                            <a:pt x="792" y="2"/>
                          </a:lnTo>
                          <a:lnTo>
                            <a:pt x="790" y="4"/>
                          </a:lnTo>
                          <a:lnTo>
                            <a:pt x="784" y="4"/>
                          </a:lnTo>
                          <a:lnTo>
                            <a:pt x="782" y="4"/>
                          </a:lnTo>
                          <a:lnTo>
                            <a:pt x="780" y="6"/>
                          </a:lnTo>
                          <a:lnTo>
                            <a:pt x="782" y="8"/>
                          </a:lnTo>
                          <a:lnTo>
                            <a:pt x="784" y="10"/>
                          </a:lnTo>
                          <a:lnTo>
                            <a:pt x="786" y="12"/>
                          </a:lnTo>
                          <a:lnTo>
                            <a:pt x="788" y="14"/>
                          </a:lnTo>
                          <a:lnTo>
                            <a:pt x="792" y="16"/>
                          </a:lnTo>
                          <a:lnTo>
                            <a:pt x="794" y="16"/>
                          </a:lnTo>
                          <a:lnTo>
                            <a:pt x="796" y="18"/>
                          </a:lnTo>
                          <a:lnTo>
                            <a:pt x="786" y="18"/>
                          </a:lnTo>
                          <a:lnTo>
                            <a:pt x="782" y="16"/>
                          </a:lnTo>
                          <a:lnTo>
                            <a:pt x="772" y="16"/>
                          </a:lnTo>
                          <a:lnTo>
                            <a:pt x="770" y="16"/>
                          </a:lnTo>
                          <a:lnTo>
                            <a:pt x="764" y="16"/>
                          </a:lnTo>
                          <a:lnTo>
                            <a:pt x="766" y="16"/>
                          </a:lnTo>
                          <a:lnTo>
                            <a:pt x="768" y="18"/>
                          </a:lnTo>
                          <a:lnTo>
                            <a:pt x="770" y="18"/>
                          </a:lnTo>
                          <a:lnTo>
                            <a:pt x="772" y="20"/>
                          </a:lnTo>
                          <a:lnTo>
                            <a:pt x="774" y="20"/>
                          </a:lnTo>
                          <a:lnTo>
                            <a:pt x="772" y="20"/>
                          </a:lnTo>
                          <a:lnTo>
                            <a:pt x="770" y="22"/>
                          </a:lnTo>
                          <a:lnTo>
                            <a:pt x="764" y="22"/>
                          </a:lnTo>
                          <a:lnTo>
                            <a:pt x="762" y="22"/>
                          </a:lnTo>
                          <a:lnTo>
                            <a:pt x="760" y="24"/>
                          </a:lnTo>
                          <a:lnTo>
                            <a:pt x="758" y="24"/>
                          </a:lnTo>
                          <a:lnTo>
                            <a:pt x="756" y="24"/>
                          </a:lnTo>
                          <a:lnTo>
                            <a:pt x="752" y="26"/>
                          </a:lnTo>
                          <a:lnTo>
                            <a:pt x="748" y="26"/>
                          </a:lnTo>
                          <a:lnTo>
                            <a:pt x="744" y="28"/>
                          </a:lnTo>
                          <a:lnTo>
                            <a:pt x="740" y="28"/>
                          </a:lnTo>
                          <a:lnTo>
                            <a:pt x="738" y="26"/>
                          </a:lnTo>
                          <a:lnTo>
                            <a:pt x="738" y="24"/>
                          </a:lnTo>
                          <a:lnTo>
                            <a:pt x="738" y="22"/>
                          </a:lnTo>
                          <a:lnTo>
                            <a:pt x="740" y="22"/>
                          </a:lnTo>
                          <a:lnTo>
                            <a:pt x="742" y="20"/>
                          </a:lnTo>
                          <a:lnTo>
                            <a:pt x="720" y="20"/>
                          </a:lnTo>
                          <a:lnTo>
                            <a:pt x="718" y="22"/>
                          </a:lnTo>
                          <a:lnTo>
                            <a:pt x="716" y="24"/>
                          </a:lnTo>
                          <a:lnTo>
                            <a:pt x="714" y="26"/>
                          </a:lnTo>
                          <a:lnTo>
                            <a:pt x="714" y="28"/>
                          </a:lnTo>
                          <a:lnTo>
                            <a:pt x="690" y="28"/>
                          </a:lnTo>
                          <a:lnTo>
                            <a:pt x="686" y="28"/>
                          </a:lnTo>
                          <a:lnTo>
                            <a:pt x="684" y="30"/>
                          </a:lnTo>
                          <a:lnTo>
                            <a:pt x="680" y="30"/>
                          </a:lnTo>
                          <a:lnTo>
                            <a:pt x="676" y="30"/>
                          </a:lnTo>
                          <a:lnTo>
                            <a:pt x="670" y="30"/>
                          </a:lnTo>
                          <a:lnTo>
                            <a:pt x="668" y="30"/>
                          </a:lnTo>
                          <a:lnTo>
                            <a:pt x="666" y="30"/>
                          </a:lnTo>
                          <a:lnTo>
                            <a:pt x="664" y="32"/>
                          </a:lnTo>
                          <a:lnTo>
                            <a:pt x="664" y="34"/>
                          </a:lnTo>
                          <a:lnTo>
                            <a:pt x="660" y="36"/>
                          </a:lnTo>
                          <a:lnTo>
                            <a:pt x="658" y="38"/>
                          </a:lnTo>
                          <a:lnTo>
                            <a:pt x="656" y="38"/>
                          </a:lnTo>
                          <a:lnTo>
                            <a:pt x="656" y="40"/>
                          </a:lnTo>
                          <a:lnTo>
                            <a:pt x="654" y="40"/>
                          </a:lnTo>
                          <a:lnTo>
                            <a:pt x="652" y="40"/>
                          </a:lnTo>
                          <a:lnTo>
                            <a:pt x="650" y="40"/>
                          </a:lnTo>
                          <a:lnTo>
                            <a:pt x="648" y="42"/>
                          </a:lnTo>
                          <a:lnTo>
                            <a:pt x="650" y="42"/>
                          </a:lnTo>
                          <a:lnTo>
                            <a:pt x="650" y="44"/>
                          </a:lnTo>
                          <a:lnTo>
                            <a:pt x="652" y="44"/>
                          </a:lnTo>
                          <a:lnTo>
                            <a:pt x="652" y="46"/>
                          </a:lnTo>
                          <a:lnTo>
                            <a:pt x="656" y="48"/>
                          </a:lnTo>
                          <a:lnTo>
                            <a:pt x="660" y="50"/>
                          </a:lnTo>
                          <a:lnTo>
                            <a:pt x="662" y="52"/>
                          </a:lnTo>
                          <a:lnTo>
                            <a:pt x="664" y="52"/>
                          </a:lnTo>
                          <a:lnTo>
                            <a:pt x="664" y="54"/>
                          </a:lnTo>
                          <a:lnTo>
                            <a:pt x="662" y="54"/>
                          </a:lnTo>
                          <a:lnTo>
                            <a:pt x="660" y="54"/>
                          </a:lnTo>
                          <a:lnTo>
                            <a:pt x="658" y="54"/>
                          </a:lnTo>
                          <a:lnTo>
                            <a:pt x="654" y="54"/>
                          </a:lnTo>
                          <a:lnTo>
                            <a:pt x="654" y="56"/>
                          </a:lnTo>
                          <a:lnTo>
                            <a:pt x="652" y="56"/>
                          </a:lnTo>
                          <a:lnTo>
                            <a:pt x="650" y="56"/>
                          </a:lnTo>
                          <a:lnTo>
                            <a:pt x="648" y="58"/>
                          </a:lnTo>
                          <a:lnTo>
                            <a:pt x="624" y="58"/>
                          </a:lnTo>
                          <a:lnTo>
                            <a:pt x="622" y="58"/>
                          </a:lnTo>
                          <a:lnTo>
                            <a:pt x="622" y="60"/>
                          </a:lnTo>
                          <a:lnTo>
                            <a:pt x="618" y="58"/>
                          </a:lnTo>
                          <a:lnTo>
                            <a:pt x="618" y="56"/>
                          </a:lnTo>
                          <a:lnTo>
                            <a:pt x="616" y="56"/>
                          </a:lnTo>
                          <a:lnTo>
                            <a:pt x="614" y="56"/>
                          </a:lnTo>
                          <a:lnTo>
                            <a:pt x="612" y="58"/>
                          </a:lnTo>
                          <a:lnTo>
                            <a:pt x="610" y="58"/>
                          </a:lnTo>
                          <a:lnTo>
                            <a:pt x="610" y="60"/>
                          </a:lnTo>
                          <a:lnTo>
                            <a:pt x="608" y="60"/>
                          </a:lnTo>
                          <a:lnTo>
                            <a:pt x="604" y="58"/>
                          </a:lnTo>
                          <a:lnTo>
                            <a:pt x="596" y="58"/>
                          </a:lnTo>
                          <a:lnTo>
                            <a:pt x="596" y="64"/>
                          </a:lnTo>
                          <a:lnTo>
                            <a:pt x="596" y="66"/>
                          </a:lnTo>
                          <a:lnTo>
                            <a:pt x="598" y="68"/>
                          </a:lnTo>
                          <a:lnTo>
                            <a:pt x="600" y="68"/>
                          </a:lnTo>
                          <a:lnTo>
                            <a:pt x="602" y="70"/>
                          </a:lnTo>
                          <a:lnTo>
                            <a:pt x="604" y="74"/>
                          </a:lnTo>
                          <a:lnTo>
                            <a:pt x="604" y="76"/>
                          </a:lnTo>
                          <a:lnTo>
                            <a:pt x="606" y="76"/>
                          </a:lnTo>
                          <a:lnTo>
                            <a:pt x="610" y="78"/>
                          </a:lnTo>
                          <a:lnTo>
                            <a:pt x="612" y="78"/>
                          </a:lnTo>
                          <a:lnTo>
                            <a:pt x="614" y="78"/>
                          </a:lnTo>
                          <a:lnTo>
                            <a:pt x="618" y="78"/>
                          </a:lnTo>
                          <a:lnTo>
                            <a:pt x="618" y="80"/>
                          </a:lnTo>
                          <a:lnTo>
                            <a:pt x="624" y="80"/>
                          </a:lnTo>
                          <a:lnTo>
                            <a:pt x="628" y="80"/>
                          </a:lnTo>
                          <a:lnTo>
                            <a:pt x="630" y="80"/>
                          </a:lnTo>
                          <a:lnTo>
                            <a:pt x="632" y="82"/>
                          </a:lnTo>
                          <a:lnTo>
                            <a:pt x="634" y="82"/>
                          </a:lnTo>
                          <a:lnTo>
                            <a:pt x="636" y="84"/>
                          </a:lnTo>
                          <a:lnTo>
                            <a:pt x="638" y="84"/>
                          </a:lnTo>
                          <a:lnTo>
                            <a:pt x="638" y="86"/>
                          </a:lnTo>
                          <a:lnTo>
                            <a:pt x="640" y="86"/>
                          </a:lnTo>
                          <a:lnTo>
                            <a:pt x="640" y="88"/>
                          </a:lnTo>
                          <a:lnTo>
                            <a:pt x="634" y="88"/>
                          </a:lnTo>
                          <a:lnTo>
                            <a:pt x="630" y="90"/>
                          </a:lnTo>
                          <a:lnTo>
                            <a:pt x="628" y="90"/>
                          </a:lnTo>
                          <a:lnTo>
                            <a:pt x="624" y="90"/>
                          </a:lnTo>
                          <a:lnTo>
                            <a:pt x="622" y="90"/>
                          </a:lnTo>
                          <a:lnTo>
                            <a:pt x="618" y="88"/>
                          </a:lnTo>
                          <a:lnTo>
                            <a:pt x="616" y="86"/>
                          </a:lnTo>
                          <a:lnTo>
                            <a:pt x="608" y="82"/>
                          </a:lnTo>
                          <a:lnTo>
                            <a:pt x="606" y="82"/>
                          </a:lnTo>
                          <a:lnTo>
                            <a:pt x="602" y="82"/>
                          </a:lnTo>
                          <a:lnTo>
                            <a:pt x="600" y="80"/>
                          </a:lnTo>
                          <a:lnTo>
                            <a:pt x="598" y="80"/>
                          </a:lnTo>
                          <a:lnTo>
                            <a:pt x="594" y="78"/>
                          </a:lnTo>
                          <a:lnTo>
                            <a:pt x="592" y="78"/>
                          </a:lnTo>
                          <a:lnTo>
                            <a:pt x="576" y="78"/>
                          </a:lnTo>
                          <a:lnTo>
                            <a:pt x="576" y="80"/>
                          </a:lnTo>
                          <a:lnTo>
                            <a:pt x="578" y="82"/>
                          </a:lnTo>
                          <a:lnTo>
                            <a:pt x="578" y="84"/>
                          </a:lnTo>
                          <a:lnTo>
                            <a:pt x="580" y="84"/>
                          </a:lnTo>
                          <a:lnTo>
                            <a:pt x="582" y="86"/>
                          </a:lnTo>
                          <a:lnTo>
                            <a:pt x="574" y="86"/>
                          </a:lnTo>
                          <a:lnTo>
                            <a:pt x="572" y="86"/>
                          </a:lnTo>
                          <a:lnTo>
                            <a:pt x="572" y="84"/>
                          </a:lnTo>
                          <a:lnTo>
                            <a:pt x="570" y="84"/>
                          </a:lnTo>
                          <a:lnTo>
                            <a:pt x="566" y="84"/>
                          </a:lnTo>
                          <a:lnTo>
                            <a:pt x="564" y="82"/>
                          </a:lnTo>
                          <a:lnTo>
                            <a:pt x="562" y="82"/>
                          </a:lnTo>
                          <a:lnTo>
                            <a:pt x="560" y="82"/>
                          </a:lnTo>
                          <a:lnTo>
                            <a:pt x="560" y="88"/>
                          </a:lnTo>
                          <a:lnTo>
                            <a:pt x="562" y="88"/>
                          </a:lnTo>
                          <a:lnTo>
                            <a:pt x="562" y="90"/>
                          </a:lnTo>
                          <a:lnTo>
                            <a:pt x="564" y="92"/>
                          </a:lnTo>
                          <a:lnTo>
                            <a:pt x="566" y="92"/>
                          </a:lnTo>
                          <a:lnTo>
                            <a:pt x="568" y="92"/>
                          </a:lnTo>
                          <a:lnTo>
                            <a:pt x="570" y="94"/>
                          </a:lnTo>
                          <a:lnTo>
                            <a:pt x="572" y="94"/>
                          </a:lnTo>
                          <a:lnTo>
                            <a:pt x="582" y="96"/>
                          </a:lnTo>
                          <a:lnTo>
                            <a:pt x="588" y="96"/>
                          </a:lnTo>
                          <a:lnTo>
                            <a:pt x="590" y="96"/>
                          </a:lnTo>
                          <a:lnTo>
                            <a:pt x="592" y="98"/>
                          </a:lnTo>
                          <a:lnTo>
                            <a:pt x="594" y="100"/>
                          </a:lnTo>
                          <a:lnTo>
                            <a:pt x="596" y="102"/>
                          </a:lnTo>
                          <a:lnTo>
                            <a:pt x="590" y="102"/>
                          </a:lnTo>
                          <a:lnTo>
                            <a:pt x="588" y="100"/>
                          </a:lnTo>
                          <a:lnTo>
                            <a:pt x="586" y="100"/>
                          </a:lnTo>
                          <a:lnTo>
                            <a:pt x="584" y="98"/>
                          </a:lnTo>
                          <a:lnTo>
                            <a:pt x="582" y="98"/>
                          </a:lnTo>
                          <a:lnTo>
                            <a:pt x="560" y="98"/>
                          </a:lnTo>
                          <a:lnTo>
                            <a:pt x="560" y="96"/>
                          </a:lnTo>
                          <a:lnTo>
                            <a:pt x="554" y="96"/>
                          </a:lnTo>
                          <a:lnTo>
                            <a:pt x="554" y="90"/>
                          </a:lnTo>
                          <a:lnTo>
                            <a:pt x="550" y="90"/>
                          </a:lnTo>
                          <a:lnTo>
                            <a:pt x="548" y="88"/>
                          </a:lnTo>
                          <a:lnTo>
                            <a:pt x="546" y="86"/>
                          </a:lnTo>
                          <a:lnTo>
                            <a:pt x="548" y="84"/>
                          </a:lnTo>
                          <a:lnTo>
                            <a:pt x="550" y="82"/>
                          </a:lnTo>
                          <a:lnTo>
                            <a:pt x="550" y="80"/>
                          </a:lnTo>
                          <a:lnTo>
                            <a:pt x="548" y="78"/>
                          </a:lnTo>
                          <a:lnTo>
                            <a:pt x="548" y="76"/>
                          </a:lnTo>
                          <a:lnTo>
                            <a:pt x="544" y="74"/>
                          </a:lnTo>
                          <a:lnTo>
                            <a:pt x="544" y="72"/>
                          </a:lnTo>
                          <a:lnTo>
                            <a:pt x="542" y="72"/>
                          </a:lnTo>
                          <a:lnTo>
                            <a:pt x="534" y="72"/>
                          </a:lnTo>
                          <a:lnTo>
                            <a:pt x="536" y="72"/>
                          </a:lnTo>
                          <a:lnTo>
                            <a:pt x="538" y="74"/>
                          </a:lnTo>
                          <a:lnTo>
                            <a:pt x="540" y="76"/>
                          </a:lnTo>
                          <a:lnTo>
                            <a:pt x="542" y="78"/>
                          </a:lnTo>
                          <a:lnTo>
                            <a:pt x="540" y="80"/>
                          </a:lnTo>
                          <a:lnTo>
                            <a:pt x="538" y="82"/>
                          </a:lnTo>
                          <a:lnTo>
                            <a:pt x="536" y="82"/>
                          </a:lnTo>
                          <a:lnTo>
                            <a:pt x="536" y="84"/>
                          </a:lnTo>
                          <a:lnTo>
                            <a:pt x="532" y="84"/>
                          </a:lnTo>
                          <a:lnTo>
                            <a:pt x="530" y="86"/>
                          </a:lnTo>
                          <a:lnTo>
                            <a:pt x="528" y="90"/>
                          </a:lnTo>
                          <a:lnTo>
                            <a:pt x="528" y="92"/>
                          </a:lnTo>
                          <a:lnTo>
                            <a:pt x="526" y="92"/>
                          </a:lnTo>
                          <a:lnTo>
                            <a:pt x="526" y="94"/>
                          </a:lnTo>
                          <a:lnTo>
                            <a:pt x="530" y="94"/>
                          </a:lnTo>
                          <a:lnTo>
                            <a:pt x="532" y="96"/>
                          </a:lnTo>
                          <a:lnTo>
                            <a:pt x="536" y="98"/>
                          </a:lnTo>
                          <a:lnTo>
                            <a:pt x="540" y="100"/>
                          </a:lnTo>
                          <a:lnTo>
                            <a:pt x="542" y="100"/>
                          </a:lnTo>
                          <a:lnTo>
                            <a:pt x="542" y="102"/>
                          </a:lnTo>
                          <a:lnTo>
                            <a:pt x="544" y="102"/>
                          </a:lnTo>
                          <a:lnTo>
                            <a:pt x="548" y="102"/>
                          </a:lnTo>
                          <a:lnTo>
                            <a:pt x="550" y="104"/>
                          </a:lnTo>
                          <a:lnTo>
                            <a:pt x="548" y="104"/>
                          </a:lnTo>
                          <a:lnTo>
                            <a:pt x="548" y="110"/>
                          </a:lnTo>
                          <a:lnTo>
                            <a:pt x="548" y="112"/>
                          </a:lnTo>
                          <a:lnTo>
                            <a:pt x="548" y="114"/>
                          </a:lnTo>
                          <a:lnTo>
                            <a:pt x="548" y="116"/>
                          </a:lnTo>
                          <a:lnTo>
                            <a:pt x="548" y="118"/>
                          </a:lnTo>
                          <a:lnTo>
                            <a:pt x="548" y="120"/>
                          </a:lnTo>
                          <a:lnTo>
                            <a:pt x="548" y="122"/>
                          </a:lnTo>
                          <a:lnTo>
                            <a:pt x="550" y="122"/>
                          </a:lnTo>
                          <a:lnTo>
                            <a:pt x="558" y="122"/>
                          </a:lnTo>
                          <a:lnTo>
                            <a:pt x="558" y="124"/>
                          </a:lnTo>
                          <a:lnTo>
                            <a:pt x="556" y="126"/>
                          </a:lnTo>
                          <a:lnTo>
                            <a:pt x="556" y="128"/>
                          </a:lnTo>
                          <a:lnTo>
                            <a:pt x="558" y="128"/>
                          </a:lnTo>
                          <a:lnTo>
                            <a:pt x="562" y="130"/>
                          </a:lnTo>
                          <a:lnTo>
                            <a:pt x="564" y="130"/>
                          </a:lnTo>
                          <a:lnTo>
                            <a:pt x="566" y="130"/>
                          </a:lnTo>
                          <a:lnTo>
                            <a:pt x="566" y="132"/>
                          </a:lnTo>
                          <a:lnTo>
                            <a:pt x="570" y="132"/>
                          </a:lnTo>
                          <a:lnTo>
                            <a:pt x="572" y="132"/>
                          </a:lnTo>
                          <a:lnTo>
                            <a:pt x="574" y="132"/>
                          </a:lnTo>
                          <a:lnTo>
                            <a:pt x="578" y="130"/>
                          </a:lnTo>
                          <a:lnTo>
                            <a:pt x="582" y="128"/>
                          </a:lnTo>
                          <a:lnTo>
                            <a:pt x="590" y="128"/>
                          </a:lnTo>
                          <a:lnTo>
                            <a:pt x="594" y="130"/>
                          </a:lnTo>
                          <a:lnTo>
                            <a:pt x="596" y="132"/>
                          </a:lnTo>
                          <a:lnTo>
                            <a:pt x="598" y="132"/>
                          </a:lnTo>
                          <a:lnTo>
                            <a:pt x="602" y="132"/>
                          </a:lnTo>
                          <a:lnTo>
                            <a:pt x="604" y="134"/>
                          </a:lnTo>
                          <a:lnTo>
                            <a:pt x="606" y="134"/>
                          </a:lnTo>
                          <a:lnTo>
                            <a:pt x="610" y="134"/>
                          </a:lnTo>
                          <a:lnTo>
                            <a:pt x="612" y="136"/>
                          </a:lnTo>
                          <a:lnTo>
                            <a:pt x="614" y="138"/>
                          </a:lnTo>
                          <a:lnTo>
                            <a:pt x="616" y="140"/>
                          </a:lnTo>
                          <a:lnTo>
                            <a:pt x="618" y="142"/>
                          </a:lnTo>
                          <a:lnTo>
                            <a:pt x="620" y="144"/>
                          </a:lnTo>
                          <a:lnTo>
                            <a:pt x="616" y="144"/>
                          </a:lnTo>
                          <a:lnTo>
                            <a:pt x="612" y="146"/>
                          </a:lnTo>
                          <a:lnTo>
                            <a:pt x="610" y="146"/>
                          </a:lnTo>
                          <a:lnTo>
                            <a:pt x="610" y="148"/>
                          </a:lnTo>
                          <a:lnTo>
                            <a:pt x="610" y="146"/>
                          </a:lnTo>
                          <a:lnTo>
                            <a:pt x="608" y="144"/>
                          </a:lnTo>
                          <a:lnTo>
                            <a:pt x="606" y="142"/>
                          </a:lnTo>
                          <a:lnTo>
                            <a:pt x="604" y="140"/>
                          </a:lnTo>
                          <a:lnTo>
                            <a:pt x="602" y="140"/>
                          </a:lnTo>
                          <a:lnTo>
                            <a:pt x="598" y="138"/>
                          </a:lnTo>
                          <a:lnTo>
                            <a:pt x="596" y="138"/>
                          </a:lnTo>
                          <a:lnTo>
                            <a:pt x="596" y="136"/>
                          </a:lnTo>
                          <a:lnTo>
                            <a:pt x="594" y="134"/>
                          </a:lnTo>
                          <a:lnTo>
                            <a:pt x="594" y="132"/>
                          </a:lnTo>
                          <a:lnTo>
                            <a:pt x="586" y="132"/>
                          </a:lnTo>
                          <a:lnTo>
                            <a:pt x="584" y="134"/>
                          </a:lnTo>
                          <a:lnTo>
                            <a:pt x="580" y="134"/>
                          </a:lnTo>
                          <a:lnTo>
                            <a:pt x="578" y="134"/>
                          </a:lnTo>
                          <a:lnTo>
                            <a:pt x="572" y="134"/>
                          </a:lnTo>
                          <a:lnTo>
                            <a:pt x="572" y="136"/>
                          </a:lnTo>
                          <a:lnTo>
                            <a:pt x="570" y="136"/>
                          </a:lnTo>
                          <a:lnTo>
                            <a:pt x="570" y="138"/>
                          </a:lnTo>
                          <a:lnTo>
                            <a:pt x="570" y="140"/>
                          </a:lnTo>
                          <a:lnTo>
                            <a:pt x="572" y="142"/>
                          </a:lnTo>
                          <a:lnTo>
                            <a:pt x="572" y="144"/>
                          </a:lnTo>
                          <a:lnTo>
                            <a:pt x="574" y="146"/>
                          </a:lnTo>
                          <a:lnTo>
                            <a:pt x="578" y="148"/>
                          </a:lnTo>
                          <a:lnTo>
                            <a:pt x="580" y="148"/>
                          </a:lnTo>
                          <a:lnTo>
                            <a:pt x="580" y="150"/>
                          </a:lnTo>
                          <a:lnTo>
                            <a:pt x="580" y="152"/>
                          </a:lnTo>
                          <a:lnTo>
                            <a:pt x="578" y="154"/>
                          </a:lnTo>
                          <a:lnTo>
                            <a:pt x="576" y="154"/>
                          </a:lnTo>
                          <a:lnTo>
                            <a:pt x="576" y="156"/>
                          </a:lnTo>
                          <a:lnTo>
                            <a:pt x="574" y="156"/>
                          </a:lnTo>
                          <a:lnTo>
                            <a:pt x="574" y="166"/>
                          </a:lnTo>
                          <a:lnTo>
                            <a:pt x="572" y="168"/>
                          </a:lnTo>
                          <a:lnTo>
                            <a:pt x="570" y="168"/>
                          </a:lnTo>
                          <a:lnTo>
                            <a:pt x="568" y="170"/>
                          </a:lnTo>
                          <a:lnTo>
                            <a:pt x="566" y="172"/>
                          </a:lnTo>
                          <a:lnTo>
                            <a:pt x="564" y="172"/>
                          </a:lnTo>
                          <a:lnTo>
                            <a:pt x="562" y="172"/>
                          </a:lnTo>
                          <a:lnTo>
                            <a:pt x="562" y="174"/>
                          </a:lnTo>
                          <a:lnTo>
                            <a:pt x="562" y="176"/>
                          </a:lnTo>
                          <a:lnTo>
                            <a:pt x="560" y="176"/>
                          </a:lnTo>
                          <a:lnTo>
                            <a:pt x="556" y="176"/>
                          </a:lnTo>
                          <a:lnTo>
                            <a:pt x="554" y="176"/>
                          </a:lnTo>
                          <a:lnTo>
                            <a:pt x="552" y="176"/>
                          </a:lnTo>
                          <a:lnTo>
                            <a:pt x="548" y="174"/>
                          </a:lnTo>
                          <a:lnTo>
                            <a:pt x="530" y="174"/>
                          </a:lnTo>
                          <a:lnTo>
                            <a:pt x="528" y="174"/>
                          </a:lnTo>
                          <a:lnTo>
                            <a:pt x="526" y="174"/>
                          </a:lnTo>
                          <a:lnTo>
                            <a:pt x="524" y="172"/>
                          </a:lnTo>
                          <a:lnTo>
                            <a:pt x="522" y="172"/>
                          </a:lnTo>
                          <a:lnTo>
                            <a:pt x="520" y="170"/>
                          </a:lnTo>
                          <a:lnTo>
                            <a:pt x="518" y="170"/>
                          </a:lnTo>
                          <a:lnTo>
                            <a:pt x="518" y="168"/>
                          </a:lnTo>
                          <a:lnTo>
                            <a:pt x="530" y="168"/>
                          </a:lnTo>
                          <a:lnTo>
                            <a:pt x="530" y="170"/>
                          </a:lnTo>
                          <a:lnTo>
                            <a:pt x="532" y="170"/>
                          </a:lnTo>
                          <a:lnTo>
                            <a:pt x="534" y="170"/>
                          </a:lnTo>
                          <a:lnTo>
                            <a:pt x="536" y="170"/>
                          </a:lnTo>
                          <a:lnTo>
                            <a:pt x="538" y="168"/>
                          </a:lnTo>
                          <a:lnTo>
                            <a:pt x="540" y="168"/>
                          </a:lnTo>
                          <a:lnTo>
                            <a:pt x="540" y="166"/>
                          </a:lnTo>
                          <a:lnTo>
                            <a:pt x="552" y="166"/>
                          </a:lnTo>
                          <a:lnTo>
                            <a:pt x="554" y="164"/>
                          </a:lnTo>
                          <a:lnTo>
                            <a:pt x="554" y="154"/>
                          </a:lnTo>
                          <a:lnTo>
                            <a:pt x="556" y="154"/>
                          </a:lnTo>
                          <a:lnTo>
                            <a:pt x="558" y="154"/>
                          </a:lnTo>
                          <a:lnTo>
                            <a:pt x="558" y="152"/>
                          </a:lnTo>
                          <a:lnTo>
                            <a:pt x="560" y="152"/>
                          </a:lnTo>
                          <a:lnTo>
                            <a:pt x="560" y="148"/>
                          </a:lnTo>
                          <a:lnTo>
                            <a:pt x="556" y="148"/>
                          </a:lnTo>
                          <a:lnTo>
                            <a:pt x="558" y="146"/>
                          </a:lnTo>
                          <a:lnTo>
                            <a:pt x="558" y="144"/>
                          </a:lnTo>
                          <a:lnTo>
                            <a:pt x="560" y="144"/>
                          </a:lnTo>
                          <a:lnTo>
                            <a:pt x="560" y="140"/>
                          </a:lnTo>
                          <a:lnTo>
                            <a:pt x="558" y="140"/>
                          </a:lnTo>
                          <a:lnTo>
                            <a:pt x="556" y="138"/>
                          </a:lnTo>
                          <a:lnTo>
                            <a:pt x="550" y="138"/>
                          </a:lnTo>
                          <a:lnTo>
                            <a:pt x="548" y="138"/>
                          </a:lnTo>
                          <a:lnTo>
                            <a:pt x="544" y="138"/>
                          </a:lnTo>
                          <a:lnTo>
                            <a:pt x="542" y="136"/>
                          </a:lnTo>
                          <a:lnTo>
                            <a:pt x="538" y="134"/>
                          </a:lnTo>
                          <a:lnTo>
                            <a:pt x="538" y="126"/>
                          </a:lnTo>
                          <a:lnTo>
                            <a:pt x="538" y="124"/>
                          </a:lnTo>
                          <a:lnTo>
                            <a:pt x="538" y="120"/>
                          </a:lnTo>
                          <a:lnTo>
                            <a:pt x="536" y="120"/>
                          </a:lnTo>
                          <a:lnTo>
                            <a:pt x="532" y="118"/>
                          </a:lnTo>
                          <a:lnTo>
                            <a:pt x="530" y="114"/>
                          </a:lnTo>
                          <a:lnTo>
                            <a:pt x="528" y="112"/>
                          </a:lnTo>
                          <a:lnTo>
                            <a:pt x="526" y="110"/>
                          </a:lnTo>
                          <a:lnTo>
                            <a:pt x="526" y="102"/>
                          </a:lnTo>
                          <a:lnTo>
                            <a:pt x="524" y="102"/>
                          </a:lnTo>
                          <a:lnTo>
                            <a:pt x="520" y="100"/>
                          </a:lnTo>
                          <a:lnTo>
                            <a:pt x="518" y="98"/>
                          </a:lnTo>
                          <a:lnTo>
                            <a:pt x="516" y="98"/>
                          </a:lnTo>
                          <a:lnTo>
                            <a:pt x="514" y="96"/>
                          </a:lnTo>
                          <a:lnTo>
                            <a:pt x="512" y="96"/>
                          </a:lnTo>
                          <a:lnTo>
                            <a:pt x="514" y="94"/>
                          </a:lnTo>
                          <a:lnTo>
                            <a:pt x="514" y="92"/>
                          </a:lnTo>
                          <a:lnTo>
                            <a:pt x="516" y="90"/>
                          </a:lnTo>
                          <a:lnTo>
                            <a:pt x="516" y="88"/>
                          </a:lnTo>
                          <a:lnTo>
                            <a:pt x="518" y="84"/>
                          </a:lnTo>
                          <a:lnTo>
                            <a:pt x="518" y="80"/>
                          </a:lnTo>
                          <a:lnTo>
                            <a:pt x="516" y="80"/>
                          </a:lnTo>
                          <a:lnTo>
                            <a:pt x="514" y="78"/>
                          </a:lnTo>
                          <a:lnTo>
                            <a:pt x="512" y="76"/>
                          </a:lnTo>
                          <a:lnTo>
                            <a:pt x="508" y="74"/>
                          </a:lnTo>
                          <a:lnTo>
                            <a:pt x="506" y="74"/>
                          </a:lnTo>
                          <a:lnTo>
                            <a:pt x="502" y="74"/>
                          </a:lnTo>
                          <a:lnTo>
                            <a:pt x="500" y="74"/>
                          </a:lnTo>
                          <a:lnTo>
                            <a:pt x="494" y="72"/>
                          </a:lnTo>
                          <a:lnTo>
                            <a:pt x="488" y="72"/>
                          </a:lnTo>
                          <a:lnTo>
                            <a:pt x="484" y="72"/>
                          </a:lnTo>
                          <a:lnTo>
                            <a:pt x="480" y="70"/>
                          </a:lnTo>
                          <a:lnTo>
                            <a:pt x="478" y="70"/>
                          </a:lnTo>
                          <a:lnTo>
                            <a:pt x="476" y="70"/>
                          </a:lnTo>
                          <a:lnTo>
                            <a:pt x="470" y="70"/>
                          </a:lnTo>
                          <a:lnTo>
                            <a:pt x="468" y="68"/>
                          </a:lnTo>
                          <a:lnTo>
                            <a:pt x="466" y="72"/>
                          </a:lnTo>
                          <a:lnTo>
                            <a:pt x="466" y="74"/>
                          </a:lnTo>
                          <a:lnTo>
                            <a:pt x="466" y="76"/>
                          </a:lnTo>
                          <a:lnTo>
                            <a:pt x="466" y="78"/>
                          </a:lnTo>
                          <a:lnTo>
                            <a:pt x="468" y="78"/>
                          </a:lnTo>
                          <a:lnTo>
                            <a:pt x="470" y="78"/>
                          </a:lnTo>
                          <a:lnTo>
                            <a:pt x="470" y="80"/>
                          </a:lnTo>
                          <a:lnTo>
                            <a:pt x="470" y="82"/>
                          </a:lnTo>
                          <a:lnTo>
                            <a:pt x="468" y="84"/>
                          </a:lnTo>
                          <a:lnTo>
                            <a:pt x="468" y="86"/>
                          </a:lnTo>
                          <a:lnTo>
                            <a:pt x="468" y="88"/>
                          </a:lnTo>
                          <a:lnTo>
                            <a:pt x="466" y="90"/>
                          </a:lnTo>
                          <a:lnTo>
                            <a:pt x="462" y="90"/>
                          </a:lnTo>
                          <a:lnTo>
                            <a:pt x="462" y="92"/>
                          </a:lnTo>
                          <a:lnTo>
                            <a:pt x="460" y="92"/>
                          </a:lnTo>
                          <a:lnTo>
                            <a:pt x="458" y="94"/>
                          </a:lnTo>
                          <a:lnTo>
                            <a:pt x="456" y="94"/>
                          </a:lnTo>
                          <a:lnTo>
                            <a:pt x="454" y="96"/>
                          </a:lnTo>
                          <a:lnTo>
                            <a:pt x="454" y="98"/>
                          </a:lnTo>
                          <a:lnTo>
                            <a:pt x="452" y="100"/>
                          </a:lnTo>
                          <a:lnTo>
                            <a:pt x="452" y="102"/>
                          </a:lnTo>
                          <a:lnTo>
                            <a:pt x="458" y="102"/>
                          </a:lnTo>
                          <a:lnTo>
                            <a:pt x="460" y="104"/>
                          </a:lnTo>
                          <a:lnTo>
                            <a:pt x="462" y="106"/>
                          </a:lnTo>
                          <a:lnTo>
                            <a:pt x="462" y="108"/>
                          </a:lnTo>
                          <a:lnTo>
                            <a:pt x="464" y="110"/>
                          </a:lnTo>
                          <a:lnTo>
                            <a:pt x="466" y="112"/>
                          </a:lnTo>
                          <a:lnTo>
                            <a:pt x="466" y="114"/>
                          </a:lnTo>
                          <a:lnTo>
                            <a:pt x="468" y="114"/>
                          </a:lnTo>
                          <a:lnTo>
                            <a:pt x="468" y="116"/>
                          </a:lnTo>
                          <a:lnTo>
                            <a:pt x="466" y="116"/>
                          </a:lnTo>
                          <a:lnTo>
                            <a:pt x="464" y="118"/>
                          </a:lnTo>
                          <a:lnTo>
                            <a:pt x="464" y="120"/>
                          </a:lnTo>
                          <a:lnTo>
                            <a:pt x="466" y="122"/>
                          </a:lnTo>
                          <a:lnTo>
                            <a:pt x="468" y="122"/>
                          </a:lnTo>
                          <a:lnTo>
                            <a:pt x="470" y="124"/>
                          </a:lnTo>
                          <a:lnTo>
                            <a:pt x="472" y="124"/>
                          </a:lnTo>
                          <a:lnTo>
                            <a:pt x="474" y="124"/>
                          </a:lnTo>
                          <a:lnTo>
                            <a:pt x="476" y="122"/>
                          </a:lnTo>
                          <a:lnTo>
                            <a:pt x="478" y="122"/>
                          </a:lnTo>
                          <a:lnTo>
                            <a:pt x="480" y="124"/>
                          </a:lnTo>
                          <a:lnTo>
                            <a:pt x="482" y="126"/>
                          </a:lnTo>
                          <a:lnTo>
                            <a:pt x="484" y="128"/>
                          </a:lnTo>
                          <a:lnTo>
                            <a:pt x="486" y="128"/>
                          </a:lnTo>
                          <a:lnTo>
                            <a:pt x="488" y="130"/>
                          </a:lnTo>
                          <a:lnTo>
                            <a:pt x="490" y="130"/>
                          </a:lnTo>
                          <a:lnTo>
                            <a:pt x="494" y="132"/>
                          </a:lnTo>
                          <a:lnTo>
                            <a:pt x="496" y="132"/>
                          </a:lnTo>
                          <a:lnTo>
                            <a:pt x="500" y="132"/>
                          </a:lnTo>
                          <a:lnTo>
                            <a:pt x="500" y="146"/>
                          </a:lnTo>
                          <a:lnTo>
                            <a:pt x="498" y="144"/>
                          </a:lnTo>
                          <a:lnTo>
                            <a:pt x="496" y="142"/>
                          </a:lnTo>
                          <a:lnTo>
                            <a:pt x="494" y="140"/>
                          </a:lnTo>
                          <a:lnTo>
                            <a:pt x="492" y="140"/>
                          </a:lnTo>
                          <a:lnTo>
                            <a:pt x="490" y="142"/>
                          </a:lnTo>
                          <a:lnTo>
                            <a:pt x="488" y="142"/>
                          </a:lnTo>
                          <a:lnTo>
                            <a:pt x="488" y="140"/>
                          </a:lnTo>
                          <a:lnTo>
                            <a:pt x="486" y="140"/>
                          </a:lnTo>
                          <a:lnTo>
                            <a:pt x="484" y="138"/>
                          </a:lnTo>
                          <a:lnTo>
                            <a:pt x="476" y="134"/>
                          </a:lnTo>
                          <a:lnTo>
                            <a:pt x="472" y="134"/>
                          </a:lnTo>
                          <a:lnTo>
                            <a:pt x="468" y="132"/>
                          </a:lnTo>
                          <a:lnTo>
                            <a:pt x="466" y="130"/>
                          </a:lnTo>
                          <a:lnTo>
                            <a:pt x="452" y="130"/>
                          </a:lnTo>
                          <a:lnTo>
                            <a:pt x="450" y="128"/>
                          </a:lnTo>
                          <a:lnTo>
                            <a:pt x="448" y="126"/>
                          </a:lnTo>
                          <a:lnTo>
                            <a:pt x="448" y="128"/>
                          </a:lnTo>
                          <a:lnTo>
                            <a:pt x="446" y="130"/>
                          </a:lnTo>
                          <a:lnTo>
                            <a:pt x="446" y="132"/>
                          </a:lnTo>
                          <a:lnTo>
                            <a:pt x="444" y="130"/>
                          </a:lnTo>
                          <a:lnTo>
                            <a:pt x="442" y="128"/>
                          </a:lnTo>
                          <a:lnTo>
                            <a:pt x="440" y="128"/>
                          </a:lnTo>
                          <a:lnTo>
                            <a:pt x="440" y="126"/>
                          </a:lnTo>
                          <a:lnTo>
                            <a:pt x="438" y="126"/>
                          </a:lnTo>
                          <a:lnTo>
                            <a:pt x="436" y="126"/>
                          </a:lnTo>
                          <a:lnTo>
                            <a:pt x="434" y="124"/>
                          </a:lnTo>
                          <a:lnTo>
                            <a:pt x="432" y="124"/>
                          </a:lnTo>
                          <a:lnTo>
                            <a:pt x="428" y="122"/>
                          </a:lnTo>
                          <a:lnTo>
                            <a:pt x="426" y="120"/>
                          </a:lnTo>
                          <a:lnTo>
                            <a:pt x="424" y="120"/>
                          </a:lnTo>
                          <a:lnTo>
                            <a:pt x="422" y="120"/>
                          </a:lnTo>
                          <a:lnTo>
                            <a:pt x="420" y="120"/>
                          </a:lnTo>
                          <a:lnTo>
                            <a:pt x="418" y="120"/>
                          </a:lnTo>
                          <a:lnTo>
                            <a:pt x="416" y="120"/>
                          </a:lnTo>
                          <a:lnTo>
                            <a:pt x="414" y="122"/>
                          </a:lnTo>
                          <a:lnTo>
                            <a:pt x="412" y="122"/>
                          </a:lnTo>
                          <a:lnTo>
                            <a:pt x="406" y="122"/>
                          </a:lnTo>
                          <a:lnTo>
                            <a:pt x="404" y="120"/>
                          </a:lnTo>
                          <a:lnTo>
                            <a:pt x="396" y="120"/>
                          </a:lnTo>
                          <a:lnTo>
                            <a:pt x="392" y="120"/>
                          </a:lnTo>
                          <a:lnTo>
                            <a:pt x="392" y="122"/>
                          </a:lnTo>
                          <a:lnTo>
                            <a:pt x="390" y="122"/>
                          </a:lnTo>
                          <a:lnTo>
                            <a:pt x="388" y="122"/>
                          </a:lnTo>
                          <a:lnTo>
                            <a:pt x="388" y="124"/>
                          </a:lnTo>
                          <a:lnTo>
                            <a:pt x="388" y="126"/>
                          </a:lnTo>
                          <a:lnTo>
                            <a:pt x="392" y="128"/>
                          </a:lnTo>
                          <a:lnTo>
                            <a:pt x="394" y="128"/>
                          </a:lnTo>
                          <a:lnTo>
                            <a:pt x="396" y="130"/>
                          </a:lnTo>
                          <a:lnTo>
                            <a:pt x="396" y="134"/>
                          </a:lnTo>
                          <a:lnTo>
                            <a:pt x="394" y="136"/>
                          </a:lnTo>
                          <a:lnTo>
                            <a:pt x="394" y="138"/>
                          </a:lnTo>
                          <a:lnTo>
                            <a:pt x="392" y="138"/>
                          </a:lnTo>
                          <a:lnTo>
                            <a:pt x="392" y="140"/>
                          </a:lnTo>
                          <a:lnTo>
                            <a:pt x="392" y="138"/>
                          </a:lnTo>
                          <a:lnTo>
                            <a:pt x="390" y="136"/>
                          </a:lnTo>
                          <a:lnTo>
                            <a:pt x="390" y="142"/>
                          </a:lnTo>
                          <a:lnTo>
                            <a:pt x="384" y="142"/>
                          </a:lnTo>
                          <a:lnTo>
                            <a:pt x="382" y="140"/>
                          </a:lnTo>
                          <a:lnTo>
                            <a:pt x="380" y="140"/>
                          </a:lnTo>
                          <a:lnTo>
                            <a:pt x="382" y="138"/>
                          </a:lnTo>
                          <a:lnTo>
                            <a:pt x="382" y="134"/>
                          </a:lnTo>
                          <a:lnTo>
                            <a:pt x="380" y="132"/>
                          </a:lnTo>
                          <a:lnTo>
                            <a:pt x="380" y="130"/>
                          </a:lnTo>
                          <a:lnTo>
                            <a:pt x="376" y="130"/>
                          </a:lnTo>
                          <a:lnTo>
                            <a:pt x="374" y="132"/>
                          </a:lnTo>
                          <a:lnTo>
                            <a:pt x="370" y="134"/>
                          </a:lnTo>
                          <a:lnTo>
                            <a:pt x="368" y="134"/>
                          </a:lnTo>
                          <a:lnTo>
                            <a:pt x="364" y="136"/>
                          </a:lnTo>
                          <a:lnTo>
                            <a:pt x="362" y="138"/>
                          </a:lnTo>
                          <a:lnTo>
                            <a:pt x="360" y="140"/>
                          </a:lnTo>
                          <a:lnTo>
                            <a:pt x="358" y="140"/>
                          </a:lnTo>
                          <a:lnTo>
                            <a:pt x="356" y="140"/>
                          </a:lnTo>
                          <a:lnTo>
                            <a:pt x="354" y="140"/>
                          </a:lnTo>
                          <a:lnTo>
                            <a:pt x="350" y="138"/>
                          </a:lnTo>
                          <a:lnTo>
                            <a:pt x="338" y="138"/>
                          </a:lnTo>
                          <a:lnTo>
                            <a:pt x="336" y="138"/>
                          </a:lnTo>
                          <a:lnTo>
                            <a:pt x="334" y="140"/>
                          </a:lnTo>
                          <a:lnTo>
                            <a:pt x="332" y="140"/>
                          </a:lnTo>
                          <a:lnTo>
                            <a:pt x="330" y="142"/>
                          </a:lnTo>
                          <a:lnTo>
                            <a:pt x="328" y="144"/>
                          </a:lnTo>
                          <a:lnTo>
                            <a:pt x="328" y="146"/>
                          </a:lnTo>
                          <a:lnTo>
                            <a:pt x="326" y="146"/>
                          </a:lnTo>
                          <a:lnTo>
                            <a:pt x="310" y="146"/>
                          </a:lnTo>
                          <a:lnTo>
                            <a:pt x="310" y="144"/>
                          </a:lnTo>
                          <a:lnTo>
                            <a:pt x="312" y="142"/>
                          </a:lnTo>
                          <a:lnTo>
                            <a:pt x="312" y="140"/>
                          </a:lnTo>
                          <a:lnTo>
                            <a:pt x="312" y="130"/>
                          </a:lnTo>
                          <a:lnTo>
                            <a:pt x="310" y="130"/>
                          </a:lnTo>
                          <a:lnTo>
                            <a:pt x="310" y="132"/>
                          </a:lnTo>
                          <a:lnTo>
                            <a:pt x="308" y="132"/>
                          </a:lnTo>
                          <a:lnTo>
                            <a:pt x="306" y="132"/>
                          </a:lnTo>
                          <a:lnTo>
                            <a:pt x="302" y="134"/>
                          </a:lnTo>
                          <a:lnTo>
                            <a:pt x="300" y="136"/>
                          </a:lnTo>
                          <a:lnTo>
                            <a:pt x="298" y="136"/>
                          </a:lnTo>
                          <a:lnTo>
                            <a:pt x="298" y="140"/>
                          </a:lnTo>
                          <a:lnTo>
                            <a:pt x="298" y="142"/>
                          </a:lnTo>
                          <a:lnTo>
                            <a:pt x="300" y="144"/>
                          </a:lnTo>
                          <a:lnTo>
                            <a:pt x="292" y="144"/>
                          </a:lnTo>
                          <a:lnTo>
                            <a:pt x="292" y="140"/>
                          </a:lnTo>
                          <a:lnTo>
                            <a:pt x="286" y="140"/>
                          </a:lnTo>
                          <a:lnTo>
                            <a:pt x="284" y="140"/>
                          </a:lnTo>
                          <a:lnTo>
                            <a:pt x="280" y="140"/>
                          </a:lnTo>
                          <a:lnTo>
                            <a:pt x="278" y="142"/>
                          </a:lnTo>
                          <a:lnTo>
                            <a:pt x="276" y="142"/>
                          </a:lnTo>
                          <a:lnTo>
                            <a:pt x="272" y="144"/>
                          </a:lnTo>
                          <a:lnTo>
                            <a:pt x="270" y="146"/>
                          </a:lnTo>
                          <a:lnTo>
                            <a:pt x="268" y="146"/>
                          </a:lnTo>
                          <a:lnTo>
                            <a:pt x="266" y="148"/>
                          </a:lnTo>
                          <a:lnTo>
                            <a:pt x="254" y="148"/>
                          </a:lnTo>
                          <a:lnTo>
                            <a:pt x="254" y="150"/>
                          </a:lnTo>
                          <a:lnTo>
                            <a:pt x="254" y="152"/>
                          </a:lnTo>
                          <a:lnTo>
                            <a:pt x="254" y="154"/>
                          </a:lnTo>
                          <a:lnTo>
                            <a:pt x="256" y="154"/>
                          </a:lnTo>
                          <a:lnTo>
                            <a:pt x="254" y="154"/>
                          </a:lnTo>
                          <a:lnTo>
                            <a:pt x="252" y="154"/>
                          </a:lnTo>
                          <a:lnTo>
                            <a:pt x="246" y="154"/>
                          </a:lnTo>
                          <a:lnTo>
                            <a:pt x="246" y="156"/>
                          </a:lnTo>
                          <a:lnTo>
                            <a:pt x="246" y="166"/>
                          </a:lnTo>
                          <a:lnTo>
                            <a:pt x="240" y="166"/>
                          </a:lnTo>
                          <a:lnTo>
                            <a:pt x="236" y="168"/>
                          </a:lnTo>
                          <a:lnTo>
                            <a:pt x="228" y="168"/>
                          </a:lnTo>
                          <a:lnTo>
                            <a:pt x="226" y="168"/>
                          </a:lnTo>
                          <a:lnTo>
                            <a:pt x="224" y="166"/>
                          </a:lnTo>
                          <a:lnTo>
                            <a:pt x="222" y="164"/>
                          </a:lnTo>
                          <a:lnTo>
                            <a:pt x="220" y="164"/>
                          </a:lnTo>
                          <a:lnTo>
                            <a:pt x="218" y="162"/>
                          </a:lnTo>
                          <a:lnTo>
                            <a:pt x="214" y="162"/>
                          </a:lnTo>
                          <a:lnTo>
                            <a:pt x="212" y="162"/>
                          </a:lnTo>
                          <a:lnTo>
                            <a:pt x="212" y="160"/>
                          </a:lnTo>
                          <a:lnTo>
                            <a:pt x="212" y="154"/>
                          </a:lnTo>
                          <a:lnTo>
                            <a:pt x="212" y="152"/>
                          </a:lnTo>
                          <a:lnTo>
                            <a:pt x="212" y="150"/>
                          </a:lnTo>
                          <a:lnTo>
                            <a:pt x="214" y="150"/>
                          </a:lnTo>
                          <a:lnTo>
                            <a:pt x="218" y="150"/>
                          </a:lnTo>
                          <a:lnTo>
                            <a:pt x="222" y="150"/>
                          </a:lnTo>
                          <a:lnTo>
                            <a:pt x="224" y="152"/>
                          </a:lnTo>
                          <a:lnTo>
                            <a:pt x="226" y="150"/>
                          </a:lnTo>
                          <a:lnTo>
                            <a:pt x="232" y="150"/>
                          </a:lnTo>
                          <a:lnTo>
                            <a:pt x="230" y="150"/>
                          </a:lnTo>
                          <a:lnTo>
                            <a:pt x="230" y="148"/>
                          </a:lnTo>
                          <a:lnTo>
                            <a:pt x="228" y="148"/>
                          </a:lnTo>
                          <a:lnTo>
                            <a:pt x="226" y="148"/>
                          </a:lnTo>
                          <a:lnTo>
                            <a:pt x="224" y="146"/>
                          </a:lnTo>
                          <a:lnTo>
                            <a:pt x="220" y="144"/>
                          </a:lnTo>
                          <a:lnTo>
                            <a:pt x="218" y="142"/>
                          </a:lnTo>
                          <a:lnTo>
                            <a:pt x="216" y="140"/>
                          </a:lnTo>
                          <a:lnTo>
                            <a:pt x="214" y="140"/>
                          </a:lnTo>
                          <a:lnTo>
                            <a:pt x="212" y="138"/>
                          </a:lnTo>
                          <a:lnTo>
                            <a:pt x="210" y="138"/>
                          </a:lnTo>
                          <a:lnTo>
                            <a:pt x="208" y="138"/>
                          </a:lnTo>
                          <a:lnTo>
                            <a:pt x="186" y="138"/>
                          </a:lnTo>
                          <a:lnTo>
                            <a:pt x="188" y="138"/>
                          </a:lnTo>
                          <a:lnTo>
                            <a:pt x="188" y="140"/>
                          </a:lnTo>
                          <a:lnTo>
                            <a:pt x="188" y="142"/>
                          </a:lnTo>
                          <a:lnTo>
                            <a:pt x="196" y="142"/>
                          </a:lnTo>
                          <a:lnTo>
                            <a:pt x="198" y="144"/>
                          </a:lnTo>
                          <a:lnTo>
                            <a:pt x="198" y="146"/>
                          </a:lnTo>
                          <a:lnTo>
                            <a:pt x="196" y="148"/>
                          </a:lnTo>
                          <a:lnTo>
                            <a:pt x="194" y="158"/>
                          </a:lnTo>
                          <a:lnTo>
                            <a:pt x="192" y="160"/>
                          </a:lnTo>
                          <a:lnTo>
                            <a:pt x="192" y="164"/>
                          </a:lnTo>
                          <a:lnTo>
                            <a:pt x="194" y="164"/>
                          </a:lnTo>
                          <a:lnTo>
                            <a:pt x="196" y="164"/>
                          </a:lnTo>
                          <a:lnTo>
                            <a:pt x="202" y="164"/>
                          </a:lnTo>
                          <a:lnTo>
                            <a:pt x="204" y="166"/>
                          </a:lnTo>
                          <a:lnTo>
                            <a:pt x="206" y="166"/>
                          </a:lnTo>
                          <a:lnTo>
                            <a:pt x="206" y="182"/>
                          </a:lnTo>
                          <a:lnTo>
                            <a:pt x="204" y="180"/>
                          </a:lnTo>
                          <a:lnTo>
                            <a:pt x="202" y="178"/>
                          </a:lnTo>
                          <a:lnTo>
                            <a:pt x="200" y="178"/>
                          </a:lnTo>
                          <a:lnTo>
                            <a:pt x="200" y="176"/>
                          </a:lnTo>
                          <a:lnTo>
                            <a:pt x="198" y="180"/>
                          </a:lnTo>
                          <a:lnTo>
                            <a:pt x="196" y="182"/>
                          </a:lnTo>
                          <a:lnTo>
                            <a:pt x="196" y="184"/>
                          </a:lnTo>
                          <a:lnTo>
                            <a:pt x="194" y="180"/>
                          </a:lnTo>
                          <a:lnTo>
                            <a:pt x="194" y="178"/>
                          </a:lnTo>
                          <a:lnTo>
                            <a:pt x="194" y="176"/>
                          </a:lnTo>
                          <a:lnTo>
                            <a:pt x="192" y="174"/>
                          </a:lnTo>
                          <a:lnTo>
                            <a:pt x="190" y="174"/>
                          </a:lnTo>
                          <a:lnTo>
                            <a:pt x="188" y="172"/>
                          </a:lnTo>
                          <a:lnTo>
                            <a:pt x="186" y="172"/>
                          </a:lnTo>
                          <a:lnTo>
                            <a:pt x="184" y="172"/>
                          </a:lnTo>
                          <a:lnTo>
                            <a:pt x="182" y="172"/>
                          </a:lnTo>
                          <a:lnTo>
                            <a:pt x="180" y="172"/>
                          </a:lnTo>
                          <a:lnTo>
                            <a:pt x="178" y="170"/>
                          </a:lnTo>
                          <a:lnTo>
                            <a:pt x="176" y="172"/>
                          </a:lnTo>
                          <a:lnTo>
                            <a:pt x="174" y="174"/>
                          </a:lnTo>
                          <a:lnTo>
                            <a:pt x="172" y="176"/>
                          </a:lnTo>
                          <a:lnTo>
                            <a:pt x="172" y="178"/>
                          </a:lnTo>
                          <a:lnTo>
                            <a:pt x="170" y="178"/>
                          </a:lnTo>
                          <a:lnTo>
                            <a:pt x="168" y="180"/>
                          </a:lnTo>
                          <a:lnTo>
                            <a:pt x="166" y="180"/>
                          </a:lnTo>
                          <a:lnTo>
                            <a:pt x="164" y="180"/>
                          </a:lnTo>
                          <a:lnTo>
                            <a:pt x="164" y="182"/>
                          </a:lnTo>
                          <a:lnTo>
                            <a:pt x="160" y="184"/>
                          </a:lnTo>
                          <a:lnTo>
                            <a:pt x="158" y="186"/>
                          </a:lnTo>
                          <a:lnTo>
                            <a:pt x="154" y="188"/>
                          </a:lnTo>
                          <a:lnTo>
                            <a:pt x="152" y="188"/>
                          </a:lnTo>
                          <a:lnTo>
                            <a:pt x="150" y="188"/>
                          </a:lnTo>
                          <a:lnTo>
                            <a:pt x="148" y="188"/>
                          </a:lnTo>
                          <a:lnTo>
                            <a:pt x="148" y="190"/>
                          </a:lnTo>
                          <a:lnTo>
                            <a:pt x="150" y="192"/>
                          </a:lnTo>
                          <a:lnTo>
                            <a:pt x="154" y="194"/>
                          </a:lnTo>
                          <a:lnTo>
                            <a:pt x="158" y="196"/>
                          </a:lnTo>
                          <a:lnTo>
                            <a:pt x="160" y="198"/>
                          </a:lnTo>
                          <a:lnTo>
                            <a:pt x="164" y="200"/>
                          </a:lnTo>
                          <a:lnTo>
                            <a:pt x="166" y="204"/>
                          </a:lnTo>
                          <a:lnTo>
                            <a:pt x="168" y="206"/>
                          </a:lnTo>
                          <a:lnTo>
                            <a:pt x="168" y="208"/>
                          </a:lnTo>
                          <a:lnTo>
                            <a:pt x="166" y="208"/>
                          </a:lnTo>
                          <a:lnTo>
                            <a:pt x="164" y="206"/>
                          </a:lnTo>
                          <a:lnTo>
                            <a:pt x="162" y="206"/>
                          </a:lnTo>
                          <a:lnTo>
                            <a:pt x="160" y="206"/>
                          </a:lnTo>
                          <a:lnTo>
                            <a:pt x="152" y="206"/>
                          </a:lnTo>
                          <a:lnTo>
                            <a:pt x="150" y="206"/>
                          </a:lnTo>
                          <a:lnTo>
                            <a:pt x="148" y="204"/>
                          </a:lnTo>
                          <a:lnTo>
                            <a:pt x="146" y="204"/>
                          </a:lnTo>
                          <a:lnTo>
                            <a:pt x="142" y="204"/>
                          </a:lnTo>
                          <a:lnTo>
                            <a:pt x="140" y="202"/>
                          </a:lnTo>
                          <a:lnTo>
                            <a:pt x="136" y="202"/>
                          </a:lnTo>
                          <a:lnTo>
                            <a:pt x="132" y="202"/>
                          </a:lnTo>
                          <a:lnTo>
                            <a:pt x="132" y="200"/>
                          </a:lnTo>
                          <a:lnTo>
                            <a:pt x="130" y="200"/>
                          </a:lnTo>
                          <a:lnTo>
                            <a:pt x="130" y="198"/>
                          </a:lnTo>
                          <a:lnTo>
                            <a:pt x="130" y="196"/>
                          </a:lnTo>
                          <a:lnTo>
                            <a:pt x="128" y="196"/>
                          </a:lnTo>
                          <a:lnTo>
                            <a:pt x="126" y="196"/>
                          </a:lnTo>
                          <a:lnTo>
                            <a:pt x="124" y="194"/>
                          </a:lnTo>
                          <a:lnTo>
                            <a:pt x="122" y="196"/>
                          </a:lnTo>
                          <a:lnTo>
                            <a:pt x="118" y="196"/>
                          </a:lnTo>
                          <a:lnTo>
                            <a:pt x="116" y="198"/>
                          </a:lnTo>
                          <a:lnTo>
                            <a:pt x="114" y="198"/>
                          </a:lnTo>
                          <a:lnTo>
                            <a:pt x="112" y="198"/>
                          </a:lnTo>
                          <a:lnTo>
                            <a:pt x="114" y="202"/>
                          </a:lnTo>
                          <a:lnTo>
                            <a:pt x="116" y="204"/>
                          </a:lnTo>
                          <a:lnTo>
                            <a:pt x="118" y="206"/>
                          </a:lnTo>
                          <a:lnTo>
                            <a:pt x="120" y="208"/>
                          </a:lnTo>
                          <a:lnTo>
                            <a:pt x="122" y="208"/>
                          </a:lnTo>
                          <a:lnTo>
                            <a:pt x="124" y="208"/>
                          </a:lnTo>
                          <a:lnTo>
                            <a:pt x="128" y="210"/>
                          </a:lnTo>
                          <a:lnTo>
                            <a:pt x="130" y="210"/>
                          </a:lnTo>
                          <a:lnTo>
                            <a:pt x="134" y="210"/>
                          </a:lnTo>
                          <a:lnTo>
                            <a:pt x="134" y="212"/>
                          </a:lnTo>
                          <a:lnTo>
                            <a:pt x="136" y="212"/>
                          </a:lnTo>
                          <a:lnTo>
                            <a:pt x="136" y="214"/>
                          </a:lnTo>
                          <a:lnTo>
                            <a:pt x="134" y="214"/>
                          </a:lnTo>
                          <a:lnTo>
                            <a:pt x="134" y="216"/>
                          </a:lnTo>
                          <a:lnTo>
                            <a:pt x="132" y="218"/>
                          </a:lnTo>
                          <a:lnTo>
                            <a:pt x="130" y="218"/>
                          </a:lnTo>
                          <a:lnTo>
                            <a:pt x="130" y="220"/>
                          </a:lnTo>
                          <a:lnTo>
                            <a:pt x="126" y="218"/>
                          </a:lnTo>
                          <a:lnTo>
                            <a:pt x="124" y="218"/>
                          </a:lnTo>
                          <a:lnTo>
                            <a:pt x="122" y="218"/>
                          </a:lnTo>
                          <a:lnTo>
                            <a:pt x="120" y="216"/>
                          </a:lnTo>
                          <a:lnTo>
                            <a:pt x="118" y="216"/>
                          </a:lnTo>
                          <a:lnTo>
                            <a:pt x="116" y="216"/>
                          </a:lnTo>
                          <a:lnTo>
                            <a:pt x="114" y="216"/>
                          </a:lnTo>
                          <a:lnTo>
                            <a:pt x="114" y="214"/>
                          </a:lnTo>
                          <a:lnTo>
                            <a:pt x="112" y="214"/>
                          </a:lnTo>
                          <a:lnTo>
                            <a:pt x="110" y="212"/>
                          </a:lnTo>
                          <a:lnTo>
                            <a:pt x="108" y="210"/>
                          </a:lnTo>
                          <a:lnTo>
                            <a:pt x="104" y="210"/>
                          </a:lnTo>
                          <a:lnTo>
                            <a:pt x="102" y="210"/>
                          </a:lnTo>
                          <a:lnTo>
                            <a:pt x="92" y="210"/>
                          </a:lnTo>
                          <a:lnTo>
                            <a:pt x="92" y="208"/>
                          </a:lnTo>
                          <a:lnTo>
                            <a:pt x="92" y="196"/>
                          </a:lnTo>
                          <a:lnTo>
                            <a:pt x="90" y="196"/>
                          </a:lnTo>
                          <a:lnTo>
                            <a:pt x="88" y="196"/>
                          </a:lnTo>
                          <a:lnTo>
                            <a:pt x="88" y="194"/>
                          </a:lnTo>
                          <a:lnTo>
                            <a:pt x="90" y="192"/>
                          </a:lnTo>
                          <a:lnTo>
                            <a:pt x="90" y="190"/>
                          </a:lnTo>
                          <a:lnTo>
                            <a:pt x="92" y="190"/>
                          </a:lnTo>
                          <a:lnTo>
                            <a:pt x="92" y="188"/>
                          </a:lnTo>
                          <a:lnTo>
                            <a:pt x="92" y="186"/>
                          </a:lnTo>
                          <a:lnTo>
                            <a:pt x="92" y="184"/>
                          </a:lnTo>
                          <a:lnTo>
                            <a:pt x="90" y="182"/>
                          </a:lnTo>
                          <a:lnTo>
                            <a:pt x="88" y="182"/>
                          </a:lnTo>
                          <a:lnTo>
                            <a:pt x="86" y="182"/>
                          </a:lnTo>
                          <a:lnTo>
                            <a:pt x="82" y="180"/>
                          </a:lnTo>
                          <a:lnTo>
                            <a:pt x="78" y="180"/>
                          </a:lnTo>
                          <a:lnTo>
                            <a:pt x="74" y="178"/>
                          </a:lnTo>
                          <a:lnTo>
                            <a:pt x="72" y="178"/>
                          </a:lnTo>
                          <a:lnTo>
                            <a:pt x="70" y="178"/>
                          </a:lnTo>
                          <a:lnTo>
                            <a:pt x="68" y="176"/>
                          </a:lnTo>
                          <a:lnTo>
                            <a:pt x="66" y="174"/>
                          </a:lnTo>
                          <a:lnTo>
                            <a:pt x="64" y="172"/>
                          </a:lnTo>
                          <a:lnTo>
                            <a:pt x="62" y="172"/>
                          </a:lnTo>
                          <a:lnTo>
                            <a:pt x="60" y="170"/>
                          </a:lnTo>
                          <a:lnTo>
                            <a:pt x="58" y="170"/>
                          </a:lnTo>
                          <a:lnTo>
                            <a:pt x="58" y="168"/>
                          </a:lnTo>
                          <a:lnTo>
                            <a:pt x="56" y="168"/>
                          </a:lnTo>
                          <a:lnTo>
                            <a:pt x="56" y="166"/>
                          </a:lnTo>
                          <a:lnTo>
                            <a:pt x="54" y="166"/>
                          </a:lnTo>
                          <a:lnTo>
                            <a:pt x="54" y="164"/>
                          </a:lnTo>
                          <a:lnTo>
                            <a:pt x="52" y="164"/>
                          </a:lnTo>
                          <a:lnTo>
                            <a:pt x="60" y="164"/>
                          </a:lnTo>
                          <a:lnTo>
                            <a:pt x="62" y="166"/>
                          </a:lnTo>
                          <a:lnTo>
                            <a:pt x="64" y="166"/>
                          </a:lnTo>
                          <a:lnTo>
                            <a:pt x="66" y="168"/>
                          </a:lnTo>
                          <a:lnTo>
                            <a:pt x="68" y="168"/>
                          </a:lnTo>
                          <a:lnTo>
                            <a:pt x="82" y="168"/>
                          </a:lnTo>
                          <a:lnTo>
                            <a:pt x="84" y="170"/>
                          </a:lnTo>
                          <a:lnTo>
                            <a:pt x="86" y="172"/>
                          </a:lnTo>
                          <a:lnTo>
                            <a:pt x="88" y="174"/>
                          </a:lnTo>
                          <a:lnTo>
                            <a:pt x="90" y="174"/>
                          </a:lnTo>
                          <a:lnTo>
                            <a:pt x="92" y="174"/>
                          </a:lnTo>
                          <a:lnTo>
                            <a:pt x="100" y="174"/>
                          </a:lnTo>
                          <a:lnTo>
                            <a:pt x="106" y="176"/>
                          </a:lnTo>
                          <a:lnTo>
                            <a:pt x="112" y="176"/>
                          </a:lnTo>
                          <a:lnTo>
                            <a:pt x="116" y="176"/>
                          </a:lnTo>
                          <a:lnTo>
                            <a:pt x="116" y="178"/>
                          </a:lnTo>
                          <a:lnTo>
                            <a:pt x="118" y="178"/>
                          </a:lnTo>
                          <a:lnTo>
                            <a:pt x="120" y="178"/>
                          </a:lnTo>
                          <a:lnTo>
                            <a:pt x="124" y="180"/>
                          </a:lnTo>
                          <a:lnTo>
                            <a:pt x="128" y="180"/>
                          </a:lnTo>
                          <a:lnTo>
                            <a:pt x="140" y="180"/>
                          </a:lnTo>
                          <a:lnTo>
                            <a:pt x="142" y="180"/>
                          </a:lnTo>
                          <a:lnTo>
                            <a:pt x="144" y="178"/>
                          </a:lnTo>
                          <a:lnTo>
                            <a:pt x="150" y="178"/>
                          </a:lnTo>
                          <a:lnTo>
                            <a:pt x="156" y="176"/>
                          </a:lnTo>
                          <a:lnTo>
                            <a:pt x="160" y="174"/>
                          </a:lnTo>
                          <a:lnTo>
                            <a:pt x="162" y="172"/>
                          </a:lnTo>
                          <a:lnTo>
                            <a:pt x="164" y="172"/>
                          </a:lnTo>
                          <a:lnTo>
                            <a:pt x="166" y="170"/>
                          </a:lnTo>
                          <a:lnTo>
                            <a:pt x="168" y="170"/>
                          </a:lnTo>
                          <a:lnTo>
                            <a:pt x="168" y="166"/>
                          </a:lnTo>
                          <a:lnTo>
                            <a:pt x="166" y="164"/>
                          </a:lnTo>
                          <a:lnTo>
                            <a:pt x="164" y="160"/>
                          </a:lnTo>
                          <a:lnTo>
                            <a:pt x="162" y="158"/>
                          </a:lnTo>
                          <a:lnTo>
                            <a:pt x="158" y="154"/>
                          </a:lnTo>
                          <a:lnTo>
                            <a:pt x="156" y="152"/>
                          </a:lnTo>
                          <a:lnTo>
                            <a:pt x="154" y="150"/>
                          </a:lnTo>
                          <a:lnTo>
                            <a:pt x="150" y="148"/>
                          </a:lnTo>
                          <a:lnTo>
                            <a:pt x="148" y="148"/>
                          </a:lnTo>
                          <a:lnTo>
                            <a:pt x="146" y="148"/>
                          </a:lnTo>
                          <a:lnTo>
                            <a:pt x="142" y="148"/>
                          </a:lnTo>
                          <a:lnTo>
                            <a:pt x="140" y="146"/>
                          </a:lnTo>
                          <a:lnTo>
                            <a:pt x="134" y="146"/>
                          </a:lnTo>
                          <a:lnTo>
                            <a:pt x="130" y="144"/>
                          </a:lnTo>
                          <a:lnTo>
                            <a:pt x="126" y="142"/>
                          </a:lnTo>
                          <a:lnTo>
                            <a:pt x="122" y="142"/>
                          </a:lnTo>
                          <a:lnTo>
                            <a:pt x="118" y="140"/>
                          </a:lnTo>
                          <a:lnTo>
                            <a:pt x="116" y="140"/>
                          </a:lnTo>
                          <a:lnTo>
                            <a:pt x="114" y="138"/>
                          </a:lnTo>
                          <a:lnTo>
                            <a:pt x="110" y="138"/>
                          </a:lnTo>
                          <a:lnTo>
                            <a:pt x="104" y="134"/>
                          </a:lnTo>
                          <a:lnTo>
                            <a:pt x="100" y="132"/>
                          </a:lnTo>
                          <a:lnTo>
                            <a:pt x="96" y="132"/>
                          </a:lnTo>
                          <a:lnTo>
                            <a:pt x="94" y="130"/>
                          </a:lnTo>
                          <a:lnTo>
                            <a:pt x="60" y="130"/>
                          </a:lnTo>
                          <a:lnTo>
                            <a:pt x="60" y="128"/>
                          </a:lnTo>
                          <a:lnTo>
                            <a:pt x="58" y="126"/>
                          </a:lnTo>
                          <a:lnTo>
                            <a:pt x="50" y="126"/>
                          </a:lnTo>
                          <a:lnTo>
                            <a:pt x="46" y="126"/>
                          </a:lnTo>
                          <a:lnTo>
                            <a:pt x="44" y="126"/>
                          </a:lnTo>
                          <a:lnTo>
                            <a:pt x="44" y="124"/>
                          </a:lnTo>
                          <a:lnTo>
                            <a:pt x="46" y="122"/>
                          </a:lnTo>
                          <a:lnTo>
                            <a:pt x="50" y="122"/>
                          </a:lnTo>
                          <a:lnTo>
                            <a:pt x="52" y="120"/>
                          </a:lnTo>
                          <a:lnTo>
                            <a:pt x="54" y="120"/>
                          </a:lnTo>
                          <a:lnTo>
                            <a:pt x="52" y="120"/>
                          </a:lnTo>
                          <a:lnTo>
                            <a:pt x="50" y="118"/>
                          </a:lnTo>
                          <a:lnTo>
                            <a:pt x="48" y="118"/>
                          </a:lnTo>
                          <a:lnTo>
                            <a:pt x="46" y="116"/>
                          </a:lnTo>
                          <a:lnTo>
                            <a:pt x="42" y="116"/>
                          </a:lnTo>
                          <a:lnTo>
                            <a:pt x="40" y="114"/>
                          </a:lnTo>
                          <a:lnTo>
                            <a:pt x="36" y="114"/>
                          </a:lnTo>
                          <a:lnTo>
                            <a:pt x="36" y="116"/>
                          </a:lnTo>
                          <a:lnTo>
                            <a:pt x="34" y="116"/>
                          </a:lnTo>
                          <a:lnTo>
                            <a:pt x="34" y="118"/>
                          </a:lnTo>
                          <a:lnTo>
                            <a:pt x="34" y="120"/>
                          </a:lnTo>
                          <a:lnTo>
                            <a:pt x="30" y="120"/>
                          </a:lnTo>
                          <a:lnTo>
                            <a:pt x="28" y="122"/>
                          </a:lnTo>
                          <a:lnTo>
                            <a:pt x="26" y="124"/>
                          </a:lnTo>
                          <a:lnTo>
                            <a:pt x="24" y="124"/>
                          </a:lnTo>
                          <a:lnTo>
                            <a:pt x="18" y="124"/>
                          </a:lnTo>
                          <a:lnTo>
                            <a:pt x="18" y="126"/>
                          </a:lnTo>
                          <a:lnTo>
                            <a:pt x="16" y="126"/>
                          </a:lnTo>
                          <a:lnTo>
                            <a:pt x="12" y="126"/>
                          </a:lnTo>
                          <a:lnTo>
                            <a:pt x="12" y="128"/>
                          </a:lnTo>
                          <a:lnTo>
                            <a:pt x="10" y="130"/>
                          </a:lnTo>
                          <a:lnTo>
                            <a:pt x="8" y="132"/>
                          </a:lnTo>
                          <a:lnTo>
                            <a:pt x="6" y="132"/>
                          </a:lnTo>
                          <a:lnTo>
                            <a:pt x="4" y="132"/>
                          </a:lnTo>
                          <a:lnTo>
                            <a:pt x="4" y="130"/>
                          </a:lnTo>
                          <a:lnTo>
                            <a:pt x="2" y="130"/>
                          </a:lnTo>
                          <a:lnTo>
                            <a:pt x="2" y="132"/>
                          </a:lnTo>
                          <a:lnTo>
                            <a:pt x="4" y="134"/>
                          </a:lnTo>
                          <a:lnTo>
                            <a:pt x="4" y="136"/>
                          </a:lnTo>
                          <a:lnTo>
                            <a:pt x="4" y="138"/>
                          </a:lnTo>
                          <a:lnTo>
                            <a:pt x="2" y="140"/>
                          </a:lnTo>
                          <a:lnTo>
                            <a:pt x="0" y="140"/>
                          </a:lnTo>
                          <a:lnTo>
                            <a:pt x="2" y="142"/>
                          </a:lnTo>
                          <a:lnTo>
                            <a:pt x="2" y="144"/>
                          </a:lnTo>
                          <a:lnTo>
                            <a:pt x="2" y="146"/>
                          </a:lnTo>
                          <a:lnTo>
                            <a:pt x="4" y="146"/>
                          </a:lnTo>
                          <a:lnTo>
                            <a:pt x="12" y="146"/>
                          </a:lnTo>
                          <a:lnTo>
                            <a:pt x="12" y="148"/>
                          </a:lnTo>
                          <a:lnTo>
                            <a:pt x="16" y="150"/>
                          </a:lnTo>
                          <a:lnTo>
                            <a:pt x="16" y="152"/>
                          </a:lnTo>
                          <a:lnTo>
                            <a:pt x="18" y="152"/>
                          </a:lnTo>
                          <a:lnTo>
                            <a:pt x="18" y="154"/>
                          </a:lnTo>
                          <a:lnTo>
                            <a:pt x="20" y="154"/>
                          </a:lnTo>
                          <a:lnTo>
                            <a:pt x="22" y="156"/>
                          </a:lnTo>
                          <a:lnTo>
                            <a:pt x="22" y="158"/>
                          </a:lnTo>
                          <a:lnTo>
                            <a:pt x="22" y="160"/>
                          </a:lnTo>
                          <a:lnTo>
                            <a:pt x="20" y="160"/>
                          </a:lnTo>
                          <a:lnTo>
                            <a:pt x="18" y="162"/>
                          </a:lnTo>
                          <a:lnTo>
                            <a:pt x="16" y="162"/>
                          </a:lnTo>
                          <a:lnTo>
                            <a:pt x="16" y="164"/>
                          </a:lnTo>
                          <a:lnTo>
                            <a:pt x="14" y="164"/>
                          </a:lnTo>
                          <a:lnTo>
                            <a:pt x="12" y="166"/>
                          </a:lnTo>
                          <a:lnTo>
                            <a:pt x="14" y="168"/>
                          </a:lnTo>
                          <a:lnTo>
                            <a:pt x="16" y="170"/>
                          </a:lnTo>
                          <a:lnTo>
                            <a:pt x="16" y="172"/>
                          </a:lnTo>
                          <a:lnTo>
                            <a:pt x="18" y="172"/>
                          </a:lnTo>
                          <a:lnTo>
                            <a:pt x="20" y="174"/>
                          </a:lnTo>
                          <a:lnTo>
                            <a:pt x="22" y="176"/>
                          </a:lnTo>
                          <a:lnTo>
                            <a:pt x="26" y="178"/>
                          </a:lnTo>
                          <a:lnTo>
                            <a:pt x="28" y="182"/>
                          </a:lnTo>
                          <a:lnTo>
                            <a:pt x="30" y="184"/>
                          </a:lnTo>
                          <a:lnTo>
                            <a:pt x="32" y="186"/>
                          </a:lnTo>
                          <a:lnTo>
                            <a:pt x="32" y="188"/>
                          </a:lnTo>
                          <a:lnTo>
                            <a:pt x="24" y="188"/>
                          </a:lnTo>
                          <a:lnTo>
                            <a:pt x="24" y="190"/>
                          </a:lnTo>
                          <a:lnTo>
                            <a:pt x="24" y="192"/>
                          </a:lnTo>
                          <a:lnTo>
                            <a:pt x="22" y="194"/>
                          </a:lnTo>
                          <a:lnTo>
                            <a:pt x="22" y="196"/>
                          </a:lnTo>
                          <a:lnTo>
                            <a:pt x="24" y="196"/>
                          </a:lnTo>
                          <a:lnTo>
                            <a:pt x="24" y="198"/>
                          </a:lnTo>
                          <a:lnTo>
                            <a:pt x="26" y="198"/>
                          </a:lnTo>
                          <a:lnTo>
                            <a:pt x="26" y="200"/>
                          </a:lnTo>
                          <a:lnTo>
                            <a:pt x="28" y="200"/>
                          </a:lnTo>
                          <a:lnTo>
                            <a:pt x="30" y="200"/>
                          </a:lnTo>
                          <a:lnTo>
                            <a:pt x="30" y="202"/>
                          </a:lnTo>
                          <a:lnTo>
                            <a:pt x="32" y="202"/>
                          </a:lnTo>
                          <a:lnTo>
                            <a:pt x="32" y="204"/>
                          </a:lnTo>
                          <a:lnTo>
                            <a:pt x="30" y="206"/>
                          </a:lnTo>
                          <a:lnTo>
                            <a:pt x="30" y="208"/>
                          </a:lnTo>
                          <a:lnTo>
                            <a:pt x="32" y="208"/>
                          </a:lnTo>
                          <a:lnTo>
                            <a:pt x="34" y="210"/>
                          </a:lnTo>
                          <a:lnTo>
                            <a:pt x="36" y="210"/>
                          </a:lnTo>
                          <a:lnTo>
                            <a:pt x="38" y="212"/>
                          </a:lnTo>
                          <a:lnTo>
                            <a:pt x="40" y="214"/>
                          </a:lnTo>
                          <a:lnTo>
                            <a:pt x="40" y="216"/>
                          </a:lnTo>
                          <a:lnTo>
                            <a:pt x="38" y="216"/>
                          </a:lnTo>
                          <a:lnTo>
                            <a:pt x="36" y="218"/>
                          </a:lnTo>
                          <a:lnTo>
                            <a:pt x="32" y="220"/>
                          </a:lnTo>
                          <a:lnTo>
                            <a:pt x="34" y="222"/>
                          </a:lnTo>
                          <a:lnTo>
                            <a:pt x="42" y="226"/>
                          </a:lnTo>
                          <a:lnTo>
                            <a:pt x="44" y="226"/>
                          </a:lnTo>
                          <a:lnTo>
                            <a:pt x="46" y="228"/>
                          </a:lnTo>
                          <a:lnTo>
                            <a:pt x="48" y="228"/>
                          </a:lnTo>
                          <a:lnTo>
                            <a:pt x="48" y="230"/>
                          </a:lnTo>
                          <a:lnTo>
                            <a:pt x="50" y="232"/>
                          </a:lnTo>
                          <a:lnTo>
                            <a:pt x="52" y="232"/>
                          </a:lnTo>
                          <a:lnTo>
                            <a:pt x="52" y="234"/>
                          </a:lnTo>
                          <a:lnTo>
                            <a:pt x="54" y="236"/>
                          </a:lnTo>
                          <a:lnTo>
                            <a:pt x="54" y="238"/>
                          </a:lnTo>
                          <a:lnTo>
                            <a:pt x="52" y="240"/>
                          </a:lnTo>
                          <a:lnTo>
                            <a:pt x="50" y="242"/>
                          </a:lnTo>
                          <a:lnTo>
                            <a:pt x="50" y="244"/>
                          </a:lnTo>
                          <a:lnTo>
                            <a:pt x="48" y="244"/>
                          </a:lnTo>
                          <a:lnTo>
                            <a:pt x="46" y="246"/>
                          </a:lnTo>
                          <a:lnTo>
                            <a:pt x="44" y="248"/>
                          </a:lnTo>
                          <a:lnTo>
                            <a:pt x="44" y="250"/>
                          </a:lnTo>
                          <a:lnTo>
                            <a:pt x="42" y="250"/>
                          </a:lnTo>
                          <a:lnTo>
                            <a:pt x="42" y="252"/>
                          </a:lnTo>
                          <a:lnTo>
                            <a:pt x="40" y="252"/>
                          </a:lnTo>
                          <a:lnTo>
                            <a:pt x="38" y="254"/>
                          </a:lnTo>
                          <a:lnTo>
                            <a:pt x="36" y="256"/>
                          </a:lnTo>
                          <a:lnTo>
                            <a:pt x="32" y="258"/>
                          </a:lnTo>
                          <a:lnTo>
                            <a:pt x="32" y="260"/>
                          </a:lnTo>
                          <a:lnTo>
                            <a:pt x="30" y="262"/>
                          </a:lnTo>
                          <a:lnTo>
                            <a:pt x="30" y="264"/>
                          </a:lnTo>
                          <a:lnTo>
                            <a:pt x="28" y="264"/>
                          </a:lnTo>
                          <a:lnTo>
                            <a:pt x="26" y="264"/>
                          </a:lnTo>
                          <a:lnTo>
                            <a:pt x="24" y="266"/>
                          </a:lnTo>
                          <a:lnTo>
                            <a:pt x="22" y="268"/>
                          </a:lnTo>
                          <a:lnTo>
                            <a:pt x="18" y="268"/>
                          </a:lnTo>
                          <a:lnTo>
                            <a:pt x="16" y="270"/>
                          </a:lnTo>
                          <a:lnTo>
                            <a:pt x="14" y="272"/>
                          </a:lnTo>
                          <a:lnTo>
                            <a:pt x="14" y="274"/>
                          </a:lnTo>
                          <a:lnTo>
                            <a:pt x="16" y="274"/>
                          </a:lnTo>
                          <a:lnTo>
                            <a:pt x="18" y="272"/>
                          </a:lnTo>
                          <a:lnTo>
                            <a:pt x="20" y="272"/>
                          </a:lnTo>
                          <a:lnTo>
                            <a:pt x="22" y="272"/>
                          </a:lnTo>
                          <a:lnTo>
                            <a:pt x="22" y="274"/>
                          </a:lnTo>
                          <a:lnTo>
                            <a:pt x="24" y="274"/>
                          </a:lnTo>
                          <a:lnTo>
                            <a:pt x="24" y="276"/>
                          </a:lnTo>
                          <a:lnTo>
                            <a:pt x="28" y="278"/>
                          </a:lnTo>
                          <a:lnTo>
                            <a:pt x="30" y="280"/>
                          </a:lnTo>
                          <a:lnTo>
                            <a:pt x="40" y="280"/>
                          </a:lnTo>
                          <a:lnTo>
                            <a:pt x="42" y="282"/>
                          </a:lnTo>
                          <a:lnTo>
                            <a:pt x="44" y="284"/>
                          </a:lnTo>
                          <a:lnTo>
                            <a:pt x="44" y="286"/>
                          </a:lnTo>
                          <a:lnTo>
                            <a:pt x="42" y="284"/>
                          </a:lnTo>
                          <a:lnTo>
                            <a:pt x="30" y="284"/>
                          </a:lnTo>
                          <a:lnTo>
                            <a:pt x="30" y="290"/>
                          </a:lnTo>
                          <a:lnTo>
                            <a:pt x="18" y="290"/>
                          </a:lnTo>
                          <a:lnTo>
                            <a:pt x="18" y="296"/>
                          </a:lnTo>
                          <a:lnTo>
                            <a:pt x="18" y="294"/>
                          </a:lnTo>
                          <a:lnTo>
                            <a:pt x="16" y="294"/>
                          </a:lnTo>
                          <a:lnTo>
                            <a:pt x="14" y="294"/>
                          </a:lnTo>
                          <a:lnTo>
                            <a:pt x="14" y="300"/>
                          </a:lnTo>
                          <a:lnTo>
                            <a:pt x="12" y="302"/>
                          </a:lnTo>
                          <a:lnTo>
                            <a:pt x="10" y="304"/>
                          </a:lnTo>
                          <a:lnTo>
                            <a:pt x="10" y="306"/>
                          </a:lnTo>
                          <a:lnTo>
                            <a:pt x="10" y="310"/>
                          </a:lnTo>
                          <a:lnTo>
                            <a:pt x="12" y="310"/>
                          </a:lnTo>
                          <a:lnTo>
                            <a:pt x="12" y="312"/>
                          </a:lnTo>
                          <a:lnTo>
                            <a:pt x="14" y="312"/>
                          </a:lnTo>
                          <a:lnTo>
                            <a:pt x="14" y="314"/>
                          </a:lnTo>
                          <a:lnTo>
                            <a:pt x="12" y="316"/>
                          </a:lnTo>
                          <a:lnTo>
                            <a:pt x="12" y="318"/>
                          </a:lnTo>
                          <a:lnTo>
                            <a:pt x="14" y="318"/>
                          </a:lnTo>
                          <a:lnTo>
                            <a:pt x="14" y="320"/>
                          </a:lnTo>
                          <a:lnTo>
                            <a:pt x="16" y="320"/>
                          </a:lnTo>
                          <a:lnTo>
                            <a:pt x="16" y="322"/>
                          </a:lnTo>
                          <a:lnTo>
                            <a:pt x="14" y="324"/>
                          </a:lnTo>
                          <a:lnTo>
                            <a:pt x="12" y="324"/>
                          </a:lnTo>
                          <a:lnTo>
                            <a:pt x="12" y="328"/>
                          </a:lnTo>
                          <a:lnTo>
                            <a:pt x="14" y="328"/>
                          </a:lnTo>
                          <a:lnTo>
                            <a:pt x="18" y="330"/>
                          </a:lnTo>
                          <a:lnTo>
                            <a:pt x="20" y="332"/>
                          </a:lnTo>
                          <a:lnTo>
                            <a:pt x="20" y="334"/>
                          </a:lnTo>
                          <a:lnTo>
                            <a:pt x="22" y="334"/>
                          </a:lnTo>
                          <a:lnTo>
                            <a:pt x="20" y="334"/>
                          </a:lnTo>
                          <a:lnTo>
                            <a:pt x="20" y="336"/>
                          </a:lnTo>
                          <a:lnTo>
                            <a:pt x="18" y="336"/>
                          </a:lnTo>
                          <a:lnTo>
                            <a:pt x="16" y="336"/>
                          </a:lnTo>
                          <a:lnTo>
                            <a:pt x="16" y="340"/>
                          </a:lnTo>
                          <a:lnTo>
                            <a:pt x="22" y="340"/>
                          </a:lnTo>
                          <a:lnTo>
                            <a:pt x="22" y="342"/>
                          </a:lnTo>
                          <a:lnTo>
                            <a:pt x="22" y="344"/>
                          </a:lnTo>
                          <a:lnTo>
                            <a:pt x="24" y="346"/>
                          </a:lnTo>
                          <a:lnTo>
                            <a:pt x="26" y="348"/>
                          </a:lnTo>
                          <a:lnTo>
                            <a:pt x="26" y="350"/>
                          </a:lnTo>
                          <a:lnTo>
                            <a:pt x="26" y="354"/>
                          </a:lnTo>
                          <a:lnTo>
                            <a:pt x="32" y="354"/>
                          </a:lnTo>
                          <a:lnTo>
                            <a:pt x="34" y="356"/>
                          </a:lnTo>
                          <a:lnTo>
                            <a:pt x="34" y="358"/>
                          </a:lnTo>
                          <a:lnTo>
                            <a:pt x="36" y="356"/>
                          </a:lnTo>
                          <a:lnTo>
                            <a:pt x="40" y="356"/>
                          </a:lnTo>
                          <a:lnTo>
                            <a:pt x="42" y="358"/>
                          </a:lnTo>
                          <a:lnTo>
                            <a:pt x="44" y="358"/>
                          </a:lnTo>
                          <a:lnTo>
                            <a:pt x="46" y="360"/>
                          </a:lnTo>
                          <a:lnTo>
                            <a:pt x="48" y="360"/>
                          </a:lnTo>
                          <a:lnTo>
                            <a:pt x="50" y="358"/>
                          </a:lnTo>
                          <a:lnTo>
                            <a:pt x="52" y="358"/>
                          </a:lnTo>
                          <a:lnTo>
                            <a:pt x="52" y="356"/>
                          </a:lnTo>
                          <a:lnTo>
                            <a:pt x="56" y="356"/>
                          </a:lnTo>
                          <a:lnTo>
                            <a:pt x="56" y="358"/>
                          </a:lnTo>
                          <a:lnTo>
                            <a:pt x="62" y="360"/>
                          </a:lnTo>
                          <a:lnTo>
                            <a:pt x="64" y="362"/>
                          </a:lnTo>
                          <a:lnTo>
                            <a:pt x="66" y="362"/>
                          </a:lnTo>
                          <a:lnTo>
                            <a:pt x="68" y="364"/>
                          </a:lnTo>
                          <a:lnTo>
                            <a:pt x="66" y="366"/>
                          </a:lnTo>
                          <a:lnTo>
                            <a:pt x="66" y="368"/>
                          </a:lnTo>
                          <a:lnTo>
                            <a:pt x="66" y="370"/>
                          </a:lnTo>
                          <a:lnTo>
                            <a:pt x="66" y="372"/>
                          </a:lnTo>
                          <a:lnTo>
                            <a:pt x="68" y="374"/>
                          </a:lnTo>
                          <a:lnTo>
                            <a:pt x="68" y="378"/>
                          </a:lnTo>
                          <a:lnTo>
                            <a:pt x="70" y="380"/>
                          </a:lnTo>
                          <a:lnTo>
                            <a:pt x="72" y="380"/>
                          </a:lnTo>
                          <a:lnTo>
                            <a:pt x="72" y="382"/>
                          </a:lnTo>
                          <a:lnTo>
                            <a:pt x="72" y="384"/>
                          </a:lnTo>
                          <a:lnTo>
                            <a:pt x="74" y="384"/>
                          </a:lnTo>
                          <a:lnTo>
                            <a:pt x="74" y="386"/>
                          </a:lnTo>
                          <a:lnTo>
                            <a:pt x="76" y="386"/>
                          </a:lnTo>
                          <a:lnTo>
                            <a:pt x="78" y="388"/>
                          </a:lnTo>
                          <a:lnTo>
                            <a:pt x="80" y="388"/>
                          </a:lnTo>
                          <a:lnTo>
                            <a:pt x="82" y="388"/>
                          </a:lnTo>
                          <a:lnTo>
                            <a:pt x="82" y="396"/>
                          </a:lnTo>
                          <a:lnTo>
                            <a:pt x="92" y="396"/>
                          </a:lnTo>
                          <a:lnTo>
                            <a:pt x="94" y="396"/>
                          </a:lnTo>
                          <a:lnTo>
                            <a:pt x="94" y="400"/>
                          </a:lnTo>
                          <a:lnTo>
                            <a:pt x="96" y="402"/>
                          </a:lnTo>
                          <a:lnTo>
                            <a:pt x="98" y="402"/>
                          </a:lnTo>
                          <a:lnTo>
                            <a:pt x="96" y="404"/>
                          </a:lnTo>
                          <a:lnTo>
                            <a:pt x="94" y="404"/>
                          </a:lnTo>
                          <a:lnTo>
                            <a:pt x="92" y="408"/>
                          </a:lnTo>
                          <a:lnTo>
                            <a:pt x="92" y="410"/>
                          </a:lnTo>
                          <a:lnTo>
                            <a:pt x="90" y="410"/>
                          </a:lnTo>
                          <a:lnTo>
                            <a:pt x="88" y="410"/>
                          </a:lnTo>
                          <a:lnTo>
                            <a:pt x="86" y="410"/>
                          </a:lnTo>
                          <a:lnTo>
                            <a:pt x="84" y="410"/>
                          </a:lnTo>
                          <a:lnTo>
                            <a:pt x="84" y="408"/>
                          </a:lnTo>
                          <a:lnTo>
                            <a:pt x="80" y="408"/>
                          </a:lnTo>
                          <a:lnTo>
                            <a:pt x="78" y="406"/>
                          </a:lnTo>
                          <a:lnTo>
                            <a:pt x="78" y="408"/>
                          </a:lnTo>
                          <a:lnTo>
                            <a:pt x="76" y="408"/>
                          </a:lnTo>
                          <a:lnTo>
                            <a:pt x="76" y="410"/>
                          </a:lnTo>
                          <a:lnTo>
                            <a:pt x="78" y="410"/>
                          </a:lnTo>
                          <a:lnTo>
                            <a:pt x="78" y="412"/>
                          </a:lnTo>
                          <a:lnTo>
                            <a:pt x="80" y="412"/>
                          </a:lnTo>
                          <a:lnTo>
                            <a:pt x="82" y="414"/>
                          </a:lnTo>
                          <a:lnTo>
                            <a:pt x="82" y="418"/>
                          </a:lnTo>
                          <a:lnTo>
                            <a:pt x="84" y="420"/>
                          </a:lnTo>
                          <a:lnTo>
                            <a:pt x="84" y="422"/>
                          </a:lnTo>
                          <a:lnTo>
                            <a:pt x="84" y="428"/>
                          </a:lnTo>
                          <a:lnTo>
                            <a:pt x="94" y="428"/>
                          </a:lnTo>
                          <a:lnTo>
                            <a:pt x="94" y="426"/>
                          </a:lnTo>
                          <a:lnTo>
                            <a:pt x="96" y="424"/>
                          </a:lnTo>
                          <a:lnTo>
                            <a:pt x="102" y="424"/>
                          </a:lnTo>
                          <a:lnTo>
                            <a:pt x="104" y="424"/>
                          </a:lnTo>
                          <a:lnTo>
                            <a:pt x="104" y="422"/>
                          </a:lnTo>
                          <a:lnTo>
                            <a:pt x="116" y="422"/>
                          </a:lnTo>
                          <a:lnTo>
                            <a:pt x="116" y="424"/>
                          </a:lnTo>
                          <a:lnTo>
                            <a:pt x="116" y="426"/>
                          </a:lnTo>
                          <a:lnTo>
                            <a:pt x="118" y="426"/>
                          </a:lnTo>
                          <a:lnTo>
                            <a:pt x="120" y="428"/>
                          </a:lnTo>
                          <a:lnTo>
                            <a:pt x="122" y="428"/>
                          </a:lnTo>
                          <a:lnTo>
                            <a:pt x="124" y="428"/>
                          </a:lnTo>
                          <a:lnTo>
                            <a:pt x="124" y="430"/>
                          </a:lnTo>
                          <a:lnTo>
                            <a:pt x="124" y="432"/>
                          </a:lnTo>
                          <a:lnTo>
                            <a:pt x="124" y="434"/>
                          </a:lnTo>
                          <a:lnTo>
                            <a:pt x="122" y="434"/>
                          </a:lnTo>
                          <a:lnTo>
                            <a:pt x="124" y="436"/>
                          </a:lnTo>
                          <a:lnTo>
                            <a:pt x="124" y="442"/>
                          </a:lnTo>
                          <a:lnTo>
                            <a:pt x="128" y="444"/>
                          </a:lnTo>
                          <a:lnTo>
                            <a:pt x="132" y="444"/>
                          </a:lnTo>
                          <a:lnTo>
                            <a:pt x="134" y="444"/>
                          </a:lnTo>
                          <a:lnTo>
                            <a:pt x="136" y="446"/>
                          </a:lnTo>
                          <a:lnTo>
                            <a:pt x="138" y="446"/>
                          </a:lnTo>
                          <a:lnTo>
                            <a:pt x="140" y="448"/>
                          </a:lnTo>
                          <a:lnTo>
                            <a:pt x="142" y="448"/>
                          </a:lnTo>
                          <a:lnTo>
                            <a:pt x="142" y="452"/>
                          </a:lnTo>
                          <a:lnTo>
                            <a:pt x="144" y="454"/>
                          </a:lnTo>
                          <a:lnTo>
                            <a:pt x="144" y="458"/>
                          </a:lnTo>
                          <a:lnTo>
                            <a:pt x="146" y="458"/>
                          </a:lnTo>
                          <a:lnTo>
                            <a:pt x="146" y="460"/>
                          </a:lnTo>
                          <a:lnTo>
                            <a:pt x="148" y="458"/>
                          </a:lnTo>
                          <a:lnTo>
                            <a:pt x="150" y="458"/>
                          </a:lnTo>
                          <a:lnTo>
                            <a:pt x="152" y="458"/>
                          </a:lnTo>
                          <a:lnTo>
                            <a:pt x="154" y="458"/>
                          </a:lnTo>
                          <a:lnTo>
                            <a:pt x="156" y="458"/>
                          </a:lnTo>
                          <a:lnTo>
                            <a:pt x="158" y="460"/>
                          </a:lnTo>
                          <a:lnTo>
                            <a:pt x="160" y="460"/>
                          </a:lnTo>
                          <a:lnTo>
                            <a:pt x="166" y="460"/>
                          </a:lnTo>
                          <a:lnTo>
                            <a:pt x="170" y="460"/>
                          </a:lnTo>
                          <a:lnTo>
                            <a:pt x="172" y="460"/>
                          </a:lnTo>
                          <a:lnTo>
                            <a:pt x="172" y="458"/>
                          </a:lnTo>
                          <a:lnTo>
                            <a:pt x="174" y="458"/>
                          </a:lnTo>
                          <a:lnTo>
                            <a:pt x="176" y="460"/>
                          </a:lnTo>
                          <a:lnTo>
                            <a:pt x="180" y="464"/>
                          </a:lnTo>
                          <a:lnTo>
                            <a:pt x="182" y="466"/>
                          </a:lnTo>
                          <a:lnTo>
                            <a:pt x="184" y="466"/>
                          </a:lnTo>
                          <a:lnTo>
                            <a:pt x="184" y="464"/>
                          </a:lnTo>
                          <a:lnTo>
                            <a:pt x="188" y="464"/>
                          </a:lnTo>
                          <a:lnTo>
                            <a:pt x="190" y="466"/>
                          </a:lnTo>
                          <a:lnTo>
                            <a:pt x="192" y="468"/>
                          </a:lnTo>
                          <a:lnTo>
                            <a:pt x="204" y="468"/>
                          </a:lnTo>
                          <a:lnTo>
                            <a:pt x="204" y="470"/>
                          </a:lnTo>
                          <a:lnTo>
                            <a:pt x="206" y="472"/>
                          </a:lnTo>
                          <a:lnTo>
                            <a:pt x="208" y="474"/>
                          </a:lnTo>
                          <a:lnTo>
                            <a:pt x="208" y="476"/>
                          </a:lnTo>
                          <a:lnTo>
                            <a:pt x="210" y="476"/>
                          </a:lnTo>
                          <a:lnTo>
                            <a:pt x="210" y="474"/>
                          </a:lnTo>
                          <a:lnTo>
                            <a:pt x="214" y="474"/>
                          </a:lnTo>
                          <a:lnTo>
                            <a:pt x="214" y="476"/>
                          </a:lnTo>
                          <a:lnTo>
                            <a:pt x="216" y="478"/>
                          </a:lnTo>
                          <a:lnTo>
                            <a:pt x="216" y="482"/>
                          </a:lnTo>
                          <a:lnTo>
                            <a:pt x="218" y="482"/>
                          </a:lnTo>
                          <a:lnTo>
                            <a:pt x="214" y="482"/>
                          </a:lnTo>
                          <a:lnTo>
                            <a:pt x="212" y="482"/>
                          </a:lnTo>
                          <a:lnTo>
                            <a:pt x="212" y="484"/>
                          </a:lnTo>
                          <a:lnTo>
                            <a:pt x="214" y="484"/>
                          </a:lnTo>
                          <a:lnTo>
                            <a:pt x="214" y="486"/>
                          </a:lnTo>
                          <a:lnTo>
                            <a:pt x="216" y="486"/>
                          </a:lnTo>
                          <a:lnTo>
                            <a:pt x="218" y="488"/>
                          </a:lnTo>
                          <a:lnTo>
                            <a:pt x="216" y="488"/>
                          </a:lnTo>
                          <a:lnTo>
                            <a:pt x="216" y="490"/>
                          </a:lnTo>
                          <a:lnTo>
                            <a:pt x="212" y="490"/>
                          </a:lnTo>
                          <a:lnTo>
                            <a:pt x="212" y="492"/>
                          </a:lnTo>
                          <a:lnTo>
                            <a:pt x="216" y="496"/>
                          </a:lnTo>
                          <a:lnTo>
                            <a:pt x="218" y="498"/>
                          </a:lnTo>
                          <a:lnTo>
                            <a:pt x="218" y="504"/>
                          </a:lnTo>
                          <a:lnTo>
                            <a:pt x="216" y="504"/>
                          </a:lnTo>
                          <a:lnTo>
                            <a:pt x="214" y="504"/>
                          </a:lnTo>
                          <a:lnTo>
                            <a:pt x="212" y="504"/>
                          </a:lnTo>
                          <a:lnTo>
                            <a:pt x="212" y="506"/>
                          </a:lnTo>
                          <a:lnTo>
                            <a:pt x="208" y="506"/>
                          </a:lnTo>
                          <a:lnTo>
                            <a:pt x="206" y="506"/>
                          </a:lnTo>
                          <a:lnTo>
                            <a:pt x="202" y="506"/>
                          </a:lnTo>
                          <a:lnTo>
                            <a:pt x="200" y="506"/>
                          </a:lnTo>
                          <a:lnTo>
                            <a:pt x="200" y="508"/>
                          </a:lnTo>
                          <a:lnTo>
                            <a:pt x="200" y="510"/>
                          </a:lnTo>
                          <a:lnTo>
                            <a:pt x="192" y="510"/>
                          </a:lnTo>
                          <a:lnTo>
                            <a:pt x="192" y="520"/>
                          </a:lnTo>
                          <a:lnTo>
                            <a:pt x="196" y="520"/>
                          </a:lnTo>
                          <a:lnTo>
                            <a:pt x="196" y="518"/>
                          </a:lnTo>
                          <a:lnTo>
                            <a:pt x="200" y="518"/>
                          </a:lnTo>
                          <a:lnTo>
                            <a:pt x="204" y="516"/>
                          </a:lnTo>
                          <a:lnTo>
                            <a:pt x="208" y="516"/>
                          </a:lnTo>
                          <a:lnTo>
                            <a:pt x="210" y="518"/>
                          </a:lnTo>
                          <a:lnTo>
                            <a:pt x="208" y="520"/>
                          </a:lnTo>
                          <a:lnTo>
                            <a:pt x="208" y="522"/>
                          </a:lnTo>
                          <a:lnTo>
                            <a:pt x="206" y="524"/>
                          </a:lnTo>
                          <a:lnTo>
                            <a:pt x="204" y="524"/>
                          </a:lnTo>
                          <a:lnTo>
                            <a:pt x="204" y="526"/>
                          </a:lnTo>
                          <a:lnTo>
                            <a:pt x="202" y="526"/>
                          </a:lnTo>
                          <a:lnTo>
                            <a:pt x="200" y="526"/>
                          </a:lnTo>
                          <a:lnTo>
                            <a:pt x="198" y="528"/>
                          </a:lnTo>
                          <a:lnTo>
                            <a:pt x="196" y="528"/>
                          </a:lnTo>
                          <a:lnTo>
                            <a:pt x="192" y="530"/>
                          </a:lnTo>
                          <a:lnTo>
                            <a:pt x="190" y="530"/>
                          </a:lnTo>
                          <a:lnTo>
                            <a:pt x="192" y="532"/>
                          </a:lnTo>
                          <a:lnTo>
                            <a:pt x="194" y="532"/>
                          </a:lnTo>
                          <a:lnTo>
                            <a:pt x="198" y="536"/>
                          </a:lnTo>
                          <a:lnTo>
                            <a:pt x="200" y="536"/>
                          </a:lnTo>
                          <a:lnTo>
                            <a:pt x="200" y="538"/>
                          </a:lnTo>
                          <a:lnTo>
                            <a:pt x="202" y="538"/>
                          </a:lnTo>
                          <a:lnTo>
                            <a:pt x="202" y="540"/>
                          </a:lnTo>
                          <a:lnTo>
                            <a:pt x="198" y="540"/>
                          </a:lnTo>
                          <a:lnTo>
                            <a:pt x="196" y="540"/>
                          </a:lnTo>
                          <a:lnTo>
                            <a:pt x="194" y="540"/>
                          </a:lnTo>
                          <a:lnTo>
                            <a:pt x="194" y="542"/>
                          </a:lnTo>
                          <a:lnTo>
                            <a:pt x="192" y="544"/>
                          </a:lnTo>
                          <a:lnTo>
                            <a:pt x="192" y="546"/>
                          </a:lnTo>
                          <a:lnTo>
                            <a:pt x="190" y="548"/>
                          </a:lnTo>
                          <a:lnTo>
                            <a:pt x="190" y="550"/>
                          </a:lnTo>
                          <a:lnTo>
                            <a:pt x="190" y="552"/>
                          </a:lnTo>
                          <a:lnTo>
                            <a:pt x="188" y="552"/>
                          </a:lnTo>
                          <a:lnTo>
                            <a:pt x="188" y="554"/>
                          </a:lnTo>
                          <a:lnTo>
                            <a:pt x="186" y="554"/>
                          </a:lnTo>
                          <a:lnTo>
                            <a:pt x="184" y="554"/>
                          </a:lnTo>
                          <a:lnTo>
                            <a:pt x="182" y="552"/>
                          </a:lnTo>
                          <a:lnTo>
                            <a:pt x="180" y="552"/>
                          </a:lnTo>
                          <a:lnTo>
                            <a:pt x="178" y="552"/>
                          </a:lnTo>
                          <a:lnTo>
                            <a:pt x="178" y="550"/>
                          </a:lnTo>
                          <a:lnTo>
                            <a:pt x="178" y="554"/>
                          </a:lnTo>
                          <a:lnTo>
                            <a:pt x="180" y="556"/>
                          </a:lnTo>
                          <a:lnTo>
                            <a:pt x="182" y="558"/>
                          </a:lnTo>
                          <a:lnTo>
                            <a:pt x="184" y="558"/>
                          </a:lnTo>
                          <a:lnTo>
                            <a:pt x="184" y="560"/>
                          </a:lnTo>
                          <a:lnTo>
                            <a:pt x="186" y="562"/>
                          </a:lnTo>
                          <a:lnTo>
                            <a:pt x="186" y="564"/>
                          </a:lnTo>
                          <a:lnTo>
                            <a:pt x="186" y="566"/>
                          </a:lnTo>
                          <a:lnTo>
                            <a:pt x="196" y="566"/>
                          </a:lnTo>
                          <a:lnTo>
                            <a:pt x="198" y="568"/>
                          </a:lnTo>
                          <a:lnTo>
                            <a:pt x="198" y="570"/>
                          </a:lnTo>
                          <a:lnTo>
                            <a:pt x="200" y="570"/>
                          </a:lnTo>
                          <a:lnTo>
                            <a:pt x="202" y="572"/>
                          </a:lnTo>
                          <a:lnTo>
                            <a:pt x="204" y="572"/>
                          </a:lnTo>
                          <a:lnTo>
                            <a:pt x="212" y="572"/>
                          </a:lnTo>
                          <a:lnTo>
                            <a:pt x="212" y="574"/>
                          </a:lnTo>
                          <a:lnTo>
                            <a:pt x="214" y="576"/>
                          </a:lnTo>
                          <a:lnTo>
                            <a:pt x="216" y="578"/>
                          </a:lnTo>
                          <a:lnTo>
                            <a:pt x="218" y="580"/>
                          </a:lnTo>
                          <a:lnTo>
                            <a:pt x="220" y="584"/>
                          </a:lnTo>
                          <a:lnTo>
                            <a:pt x="222" y="584"/>
                          </a:lnTo>
                          <a:lnTo>
                            <a:pt x="224" y="586"/>
                          </a:lnTo>
                          <a:lnTo>
                            <a:pt x="226" y="586"/>
                          </a:lnTo>
                          <a:lnTo>
                            <a:pt x="228" y="588"/>
                          </a:lnTo>
                          <a:lnTo>
                            <a:pt x="230" y="588"/>
                          </a:lnTo>
                          <a:lnTo>
                            <a:pt x="232" y="590"/>
                          </a:lnTo>
                          <a:lnTo>
                            <a:pt x="232" y="588"/>
                          </a:lnTo>
                          <a:lnTo>
                            <a:pt x="234" y="588"/>
                          </a:lnTo>
                          <a:lnTo>
                            <a:pt x="234" y="586"/>
                          </a:lnTo>
                          <a:lnTo>
                            <a:pt x="236" y="586"/>
                          </a:lnTo>
                          <a:lnTo>
                            <a:pt x="238" y="586"/>
                          </a:lnTo>
                          <a:lnTo>
                            <a:pt x="240" y="586"/>
                          </a:lnTo>
                          <a:lnTo>
                            <a:pt x="242" y="588"/>
                          </a:lnTo>
                          <a:lnTo>
                            <a:pt x="246" y="588"/>
                          </a:lnTo>
                          <a:lnTo>
                            <a:pt x="250" y="590"/>
                          </a:lnTo>
                          <a:lnTo>
                            <a:pt x="256" y="592"/>
                          </a:lnTo>
                          <a:lnTo>
                            <a:pt x="262" y="592"/>
                          </a:lnTo>
                          <a:lnTo>
                            <a:pt x="266" y="592"/>
                          </a:lnTo>
                          <a:lnTo>
                            <a:pt x="270" y="592"/>
                          </a:lnTo>
                          <a:lnTo>
                            <a:pt x="274" y="594"/>
                          </a:lnTo>
                          <a:lnTo>
                            <a:pt x="276" y="594"/>
                          </a:lnTo>
                          <a:lnTo>
                            <a:pt x="278" y="594"/>
                          </a:lnTo>
                          <a:lnTo>
                            <a:pt x="280" y="596"/>
                          </a:lnTo>
                          <a:lnTo>
                            <a:pt x="282" y="596"/>
                          </a:lnTo>
                          <a:lnTo>
                            <a:pt x="284" y="598"/>
                          </a:lnTo>
                          <a:lnTo>
                            <a:pt x="284" y="600"/>
                          </a:lnTo>
                          <a:lnTo>
                            <a:pt x="286" y="600"/>
                          </a:lnTo>
                          <a:lnTo>
                            <a:pt x="288" y="600"/>
                          </a:lnTo>
                          <a:lnTo>
                            <a:pt x="288" y="602"/>
                          </a:lnTo>
                          <a:lnTo>
                            <a:pt x="290" y="604"/>
                          </a:lnTo>
                          <a:lnTo>
                            <a:pt x="292" y="604"/>
                          </a:lnTo>
                          <a:lnTo>
                            <a:pt x="294" y="606"/>
                          </a:lnTo>
                          <a:lnTo>
                            <a:pt x="296" y="604"/>
                          </a:lnTo>
                          <a:lnTo>
                            <a:pt x="298" y="604"/>
                          </a:lnTo>
                          <a:lnTo>
                            <a:pt x="300" y="602"/>
                          </a:lnTo>
                          <a:lnTo>
                            <a:pt x="302" y="602"/>
                          </a:lnTo>
                          <a:lnTo>
                            <a:pt x="304" y="600"/>
                          </a:lnTo>
                          <a:lnTo>
                            <a:pt x="308" y="600"/>
                          </a:lnTo>
                          <a:lnTo>
                            <a:pt x="310" y="602"/>
                          </a:lnTo>
                          <a:lnTo>
                            <a:pt x="312" y="602"/>
                          </a:lnTo>
                          <a:lnTo>
                            <a:pt x="314" y="604"/>
                          </a:lnTo>
                          <a:lnTo>
                            <a:pt x="314" y="606"/>
                          </a:lnTo>
                          <a:lnTo>
                            <a:pt x="318" y="606"/>
                          </a:lnTo>
                          <a:lnTo>
                            <a:pt x="320" y="606"/>
                          </a:lnTo>
                          <a:lnTo>
                            <a:pt x="322" y="606"/>
                          </a:lnTo>
                          <a:lnTo>
                            <a:pt x="324" y="608"/>
                          </a:lnTo>
                          <a:lnTo>
                            <a:pt x="322" y="610"/>
                          </a:lnTo>
                          <a:lnTo>
                            <a:pt x="322" y="612"/>
                          </a:lnTo>
                          <a:lnTo>
                            <a:pt x="324" y="612"/>
                          </a:lnTo>
                          <a:lnTo>
                            <a:pt x="328" y="614"/>
                          </a:lnTo>
                          <a:lnTo>
                            <a:pt x="332" y="616"/>
                          </a:lnTo>
                          <a:lnTo>
                            <a:pt x="332" y="618"/>
                          </a:lnTo>
                          <a:lnTo>
                            <a:pt x="336" y="618"/>
                          </a:lnTo>
                          <a:lnTo>
                            <a:pt x="338" y="620"/>
                          </a:lnTo>
                          <a:lnTo>
                            <a:pt x="340" y="620"/>
                          </a:lnTo>
                          <a:lnTo>
                            <a:pt x="344" y="622"/>
                          </a:lnTo>
                          <a:lnTo>
                            <a:pt x="346" y="624"/>
                          </a:lnTo>
                          <a:lnTo>
                            <a:pt x="350" y="628"/>
                          </a:lnTo>
                          <a:lnTo>
                            <a:pt x="352" y="630"/>
                          </a:lnTo>
                          <a:lnTo>
                            <a:pt x="354" y="632"/>
                          </a:lnTo>
                          <a:lnTo>
                            <a:pt x="356" y="632"/>
                          </a:lnTo>
                          <a:lnTo>
                            <a:pt x="358" y="630"/>
                          </a:lnTo>
                          <a:lnTo>
                            <a:pt x="360" y="630"/>
                          </a:lnTo>
                          <a:lnTo>
                            <a:pt x="362" y="628"/>
                          </a:lnTo>
                          <a:lnTo>
                            <a:pt x="362" y="626"/>
                          </a:lnTo>
                          <a:lnTo>
                            <a:pt x="364" y="626"/>
                          </a:lnTo>
                          <a:lnTo>
                            <a:pt x="366" y="626"/>
                          </a:lnTo>
                          <a:lnTo>
                            <a:pt x="366" y="624"/>
                          </a:lnTo>
                          <a:lnTo>
                            <a:pt x="368" y="622"/>
                          </a:lnTo>
                          <a:lnTo>
                            <a:pt x="368" y="618"/>
                          </a:lnTo>
                          <a:lnTo>
                            <a:pt x="366" y="618"/>
                          </a:lnTo>
                          <a:lnTo>
                            <a:pt x="366" y="616"/>
                          </a:lnTo>
                          <a:lnTo>
                            <a:pt x="364" y="614"/>
                          </a:lnTo>
                          <a:lnTo>
                            <a:pt x="362" y="612"/>
                          </a:lnTo>
                          <a:lnTo>
                            <a:pt x="362" y="610"/>
                          </a:lnTo>
                          <a:lnTo>
                            <a:pt x="360" y="608"/>
                          </a:lnTo>
                          <a:lnTo>
                            <a:pt x="358" y="608"/>
                          </a:lnTo>
                          <a:lnTo>
                            <a:pt x="356" y="606"/>
                          </a:lnTo>
                          <a:lnTo>
                            <a:pt x="352" y="606"/>
                          </a:lnTo>
                          <a:lnTo>
                            <a:pt x="352" y="600"/>
                          </a:lnTo>
                          <a:lnTo>
                            <a:pt x="348" y="598"/>
                          </a:lnTo>
                          <a:lnTo>
                            <a:pt x="346" y="594"/>
                          </a:lnTo>
                          <a:lnTo>
                            <a:pt x="346" y="588"/>
                          </a:lnTo>
                          <a:lnTo>
                            <a:pt x="346" y="586"/>
                          </a:lnTo>
                          <a:lnTo>
                            <a:pt x="346" y="582"/>
                          </a:lnTo>
                          <a:lnTo>
                            <a:pt x="344" y="578"/>
                          </a:lnTo>
                          <a:lnTo>
                            <a:pt x="340" y="576"/>
                          </a:lnTo>
                          <a:lnTo>
                            <a:pt x="338" y="574"/>
                          </a:lnTo>
                          <a:lnTo>
                            <a:pt x="336" y="572"/>
                          </a:lnTo>
                          <a:lnTo>
                            <a:pt x="334" y="572"/>
                          </a:lnTo>
                          <a:lnTo>
                            <a:pt x="332" y="570"/>
                          </a:lnTo>
                          <a:lnTo>
                            <a:pt x="330" y="570"/>
                          </a:lnTo>
                          <a:lnTo>
                            <a:pt x="330" y="568"/>
                          </a:lnTo>
                          <a:lnTo>
                            <a:pt x="330" y="566"/>
                          </a:lnTo>
                          <a:lnTo>
                            <a:pt x="332" y="564"/>
                          </a:lnTo>
                          <a:lnTo>
                            <a:pt x="334" y="562"/>
                          </a:lnTo>
                          <a:lnTo>
                            <a:pt x="334" y="560"/>
                          </a:lnTo>
                          <a:lnTo>
                            <a:pt x="336" y="560"/>
                          </a:lnTo>
                          <a:lnTo>
                            <a:pt x="336" y="558"/>
                          </a:lnTo>
                          <a:lnTo>
                            <a:pt x="340" y="554"/>
                          </a:lnTo>
                          <a:lnTo>
                            <a:pt x="342" y="552"/>
                          </a:lnTo>
                          <a:lnTo>
                            <a:pt x="340" y="550"/>
                          </a:lnTo>
                          <a:lnTo>
                            <a:pt x="338" y="548"/>
                          </a:lnTo>
                          <a:lnTo>
                            <a:pt x="338" y="546"/>
                          </a:lnTo>
                          <a:lnTo>
                            <a:pt x="340" y="546"/>
                          </a:lnTo>
                          <a:lnTo>
                            <a:pt x="342" y="548"/>
                          </a:lnTo>
                          <a:lnTo>
                            <a:pt x="344" y="548"/>
                          </a:lnTo>
                          <a:lnTo>
                            <a:pt x="348" y="548"/>
                          </a:lnTo>
                          <a:lnTo>
                            <a:pt x="350" y="546"/>
                          </a:lnTo>
                          <a:lnTo>
                            <a:pt x="350" y="544"/>
                          </a:lnTo>
                          <a:lnTo>
                            <a:pt x="356" y="544"/>
                          </a:lnTo>
                          <a:lnTo>
                            <a:pt x="358" y="544"/>
                          </a:lnTo>
                          <a:lnTo>
                            <a:pt x="358" y="542"/>
                          </a:lnTo>
                          <a:lnTo>
                            <a:pt x="356" y="542"/>
                          </a:lnTo>
                          <a:lnTo>
                            <a:pt x="356" y="540"/>
                          </a:lnTo>
                          <a:lnTo>
                            <a:pt x="362" y="540"/>
                          </a:lnTo>
                          <a:lnTo>
                            <a:pt x="362" y="534"/>
                          </a:lnTo>
                          <a:lnTo>
                            <a:pt x="360" y="534"/>
                          </a:lnTo>
                          <a:lnTo>
                            <a:pt x="358" y="532"/>
                          </a:lnTo>
                          <a:lnTo>
                            <a:pt x="356" y="530"/>
                          </a:lnTo>
                          <a:lnTo>
                            <a:pt x="354" y="530"/>
                          </a:lnTo>
                          <a:lnTo>
                            <a:pt x="352" y="530"/>
                          </a:lnTo>
                          <a:lnTo>
                            <a:pt x="350" y="530"/>
                          </a:lnTo>
                          <a:lnTo>
                            <a:pt x="350" y="528"/>
                          </a:lnTo>
                          <a:lnTo>
                            <a:pt x="356" y="528"/>
                          </a:lnTo>
                          <a:lnTo>
                            <a:pt x="356" y="526"/>
                          </a:lnTo>
                          <a:lnTo>
                            <a:pt x="356" y="524"/>
                          </a:lnTo>
                          <a:lnTo>
                            <a:pt x="356" y="522"/>
                          </a:lnTo>
                          <a:lnTo>
                            <a:pt x="352" y="518"/>
                          </a:lnTo>
                          <a:lnTo>
                            <a:pt x="350" y="516"/>
                          </a:lnTo>
                          <a:lnTo>
                            <a:pt x="344" y="510"/>
                          </a:lnTo>
                          <a:lnTo>
                            <a:pt x="342" y="508"/>
                          </a:lnTo>
                          <a:lnTo>
                            <a:pt x="336" y="508"/>
                          </a:lnTo>
                          <a:lnTo>
                            <a:pt x="334" y="508"/>
                          </a:lnTo>
                          <a:lnTo>
                            <a:pt x="330" y="508"/>
                          </a:lnTo>
                          <a:lnTo>
                            <a:pt x="328" y="508"/>
                          </a:lnTo>
                          <a:lnTo>
                            <a:pt x="326" y="506"/>
                          </a:lnTo>
                          <a:lnTo>
                            <a:pt x="326" y="504"/>
                          </a:lnTo>
                          <a:lnTo>
                            <a:pt x="326" y="502"/>
                          </a:lnTo>
                          <a:lnTo>
                            <a:pt x="326" y="500"/>
                          </a:lnTo>
                          <a:lnTo>
                            <a:pt x="324" y="500"/>
                          </a:lnTo>
                          <a:lnTo>
                            <a:pt x="322" y="498"/>
                          </a:lnTo>
                          <a:lnTo>
                            <a:pt x="318" y="498"/>
                          </a:lnTo>
                          <a:lnTo>
                            <a:pt x="316" y="498"/>
                          </a:lnTo>
                          <a:lnTo>
                            <a:pt x="314" y="496"/>
                          </a:lnTo>
                          <a:lnTo>
                            <a:pt x="314" y="492"/>
                          </a:lnTo>
                          <a:lnTo>
                            <a:pt x="316" y="490"/>
                          </a:lnTo>
                          <a:lnTo>
                            <a:pt x="316" y="486"/>
                          </a:lnTo>
                          <a:lnTo>
                            <a:pt x="318" y="484"/>
                          </a:lnTo>
                          <a:lnTo>
                            <a:pt x="320" y="482"/>
                          </a:lnTo>
                          <a:lnTo>
                            <a:pt x="318" y="480"/>
                          </a:lnTo>
                          <a:lnTo>
                            <a:pt x="318" y="478"/>
                          </a:lnTo>
                          <a:lnTo>
                            <a:pt x="316" y="478"/>
                          </a:lnTo>
                          <a:lnTo>
                            <a:pt x="316" y="474"/>
                          </a:lnTo>
                          <a:lnTo>
                            <a:pt x="316" y="472"/>
                          </a:lnTo>
                          <a:lnTo>
                            <a:pt x="316" y="470"/>
                          </a:lnTo>
                          <a:lnTo>
                            <a:pt x="314" y="470"/>
                          </a:lnTo>
                          <a:lnTo>
                            <a:pt x="314" y="468"/>
                          </a:lnTo>
                          <a:lnTo>
                            <a:pt x="316" y="468"/>
                          </a:lnTo>
                          <a:lnTo>
                            <a:pt x="318" y="468"/>
                          </a:lnTo>
                          <a:lnTo>
                            <a:pt x="320" y="466"/>
                          </a:lnTo>
                          <a:lnTo>
                            <a:pt x="320" y="464"/>
                          </a:lnTo>
                          <a:lnTo>
                            <a:pt x="318" y="464"/>
                          </a:lnTo>
                          <a:lnTo>
                            <a:pt x="318" y="460"/>
                          </a:lnTo>
                          <a:lnTo>
                            <a:pt x="320" y="458"/>
                          </a:lnTo>
                          <a:lnTo>
                            <a:pt x="322" y="458"/>
                          </a:lnTo>
                          <a:lnTo>
                            <a:pt x="324" y="458"/>
                          </a:lnTo>
                          <a:lnTo>
                            <a:pt x="326" y="458"/>
                          </a:lnTo>
                          <a:lnTo>
                            <a:pt x="328" y="460"/>
                          </a:lnTo>
                          <a:lnTo>
                            <a:pt x="332" y="462"/>
                          </a:lnTo>
                          <a:lnTo>
                            <a:pt x="334" y="464"/>
                          </a:lnTo>
                          <a:lnTo>
                            <a:pt x="336" y="466"/>
                          </a:lnTo>
                          <a:lnTo>
                            <a:pt x="342" y="466"/>
                          </a:lnTo>
                          <a:lnTo>
                            <a:pt x="342" y="464"/>
                          </a:lnTo>
                          <a:lnTo>
                            <a:pt x="342" y="460"/>
                          </a:lnTo>
                          <a:lnTo>
                            <a:pt x="340" y="458"/>
                          </a:lnTo>
                          <a:lnTo>
                            <a:pt x="340" y="456"/>
                          </a:lnTo>
                          <a:lnTo>
                            <a:pt x="342" y="454"/>
                          </a:lnTo>
                          <a:lnTo>
                            <a:pt x="344" y="454"/>
                          </a:lnTo>
                          <a:lnTo>
                            <a:pt x="346" y="454"/>
                          </a:lnTo>
                          <a:lnTo>
                            <a:pt x="346" y="446"/>
                          </a:lnTo>
                          <a:lnTo>
                            <a:pt x="348" y="446"/>
                          </a:lnTo>
                          <a:lnTo>
                            <a:pt x="350" y="446"/>
                          </a:lnTo>
                          <a:lnTo>
                            <a:pt x="352" y="444"/>
                          </a:lnTo>
                          <a:lnTo>
                            <a:pt x="354" y="444"/>
                          </a:lnTo>
                          <a:lnTo>
                            <a:pt x="358" y="442"/>
                          </a:lnTo>
                          <a:lnTo>
                            <a:pt x="360" y="440"/>
                          </a:lnTo>
                          <a:lnTo>
                            <a:pt x="360" y="438"/>
                          </a:lnTo>
                          <a:lnTo>
                            <a:pt x="358" y="438"/>
                          </a:lnTo>
                          <a:lnTo>
                            <a:pt x="358" y="436"/>
                          </a:lnTo>
                          <a:lnTo>
                            <a:pt x="358" y="434"/>
                          </a:lnTo>
                          <a:lnTo>
                            <a:pt x="360" y="434"/>
                          </a:lnTo>
                          <a:lnTo>
                            <a:pt x="364" y="434"/>
                          </a:lnTo>
                          <a:lnTo>
                            <a:pt x="366" y="434"/>
                          </a:lnTo>
                          <a:lnTo>
                            <a:pt x="368" y="434"/>
                          </a:lnTo>
                          <a:lnTo>
                            <a:pt x="370" y="436"/>
                          </a:lnTo>
                          <a:lnTo>
                            <a:pt x="372" y="436"/>
                          </a:lnTo>
                          <a:lnTo>
                            <a:pt x="372" y="438"/>
                          </a:lnTo>
                          <a:lnTo>
                            <a:pt x="376" y="436"/>
                          </a:lnTo>
                          <a:lnTo>
                            <a:pt x="378" y="436"/>
                          </a:lnTo>
                          <a:lnTo>
                            <a:pt x="380" y="434"/>
                          </a:lnTo>
                          <a:lnTo>
                            <a:pt x="384" y="434"/>
                          </a:lnTo>
                          <a:lnTo>
                            <a:pt x="386" y="434"/>
                          </a:lnTo>
                          <a:lnTo>
                            <a:pt x="388" y="434"/>
                          </a:lnTo>
                          <a:lnTo>
                            <a:pt x="388" y="436"/>
                          </a:lnTo>
                          <a:lnTo>
                            <a:pt x="390" y="438"/>
                          </a:lnTo>
                          <a:lnTo>
                            <a:pt x="392" y="440"/>
                          </a:lnTo>
                          <a:lnTo>
                            <a:pt x="396" y="438"/>
                          </a:lnTo>
                          <a:lnTo>
                            <a:pt x="404" y="438"/>
                          </a:lnTo>
                          <a:lnTo>
                            <a:pt x="406" y="440"/>
                          </a:lnTo>
                          <a:lnTo>
                            <a:pt x="406" y="442"/>
                          </a:lnTo>
                          <a:lnTo>
                            <a:pt x="408" y="444"/>
                          </a:lnTo>
                          <a:lnTo>
                            <a:pt x="416" y="444"/>
                          </a:lnTo>
                          <a:lnTo>
                            <a:pt x="418" y="446"/>
                          </a:lnTo>
                          <a:lnTo>
                            <a:pt x="418" y="448"/>
                          </a:lnTo>
                          <a:lnTo>
                            <a:pt x="418" y="450"/>
                          </a:lnTo>
                          <a:lnTo>
                            <a:pt x="420" y="450"/>
                          </a:lnTo>
                          <a:lnTo>
                            <a:pt x="420" y="452"/>
                          </a:lnTo>
                          <a:lnTo>
                            <a:pt x="420" y="454"/>
                          </a:lnTo>
                          <a:lnTo>
                            <a:pt x="422" y="456"/>
                          </a:lnTo>
                          <a:lnTo>
                            <a:pt x="426" y="456"/>
                          </a:lnTo>
                          <a:lnTo>
                            <a:pt x="426" y="454"/>
                          </a:lnTo>
                          <a:lnTo>
                            <a:pt x="424" y="452"/>
                          </a:lnTo>
                          <a:lnTo>
                            <a:pt x="424" y="450"/>
                          </a:lnTo>
                          <a:lnTo>
                            <a:pt x="422" y="450"/>
                          </a:lnTo>
                          <a:lnTo>
                            <a:pt x="422" y="446"/>
                          </a:lnTo>
                          <a:lnTo>
                            <a:pt x="426" y="446"/>
                          </a:lnTo>
                          <a:lnTo>
                            <a:pt x="428" y="448"/>
                          </a:lnTo>
                          <a:lnTo>
                            <a:pt x="430" y="450"/>
                          </a:lnTo>
                          <a:lnTo>
                            <a:pt x="434" y="452"/>
                          </a:lnTo>
                          <a:lnTo>
                            <a:pt x="440" y="456"/>
                          </a:lnTo>
                          <a:lnTo>
                            <a:pt x="444" y="456"/>
                          </a:lnTo>
                          <a:lnTo>
                            <a:pt x="444" y="454"/>
                          </a:lnTo>
                          <a:lnTo>
                            <a:pt x="446" y="452"/>
                          </a:lnTo>
                          <a:lnTo>
                            <a:pt x="448" y="450"/>
                          </a:lnTo>
                          <a:lnTo>
                            <a:pt x="450" y="448"/>
                          </a:lnTo>
                          <a:lnTo>
                            <a:pt x="452" y="448"/>
                          </a:lnTo>
                          <a:lnTo>
                            <a:pt x="452" y="446"/>
                          </a:lnTo>
                          <a:lnTo>
                            <a:pt x="456" y="446"/>
                          </a:lnTo>
                          <a:lnTo>
                            <a:pt x="458" y="448"/>
                          </a:lnTo>
                          <a:lnTo>
                            <a:pt x="462" y="450"/>
                          </a:lnTo>
                          <a:lnTo>
                            <a:pt x="466" y="450"/>
                          </a:lnTo>
                          <a:lnTo>
                            <a:pt x="470" y="448"/>
                          </a:lnTo>
                          <a:lnTo>
                            <a:pt x="474" y="446"/>
                          </a:lnTo>
                          <a:lnTo>
                            <a:pt x="476" y="446"/>
                          </a:lnTo>
                          <a:lnTo>
                            <a:pt x="478" y="446"/>
                          </a:lnTo>
                          <a:lnTo>
                            <a:pt x="480" y="446"/>
                          </a:lnTo>
                          <a:lnTo>
                            <a:pt x="482" y="448"/>
                          </a:lnTo>
                          <a:lnTo>
                            <a:pt x="484" y="450"/>
                          </a:lnTo>
                          <a:lnTo>
                            <a:pt x="484" y="452"/>
                          </a:lnTo>
                          <a:lnTo>
                            <a:pt x="486" y="452"/>
                          </a:lnTo>
                          <a:lnTo>
                            <a:pt x="488" y="452"/>
                          </a:lnTo>
                          <a:lnTo>
                            <a:pt x="490" y="454"/>
                          </a:lnTo>
                          <a:lnTo>
                            <a:pt x="494" y="454"/>
                          </a:lnTo>
                          <a:lnTo>
                            <a:pt x="498" y="456"/>
                          </a:lnTo>
                          <a:lnTo>
                            <a:pt x="500" y="456"/>
                          </a:lnTo>
                          <a:lnTo>
                            <a:pt x="502" y="454"/>
                          </a:lnTo>
                          <a:lnTo>
                            <a:pt x="502" y="452"/>
                          </a:lnTo>
                          <a:lnTo>
                            <a:pt x="502" y="450"/>
                          </a:lnTo>
                          <a:lnTo>
                            <a:pt x="504" y="452"/>
                          </a:lnTo>
                          <a:lnTo>
                            <a:pt x="506" y="452"/>
                          </a:lnTo>
                          <a:lnTo>
                            <a:pt x="508" y="454"/>
                          </a:lnTo>
                          <a:lnTo>
                            <a:pt x="510" y="454"/>
                          </a:lnTo>
                          <a:lnTo>
                            <a:pt x="514" y="454"/>
                          </a:lnTo>
                          <a:lnTo>
                            <a:pt x="516" y="456"/>
                          </a:lnTo>
                          <a:lnTo>
                            <a:pt x="520" y="456"/>
                          </a:lnTo>
                          <a:lnTo>
                            <a:pt x="520" y="454"/>
                          </a:lnTo>
                          <a:lnTo>
                            <a:pt x="522" y="454"/>
                          </a:lnTo>
                          <a:lnTo>
                            <a:pt x="524" y="452"/>
                          </a:lnTo>
                          <a:lnTo>
                            <a:pt x="524" y="446"/>
                          </a:lnTo>
                          <a:lnTo>
                            <a:pt x="522" y="444"/>
                          </a:lnTo>
                          <a:lnTo>
                            <a:pt x="520" y="440"/>
                          </a:lnTo>
                          <a:lnTo>
                            <a:pt x="518" y="438"/>
                          </a:lnTo>
                          <a:lnTo>
                            <a:pt x="514" y="436"/>
                          </a:lnTo>
                          <a:lnTo>
                            <a:pt x="510" y="434"/>
                          </a:lnTo>
                          <a:lnTo>
                            <a:pt x="504" y="434"/>
                          </a:lnTo>
                          <a:lnTo>
                            <a:pt x="502" y="432"/>
                          </a:lnTo>
                          <a:lnTo>
                            <a:pt x="498" y="428"/>
                          </a:lnTo>
                          <a:lnTo>
                            <a:pt x="496" y="426"/>
                          </a:lnTo>
                          <a:lnTo>
                            <a:pt x="498" y="426"/>
                          </a:lnTo>
                          <a:lnTo>
                            <a:pt x="500" y="426"/>
                          </a:lnTo>
                          <a:lnTo>
                            <a:pt x="502" y="426"/>
                          </a:lnTo>
                          <a:lnTo>
                            <a:pt x="504" y="424"/>
                          </a:lnTo>
                          <a:lnTo>
                            <a:pt x="506" y="424"/>
                          </a:lnTo>
                          <a:lnTo>
                            <a:pt x="508" y="422"/>
                          </a:lnTo>
                          <a:lnTo>
                            <a:pt x="510" y="422"/>
                          </a:lnTo>
                          <a:lnTo>
                            <a:pt x="508" y="420"/>
                          </a:lnTo>
                          <a:lnTo>
                            <a:pt x="508" y="418"/>
                          </a:lnTo>
                          <a:lnTo>
                            <a:pt x="506" y="416"/>
                          </a:lnTo>
                          <a:lnTo>
                            <a:pt x="504" y="416"/>
                          </a:lnTo>
                          <a:lnTo>
                            <a:pt x="506" y="414"/>
                          </a:lnTo>
                          <a:lnTo>
                            <a:pt x="506" y="412"/>
                          </a:lnTo>
                          <a:lnTo>
                            <a:pt x="506" y="410"/>
                          </a:lnTo>
                          <a:lnTo>
                            <a:pt x="510" y="410"/>
                          </a:lnTo>
                          <a:lnTo>
                            <a:pt x="512" y="412"/>
                          </a:lnTo>
                          <a:lnTo>
                            <a:pt x="520" y="412"/>
                          </a:lnTo>
                          <a:lnTo>
                            <a:pt x="520" y="410"/>
                          </a:lnTo>
                          <a:lnTo>
                            <a:pt x="518" y="410"/>
                          </a:lnTo>
                          <a:lnTo>
                            <a:pt x="516" y="408"/>
                          </a:lnTo>
                          <a:lnTo>
                            <a:pt x="512" y="408"/>
                          </a:lnTo>
                          <a:lnTo>
                            <a:pt x="510" y="406"/>
                          </a:lnTo>
                          <a:lnTo>
                            <a:pt x="508" y="406"/>
                          </a:lnTo>
                          <a:lnTo>
                            <a:pt x="506" y="404"/>
                          </a:lnTo>
                          <a:lnTo>
                            <a:pt x="504" y="404"/>
                          </a:lnTo>
                          <a:lnTo>
                            <a:pt x="506" y="404"/>
                          </a:lnTo>
                          <a:lnTo>
                            <a:pt x="508" y="404"/>
                          </a:lnTo>
                          <a:lnTo>
                            <a:pt x="508" y="402"/>
                          </a:lnTo>
                          <a:lnTo>
                            <a:pt x="510" y="402"/>
                          </a:lnTo>
                          <a:lnTo>
                            <a:pt x="506" y="400"/>
                          </a:lnTo>
                          <a:lnTo>
                            <a:pt x="502" y="400"/>
                          </a:lnTo>
                          <a:lnTo>
                            <a:pt x="502" y="398"/>
                          </a:lnTo>
                          <a:lnTo>
                            <a:pt x="502" y="394"/>
                          </a:lnTo>
                          <a:lnTo>
                            <a:pt x="504" y="394"/>
                          </a:lnTo>
                          <a:lnTo>
                            <a:pt x="504" y="392"/>
                          </a:lnTo>
                          <a:lnTo>
                            <a:pt x="506" y="392"/>
                          </a:lnTo>
                          <a:lnTo>
                            <a:pt x="508" y="392"/>
                          </a:lnTo>
                          <a:lnTo>
                            <a:pt x="512" y="390"/>
                          </a:lnTo>
                          <a:lnTo>
                            <a:pt x="518" y="390"/>
                          </a:lnTo>
                          <a:lnTo>
                            <a:pt x="524" y="390"/>
                          </a:lnTo>
                          <a:lnTo>
                            <a:pt x="528" y="390"/>
                          </a:lnTo>
                          <a:lnTo>
                            <a:pt x="532" y="388"/>
                          </a:lnTo>
                          <a:lnTo>
                            <a:pt x="540" y="388"/>
                          </a:lnTo>
                          <a:lnTo>
                            <a:pt x="540" y="384"/>
                          </a:lnTo>
                          <a:lnTo>
                            <a:pt x="556" y="384"/>
                          </a:lnTo>
                          <a:lnTo>
                            <a:pt x="556" y="382"/>
                          </a:lnTo>
                          <a:lnTo>
                            <a:pt x="558" y="380"/>
                          </a:lnTo>
                          <a:lnTo>
                            <a:pt x="580" y="380"/>
                          </a:lnTo>
                          <a:lnTo>
                            <a:pt x="586" y="378"/>
                          </a:lnTo>
                          <a:lnTo>
                            <a:pt x="588" y="378"/>
                          </a:lnTo>
                          <a:lnTo>
                            <a:pt x="590" y="378"/>
                          </a:lnTo>
                          <a:lnTo>
                            <a:pt x="592" y="376"/>
                          </a:lnTo>
                          <a:lnTo>
                            <a:pt x="594" y="376"/>
                          </a:lnTo>
                          <a:lnTo>
                            <a:pt x="596" y="376"/>
                          </a:lnTo>
                          <a:lnTo>
                            <a:pt x="596" y="372"/>
                          </a:lnTo>
                          <a:lnTo>
                            <a:pt x="598" y="370"/>
                          </a:lnTo>
                          <a:lnTo>
                            <a:pt x="598" y="368"/>
                          </a:lnTo>
                          <a:lnTo>
                            <a:pt x="600" y="368"/>
                          </a:lnTo>
                          <a:lnTo>
                            <a:pt x="602" y="366"/>
                          </a:lnTo>
                          <a:lnTo>
                            <a:pt x="610" y="366"/>
                          </a:lnTo>
                          <a:lnTo>
                            <a:pt x="614" y="368"/>
                          </a:lnTo>
                          <a:lnTo>
                            <a:pt x="618" y="368"/>
                          </a:lnTo>
                          <a:lnTo>
                            <a:pt x="622" y="370"/>
                          </a:lnTo>
                          <a:lnTo>
                            <a:pt x="624" y="370"/>
                          </a:lnTo>
                          <a:lnTo>
                            <a:pt x="624" y="372"/>
                          </a:lnTo>
                          <a:lnTo>
                            <a:pt x="626" y="370"/>
                          </a:lnTo>
                          <a:lnTo>
                            <a:pt x="628" y="370"/>
                          </a:lnTo>
                          <a:lnTo>
                            <a:pt x="628" y="368"/>
                          </a:lnTo>
                          <a:lnTo>
                            <a:pt x="632" y="368"/>
                          </a:lnTo>
                          <a:lnTo>
                            <a:pt x="632" y="370"/>
                          </a:lnTo>
                          <a:lnTo>
                            <a:pt x="632" y="372"/>
                          </a:lnTo>
                          <a:lnTo>
                            <a:pt x="634" y="374"/>
                          </a:lnTo>
                          <a:lnTo>
                            <a:pt x="634" y="376"/>
                          </a:lnTo>
                          <a:lnTo>
                            <a:pt x="636" y="376"/>
                          </a:lnTo>
                          <a:lnTo>
                            <a:pt x="636" y="378"/>
                          </a:lnTo>
                          <a:lnTo>
                            <a:pt x="640" y="378"/>
                          </a:lnTo>
                          <a:lnTo>
                            <a:pt x="640" y="380"/>
                          </a:lnTo>
                          <a:lnTo>
                            <a:pt x="640" y="386"/>
                          </a:lnTo>
                          <a:lnTo>
                            <a:pt x="642" y="386"/>
                          </a:lnTo>
                          <a:lnTo>
                            <a:pt x="642" y="388"/>
                          </a:lnTo>
                          <a:lnTo>
                            <a:pt x="654" y="388"/>
                          </a:lnTo>
                          <a:lnTo>
                            <a:pt x="654" y="386"/>
                          </a:lnTo>
                          <a:lnTo>
                            <a:pt x="656" y="386"/>
                          </a:lnTo>
                          <a:lnTo>
                            <a:pt x="656" y="384"/>
                          </a:lnTo>
                          <a:lnTo>
                            <a:pt x="658" y="386"/>
                          </a:lnTo>
                          <a:lnTo>
                            <a:pt x="660" y="388"/>
                          </a:lnTo>
                          <a:lnTo>
                            <a:pt x="660" y="390"/>
                          </a:lnTo>
                          <a:lnTo>
                            <a:pt x="662" y="390"/>
                          </a:lnTo>
                          <a:lnTo>
                            <a:pt x="664" y="390"/>
                          </a:lnTo>
                          <a:lnTo>
                            <a:pt x="666" y="388"/>
                          </a:lnTo>
                          <a:lnTo>
                            <a:pt x="668" y="390"/>
                          </a:lnTo>
                          <a:lnTo>
                            <a:pt x="670" y="392"/>
                          </a:lnTo>
                          <a:lnTo>
                            <a:pt x="672" y="392"/>
                          </a:lnTo>
                          <a:lnTo>
                            <a:pt x="674" y="394"/>
                          </a:lnTo>
                          <a:lnTo>
                            <a:pt x="674" y="392"/>
                          </a:lnTo>
                          <a:lnTo>
                            <a:pt x="676" y="390"/>
                          </a:lnTo>
                          <a:lnTo>
                            <a:pt x="680" y="390"/>
                          </a:lnTo>
                          <a:lnTo>
                            <a:pt x="680" y="394"/>
                          </a:lnTo>
                          <a:lnTo>
                            <a:pt x="680" y="396"/>
                          </a:lnTo>
                          <a:lnTo>
                            <a:pt x="680" y="398"/>
                          </a:lnTo>
                          <a:lnTo>
                            <a:pt x="678" y="400"/>
                          </a:lnTo>
                          <a:lnTo>
                            <a:pt x="678" y="402"/>
                          </a:lnTo>
                          <a:lnTo>
                            <a:pt x="680" y="402"/>
                          </a:lnTo>
                          <a:lnTo>
                            <a:pt x="682" y="402"/>
                          </a:lnTo>
                          <a:lnTo>
                            <a:pt x="682" y="400"/>
                          </a:lnTo>
                          <a:lnTo>
                            <a:pt x="684" y="398"/>
                          </a:lnTo>
                          <a:lnTo>
                            <a:pt x="686" y="400"/>
                          </a:lnTo>
                          <a:lnTo>
                            <a:pt x="690" y="402"/>
                          </a:lnTo>
                          <a:lnTo>
                            <a:pt x="696" y="402"/>
                          </a:lnTo>
                          <a:lnTo>
                            <a:pt x="698" y="400"/>
                          </a:lnTo>
                          <a:lnTo>
                            <a:pt x="698" y="398"/>
                          </a:lnTo>
                          <a:lnTo>
                            <a:pt x="696" y="398"/>
                          </a:lnTo>
                          <a:lnTo>
                            <a:pt x="696" y="396"/>
                          </a:lnTo>
                          <a:lnTo>
                            <a:pt x="698" y="396"/>
                          </a:lnTo>
                          <a:lnTo>
                            <a:pt x="700" y="394"/>
                          </a:lnTo>
                          <a:lnTo>
                            <a:pt x="702" y="394"/>
                          </a:lnTo>
                          <a:lnTo>
                            <a:pt x="704" y="394"/>
                          </a:lnTo>
                          <a:lnTo>
                            <a:pt x="706" y="392"/>
                          </a:lnTo>
                          <a:lnTo>
                            <a:pt x="706" y="390"/>
                          </a:lnTo>
                          <a:lnTo>
                            <a:pt x="710" y="390"/>
                          </a:lnTo>
                          <a:lnTo>
                            <a:pt x="714" y="388"/>
                          </a:lnTo>
                          <a:lnTo>
                            <a:pt x="714" y="386"/>
                          </a:lnTo>
                          <a:lnTo>
                            <a:pt x="716" y="386"/>
                          </a:lnTo>
                          <a:lnTo>
                            <a:pt x="718" y="384"/>
                          </a:lnTo>
                          <a:lnTo>
                            <a:pt x="720" y="384"/>
                          </a:lnTo>
                          <a:lnTo>
                            <a:pt x="722" y="386"/>
                          </a:lnTo>
                          <a:lnTo>
                            <a:pt x="724" y="386"/>
                          </a:lnTo>
                          <a:lnTo>
                            <a:pt x="722" y="386"/>
                          </a:lnTo>
                          <a:lnTo>
                            <a:pt x="722" y="388"/>
                          </a:lnTo>
                          <a:lnTo>
                            <a:pt x="720" y="390"/>
                          </a:lnTo>
                          <a:lnTo>
                            <a:pt x="718" y="390"/>
                          </a:lnTo>
                          <a:lnTo>
                            <a:pt x="718" y="392"/>
                          </a:lnTo>
                          <a:lnTo>
                            <a:pt x="720" y="392"/>
                          </a:lnTo>
                          <a:lnTo>
                            <a:pt x="724" y="394"/>
                          </a:lnTo>
                          <a:lnTo>
                            <a:pt x="726" y="394"/>
                          </a:lnTo>
                          <a:lnTo>
                            <a:pt x="730" y="396"/>
                          </a:lnTo>
                          <a:lnTo>
                            <a:pt x="736" y="400"/>
                          </a:lnTo>
                          <a:lnTo>
                            <a:pt x="738" y="400"/>
                          </a:lnTo>
                          <a:lnTo>
                            <a:pt x="738" y="402"/>
                          </a:lnTo>
                          <a:lnTo>
                            <a:pt x="740" y="402"/>
                          </a:lnTo>
                          <a:lnTo>
                            <a:pt x="742" y="404"/>
                          </a:lnTo>
                          <a:lnTo>
                            <a:pt x="744" y="404"/>
                          </a:lnTo>
                          <a:lnTo>
                            <a:pt x="746" y="406"/>
                          </a:lnTo>
                          <a:lnTo>
                            <a:pt x="748" y="406"/>
                          </a:lnTo>
                          <a:lnTo>
                            <a:pt x="750" y="408"/>
                          </a:lnTo>
                          <a:lnTo>
                            <a:pt x="752" y="410"/>
                          </a:lnTo>
                          <a:lnTo>
                            <a:pt x="754" y="412"/>
                          </a:lnTo>
                          <a:lnTo>
                            <a:pt x="760" y="416"/>
                          </a:lnTo>
                          <a:lnTo>
                            <a:pt x="764" y="422"/>
                          </a:lnTo>
                          <a:lnTo>
                            <a:pt x="768" y="424"/>
                          </a:lnTo>
                          <a:lnTo>
                            <a:pt x="770" y="426"/>
                          </a:lnTo>
                          <a:lnTo>
                            <a:pt x="772" y="428"/>
                          </a:lnTo>
                          <a:lnTo>
                            <a:pt x="774" y="430"/>
                          </a:lnTo>
                          <a:lnTo>
                            <a:pt x="776" y="432"/>
                          </a:lnTo>
                          <a:lnTo>
                            <a:pt x="778" y="434"/>
                          </a:lnTo>
                          <a:lnTo>
                            <a:pt x="780" y="434"/>
                          </a:lnTo>
                          <a:lnTo>
                            <a:pt x="782" y="438"/>
                          </a:lnTo>
                          <a:lnTo>
                            <a:pt x="784" y="440"/>
                          </a:lnTo>
                          <a:lnTo>
                            <a:pt x="786" y="444"/>
                          </a:lnTo>
                          <a:lnTo>
                            <a:pt x="788" y="448"/>
                          </a:lnTo>
                          <a:lnTo>
                            <a:pt x="790" y="448"/>
                          </a:lnTo>
                          <a:lnTo>
                            <a:pt x="792" y="450"/>
                          </a:lnTo>
                          <a:lnTo>
                            <a:pt x="794" y="450"/>
                          </a:lnTo>
                          <a:lnTo>
                            <a:pt x="796" y="452"/>
                          </a:lnTo>
                          <a:lnTo>
                            <a:pt x="798" y="450"/>
                          </a:lnTo>
                          <a:lnTo>
                            <a:pt x="800" y="450"/>
                          </a:lnTo>
                          <a:lnTo>
                            <a:pt x="800" y="448"/>
                          </a:lnTo>
                          <a:lnTo>
                            <a:pt x="802" y="448"/>
                          </a:lnTo>
                          <a:lnTo>
                            <a:pt x="802" y="446"/>
                          </a:lnTo>
                          <a:lnTo>
                            <a:pt x="804" y="442"/>
                          </a:lnTo>
                          <a:lnTo>
                            <a:pt x="804" y="440"/>
                          </a:lnTo>
                          <a:lnTo>
                            <a:pt x="806" y="440"/>
                          </a:lnTo>
                          <a:lnTo>
                            <a:pt x="808" y="440"/>
                          </a:lnTo>
                          <a:lnTo>
                            <a:pt x="808" y="442"/>
                          </a:lnTo>
                          <a:lnTo>
                            <a:pt x="810" y="444"/>
                          </a:lnTo>
                          <a:lnTo>
                            <a:pt x="810" y="448"/>
                          </a:lnTo>
                          <a:lnTo>
                            <a:pt x="816" y="448"/>
                          </a:lnTo>
                          <a:lnTo>
                            <a:pt x="818" y="450"/>
                          </a:lnTo>
                          <a:lnTo>
                            <a:pt x="820" y="452"/>
                          </a:lnTo>
                          <a:lnTo>
                            <a:pt x="822" y="452"/>
                          </a:lnTo>
                          <a:lnTo>
                            <a:pt x="822" y="454"/>
                          </a:lnTo>
                          <a:lnTo>
                            <a:pt x="826" y="454"/>
                          </a:lnTo>
                          <a:lnTo>
                            <a:pt x="828" y="452"/>
                          </a:lnTo>
                          <a:lnTo>
                            <a:pt x="830" y="452"/>
                          </a:lnTo>
                          <a:lnTo>
                            <a:pt x="832" y="452"/>
                          </a:lnTo>
                          <a:lnTo>
                            <a:pt x="834" y="450"/>
                          </a:lnTo>
                          <a:lnTo>
                            <a:pt x="836" y="450"/>
                          </a:lnTo>
                          <a:lnTo>
                            <a:pt x="840" y="448"/>
                          </a:lnTo>
                          <a:lnTo>
                            <a:pt x="848" y="448"/>
                          </a:lnTo>
                          <a:lnTo>
                            <a:pt x="848" y="450"/>
                          </a:lnTo>
                          <a:lnTo>
                            <a:pt x="852" y="450"/>
                          </a:lnTo>
                          <a:lnTo>
                            <a:pt x="854" y="452"/>
                          </a:lnTo>
                          <a:lnTo>
                            <a:pt x="856" y="454"/>
                          </a:lnTo>
                          <a:lnTo>
                            <a:pt x="858" y="456"/>
                          </a:lnTo>
                          <a:lnTo>
                            <a:pt x="860" y="458"/>
                          </a:lnTo>
                          <a:lnTo>
                            <a:pt x="862" y="460"/>
                          </a:lnTo>
                          <a:lnTo>
                            <a:pt x="864" y="460"/>
                          </a:lnTo>
                          <a:lnTo>
                            <a:pt x="868" y="460"/>
                          </a:lnTo>
                          <a:lnTo>
                            <a:pt x="872" y="460"/>
                          </a:lnTo>
                          <a:lnTo>
                            <a:pt x="874" y="462"/>
                          </a:lnTo>
                          <a:lnTo>
                            <a:pt x="876" y="464"/>
                          </a:lnTo>
                          <a:lnTo>
                            <a:pt x="878" y="468"/>
                          </a:lnTo>
                          <a:lnTo>
                            <a:pt x="878" y="470"/>
                          </a:lnTo>
                          <a:lnTo>
                            <a:pt x="878" y="472"/>
                          </a:lnTo>
                          <a:lnTo>
                            <a:pt x="880" y="472"/>
                          </a:lnTo>
                          <a:lnTo>
                            <a:pt x="882" y="474"/>
                          </a:lnTo>
                          <a:lnTo>
                            <a:pt x="886" y="474"/>
                          </a:lnTo>
                          <a:lnTo>
                            <a:pt x="890" y="474"/>
                          </a:lnTo>
                          <a:lnTo>
                            <a:pt x="894" y="474"/>
                          </a:lnTo>
                          <a:lnTo>
                            <a:pt x="896" y="476"/>
                          </a:lnTo>
                          <a:lnTo>
                            <a:pt x="898" y="472"/>
                          </a:lnTo>
                          <a:lnTo>
                            <a:pt x="900" y="472"/>
                          </a:lnTo>
                          <a:lnTo>
                            <a:pt x="900" y="470"/>
                          </a:lnTo>
                          <a:lnTo>
                            <a:pt x="902" y="468"/>
                          </a:lnTo>
                          <a:lnTo>
                            <a:pt x="904" y="470"/>
                          </a:lnTo>
                          <a:lnTo>
                            <a:pt x="904" y="472"/>
                          </a:lnTo>
                          <a:lnTo>
                            <a:pt x="906" y="472"/>
                          </a:lnTo>
                          <a:lnTo>
                            <a:pt x="908" y="476"/>
                          </a:lnTo>
                          <a:lnTo>
                            <a:pt x="910" y="478"/>
                          </a:lnTo>
                          <a:lnTo>
                            <a:pt x="912" y="480"/>
                          </a:lnTo>
                          <a:lnTo>
                            <a:pt x="914" y="480"/>
                          </a:lnTo>
                          <a:lnTo>
                            <a:pt x="914" y="482"/>
                          </a:lnTo>
                          <a:lnTo>
                            <a:pt x="916" y="482"/>
                          </a:lnTo>
                          <a:lnTo>
                            <a:pt x="916" y="484"/>
                          </a:lnTo>
                          <a:lnTo>
                            <a:pt x="918" y="482"/>
                          </a:lnTo>
                          <a:lnTo>
                            <a:pt x="920" y="482"/>
                          </a:lnTo>
                          <a:lnTo>
                            <a:pt x="922" y="482"/>
                          </a:lnTo>
                          <a:lnTo>
                            <a:pt x="924" y="482"/>
                          </a:lnTo>
                          <a:lnTo>
                            <a:pt x="926" y="482"/>
                          </a:lnTo>
                          <a:lnTo>
                            <a:pt x="926" y="480"/>
                          </a:lnTo>
                          <a:lnTo>
                            <a:pt x="928" y="480"/>
                          </a:lnTo>
                          <a:lnTo>
                            <a:pt x="928" y="478"/>
                          </a:lnTo>
                          <a:lnTo>
                            <a:pt x="926" y="478"/>
                          </a:lnTo>
                          <a:lnTo>
                            <a:pt x="926" y="476"/>
                          </a:lnTo>
                          <a:lnTo>
                            <a:pt x="942" y="476"/>
                          </a:lnTo>
                          <a:lnTo>
                            <a:pt x="942" y="472"/>
                          </a:lnTo>
                          <a:lnTo>
                            <a:pt x="946" y="472"/>
                          </a:lnTo>
                          <a:lnTo>
                            <a:pt x="944" y="472"/>
                          </a:lnTo>
                          <a:lnTo>
                            <a:pt x="944" y="470"/>
                          </a:lnTo>
                          <a:lnTo>
                            <a:pt x="946" y="468"/>
                          </a:lnTo>
                          <a:lnTo>
                            <a:pt x="948" y="466"/>
                          </a:lnTo>
                          <a:lnTo>
                            <a:pt x="952" y="464"/>
                          </a:lnTo>
                          <a:lnTo>
                            <a:pt x="954" y="462"/>
                          </a:lnTo>
                          <a:lnTo>
                            <a:pt x="956" y="462"/>
                          </a:lnTo>
                          <a:lnTo>
                            <a:pt x="958" y="460"/>
                          </a:lnTo>
                          <a:lnTo>
                            <a:pt x="960" y="458"/>
                          </a:lnTo>
                          <a:lnTo>
                            <a:pt x="966" y="458"/>
                          </a:lnTo>
                          <a:lnTo>
                            <a:pt x="966" y="456"/>
                          </a:lnTo>
                          <a:lnTo>
                            <a:pt x="966" y="454"/>
                          </a:lnTo>
                          <a:lnTo>
                            <a:pt x="968" y="452"/>
                          </a:lnTo>
                          <a:lnTo>
                            <a:pt x="970" y="452"/>
                          </a:lnTo>
                          <a:lnTo>
                            <a:pt x="970" y="450"/>
                          </a:lnTo>
                          <a:lnTo>
                            <a:pt x="972" y="452"/>
                          </a:lnTo>
                          <a:lnTo>
                            <a:pt x="974" y="452"/>
                          </a:lnTo>
                          <a:lnTo>
                            <a:pt x="974" y="454"/>
                          </a:lnTo>
                          <a:lnTo>
                            <a:pt x="976" y="452"/>
                          </a:lnTo>
                          <a:lnTo>
                            <a:pt x="978" y="452"/>
                          </a:lnTo>
                          <a:lnTo>
                            <a:pt x="978" y="450"/>
                          </a:lnTo>
                          <a:lnTo>
                            <a:pt x="978" y="452"/>
                          </a:lnTo>
                          <a:lnTo>
                            <a:pt x="980" y="452"/>
                          </a:lnTo>
                          <a:lnTo>
                            <a:pt x="980" y="454"/>
                          </a:lnTo>
                          <a:lnTo>
                            <a:pt x="988" y="454"/>
                          </a:lnTo>
                          <a:lnTo>
                            <a:pt x="988" y="458"/>
                          </a:lnTo>
                          <a:lnTo>
                            <a:pt x="994" y="458"/>
                          </a:lnTo>
                          <a:lnTo>
                            <a:pt x="996" y="456"/>
                          </a:lnTo>
                          <a:lnTo>
                            <a:pt x="1000" y="456"/>
                          </a:lnTo>
                          <a:lnTo>
                            <a:pt x="1002" y="456"/>
                          </a:lnTo>
                          <a:lnTo>
                            <a:pt x="1008" y="456"/>
                          </a:lnTo>
                          <a:lnTo>
                            <a:pt x="1010" y="458"/>
                          </a:lnTo>
                          <a:lnTo>
                            <a:pt x="1010" y="460"/>
                          </a:lnTo>
                          <a:lnTo>
                            <a:pt x="1012" y="462"/>
                          </a:lnTo>
                          <a:lnTo>
                            <a:pt x="1014" y="462"/>
                          </a:lnTo>
                          <a:lnTo>
                            <a:pt x="1016" y="464"/>
                          </a:lnTo>
                          <a:lnTo>
                            <a:pt x="1024" y="464"/>
                          </a:lnTo>
                          <a:lnTo>
                            <a:pt x="1024" y="466"/>
                          </a:lnTo>
                          <a:lnTo>
                            <a:pt x="1030" y="466"/>
                          </a:lnTo>
                          <a:lnTo>
                            <a:pt x="1030" y="468"/>
                          </a:lnTo>
                          <a:lnTo>
                            <a:pt x="1032" y="468"/>
                          </a:lnTo>
                          <a:lnTo>
                            <a:pt x="1032" y="466"/>
                          </a:lnTo>
                          <a:lnTo>
                            <a:pt x="1036" y="466"/>
                          </a:lnTo>
                          <a:lnTo>
                            <a:pt x="1038" y="466"/>
                          </a:lnTo>
                          <a:lnTo>
                            <a:pt x="1042" y="466"/>
                          </a:lnTo>
                          <a:lnTo>
                            <a:pt x="1044" y="466"/>
                          </a:lnTo>
                          <a:lnTo>
                            <a:pt x="1044" y="468"/>
                          </a:lnTo>
                          <a:lnTo>
                            <a:pt x="1054" y="468"/>
                          </a:lnTo>
                          <a:lnTo>
                            <a:pt x="1054" y="470"/>
                          </a:lnTo>
                          <a:lnTo>
                            <a:pt x="1054" y="472"/>
                          </a:lnTo>
                          <a:lnTo>
                            <a:pt x="1056" y="472"/>
                          </a:lnTo>
                          <a:lnTo>
                            <a:pt x="1058" y="470"/>
                          </a:lnTo>
                          <a:lnTo>
                            <a:pt x="1060" y="470"/>
                          </a:lnTo>
                          <a:lnTo>
                            <a:pt x="1062" y="468"/>
                          </a:lnTo>
                          <a:lnTo>
                            <a:pt x="1064" y="466"/>
                          </a:lnTo>
                          <a:lnTo>
                            <a:pt x="1064" y="464"/>
                          </a:lnTo>
                          <a:lnTo>
                            <a:pt x="1066" y="466"/>
                          </a:lnTo>
                          <a:lnTo>
                            <a:pt x="1066" y="464"/>
                          </a:lnTo>
                          <a:lnTo>
                            <a:pt x="1068" y="464"/>
                          </a:lnTo>
                          <a:lnTo>
                            <a:pt x="1068" y="460"/>
                          </a:lnTo>
                          <a:lnTo>
                            <a:pt x="1066" y="458"/>
                          </a:lnTo>
                          <a:lnTo>
                            <a:pt x="1066" y="456"/>
                          </a:lnTo>
                          <a:lnTo>
                            <a:pt x="1064" y="456"/>
                          </a:lnTo>
                          <a:lnTo>
                            <a:pt x="1062" y="456"/>
                          </a:lnTo>
                          <a:lnTo>
                            <a:pt x="1060" y="452"/>
                          </a:lnTo>
                          <a:lnTo>
                            <a:pt x="1058" y="450"/>
                          </a:lnTo>
                          <a:lnTo>
                            <a:pt x="1058" y="448"/>
                          </a:lnTo>
                          <a:lnTo>
                            <a:pt x="1056" y="448"/>
                          </a:lnTo>
                          <a:lnTo>
                            <a:pt x="1056" y="446"/>
                          </a:lnTo>
                          <a:lnTo>
                            <a:pt x="1056" y="442"/>
                          </a:lnTo>
                          <a:lnTo>
                            <a:pt x="1054" y="442"/>
                          </a:lnTo>
                          <a:lnTo>
                            <a:pt x="1054" y="440"/>
                          </a:lnTo>
                          <a:lnTo>
                            <a:pt x="1054" y="438"/>
                          </a:lnTo>
                          <a:lnTo>
                            <a:pt x="1056" y="438"/>
                          </a:lnTo>
                          <a:lnTo>
                            <a:pt x="1056" y="434"/>
                          </a:lnTo>
                          <a:lnTo>
                            <a:pt x="1058" y="434"/>
                          </a:lnTo>
                          <a:lnTo>
                            <a:pt x="1060" y="434"/>
                          </a:lnTo>
                          <a:lnTo>
                            <a:pt x="1060" y="426"/>
                          </a:lnTo>
                          <a:lnTo>
                            <a:pt x="1066" y="426"/>
                          </a:lnTo>
                          <a:lnTo>
                            <a:pt x="1066" y="428"/>
                          </a:lnTo>
                          <a:lnTo>
                            <a:pt x="1068" y="428"/>
                          </a:lnTo>
                          <a:lnTo>
                            <a:pt x="1070" y="430"/>
                          </a:lnTo>
                          <a:lnTo>
                            <a:pt x="1072" y="432"/>
                          </a:lnTo>
                          <a:lnTo>
                            <a:pt x="1074" y="432"/>
                          </a:lnTo>
                          <a:lnTo>
                            <a:pt x="1076" y="434"/>
                          </a:lnTo>
                          <a:lnTo>
                            <a:pt x="1092" y="434"/>
                          </a:lnTo>
                          <a:lnTo>
                            <a:pt x="1094" y="434"/>
                          </a:lnTo>
                          <a:lnTo>
                            <a:pt x="1096" y="436"/>
                          </a:lnTo>
                          <a:lnTo>
                            <a:pt x="1098" y="438"/>
                          </a:lnTo>
                          <a:lnTo>
                            <a:pt x="1102" y="440"/>
                          </a:lnTo>
                          <a:lnTo>
                            <a:pt x="1104" y="440"/>
                          </a:lnTo>
                          <a:lnTo>
                            <a:pt x="1106" y="438"/>
                          </a:lnTo>
                          <a:lnTo>
                            <a:pt x="1108" y="438"/>
                          </a:lnTo>
                          <a:lnTo>
                            <a:pt x="1112" y="438"/>
                          </a:lnTo>
                          <a:lnTo>
                            <a:pt x="1114" y="440"/>
                          </a:lnTo>
                          <a:lnTo>
                            <a:pt x="1114" y="442"/>
                          </a:lnTo>
                          <a:lnTo>
                            <a:pt x="1116" y="444"/>
                          </a:lnTo>
                          <a:lnTo>
                            <a:pt x="1120" y="450"/>
                          </a:lnTo>
                          <a:lnTo>
                            <a:pt x="1122" y="452"/>
                          </a:lnTo>
                          <a:lnTo>
                            <a:pt x="1124" y="456"/>
                          </a:lnTo>
                          <a:lnTo>
                            <a:pt x="1130" y="456"/>
                          </a:lnTo>
                          <a:lnTo>
                            <a:pt x="1130" y="458"/>
                          </a:lnTo>
                          <a:lnTo>
                            <a:pt x="1132" y="458"/>
                          </a:lnTo>
                          <a:lnTo>
                            <a:pt x="1134" y="460"/>
                          </a:lnTo>
                          <a:lnTo>
                            <a:pt x="1142" y="460"/>
                          </a:lnTo>
                          <a:lnTo>
                            <a:pt x="1144" y="462"/>
                          </a:lnTo>
                          <a:lnTo>
                            <a:pt x="1148" y="464"/>
                          </a:lnTo>
                          <a:lnTo>
                            <a:pt x="1152" y="464"/>
                          </a:lnTo>
                          <a:lnTo>
                            <a:pt x="1152" y="462"/>
                          </a:lnTo>
                          <a:lnTo>
                            <a:pt x="1154" y="462"/>
                          </a:lnTo>
                          <a:lnTo>
                            <a:pt x="1158" y="460"/>
                          </a:lnTo>
                          <a:lnTo>
                            <a:pt x="1160" y="458"/>
                          </a:lnTo>
                          <a:lnTo>
                            <a:pt x="1162" y="458"/>
                          </a:lnTo>
                          <a:lnTo>
                            <a:pt x="1166" y="458"/>
                          </a:lnTo>
                          <a:lnTo>
                            <a:pt x="1176" y="458"/>
                          </a:lnTo>
                          <a:lnTo>
                            <a:pt x="1178" y="458"/>
                          </a:lnTo>
                          <a:lnTo>
                            <a:pt x="1182" y="458"/>
                          </a:lnTo>
                          <a:lnTo>
                            <a:pt x="1184" y="458"/>
                          </a:lnTo>
                          <a:lnTo>
                            <a:pt x="1184" y="460"/>
                          </a:lnTo>
                          <a:lnTo>
                            <a:pt x="1192" y="460"/>
                          </a:lnTo>
                          <a:lnTo>
                            <a:pt x="1194" y="460"/>
                          </a:lnTo>
                          <a:lnTo>
                            <a:pt x="1196" y="462"/>
                          </a:lnTo>
                          <a:lnTo>
                            <a:pt x="1198" y="464"/>
                          </a:lnTo>
                          <a:lnTo>
                            <a:pt x="1200" y="466"/>
                          </a:lnTo>
                          <a:lnTo>
                            <a:pt x="1202" y="466"/>
                          </a:lnTo>
                          <a:lnTo>
                            <a:pt x="1214" y="466"/>
                          </a:lnTo>
                          <a:lnTo>
                            <a:pt x="1216" y="468"/>
                          </a:lnTo>
                          <a:lnTo>
                            <a:pt x="1216" y="470"/>
                          </a:lnTo>
                          <a:lnTo>
                            <a:pt x="1218" y="472"/>
                          </a:lnTo>
                          <a:lnTo>
                            <a:pt x="1224" y="472"/>
                          </a:lnTo>
                          <a:lnTo>
                            <a:pt x="1224" y="476"/>
                          </a:lnTo>
                          <a:lnTo>
                            <a:pt x="1226" y="478"/>
                          </a:lnTo>
                          <a:lnTo>
                            <a:pt x="1228" y="480"/>
                          </a:lnTo>
                          <a:lnTo>
                            <a:pt x="1236" y="480"/>
                          </a:lnTo>
                          <a:lnTo>
                            <a:pt x="1238" y="478"/>
                          </a:lnTo>
                          <a:lnTo>
                            <a:pt x="1240" y="478"/>
                          </a:lnTo>
                          <a:lnTo>
                            <a:pt x="1242" y="480"/>
                          </a:lnTo>
                          <a:lnTo>
                            <a:pt x="1244" y="480"/>
                          </a:lnTo>
                          <a:lnTo>
                            <a:pt x="1246" y="482"/>
                          </a:lnTo>
                          <a:lnTo>
                            <a:pt x="1252" y="482"/>
                          </a:lnTo>
                          <a:lnTo>
                            <a:pt x="1254" y="482"/>
                          </a:lnTo>
                          <a:lnTo>
                            <a:pt x="1256" y="480"/>
                          </a:lnTo>
                          <a:lnTo>
                            <a:pt x="1258" y="480"/>
                          </a:lnTo>
                          <a:lnTo>
                            <a:pt x="1260" y="480"/>
                          </a:lnTo>
                          <a:lnTo>
                            <a:pt x="1262" y="482"/>
                          </a:lnTo>
                          <a:lnTo>
                            <a:pt x="1264" y="482"/>
                          </a:lnTo>
                          <a:lnTo>
                            <a:pt x="1264" y="480"/>
                          </a:lnTo>
                          <a:lnTo>
                            <a:pt x="1266" y="478"/>
                          </a:lnTo>
                          <a:lnTo>
                            <a:pt x="1268" y="478"/>
                          </a:lnTo>
                          <a:lnTo>
                            <a:pt x="1270" y="476"/>
                          </a:lnTo>
                          <a:lnTo>
                            <a:pt x="1276" y="476"/>
                          </a:lnTo>
                          <a:lnTo>
                            <a:pt x="1276" y="478"/>
                          </a:lnTo>
                          <a:lnTo>
                            <a:pt x="1278" y="478"/>
                          </a:lnTo>
                          <a:lnTo>
                            <a:pt x="1278" y="476"/>
                          </a:lnTo>
                          <a:lnTo>
                            <a:pt x="1280" y="476"/>
                          </a:lnTo>
                          <a:lnTo>
                            <a:pt x="1290" y="476"/>
                          </a:lnTo>
                          <a:lnTo>
                            <a:pt x="1292" y="474"/>
                          </a:lnTo>
                          <a:lnTo>
                            <a:pt x="1292" y="470"/>
                          </a:lnTo>
                          <a:lnTo>
                            <a:pt x="1292" y="468"/>
                          </a:lnTo>
                          <a:lnTo>
                            <a:pt x="1296" y="466"/>
                          </a:lnTo>
                          <a:lnTo>
                            <a:pt x="1298" y="464"/>
                          </a:lnTo>
                          <a:lnTo>
                            <a:pt x="1300" y="462"/>
                          </a:lnTo>
                          <a:lnTo>
                            <a:pt x="1302" y="462"/>
                          </a:lnTo>
                          <a:lnTo>
                            <a:pt x="1314" y="462"/>
                          </a:lnTo>
                          <a:lnTo>
                            <a:pt x="1316" y="462"/>
                          </a:lnTo>
                          <a:lnTo>
                            <a:pt x="1316" y="464"/>
                          </a:lnTo>
                          <a:lnTo>
                            <a:pt x="1318" y="464"/>
                          </a:lnTo>
                          <a:lnTo>
                            <a:pt x="1320" y="466"/>
                          </a:lnTo>
                          <a:lnTo>
                            <a:pt x="1322" y="468"/>
                          </a:lnTo>
                          <a:lnTo>
                            <a:pt x="1324" y="468"/>
                          </a:lnTo>
                          <a:lnTo>
                            <a:pt x="1326" y="468"/>
                          </a:lnTo>
                          <a:lnTo>
                            <a:pt x="1330" y="468"/>
                          </a:lnTo>
                          <a:lnTo>
                            <a:pt x="1332" y="468"/>
                          </a:lnTo>
                          <a:lnTo>
                            <a:pt x="1332" y="466"/>
                          </a:lnTo>
                          <a:lnTo>
                            <a:pt x="1340" y="466"/>
                          </a:lnTo>
                          <a:lnTo>
                            <a:pt x="1342" y="468"/>
                          </a:lnTo>
                          <a:lnTo>
                            <a:pt x="1344" y="468"/>
                          </a:lnTo>
                          <a:lnTo>
                            <a:pt x="1348" y="470"/>
                          </a:lnTo>
                          <a:lnTo>
                            <a:pt x="1348" y="472"/>
                          </a:lnTo>
                          <a:lnTo>
                            <a:pt x="1350" y="472"/>
                          </a:lnTo>
                          <a:lnTo>
                            <a:pt x="1360" y="472"/>
                          </a:lnTo>
                          <a:lnTo>
                            <a:pt x="1360" y="474"/>
                          </a:lnTo>
                          <a:lnTo>
                            <a:pt x="1362" y="474"/>
                          </a:lnTo>
                          <a:lnTo>
                            <a:pt x="1364" y="476"/>
                          </a:lnTo>
                          <a:lnTo>
                            <a:pt x="1364" y="474"/>
                          </a:lnTo>
                          <a:lnTo>
                            <a:pt x="1366" y="474"/>
                          </a:lnTo>
                          <a:lnTo>
                            <a:pt x="1366" y="472"/>
                          </a:lnTo>
                          <a:lnTo>
                            <a:pt x="1368" y="470"/>
                          </a:lnTo>
                          <a:lnTo>
                            <a:pt x="1368" y="466"/>
                          </a:lnTo>
                          <a:lnTo>
                            <a:pt x="1370" y="466"/>
                          </a:lnTo>
                          <a:lnTo>
                            <a:pt x="1372" y="468"/>
                          </a:lnTo>
                          <a:lnTo>
                            <a:pt x="1374" y="466"/>
                          </a:lnTo>
                          <a:lnTo>
                            <a:pt x="1378" y="466"/>
                          </a:lnTo>
                          <a:lnTo>
                            <a:pt x="1378" y="462"/>
                          </a:lnTo>
                          <a:lnTo>
                            <a:pt x="1376" y="460"/>
                          </a:lnTo>
                          <a:lnTo>
                            <a:pt x="1374" y="460"/>
                          </a:lnTo>
                          <a:lnTo>
                            <a:pt x="1374" y="456"/>
                          </a:lnTo>
                          <a:lnTo>
                            <a:pt x="1374" y="454"/>
                          </a:lnTo>
                          <a:lnTo>
                            <a:pt x="1372" y="452"/>
                          </a:lnTo>
                          <a:lnTo>
                            <a:pt x="1372" y="432"/>
                          </a:lnTo>
                          <a:lnTo>
                            <a:pt x="1374" y="432"/>
                          </a:lnTo>
                          <a:lnTo>
                            <a:pt x="1374" y="430"/>
                          </a:lnTo>
                          <a:lnTo>
                            <a:pt x="1376" y="428"/>
                          </a:lnTo>
                          <a:lnTo>
                            <a:pt x="1378" y="426"/>
                          </a:lnTo>
                          <a:lnTo>
                            <a:pt x="1376" y="424"/>
                          </a:lnTo>
                          <a:lnTo>
                            <a:pt x="1374" y="422"/>
                          </a:lnTo>
                          <a:lnTo>
                            <a:pt x="1372" y="422"/>
                          </a:lnTo>
                          <a:lnTo>
                            <a:pt x="1370" y="420"/>
                          </a:lnTo>
                          <a:lnTo>
                            <a:pt x="1368" y="420"/>
                          </a:lnTo>
                          <a:lnTo>
                            <a:pt x="1366" y="420"/>
                          </a:lnTo>
                          <a:lnTo>
                            <a:pt x="1366" y="418"/>
                          </a:lnTo>
                          <a:lnTo>
                            <a:pt x="1364" y="418"/>
                          </a:lnTo>
                          <a:lnTo>
                            <a:pt x="1362" y="418"/>
                          </a:lnTo>
                          <a:lnTo>
                            <a:pt x="1360" y="418"/>
                          </a:lnTo>
                          <a:lnTo>
                            <a:pt x="1358" y="416"/>
                          </a:lnTo>
                          <a:lnTo>
                            <a:pt x="1358" y="414"/>
                          </a:lnTo>
                          <a:lnTo>
                            <a:pt x="1360" y="412"/>
                          </a:lnTo>
                          <a:lnTo>
                            <a:pt x="1360" y="410"/>
                          </a:lnTo>
                          <a:lnTo>
                            <a:pt x="1362" y="410"/>
                          </a:lnTo>
                          <a:lnTo>
                            <a:pt x="1364" y="410"/>
                          </a:lnTo>
                          <a:lnTo>
                            <a:pt x="1364" y="408"/>
                          </a:lnTo>
                          <a:lnTo>
                            <a:pt x="1366" y="406"/>
                          </a:lnTo>
                          <a:lnTo>
                            <a:pt x="1368" y="404"/>
                          </a:lnTo>
                          <a:lnTo>
                            <a:pt x="1370" y="404"/>
                          </a:lnTo>
                          <a:lnTo>
                            <a:pt x="1374" y="404"/>
                          </a:lnTo>
                          <a:lnTo>
                            <a:pt x="1374" y="402"/>
                          </a:lnTo>
                          <a:lnTo>
                            <a:pt x="1378" y="402"/>
                          </a:lnTo>
                          <a:lnTo>
                            <a:pt x="1378" y="400"/>
                          </a:lnTo>
                          <a:lnTo>
                            <a:pt x="1388" y="400"/>
                          </a:lnTo>
                          <a:lnTo>
                            <a:pt x="1390" y="400"/>
                          </a:lnTo>
                          <a:lnTo>
                            <a:pt x="1392" y="400"/>
                          </a:lnTo>
                          <a:lnTo>
                            <a:pt x="1394" y="398"/>
                          </a:lnTo>
                          <a:lnTo>
                            <a:pt x="1398" y="398"/>
                          </a:lnTo>
                          <a:lnTo>
                            <a:pt x="1400" y="398"/>
                          </a:lnTo>
                          <a:lnTo>
                            <a:pt x="1402" y="398"/>
                          </a:lnTo>
                          <a:lnTo>
                            <a:pt x="1404" y="400"/>
                          </a:lnTo>
                          <a:lnTo>
                            <a:pt x="1406" y="400"/>
                          </a:lnTo>
                          <a:lnTo>
                            <a:pt x="1408" y="402"/>
                          </a:lnTo>
                          <a:lnTo>
                            <a:pt x="1410" y="402"/>
                          </a:lnTo>
                          <a:lnTo>
                            <a:pt x="1412" y="404"/>
                          </a:lnTo>
                          <a:lnTo>
                            <a:pt x="1416" y="406"/>
                          </a:lnTo>
                          <a:lnTo>
                            <a:pt x="1418" y="408"/>
                          </a:lnTo>
                          <a:lnTo>
                            <a:pt x="1418" y="410"/>
                          </a:lnTo>
                          <a:lnTo>
                            <a:pt x="1436" y="410"/>
                          </a:lnTo>
                          <a:lnTo>
                            <a:pt x="1440" y="410"/>
                          </a:lnTo>
                          <a:lnTo>
                            <a:pt x="1440" y="412"/>
                          </a:lnTo>
                          <a:lnTo>
                            <a:pt x="1442" y="412"/>
                          </a:lnTo>
                          <a:lnTo>
                            <a:pt x="1444" y="412"/>
                          </a:lnTo>
                          <a:lnTo>
                            <a:pt x="1444" y="414"/>
                          </a:lnTo>
                          <a:lnTo>
                            <a:pt x="1444" y="416"/>
                          </a:lnTo>
                          <a:lnTo>
                            <a:pt x="1446" y="416"/>
                          </a:lnTo>
                          <a:lnTo>
                            <a:pt x="1446" y="418"/>
                          </a:lnTo>
                          <a:lnTo>
                            <a:pt x="1448" y="418"/>
                          </a:lnTo>
                          <a:lnTo>
                            <a:pt x="1450" y="420"/>
                          </a:lnTo>
                          <a:lnTo>
                            <a:pt x="1452" y="422"/>
                          </a:lnTo>
                          <a:lnTo>
                            <a:pt x="1454" y="422"/>
                          </a:lnTo>
                          <a:lnTo>
                            <a:pt x="1454" y="424"/>
                          </a:lnTo>
                          <a:lnTo>
                            <a:pt x="1456" y="424"/>
                          </a:lnTo>
                          <a:lnTo>
                            <a:pt x="1458" y="424"/>
                          </a:lnTo>
                          <a:lnTo>
                            <a:pt x="1460" y="424"/>
                          </a:lnTo>
                          <a:lnTo>
                            <a:pt x="1460" y="434"/>
                          </a:lnTo>
                          <a:lnTo>
                            <a:pt x="1462" y="434"/>
                          </a:lnTo>
                          <a:lnTo>
                            <a:pt x="1464" y="434"/>
                          </a:lnTo>
                          <a:lnTo>
                            <a:pt x="1468" y="436"/>
                          </a:lnTo>
                          <a:lnTo>
                            <a:pt x="1470" y="436"/>
                          </a:lnTo>
                          <a:lnTo>
                            <a:pt x="1472" y="436"/>
                          </a:lnTo>
                          <a:lnTo>
                            <a:pt x="1472" y="438"/>
                          </a:lnTo>
                          <a:lnTo>
                            <a:pt x="1474" y="440"/>
                          </a:lnTo>
                          <a:lnTo>
                            <a:pt x="1474" y="442"/>
                          </a:lnTo>
                          <a:lnTo>
                            <a:pt x="1476" y="444"/>
                          </a:lnTo>
                          <a:lnTo>
                            <a:pt x="1476" y="446"/>
                          </a:lnTo>
                          <a:lnTo>
                            <a:pt x="1480" y="446"/>
                          </a:lnTo>
                          <a:lnTo>
                            <a:pt x="1482" y="448"/>
                          </a:lnTo>
                          <a:lnTo>
                            <a:pt x="1484" y="448"/>
                          </a:lnTo>
                          <a:lnTo>
                            <a:pt x="1486" y="450"/>
                          </a:lnTo>
                          <a:lnTo>
                            <a:pt x="1490" y="452"/>
                          </a:lnTo>
                          <a:lnTo>
                            <a:pt x="1490" y="454"/>
                          </a:lnTo>
                          <a:lnTo>
                            <a:pt x="1494" y="458"/>
                          </a:lnTo>
                          <a:lnTo>
                            <a:pt x="1496" y="460"/>
                          </a:lnTo>
                          <a:lnTo>
                            <a:pt x="1496" y="462"/>
                          </a:lnTo>
                          <a:lnTo>
                            <a:pt x="1502" y="462"/>
                          </a:lnTo>
                          <a:lnTo>
                            <a:pt x="1502" y="468"/>
                          </a:lnTo>
                          <a:lnTo>
                            <a:pt x="1504" y="470"/>
                          </a:lnTo>
                          <a:lnTo>
                            <a:pt x="1508" y="472"/>
                          </a:lnTo>
                          <a:lnTo>
                            <a:pt x="1512" y="472"/>
                          </a:lnTo>
                          <a:lnTo>
                            <a:pt x="1512" y="474"/>
                          </a:lnTo>
                          <a:lnTo>
                            <a:pt x="1514" y="474"/>
                          </a:lnTo>
                          <a:lnTo>
                            <a:pt x="1520" y="474"/>
                          </a:lnTo>
                          <a:lnTo>
                            <a:pt x="1522" y="474"/>
                          </a:lnTo>
                          <a:lnTo>
                            <a:pt x="1524" y="472"/>
                          </a:lnTo>
                          <a:lnTo>
                            <a:pt x="1524" y="474"/>
                          </a:lnTo>
                          <a:lnTo>
                            <a:pt x="1526" y="474"/>
                          </a:lnTo>
                          <a:lnTo>
                            <a:pt x="1528" y="474"/>
                          </a:lnTo>
                          <a:lnTo>
                            <a:pt x="1528" y="476"/>
                          </a:lnTo>
                          <a:lnTo>
                            <a:pt x="1530" y="478"/>
                          </a:lnTo>
                          <a:lnTo>
                            <a:pt x="1532" y="480"/>
                          </a:lnTo>
                          <a:lnTo>
                            <a:pt x="1534" y="478"/>
                          </a:lnTo>
                          <a:lnTo>
                            <a:pt x="1536" y="476"/>
                          </a:lnTo>
                          <a:lnTo>
                            <a:pt x="1538" y="476"/>
                          </a:lnTo>
                          <a:lnTo>
                            <a:pt x="1540" y="478"/>
                          </a:lnTo>
                          <a:lnTo>
                            <a:pt x="1542" y="478"/>
                          </a:lnTo>
                          <a:lnTo>
                            <a:pt x="1546" y="482"/>
                          </a:lnTo>
                          <a:lnTo>
                            <a:pt x="1548" y="482"/>
                          </a:lnTo>
                          <a:lnTo>
                            <a:pt x="1550" y="484"/>
                          </a:lnTo>
                          <a:lnTo>
                            <a:pt x="1552" y="486"/>
                          </a:lnTo>
                          <a:lnTo>
                            <a:pt x="1560" y="486"/>
                          </a:lnTo>
                          <a:lnTo>
                            <a:pt x="1562" y="488"/>
                          </a:lnTo>
                          <a:lnTo>
                            <a:pt x="1562" y="490"/>
                          </a:lnTo>
                          <a:lnTo>
                            <a:pt x="1562" y="492"/>
                          </a:lnTo>
                          <a:lnTo>
                            <a:pt x="1566" y="492"/>
                          </a:lnTo>
                          <a:lnTo>
                            <a:pt x="1570" y="494"/>
                          </a:lnTo>
                          <a:lnTo>
                            <a:pt x="1572" y="494"/>
                          </a:lnTo>
                          <a:lnTo>
                            <a:pt x="1572" y="502"/>
                          </a:lnTo>
                          <a:lnTo>
                            <a:pt x="1576" y="504"/>
                          </a:lnTo>
                          <a:lnTo>
                            <a:pt x="1576" y="506"/>
                          </a:lnTo>
                          <a:lnTo>
                            <a:pt x="1578" y="506"/>
                          </a:lnTo>
                          <a:lnTo>
                            <a:pt x="1580" y="506"/>
                          </a:lnTo>
                          <a:lnTo>
                            <a:pt x="1580" y="508"/>
                          </a:lnTo>
                          <a:lnTo>
                            <a:pt x="1582" y="506"/>
                          </a:lnTo>
                          <a:lnTo>
                            <a:pt x="1584" y="506"/>
                          </a:lnTo>
                          <a:lnTo>
                            <a:pt x="1586" y="506"/>
                          </a:lnTo>
                          <a:lnTo>
                            <a:pt x="1588" y="506"/>
                          </a:lnTo>
                          <a:lnTo>
                            <a:pt x="1588" y="508"/>
                          </a:lnTo>
                          <a:lnTo>
                            <a:pt x="1590" y="510"/>
                          </a:lnTo>
                          <a:lnTo>
                            <a:pt x="1594" y="510"/>
                          </a:lnTo>
                          <a:lnTo>
                            <a:pt x="1594" y="508"/>
                          </a:lnTo>
                          <a:lnTo>
                            <a:pt x="1602" y="508"/>
                          </a:lnTo>
                          <a:lnTo>
                            <a:pt x="1602" y="502"/>
                          </a:lnTo>
                          <a:lnTo>
                            <a:pt x="1614" y="502"/>
                          </a:lnTo>
                          <a:lnTo>
                            <a:pt x="1614" y="500"/>
                          </a:lnTo>
                          <a:lnTo>
                            <a:pt x="1616" y="500"/>
                          </a:lnTo>
                          <a:lnTo>
                            <a:pt x="1616" y="498"/>
                          </a:lnTo>
                          <a:lnTo>
                            <a:pt x="1618" y="496"/>
                          </a:lnTo>
                          <a:lnTo>
                            <a:pt x="1628" y="496"/>
                          </a:lnTo>
                          <a:lnTo>
                            <a:pt x="1630" y="498"/>
                          </a:lnTo>
                          <a:lnTo>
                            <a:pt x="1630" y="500"/>
                          </a:lnTo>
                          <a:lnTo>
                            <a:pt x="1630" y="502"/>
                          </a:lnTo>
                          <a:lnTo>
                            <a:pt x="1630" y="504"/>
                          </a:lnTo>
                          <a:lnTo>
                            <a:pt x="1632" y="506"/>
                          </a:lnTo>
                          <a:lnTo>
                            <a:pt x="1634" y="506"/>
                          </a:lnTo>
                          <a:lnTo>
                            <a:pt x="1634" y="508"/>
                          </a:lnTo>
                          <a:lnTo>
                            <a:pt x="1636" y="508"/>
                          </a:lnTo>
                          <a:lnTo>
                            <a:pt x="1636" y="514"/>
                          </a:lnTo>
                          <a:lnTo>
                            <a:pt x="1634" y="516"/>
                          </a:lnTo>
                          <a:lnTo>
                            <a:pt x="1632" y="516"/>
                          </a:lnTo>
                          <a:lnTo>
                            <a:pt x="1632" y="518"/>
                          </a:lnTo>
                          <a:lnTo>
                            <a:pt x="1634" y="518"/>
                          </a:lnTo>
                          <a:lnTo>
                            <a:pt x="1636" y="518"/>
                          </a:lnTo>
                          <a:lnTo>
                            <a:pt x="1636" y="524"/>
                          </a:lnTo>
                          <a:lnTo>
                            <a:pt x="1636" y="526"/>
                          </a:lnTo>
                          <a:lnTo>
                            <a:pt x="1638" y="526"/>
                          </a:lnTo>
                          <a:lnTo>
                            <a:pt x="1638" y="528"/>
                          </a:lnTo>
                          <a:lnTo>
                            <a:pt x="1638" y="532"/>
                          </a:lnTo>
                          <a:lnTo>
                            <a:pt x="1640" y="534"/>
                          </a:lnTo>
                          <a:lnTo>
                            <a:pt x="1640" y="548"/>
                          </a:lnTo>
                          <a:lnTo>
                            <a:pt x="1638" y="548"/>
                          </a:lnTo>
                          <a:lnTo>
                            <a:pt x="1638" y="550"/>
                          </a:lnTo>
                          <a:lnTo>
                            <a:pt x="1638" y="552"/>
                          </a:lnTo>
                          <a:lnTo>
                            <a:pt x="1638" y="554"/>
                          </a:lnTo>
                          <a:lnTo>
                            <a:pt x="1640" y="554"/>
                          </a:lnTo>
                          <a:lnTo>
                            <a:pt x="1640" y="558"/>
                          </a:lnTo>
                          <a:lnTo>
                            <a:pt x="1638" y="558"/>
                          </a:lnTo>
                          <a:lnTo>
                            <a:pt x="1634" y="558"/>
                          </a:lnTo>
                          <a:lnTo>
                            <a:pt x="1632" y="558"/>
                          </a:lnTo>
                          <a:lnTo>
                            <a:pt x="1628" y="556"/>
                          </a:lnTo>
                          <a:lnTo>
                            <a:pt x="1626" y="556"/>
                          </a:lnTo>
                          <a:lnTo>
                            <a:pt x="1624" y="554"/>
                          </a:lnTo>
                          <a:lnTo>
                            <a:pt x="1622" y="554"/>
                          </a:lnTo>
                          <a:lnTo>
                            <a:pt x="1620" y="554"/>
                          </a:lnTo>
                          <a:lnTo>
                            <a:pt x="1618" y="556"/>
                          </a:lnTo>
                          <a:lnTo>
                            <a:pt x="1618" y="558"/>
                          </a:lnTo>
                          <a:lnTo>
                            <a:pt x="1620" y="560"/>
                          </a:lnTo>
                          <a:lnTo>
                            <a:pt x="1618" y="560"/>
                          </a:lnTo>
                          <a:lnTo>
                            <a:pt x="1618" y="562"/>
                          </a:lnTo>
                          <a:lnTo>
                            <a:pt x="1612" y="562"/>
                          </a:lnTo>
                          <a:lnTo>
                            <a:pt x="1612" y="564"/>
                          </a:lnTo>
                          <a:lnTo>
                            <a:pt x="1614" y="566"/>
                          </a:lnTo>
                          <a:lnTo>
                            <a:pt x="1616" y="568"/>
                          </a:lnTo>
                          <a:lnTo>
                            <a:pt x="1620" y="570"/>
                          </a:lnTo>
                          <a:lnTo>
                            <a:pt x="1624" y="572"/>
                          </a:lnTo>
                          <a:lnTo>
                            <a:pt x="1626" y="576"/>
                          </a:lnTo>
                          <a:lnTo>
                            <a:pt x="1628" y="580"/>
                          </a:lnTo>
                          <a:lnTo>
                            <a:pt x="1628" y="582"/>
                          </a:lnTo>
                          <a:lnTo>
                            <a:pt x="1628" y="584"/>
                          </a:lnTo>
                          <a:lnTo>
                            <a:pt x="1630" y="586"/>
                          </a:lnTo>
                          <a:lnTo>
                            <a:pt x="1630" y="588"/>
                          </a:lnTo>
                          <a:lnTo>
                            <a:pt x="1632" y="590"/>
                          </a:lnTo>
                          <a:lnTo>
                            <a:pt x="1632" y="592"/>
                          </a:lnTo>
                          <a:lnTo>
                            <a:pt x="1634" y="592"/>
                          </a:lnTo>
                          <a:lnTo>
                            <a:pt x="1634" y="600"/>
                          </a:lnTo>
                          <a:lnTo>
                            <a:pt x="1626" y="600"/>
                          </a:lnTo>
                          <a:lnTo>
                            <a:pt x="1626" y="602"/>
                          </a:lnTo>
                          <a:lnTo>
                            <a:pt x="1624" y="604"/>
                          </a:lnTo>
                          <a:lnTo>
                            <a:pt x="1624" y="606"/>
                          </a:lnTo>
                          <a:lnTo>
                            <a:pt x="1626" y="606"/>
                          </a:lnTo>
                          <a:lnTo>
                            <a:pt x="1628" y="606"/>
                          </a:lnTo>
                          <a:lnTo>
                            <a:pt x="1630" y="606"/>
                          </a:lnTo>
                          <a:lnTo>
                            <a:pt x="1630" y="608"/>
                          </a:lnTo>
                          <a:lnTo>
                            <a:pt x="1640" y="608"/>
                          </a:lnTo>
                          <a:lnTo>
                            <a:pt x="1640" y="604"/>
                          </a:lnTo>
                          <a:lnTo>
                            <a:pt x="1640" y="602"/>
                          </a:lnTo>
                          <a:lnTo>
                            <a:pt x="1640" y="596"/>
                          </a:lnTo>
                          <a:lnTo>
                            <a:pt x="1640" y="594"/>
                          </a:lnTo>
                          <a:lnTo>
                            <a:pt x="1642" y="592"/>
                          </a:lnTo>
                          <a:lnTo>
                            <a:pt x="1642" y="590"/>
                          </a:lnTo>
                          <a:lnTo>
                            <a:pt x="1644" y="590"/>
                          </a:lnTo>
                          <a:lnTo>
                            <a:pt x="1646" y="592"/>
                          </a:lnTo>
                          <a:lnTo>
                            <a:pt x="1646" y="594"/>
                          </a:lnTo>
                          <a:lnTo>
                            <a:pt x="1648" y="594"/>
                          </a:lnTo>
                          <a:lnTo>
                            <a:pt x="1650" y="594"/>
                          </a:lnTo>
                          <a:lnTo>
                            <a:pt x="1650" y="592"/>
                          </a:lnTo>
                          <a:lnTo>
                            <a:pt x="1652" y="592"/>
                          </a:lnTo>
                          <a:lnTo>
                            <a:pt x="1652" y="594"/>
                          </a:lnTo>
                          <a:lnTo>
                            <a:pt x="1654" y="598"/>
                          </a:lnTo>
                          <a:lnTo>
                            <a:pt x="1654" y="600"/>
                          </a:lnTo>
                          <a:lnTo>
                            <a:pt x="1656" y="600"/>
                          </a:lnTo>
                          <a:lnTo>
                            <a:pt x="1658" y="600"/>
                          </a:lnTo>
                          <a:lnTo>
                            <a:pt x="1662" y="600"/>
                          </a:lnTo>
                          <a:lnTo>
                            <a:pt x="1666" y="600"/>
                          </a:lnTo>
                          <a:lnTo>
                            <a:pt x="1668" y="600"/>
                          </a:lnTo>
                          <a:lnTo>
                            <a:pt x="1670" y="600"/>
                          </a:lnTo>
                          <a:lnTo>
                            <a:pt x="1670" y="602"/>
                          </a:lnTo>
                          <a:lnTo>
                            <a:pt x="1672" y="602"/>
                          </a:lnTo>
                          <a:lnTo>
                            <a:pt x="1676" y="600"/>
                          </a:lnTo>
                          <a:lnTo>
                            <a:pt x="1678" y="600"/>
                          </a:lnTo>
                          <a:lnTo>
                            <a:pt x="1682" y="598"/>
                          </a:lnTo>
                          <a:lnTo>
                            <a:pt x="1686" y="594"/>
                          </a:lnTo>
                          <a:lnTo>
                            <a:pt x="1688" y="594"/>
                          </a:lnTo>
                          <a:lnTo>
                            <a:pt x="1690" y="592"/>
                          </a:lnTo>
                          <a:lnTo>
                            <a:pt x="1690" y="580"/>
                          </a:lnTo>
                          <a:lnTo>
                            <a:pt x="1690" y="578"/>
                          </a:lnTo>
                          <a:lnTo>
                            <a:pt x="1690" y="576"/>
                          </a:lnTo>
                          <a:lnTo>
                            <a:pt x="1692" y="574"/>
                          </a:lnTo>
                          <a:lnTo>
                            <a:pt x="1692" y="572"/>
                          </a:lnTo>
                          <a:lnTo>
                            <a:pt x="1694" y="572"/>
                          </a:lnTo>
                          <a:lnTo>
                            <a:pt x="1694" y="570"/>
                          </a:lnTo>
                          <a:lnTo>
                            <a:pt x="1696" y="570"/>
                          </a:lnTo>
                          <a:lnTo>
                            <a:pt x="1696" y="556"/>
                          </a:lnTo>
                          <a:lnTo>
                            <a:pt x="1696" y="554"/>
                          </a:lnTo>
                          <a:lnTo>
                            <a:pt x="1698" y="552"/>
                          </a:lnTo>
                          <a:lnTo>
                            <a:pt x="1698" y="550"/>
                          </a:lnTo>
                          <a:lnTo>
                            <a:pt x="1700" y="548"/>
                          </a:lnTo>
                          <a:lnTo>
                            <a:pt x="1700" y="546"/>
                          </a:lnTo>
                          <a:lnTo>
                            <a:pt x="1702" y="544"/>
                          </a:lnTo>
                          <a:lnTo>
                            <a:pt x="1702" y="540"/>
                          </a:lnTo>
                          <a:lnTo>
                            <a:pt x="1702" y="534"/>
                          </a:lnTo>
                          <a:lnTo>
                            <a:pt x="1702" y="528"/>
                          </a:lnTo>
                          <a:lnTo>
                            <a:pt x="1702" y="524"/>
                          </a:lnTo>
                          <a:lnTo>
                            <a:pt x="1702" y="522"/>
                          </a:lnTo>
                          <a:lnTo>
                            <a:pt x="1700" y="520"/>
                          </a:lnTo>
                          <a:lnTo>
                            <a:pt x="1700" y="518"/>
                          </a:lnTo>
                          <a:lnTo>
                            <a:pt x="1702" y="516"/>
                          </a:lnTo>
                          <a:lnTo>
                            <a:pt x="1704" y="512"/>
                          </a:lnTo>
                          <a:lnTo>
                            <a:pt x="1704" y="510"/>
                          </a:lnTo>
                          <a:lnTo>
                            <a:pt x="1704" y="508"/>
                          </a:lnTo>
                          <a:lnTo>
                            <a:pt x="1704" y="506"/>
                          </a:lnTo>
                          <a:lnTo>
                            <a:pt x="1702" y="506"/>
                          </a:lnTo>
                          <a:lnTo>
                            <a:pt x="1702" y="504"/>
                          </a:lnTo>
                          <a:lnTo>
                            <a:pt x="1704" y="502"/>
                          </a:lnTo>
                          <a:lnTo>
                            <a:pt x="1704" y="500"/>
                          </a:lnTo>
                          <a:lnTo>
                            <a:pt x="1706" y="500"/>
                          </a:lnTo>
                          <a:lnTo>
                            <a:pt x="1706" y="498"/>
                          </a:lnTo>
                          <a:lnTo>
                            <a:pt x="1706" y="496"/>
                          </a:lnTo>
                          <a:lnTo>
                            <a:pt x="1708" y="494"/>
                          </a:lnTo>
                          <a:lnTo>
                            <a:pt x="1706" y="492"/>
                          </a:lnTo>
                          <a:lnTo>
                            <a:pt x="1706" y="490"/>
                          </a:lnTo>
                          <a:lnTo>
                            <a:pt x="1704" y="488"/>
                          </a:lnTo>
                          <a:lnTo>
                            <a:pt x="1702" y="484"/>
                          </a:lnTo>
                          <a:lnTo>
                            <a:pt x="1702" y="482"/>
                          </a:lnTo>
                          <a:lnTo>
                            <a:pt x="1700" y="482"/>
                          </a:lnTo>
                          <a:lnTo>
                            <a:pt x="1700" y="480"/>
                          </a:lnTo>
                          <a:lnTo>
                            <a:pt x="1700" y="478"/>
                          </a:lnTo>
                          <a:lnTo>
                            <a:pt x="1698" y="476"/>
                          </a:lnTo>
                          <a:lnTo>
                            <a:pt x="1698" y="474"/>
                          </a:lnTo>
                          <a:lnTo>
                            <a:pt x="1698" y="472"/>
                          </a:lnTo>
                          <a:lnTo>
                            <a:pt x="1696" y="472"/>
                          </a:lnTo>
                          <a:lnTo>
                            <a:pt x="1696" y="470"/>
                          </a:lnTo>
                          <a:lnTo>
                            <a:pt x="1696" y="468"/>
                          </a:lnTo>
                          <a:lnTo>
                            <a:pt x="1694" y="468"/>
                          </a:lnTo>
                          <a:lnTo>
                            <a:pt x="1692" y="468"/>
                          </a:lnTo>
                          <a:lnTo>
                            <a:pt x="1692" y="466"/>
                          </a:lnTo>
                          <a:lnTo>
                            <a:pt x="1692" y="464"/>
                          </a:lnTo>
                          <a:lnTo>
                            <a:pt x="1694" y="464"/>
                          </a:lnTo>
                          <a:lnTo>
                            <a:pt x="1692" y="464"/>
                          </a:lnTo>
                          <a:lnTo>
                            <a:pt x="1692" y="462"/>
                          </a:lnTo>
                          <a:lnTo>
                            <a:pt x="1690" y="462"/>
                          </a:lnTo>
                          <a:lnTo>
                            <a:pt x="1688" y="460"/>
                          </a:lnTo>
                          <a:lnTo>
                            <a:pt x="1686" y="458"/>
                          </a:lnTo>
                          <a:lnTo>
                            <a:pt x="1684" y="456"/>
                          </a:lnTo>
                          <a:lnTo>
                            <a:pt x="1682" y="452"/>
                          </a:lnTo>
                          <a:lnTo>
                            <a:pt x="1682" y="450"/>
                          </a:lnTo>
                          <a:lnTo>
                            <a:pt x="1680" y="448"/>
                          </a:lnTo>
                          <a:lnTo>
                            <a:pt x="1680" y="446"/>
                          </a:lnTo>
                          <a:lnTo>
                            <a:pt x="1678" y="444"/>
                          </a:lnTo>
                          <a:lnTo>
                            <a:pt x="1678" y="442"/>
                          </a:lnTo>
                          <a:lnTo>
                            <a:pt x="1678" y="440"/>
                          </a:lnTo>
                          <a:lnTo>
                            <a:pt x="1678" y="430"/>
                          </a:lnTo>
                          <a:lnTo>
                            <a:pt x="1678" y="428"/>
                          </a:lnTo>
                          <a:lnTo>
                            <a:pt x="1676" y="428"/>
                          </a:lnTo>
                          <a:lnTo>
                            <a:pt x="1674" y="426"/>
                          </a:lnTo>
                          <a:lnTo>
                            <a:pt x="1674" y="424"/>
                          </a:lnTo>
                          <a:lnTo>
                            <a:pt x="1672" y="424"/>
                          </a:lnTo>
                          <a:lnTo>
                            <a:pt x="1672" y="422"/>
                          </a:lnTo>
                          <a:lnTo>
                            <a:pt x="1670" y="422"/>
                          </a:lnTo>
                          <a:lnTo>
                            <a:pt x="1668" y="420"/>
                          </a:lnTo>
                          <a:lnTo>
                            <a:pt x="1666" y="418"/>
                          </a:lnTo>
                          <a:lnTo>
                            <a:pt x="1664" y="416"/>
                          </a:lnTo>
                          <a:lnTo>
                            <a:pt x="1664" y="414"/>
                          </a:lnTo>
                          <a:lnTo>
                            <a:pt x="1662" y="414"/>
                          </a:lnTo>
                          <a:lnTo>
                            <a:pt x="1660" y="412"/>
                          </a:lnTo>
                          <a:lnTo>
                            <a:pt x="1658" y="412"/>
                          </a:lnTo>
                          <a:lnTo>
                            <a:pt x="1656" y="410"/>
                          </a:lnTo>
                          <a:lnTo>
                            <a:pt x="1654" y="410"/>
                          </a:lnTo>
                          <a:lnTo>
                            <a:pt x="1652" y="410"/>
                          </a:lnTo>
                          <a:lnTo>
                            <a:pt x="1652" y="406"/>
                          </a:lnTo>
                          <a:lnTo>
                            <a:pt x="1652" y="408"/>
                          </a:lnTo>
                          <a:lnTo>
                            <a:pt x="1654" y="408"/>
                          </a:lnTo>
                          <a:lnTo>
                            <a:pt x="1656" y="408"/>
                          </a:lnTo>
                          <a:lnTo>
                            <a:pt x="1658" y="410"/>
                          </a:lnTo>
                          <a:lnTo>
                            <a:pt x="1662" y="410"/>
                          </a:lnTo>
                          <a:lnTo>
                            <a:pt x="1662" y="408"/>
                          </a:lnTo>
                          <a:lnTo>
                            <a:pt x="1660" y="406"/>
                          </a:lnTo>
                          <a:lnTo>
                            <a:pt x="1658" y="406"/>
                          </a:lnTo>
                          <a:lnTo>
                            <a:pt x="1656" y="404"/>
                          </a:lnTo>
                          <a:lnTo>
                            <a:pt x="1652" y="402"/>
                          </a:lnTo>
                          <a:lnTo>
                            <a:pt x="1648" y="402"/>
                          </a:lnTo>
                          <a:lnTo>
                            <a:pt x="1646" y="400"/>
                          </a:lnTo>
                          <a:lnTo>
                            <a:pt x="1644" y="400"/>
                          </a:lnTo>
                          <a:lnTo>
                            <a:pt x="1642" y="398"/>
                          </a:lnTo>
                          <a:lnTo>
                            <a:pt x="1640" y="398"/>
                          </a:lnTo>
                          <a:lnTo>
                            <a:pt x="1640" y="396"/>
                          </a:lnTo>
                          <a:lnTo>
                            <a:pt x="1638" y="396"/>
                          </a:lnTo>
                          <a:lnTo>
                            <a:pt x="1636" y="396"/>
                          </a:lnTo>
                          <a:lnTo>
                            <a:pt x="1636" y="394"/>
                          </a:lnTo>
                          <a:lnTo>
                            <a:pt x="1634" y="394"/>
                          </a:lnTo>
                          <a:lnTo>
                            <a:pt x="1632" y="394"/>
                          </a:lnTo>
                          <a:lnTo>
                            <a:pt x="1630" y="392"/>
                          </a:lnTo>
                          <a:lnTo>
                            <a:pt x="1628" y="390"/>
                          </a:lnTo>
                          <a:lnTo>
                            <a:pt x="1626" y="388"/>
                          </a:lnTo>
                          <a:lnTo>
                            <a:pt x="1624" y="388"/>
                          </a:lnTo>
                          <a:lnTo>
                            <a:pt x="1624" y="386"/>
                          </a:lnTo>
                          <a:lnTo>
                            <a:pt x="1620" y="386"/>
                          </a:lnTo>
                          <a:lnTo>
                            <a:pt x="1618" y="388"/>
                          </a:lnTo>
                          <a:lnTo>
                            <a:pt x="1616" y="388"/>
                          </a:lnTo>
                          <a:lnTo>
                            <a:pt x="1614" y="388"/>
                          </a:lnTo>
                          <a:lnTo>
                            <a:pt x="1612" y="388"/>
                          </a:lnTo>
                          <a:lnTo>
                            <a:pt x="1610" y="388"/>
                          </a:lnTo>
                          <a:lnTo>
                            <a:pt x="1608" y="386"/>
                          </a:lnTo>
                          <a:lnTo>
                            <a:pt x="1604" y="386"/>
                          </a:lnTo>
                          <a:lnTo>
                            <a:pt x="1606" y="388"/>
                          </a:lnTo>
                          <a:lnTo>
                            <a:pt x="1608" y="390"/>
                          </a:lnTo>
                          <a:lnTo>
                            <a:pt x="1610" y="392"/>
                          </a:lnTo>
                          <a:lnTo>
                            <a:pt x="1612" y="394"/>
                          </a:lnTo>
                          <a:lnTo>
                            <a:pt x="1612" y="396"/>
                          </a:lnTo>
                          <a:lnTo>
                            <a:pt x="1614" y="396"/>
                          </a:lnTo>
                          <a:lnTo>
                            <a:pt x="1614" y="402"/>
                          </a:lnTo>
                          <a:lnTo>
                            <a:pt x="1610" y="402"/>
                          </a:lnTo>
                          <a:lnTo>
                            <a:pt x="1610" y="396"/>
                          </a:lnTo>
                          <a:lnTo>
                            <a:pt x="1608" y="394"/>
                          </a:lnTo>
                          <a:lnTo>
                            <a:pt x="1606" y="394"/>
                          </a:lnTo>
                          <a:lnTo>
                            <a:pt x="1606" y="396"/>
                          </a:lnTo>
                          <a:lnTo>
                            <a:pt x="1606" y="398"/>
                          </a:lnTo>
                          <a:lnTo>
                            <a:pt x="1604" y="400"/>
                          </a:lnTo>
                          <a:lnTo>
                            <a:pt x="1596" y="400"/>
                          </a:lnTo>
                          <a:lnTo>
                            <a:pt x="1596" y="398"/>
                          </a:lnTo>
                          <a:lnTo>
                            <a:pt x="1598" y="398"/>
                          </a:lnTo>
                          <a:lnTo>
                            <a:pt x="1598" y="396"/>
                          </a:lnTo>
                          <a:lnTo>
                            <a:pt x="1596" y="394"/>
                          </a:lnTo>
                          <a:lnTo>
                            <a:pt x="1596" y="392"/>
                          </a:lnTo>
                          <a:lnTo>
                            <a:pt x="1590" y="392"/>
                          </a:lnTo>
                          <a:lnTo>
                            <a:pt x="1590" y="394"/>
                          </a:lnTo>
                          <a:lnTo>
                            <a:pt x="1588" y="394"/>
                          </a:lnTo>
                          <a:lnTo>
                            <a:pt x="1588" y="396"/>
                          </a:lnTo>
                          <a:lnTo>
                            <a:pt x="1582" y="396"/>
                          </a:lnTo>
                          <a:lnTo>
                            <a:pt x="1582" y="392"/>
                          </a:lnTo>
                          <a:lnTo>
                            <a:pt x="1580" y="390"/>
                          </a:lnTo>
                          <a:lnTo>
                            <a:pt x="1580" y="388"/>
                          </a:lnTo>
                          <a:lnTo>
                            <a:pt x="1578" y="388"/>
                          </a:lnTo>
                          <a:lnTo>
                            <a:pt x="1578" y="386"/>
                          </a:lnTo>
                          <a:lnTo>
                            <a:pt x="1576" y="386"/>
                          </a:lnTo>
                          <a:lnTo>
                            <a:pt x="1576" y="384"/>
                          </a:lnTo>
                          <a:lnTo>
                            <a:pt x="1574" y="384"/>
                          </a:lnTo>
                          <a:lnTo>
                            <a:pt x="1574" y="382"/>
                          </a:lnTo>
                          <a:lnTo>
                            <a:pt x="1558" y="382"/>
                          </a:lnTo>
                          <a:lnTo>
                            <a:pt x="1556" y="382"/>
                          </a:lnTo>
                          <a:lnTo>
                            <a:pt x="1556" y="380"/>
                          </a:lnTo>
                          <a:lnTo>
                            <a:pt x="1548" y="380"/>
                          </a:lnTo>
                          <a:lnTo>
                            <a:pt x="1546" y="378"/>
                          </a:lnTo>
                          <a:lnTo>
                            <a:pt x="1546" y="374"/>
                          </a:lnTo>
                          <a:lnTo>
                            <a:pt x="1546" y="372"/>
                          </a:lnTo>
                          <a:lnTo>
                            <a:pt x="1548" y="370"/>
                          </a:lnTo>
                          <a:lnTo>
                            <a:pt x="1550" y="370"/>
                          </a:lnTo>
                          <a:lnTo>
                            <a:pt x="1552" y="370"/>
                          </a:lnTo>
                          <a:lnTo>
                            <a:pt x="1552" y="368"/>
                          </a:lnTo>
                          <a:lnTo>
                            <a:pt x="1554" y="368"/>
                          </a:lnTo>
                          <a:lnTo>
                            <a:pt x="1554" y="362"/>
                          </a:lnTo>
                          <a:lnTo>
                            <a:pt x="1558" y="362"/>
                          </a:lnTo>
                          <a:lnTo>
                            <a:pt x="1560" y="360"/>
                          </a:lnTo>
                          <a:lnTo>
                            <a:pt x="1560" y="358"/>
                          </a:lnTo>
                          <a:lnTo>
                            <a:pt x="1562" y="356"/>
                          </a:lnTo>
                          <a:lnTo>
                            <a:pt x="1562" y="352"/>
                          </a:lnTo>
                          <a:lnTo>
                            <a:pt x="1564" y="352"/>
                          </a:lnTo>
                          <a:lnTo>
                            <a:pt x="1564" y="350"/>
                          </a:lnTo>
                          <a:lnTo>
                            <a:pt x="1566" y="350"/>
                          </a:lnTo>
                          <a:lnTo>
                            <a:pt x="1564" y="348"/>
                          </a:lnTo>
                          <a:lnTo>
                            <a:pt x="1562" y="348"/>
                          </a:lnTo>
                          <a:lnTo>
                            <a:pt x="1560" y="346"/>
                          </a:lnTo>
                          <a:lnTo>
                            <a:pt x="1562" y="346"/>
                          </a:lnTo>
                          <a:lnTo>
                            <a:pt x="1562" y="344"/>
                          </a:lnTo>
                          <a:lnTo>
                            <a:pt x="1562" y="340"/>
                          </a:lnTo>
                          <a:lnTo>
                            <a:pt x="1560" y="340"/>
                          </a:lnTo>
                          <a:lnTo>
                            <a:pt x="1560" y="338"/>
                          </a:lnTo>
                          <a:lnTo>
                            <a:pt x="1562" y="338"/>
                          </a:lnTo>
                          <a:lnTo>
                            <a:pt x="1564" y="336"/>
                          </a:lnTo>
                          <a:lnTo>
                            <a:pt x="1566" y="336"/>
                          </a:lnTo>
                          <a:lnTo>
                            <a:pt x="1566" y="334"/>
                          </a:lnTo>
                          <a:lnTo>
                            <a:pt x="1572" y="334"/>
                          </a:lnTo>
                          <a:lnTo>
                            <a:pt x="1572" y="330"/>
                          </a:lnTo>
                          <a:lnTo>
                            <a:pt x="1570" y="328"/>
                          </a:lnTo>
                          <a:lnTo>
                            <a:pt x="1570" y="326"/>
                          </a:lnTo>
                          <a:lnTo>
                            <a:pt x="1570" y="324"/>
                          </a:lnTo>
                          <a:lnTo>
                            <a:pt x="1572" y="324"/>
                          </a:lnTo>
                          <a:lnTo>
                            <a:pt x="1574" y="324"/>
                          </a:lnTo>
                          <a:lnTo>
                            <a:pt x="1574" y="322"/>
                          </a:lnTo>
                          <a:lnTo>
                            <a:pt x="1572" y="320"/>
                          </a:lnTo>
                          <a:lnTo>
                            <a:pt x="1572" y="318"/>
                          </a:lnTo>
                          <a:lnTo>
                            <a:pt x="1570" y="318"/>
                          </a:lnTo>
                          <a:lnTo>
                            <a:pt x="1570" y="316"/>
                          </a:lnTo>
                          <a:lnTo>
                            <a:pt x="1572" y="316"/>
                          </a:lnTo>
                          <a:lnTo>
                            <a:pt x="1574" y="314"/>
                          </a:lnTo>
                          <a:lnTo>
                            <a:pt x="1576" y="312"/>
                          </a:lnTo>
                          <a:lnTo>
                            <a:pt x="1576" y="308"/>
                          </a:lnTo>
                          <a:lnTo>
                            <a:pt x="1576" y="306"/>
                          </a:lnTo>
                          <a:lnTo>
                            <a:pt x="1576" y="304"/>
                          </a:lnTo>
                          <a:lnTo>
                            <a:pt x="1576" y="302"/>
                          </a:lnTo>
                          <a:lnTo>
                            <a:pt x="1576" y="300"/>
                          </a:lnTo>
                          <a:lnTo>
                            <a:pt x="1578" y="298"/>
                          </a:lnTo>
                          <a:lnTo>
                            <a:pt x="1580" y="296"/>
                          </a:lnTo>
                          <a:lnTo>
                            <a:pt x="1582" y="296"/>
                          </a:lnTo>
                          <a:lnTo>
                            <a:pt x="1584" y="294"/>
                          </a:lnTo>
                          <a:lnTo>
                            <a:pt x="1586" y="294"/>
                          </a:lnTo>
                          <a:lnTo>
                            <a:pt x="1588" y="294"/>
                          </a:lnTo>
                          <a:lnTo>
                            <a:pt x="1590" y="294"/>
                          </a:lnTo>
                          <a:lnTo>
                            <a:pt x="1600" y="294"/>
                          </a:lnTo>
                          <a:lnTo>
                            <a:pt x="1606" y="294"/>
                          </a:lnTo>
                          <a:lnTo>
                            <a:pt x="1610" y="294"/>
                          </a:lnTo>
                          <a:lnTo>
                            <a:pt x="1614" y="294"/>
                          </a:lnTo>
                          <a:lnTo>
                            <a:pt x="1616" y="296"/>
                          </a:lnTo>
                          <a:lnTo>
                            <a:pt x="1624" y="296"/>
                          </a:lnTo>
                          <a:lnTo>
                            <a:pt x="1624" y="298"/>
                          </a:lnTo>
                          <a:lnTo>
                            <a:pt x="1626" y="300"/>
                          </a:lnTo>
                          <a:lnTo>
                            <a:pt x="1628" y="300"/>
                          </a:lnTo>
                          <a:lnTo>
                            <a:pt x="1630" y="300"/>
                          </a:lnTo>
                          <a:lnTo>
                            <a:pt x="1630" y="298"/>
                          </a:lnTo>
                          <a:lnTo>
                            <a:pt x="1632" y="298"/>
                          </a:lnTo>
                          <a:lnTo>
                            <a:pt x="1630" y="296"/>
                          </a:lnTo>
                          <a:lnTo>
                            <a:pt x="1630" y="294"/>
                          </a:lnTo>
                          <a:lnTo>
                            <a:pt x="1632" y="294"/>
                          </a:lnTo>
                          <a:lnTo>
                            <a:pt x="1636" y="296"/>
                          </a:lnTo>
                          <a:lnTo>
                            <a:pt x="1638" y="296"/>
                          </a:lnTo>
                          <a:lnTo>
                            <a:pt x="1642" y="296"/>
                          </a:lnTo>
                          <a:lnTo>
                            <a:pt x="1644" y="296"/>
                          </a:lnTo>
                          <a:lnTo>
                            <a:pt x="1646" y="298"/>
                          </a:lnTo>
                          <a:lnTo>
                            <a:pt x="1648" y="298"/>
                          </a:lnTo>
                          <a:lnTo>
                            <a:pt x="1650" y="296"/>
                          </a:lnTo>
                          <a:lnTo>
                            <a:pt x="1652" y="296"/>
                          </a:lnTo>
                          <a:lnTo>
                            <a:pt x="1654" y="294"/>
                          </a:lnTo>
                          <a:lnTo>
                            <a:pt x="1656" y="294"/>
                          </a:lnTo>
                          <a:lnTo>
                            <a:pt x="1658" y="296"/>
                          </a:lnTo>
                          <a:lnTo>
                            <a:pt x="1660" y="298"/>
                          </a:lnTo>
                          <a:lnTo>
                            <a:pt x="1662" y="300"/>
                          </a:lnTo>
                          <a:lnTo>
                            <a:pt x="1664" y="298"/>
                          </a:lnTo>
                          <a:lnTo>
                            <a:pt x="1664" y="296"/>
                          </a:lnTo>
                          <a:lnTo>
                            <a:pt x="1664" y="294"/>
                          </a:lnTo>
                          <a:lnTo>
                            <a:pt x="1664" y="292"/>
                          </a:lnTo>
                          <a:lnTo>
                            <a:pt x="1666" y="292"/>
                          </a:lnTo>
                          <a:lnTo>
                            <a:pt x="1674" y="292"/>
                          </a:lnTo>
                          <a:lnTo>
                            <a:pt x="1678" y="292"/>
                          </a:lnTo>
                          <a:lnTo>
                            <a:pt x="1680" y="292"/>
                          </a:lnTo>
                          <a:lnTo>
                            <a:pt x="1684" y="294"/>
                          </a:lnTo>
                          <a:lnTo>
                            <a:pt x="1686" y="296"/>
                          </a:lnTo>
                          <a:lnTo>
                            <a:pt x="1688" y="294"/>
                          </a:lnTo>
                          <a:lnTo>
                            <a:pt x="1690" y="294"/>
                          </a:lnTo>
                          <a:lnTo>
                            <a:pt x="1692" y="292"/>
                          </a:lnTo>
                          <a:lnTo>
                            <a:pt x="1694" y="292"/>
                          </a:lnTo>
                          <a:lnTo>
                            <a:pt x="1696" y="292"/>
                          </a:lnTo>
                          <a:lnTo>
                            <a:pt x="1698" y="292"/>
                          </a:lnTo>
                          <a:lnTo>
                            <a:pt x="1700" y="294"/>
                          </a:lnTo>
                          <a:lnTo>
                            <a:pt x="1702" y="296"/>
                          </a:lnTo>
                          <a:lnTo>
                            <a:pt x="1706" y="296"/>
                          </a:lnTo>
                          <a:lnTo>
                            <a:pt x="1708" y="298"/>
                          </a:lnTo>
                          <a:lnTo>
                            <a:pt x="1712" y="298"/>
                          </a:lnTo>
                          <a:lnTo>
                            <a:pt x="1708" y="298"/>
                          </a:lnTo>
                          <a:lnTo>
                            <a:pt x="1704" y="300"/>
                          </a:lnTo>
                          <a:lnTo>
                            <a:pt x="1702" y="300"/>
                          </a:lnTo>
                          <a:lnTo>
                            <a:pt x="1700" y="300"/>
                          </a:lnTo>
                          <a:lnTo>
                            <a:pt x="1700" y="302"/>
                          </a:lnTo>
                          <a:lnTo>
                            <a:pt x="1702" y="304"/>
                          </a:lnTo>
                          <a:lnTo>
                            <a:pt x="1704" y="306"/>
                          </a:lnTo>
                          <a:lnTo>
                            <a:pt x="1706" y="306"/>
                          </a:lnTo>
                          <a:lnTo>
                            <a:pt x="1708" y="304"/>
                          </a:lnTo>
                          <a:lnTo>
                            <a:pt x="1710" y="304"/>
                          </a:lnTo>
                          <a:lnTo>
                            <a:pt x="1714" y="302"/>
                          </a:lnTo>
                          <a:lnTo>
                            <a:pt x="1716" y="302"/>
                          </a:lnTo>
                          <a:lnTo>
                            <a:pt x="1718" y="300"/>
                          </a:lnTo>
                          <a:lnTo>
                            <a:pt x="1720" y="302"/>
                          </a:lnTo>
                          <a:lnTo>
                            <a:pt x="1722" y="304"/>
                          </a:lnTo>
                          <a:lnTo>
                            <a:pt x="1724" y="304"/>
                          </a:lnTo>
                          <a:lnTo>
                            <a:pt x="1724" y="306"/>
                          </a:lnTo>
                          <a:lnTo>
                            <a:pt x="1726" y="304"/>
                          </a:lnTo>
                          <a:lnTo>
                            <a:pt x="1726" y="302"/>
                          </a:lnTo>
                          <a:lnTo>
                            <a:pt x="1728" y="302"/>
                          </a:lnTo>
                          <a:lnTo>
                            <a:pt x="1728" y="300"/>
                          </a:lnTo>
                          <a:lnTo>
                            <a:pt x="1730" y="300"/>
                          </a:lnTo>
                          <a:lnTo>
                            <a:pt x="1732" y="302"/>
                          </a:lnTo>
                          <a:lnTo>
                            <a:pt x="1734" y="302"/>
                          </a:lnTo>
                          <a:lnTo>
                            <a:pt x="1738" y="302"/>
                          </a:lnTo>
                          <a:lnTo>
                            <a:pt x="1742" y="302"/>
                          </a:lnTo>
                          <a:lnTo>
                            <a:pt x="1742" y="300"/>
                          </a:lnTo>
                          <a:lnTo>
                            <a:pt x="1742" y="298"/>
                          </a:lnTo>
                          <a:lnTo>
                            <a:pt x="1750" y="298"/>
                          </a:lnTo>
                          <a:lnTo>
                            <a:pt x="1748" y="296"/>
                          </a:lnTo>
                          <a:lnTo>
                            <a:pt x="1746" y="296"/>
                          </a:lnTo>
                          <a:lnTo>
                            <a:pt x="1744" y="294"/>
                          </a:lnTo>
                          <a:lnTo>
                            <a:pt x="1742" y="292"/>
                          </a:lnTo>
                          <a:lnTo>
                            <a:pt x="1740" y="292"/>
                          </a:lnTo>
                          <a:lnTo>
                            <a:pt x="1738" y="292"/>
                          </a:lnTo>
                          <a:lnTo>
                            <a:pt x="1734" y="292"/>
                          </a:lnTo>
                          <a:lnTo>
                            <a:pt x="1734" y="294"/>
                          </a:lnTo>
                          <a:lnTo>
                            <a:pt x="1732" y="292"/>
                          </a:lnTo>
                          <a:lnTo>
                            <a:pt x="1732" y="290"/>
                          </a:lnTo>
                          <a:lnTo>
                            <a:pt x="1730" y="290"/>
                          </a:lnTo>
                          <a:lnTo>
                            <a:pt x="1730" y="288"/>
                          </a:lnTo>
                          <a:lnTo>
                            <a:pt x="1730" y="286"/>
                          </a:lnTo>
                          <a:lnTo>
                            <a:pt x="1728" y="286"/>
                          </a:lnTo>
                          <a:lnTo>
                            <a:pt x="1728" y="284"/>
                          </a:lnTo>
                          <a:lnTo>
                            <a:pt x="1728" y="282"/>
                          </a:lnTo>
                          <a:lnTo>
                            <a:pt x="1726" y="282"/>
                          </a:lnTo>
                          <a:lnTo>
                            <a:pt x="1726" y="280"/>
                          </a:lnTo>
                          <a:lnTo>
                            <a:pt x="1728" y="278"/>
                          </a:lnTo>
                          <a:lnTo>
                            <a:pt x="1730" y="276"/>
                          </a:lnTo>
                          <a:lnTo>
                            <a:pt x="1732" y="276"/>
                          </a:lnTo>
                          <a:lnTo>
                            <a:pt x="1732" y="274"/>
                          </a:lnTo>
                          <a:lnTo>
                            <a:pt x="1734" y="274"/>
                          </a:lnTo>
                          <a:lnTo>
                            <a:pt x="1734" y="266"/>
                          </a:lnTo>
                          <a:lnTo>
                            <a:pt x="1734" y="264"/>
                          </a:lnTo>
                          <a:lnTo>
                            <a:pt x="1736" y="264"/>
                          </a:lnTo>
                          <a:lnTo>
                            <a:pt x="1734" y="262"/>
                          </a:lnTo>
                          <a:lnTo>
                            <a:pt x="1732" y="262"/>
                          </a:lnTo>
                          <a:lnTo>
                            <a:pt x="1732" y="260"/>
                          </a:lnTo>
                          <a:lnTo>
                            <a:pt x="1730" y="260"/>
                          </a:lnTo>
                          <a:lnTo>
                            <a:pt x="1730" y="256"/>
                          </a:lnTo>
                          <a:lnTo>
                            <a:pt x="1732" y="256"/>
                          </a:lnTo>
                          <a:lnTo>
                            <a:pt x="1732" y="254"/>
                          </a:lnTo>
                          <a:lnTo>
                            <a:pt x="1734" y="254"/>
                          </a:lnTo>
                          <a:lnTo>
                            <a:pt x="1736" y="252"/>
                          </a:lnTo>
                          <a:lnTo>
                            <a:pt x="1746" y="252"/>
                          </a:lnTo>
                          <a:lnTo>
                            <a:pt x="1748" y="254"/>
                          </a:lnTo>
                          <a:lnTo>
                            <a:pt x="1750" y="254"/>
                          </a:lnTo>
                          <a:lnTo>
                            <a:pt x="1752" y="252"/>
                          </a:lnTo>
                          <a:lnTo>
                            <a:pt x="1754" y="252"/>
                          </a:lnTo>
                          <a:lnTo>
                            <a:pt x="1754" y="250"/>
                          </a:lnTo>
                          <a:lnTo>
                            <a:pt x="1756" y="250"/>
                          </a:lnTo>
                          <a:lnTo>
                            <a:pt x="1758" y="252"/>
                          </a:lnTo>
                          <a:lnTo>
                            <a:pt x="1760" y="254"/>
                          </a:lnTo>
                          <a:lnTo>
                            <a:pt x="1762" y="254"/>
                          </a:lnTo>
                          <a:lnTo>
                            <a:pt x="1764" y="256"/>
                          </a:lnTo>
                          <a:lnTo>
                            <a:pt x="1766" y="254"/>
                          </a:lnTo>
                          <a:lnTo>
                            <a:pt x="1768" y="254"/>
                          </a:lnTo>
                          <a:lnTo>
                            <a:pt x="1768" y="252"/>
                          </a:lnTo>
                          <a:lnTo>
                            <a:pt x="1770" y="252"/>
                          </a:lnTo>
                          <a:lnTo>
                            <a:pt x="1772" y="254"/>
                          </a:lnTo>
                          <a:lnTo>
                            <a:pt x="1772" y="256"/>
                          </a:lnTo>
                          <a:lnTo>
                            <a:pt x="1774" y="258"/>
                          </a:lnTo>
                          <a:lnTo>
                            <a:pt x="1774" y="262"/>
                          </a:lnTo>
                          <a:lnTo>
                            <a:pt x="1776" y="264"/>
                          </a:lnTo>
                          <a:lnTo>
                            <a:pt x="1776" y="266"/>
                          </a:lnTo>
                          <a:lnTo>
                            <a:pt x="1778" y="266"/>
                          </a:lnTo>
                          <a:lnTo>
                            <a:pt x="1786" y="266"/>
                          </a:lnTo>
                          <a:lnTo>
                            <a:pt x="1788" y="266"/>
                          </a:lnTo>
                          <a:lnTo>
                            <a:pt x="1790" y="266"/>
                          </a:lnTo>
                          <a:lnTo>
                            <a:pt x="1790" y="270"/>
                          </a:lnTo>
                          <a:lnTo>
                            <a:pt x="1790" y="272"/>
                          </a:lnTo>
                          <a:lnTo>
                            <a:pt x="1790" y="274"/>
                          </a:lnTo>
                          <a:lnTo>
                            <a:pt x="1792" y="274"/>
                          </a:lnTo>
                          <a:lnTo>
                            <a:pt x="1794" y="274"/>
                          </a:lnTo>
                          <a:lnTo>
                            <a:pt x="1794" y="272"/>
                          </a:lnTo>
                          <a:lnTo>
                            <a:pt x="1796" y="268"/>
                          </a:lnTo>
                          <a:lnTo>
                            <a:pt x="1798" y="266"/>
                          </a:lnTo>
                          <a:lnTo>
                            <a:pt x="1800" y="264"/>
                          </a:lnTo>
                          <a:lnTo>
                            <a:pt x="1800" y="262"/>
                          </a:lnTo>
                          <a:lnTo>
                            <a:pt x="1802" y="260"/>
                          </a:lnTo>
                          <a:lnTo>
                            <a:pt x="1802" y="258"/>
                          </a:lnTo>
                          <a:lnTo>
                            <a:pt x="1804" y="258"/>
                          </a:lnTo>
                          <a:lnTo>
                            <a:pt x="1806" y="256"/>
                          </a:lnTo>
                          <a:lnTo>
                            <a:pt x="1810" y="258"/>
                          </a:lnTo>
                          <a:lnTo>
                            <a:pt x="1812" y="258"/>
                          </a:lnTo>
                          <a:lnTo>
                            <a:pt x="1814" y="258"/>
                          </a:lnTo>
                          <a:lnTo>
                            <a:pt x="1814" y="256"/>
                          </a:lnTo>
                          <a:lnTo>
                            <a:pt x="1814" y="254"/>
                          </a:lnTo>
                          <a:lnTo>
                            <a:pt x="1810" y="254"/>
                          </a:lnTo>
                          <a:lnTo>
                            <a:pt x="1810" y="252"/>
                          </a:lnTo>
                          <a:lnTo>
                            <a:pt x="1808" y="252"/>
                          </a:lnTo>
                          <a:lnTo>
                            <a:pt x="1806" y="252"/>
                          </a:lnTo>
                          <a:lnTo>
                            <a:pt x="1804" y="250"/>
                          </a:lnTo>
                          <a:lnTo>
                            <a:pt x="1802" y="248"/>
                          </a:lnTo>
                          <a:lnTo>
                            <a:pt x="1798" y="244"/>
                          </a:lnTo>
                          <a:lnTo>
                            <a:pt x="1796" y="244"/>
                          </a:lnTo>
                          <a:lnTo>
                            <a:pt x="1796" y="242"/>
                          </a:lnTo>
                          <a:lnTo>
                            <a:pt x="1794" y="242"/>
                          </a:lnTo>
                          <a:lnTo>
                            <a:pt x="1794" y="240"/>
                          </a:lnTo>
                          <a:lnTo>
                            <a:pt x="1830" y="240"/>
                          </a:lnTo>
                          <a:lnTo>
                            <a:pt x="1830" y="242"/>
                          </a:lnTo>
                          <a:lnTo>
                            <a:pt x="1830" y="244"/>
                          </a:lnTo>
                          <a:lnTo>
                            <a:pt x="1828" y="244"/>
                          </a:lnTo>
                          <a:lnTo>
                            <a:pt x="1826" y="242"/>
                          </a:lnTo>
                          <a:lnTo>
                            <a:pt x="1824" y="242"/>
                          </a:lnTo>
                          <a:lnTo>
                            <a:pt x="1820" y="242"/>
                          </a:lnTo>
                          <a:lnTo>
                            <a:pt x="1814" y="242"/>
                          </a:lnTo>
                          <a:lnTo>
                            <a:pt x="1814" y="246"/>
                          </a:lnTo>
                          <a:lnTo>
                            <a:pt x="1816" y="248"/>
                          </a:lnTo>
                          <a:lnTo>
                            <a:pt x="1818" y="250"/>
                          </a:lnTo>
                          <a:lnTo>
                            <a:pt x="1820" y="250"/>
                          </a:lnTo>
                          <a:lnTo>
                            <a:pt x="1820" y="252"/>
                          </a:lnTo>
                          <a:lnTo>
                            <a:pt x="1822" y="254"/>
                          </a:lnTo>
                          <a:lnTo>
                            <a:pt x="1824" y="254"/>
                          </a:lnTo>
                          <a:lnTo>
                            <a:pt x="1824" y="262"/>
                          </a:lnTo>
                          <a:lnTo>
                            <a:pt x="1830" y="262"/>
                          </a:lnTo>
                          <a:lnTo>
                            <a:pt x="1830" y="266"/>
                          </a:lnTo>
                          <a:lnTo>
                            <a:pt x="1832" y="268"/>
                          </a:lnTo>
                          <a:lnTo>
                            <a:pt x="1834" y="268"/>
                          </a:lnTo>
                          <a:lnTo>
                            <a:pt x="1836" y="270"/>
                          </a:lnTo>
                          <a:lnTo>
                            <a:pt x="1828" y="270"/>
                          </a:lnTo>
                          <a:lnTo>
                            <a:pt x="1828" y="272"/>
                          </a:lnTo>
                          <a:lnTo>
                            <a:pt x="1826" y="272"/>
                          </a:lnTo>
                          <a:lnTo>
                            <a:pt x="1826" y="274"/>
                          </a:lnTo>
                          <a:lnTo>
                            <a:pt x="1824" y="274"/>
                          </a:lnTo>
                          <a:lnTo>
                            <a:pt x="1824" y="276"/>
                          </a:lnTo>
                          <a:lnTo>
                            <a:pt x="1822" y="276"/>
                          </a:lnTo>
                          <a:lnTo>
                            <a:pt x="1822" y="278"/>
                          </a:lnTo>
                          <a:lnTo>
                            <a:pt x="1822" y="280"/>
                          </a:lnTo>
                          <a:lnTo>
                            <a:pt x="1824" y="280"/>
                          </a:lnTo>
                          <a:lnTo>
                            <a:pt x="1824" y="282"/>
                          </a:lnTo>
                          <a:lnTo>
                            <a:pt x="1824" y="286"/>
                          </a:lnTo>
                          <a:lnTo>
                            <a:pt x="1824" y="288"/>
                          </a:lnTo>
                          <a:lnTo>
                            <a:pt x="1822" y="290"/>
                          </a:lnTo>
                          <a:lnTo>
                            <a:pt x="1822" y="292"/>
                          </a:lnTo>
                          <a:lnTo>
                            <a:pt x="1820" y="296"/>
                          </a:lnTo>
                          <a:lnTo>
                            <a:pt x="1818" y="298"/>
                          </a:lnTo>
                          <a:lnTo>
                            <a:pt x="1818" y="300"/>
                          </a:lnTo>
                          <a:lnTo>
                            <a:pt x="1816" y="302"/>
                          </a:lnTo>
                          <a:lnTo>
                            <a:pt x="1818" y="304"/>
                          </a:lnTo>
                          <a:lnTo>
                            <a:pt x="1820" y="306"/>
                          </a:lnTo>
                          <a:lnTo>
                            <a:pt x="1820" y="308"/>
                          </a:lnTo>
                          <a:lnTo>
                            <a:pt x="1820" y="312"/>
                          </a:lnTo>
                          <a:lnTo>
                            <a:pt x="1820" y="314"/>
                          </a:lnTo>
                          <a:lnTo>
                            <a:pt x="1818" y="316"/>
                          </a:lnTo>
                          <a:lnTo>
                            <a:pt x="1816" y="316"/>
                          </a:lnTo>
                          <a:lnTo>
                            <a:pt x="1812" y="318"/>
                          </a:lnTo>
                          <a:lnTo>
                            <a:pt x="1810" y="320"/>
                          </a:lnTo>
                          <a:lnTo>
                            <a:pt x="1806" y="320"/>
                          </a:lnTo>
                          <a:lnTo>
                            <a:pt x="1808" y="322"/>
                          </a:lnTo>
                          <a:lnTo>
                            <a:pt x="1808" y="324"/>
                          </a:lnTo>
                          <a:lnTo>
                            <a:pt x="1804" y="324"/>
                          </a:lnTo>
                          <a:lnTo>
                            <a:pt x="1806" y="326"/>
                          </a:lnTo>
                          <a:lnTo>
                            <a:pt x="1808" y="328"/>
                          </a:lnTo>
                          <a:lnTo>
                            <a:pt x="1810" y="330"/>
                          </a:lnTo>
                          <a:lnTo>
                            <a:pt x="1812" y="332"/>
                          </a:lnTo>
                          <a:lnTo>
                            <a:pt x="1812" y="334"/>
                          </a:lnTo>
                          <a:lnTo>
                            <a:pt x="1810" y="338"/>
                          </a:lnTo>
                          <a:lnTo>
                            <a:pt x="1810" y="348"/>
                          </a:lnTo>
                          <a:lnTo>
                            <a:pt x="1812" y="352"/>
                          </a:lnTo>
                          <a:lnTo>
                            <a:pt x="1812" y="354"/>
                          </a:lnTo>
                          <a:lnTo>
                            <a:pt x="1814" y="356"/>
                          </a:lnTo>
                          <a:lnTo>
                            <a:pt x="1816" y="358"/>
                          </a:lnTo>
                          <a:lnTo>
                            <a:pt x="1818" y="360"/>
                          </a:lnTo>
                          <a:lnTo>
                            <a:pt x="1820" y="362"/>
                          </a:lnTo>
                          <a:lnTo>
                            <a:pt x="1824" y="364"/>
                          </a:lnTo>
                          <a:lnTo>
                            <a:pt x="1830" y="368"/>
                          </a:lnTo>
                          <a:lnTo>
                            <a:pt x="1832" y="370"/>
                          </a:lnTo>
                          <a:lnTo>
                            <a:pt x="1834" y="372"/>
                          </a:lnTo>
                          <a:lnTo>
                            <a:pt x="1836" y="374"/>
                          </a:lnTo>
                          <a:lnTo>
                            <a:pt x="1838" y="376"/>
                          </a:lnTo>
                          <a:lnTo>
                            <a:pt x="1838" y="378"/>
                          </a:lnTo>
                          <a:lnTo>
                            <a:pt x="1842" y="380"/>
                          </a:lnTo>
                          <a:lnTo>
                            <a:pt x="1844" y="384"/>
                          </a:lnTo>
                          <a:lnTo>
                            <a:pt x="1846" y="386"/>
                          </a:lnTo>
                          <a:lnTo>
                            <a:pt x="1848" y="386"/>
                          </a:lnTo>
                          <a:lnTo>
                            <a:pt x="1848" y="388"/>
                          </a:lnTo>
                          <a:lnTo>
                            <a:pt x="1850" y="390"/>
                          </a:lnTo>
                          <a:lnTo>
                            <a:pt x="1852" y="390"/>
                          </a:lnTo>
                          <a:lnTo>
                            <a:pt x="1854" y="388"/>
                          </a:lnTo>
                          <a:lnTo>
                            <a:pt x="1856" y="388"/>
                          </a:lnTo>
                          <a:lnTo>
                            <a:pt x="1858" y="392"/>
                          </a:lnTo>
                          <a:lnTo>
                            <a:pt x="1862" y="396"/>
                          </a:lnTo>
                          <a:lnTo>
                            <a:pt x="1862" y="400"/>
                          </a:lnTo>
                          <a:lnTo>
                            <a:pt x="1864" y="404"/>
                          </a:lnTo>
                          <a:lnTo>
                            <a:pt x="1866" y="406"/>
                          </a:lnTo>
                          <a:lnTo>
                            <a:pt x="1868" y="408"/>
                          </a:lnTo>
                          <a:lnTo>
                            <a:pt x="1870" y="410"/>
                          </a:lnTo>
                          <a:lnTo>
                            <a:pt x="1872" y="412"/>
                          </a:lnTo>
                          <a:lnTo>
                            <a:pt x="1874" y="414"/>
                          </a:lnTo>
                          <a:lnTo>
                            <a:pt x="1878" y="414"/>
                          </a:lnTo>
                          <a:lnTo>
                            <a:pt x="1880" y="414"/>
                          </a:lnTo>
                          <a:lnTo>
                            <a:pt x="1886" y="414"/>
                          </a:lnTo>
                          <a:lnTo>
                            <a:pt x="1886" y="416"/>
                          </a:lnTo>
                          <a:lnTo>
                            <a:pt x="1886" y="418"/>
                          </a:lnTo>
                          <a:lnTo>
                            <a:pt x="1888" y="420"/>
                          </a:lnTo>
                          <a:lnTo>
                            <a:pt x="1890" y="422"/>
                          </a:lnTo>
                          <a:lnTo>
                            <a:pt x="1892" y="424"/>
                          </a:lnTo>
                          <a:lnTo>
                            <a:pt x="1894" y="428"/>
                          </a:lnTo>
                          <a:lnTo>
                            <a:pt x="1898" y="432"/>
                          </a:lnTo>
                          <a:lnTo>
                            <a:pt x="1900" y="434"/>
                          </a:lnTo>
                          <a:lnTo>
                            <a:pt x="1904" y="438"/>
                          </a:lnTo>
                          <a:lnTo>
                            <a:pt x="1906" y="440"/>
                          </a:lnTo>
                          <a:lnTo>
                            <a:pt x="1908" y="442"/>
                          </a:lnTo>
                          <a:lnTo>
                            <a:pt x="1912" y="442"/>
                          </a:lnTo>
                          <a:lnTo>
                            <a:pt x="1912" y="444"/>
                          </a:lnTo>
                          <a:lnTo>
                            <a:pt x="1912" y="446"/>
                          </a:lnTo>
                          <a:lnTo>
                            <a:pt x="1916" y="446"/>
                          </a:lnTo>
                          <a:lnTo>
                            <a:pt x="1918" y="446"/>
                          </a:lnTo>
                          <a:lnTo>
                            <a:pt x="1920" y="444"/>
                          </a:lnTo>
                          <a:lnTo>
                            <a:pt x="1920" y="442"/>
                          </a:lnTo>
                          <a:lnTo>
                            <a:pt x="1922" y="440"/>
                          </a:lnTo>
                          <a:lnTo>
                            <a:pt x="1920" y="438"/>
                          </a:lnTo>
                          <a:lnTo>
                            <a:pt x="1920" y="436"/>
                          </a:lnTo>
                          <a:lnTo>
                            <a:pt x="1920" y="434"/>
                          </a:lnTo>
                          <a:lnTo>
                            <a:pt x="1922" y="434"/>
                          </a:lnTo>
                          <a:lnTo>
                            <a:pt x="1922" y="430"/>
                          </a:lnTo>
                          <a:lnTo>
                            <a:pt x="1924" y="428"/>
                          </a:lnTo>
                          <a:lnTo>
                            <a:pt x="1924" y="426"/>
                          </a:lnTo>
                          <a:lnTo>
                            <a:pt x="1922" y="426"/>
                          </a:lnTo>
                          <a:lnTo>
                            <a:pt x="1920" y="424"/>
                          </a:lnTo>
                          <a:lnTo>
                            <a:pt x="1918" y="422"/>
                          </a:lnTo>
                          <a:lnTo>
                            <a:pt x="1916" y="420"/>
                          </a:lnTo>
                          <a:lnTo>
                            <a:pt x="1914" y="418"/>
                          </a:lnTo>
                          <a:lnTo>
                            <a:pt x="1912" y="416"/>
                          </a:lnTo>
                          <a:lnTo>
                            <a:pt x="1912" y="414"/>
                          </a:lnTo>
                          <a:lnTo>
                            <a:pt x="1912" y="412"/>
                          </a:lnTo>
                          <a:lnTo>
                            <a:pt x="1916" y="410"/>
                          </a:lnTo>
                          <a:lnTo>
                            <a:pt x="1918" y="408"/>
                          </a:lnTo>
                          <a:lnTo>
                            <a:pt x="1920" y="406"/>
                          </a:lnTo>
                          <a:lnTo>
                            <a:pt x="1922" y="404"/>
                          </a:lnTo>
                          <a:lnTo>
                            <a:pt x="1922" y="406"/>
                          </a:lnTo>
                          <a:lnTo>
                            <a:pt x="1924" y="406"/>
                          </a:lnTo>
                          <a:lnTo>
                            <a:pt x="1926" y="408"/>
                          </a:lnTo>
                          <a:lnTo>
                            <a:pt x="1928" y="410"/>
                          </a:lnTo>
                          <a:lnTo>
                            <a:pt x="1928" y="408"/>
                          </a:lnTo>
                          <a:lnTo>
                            <a:pt x="1926" y="408"/>
                          </a:lnTo>
                          <a:lnTo>
                            <a:pt x="1926" y="406"/>
                          </a:lnTo>
                          <a:lnTo>
                            <a:pt x="1924" y="404"/>
                          </a:lnTo>
                          <a:lnTo>
                            <a:pt x="1922" y="402"/>
                          </a:lnTo>
                          <a:lnTo>
                            <a:pt x="1922" y="400"/>
                          </a:lnTo>
                          <a:lnTo>
                            <a:pt x="1920" y="398"/>
                          </a:lnTo>
                          <a:lnTo>
                            <a:pt x="1918" y="396"/>
                          </a:lnTo>
                          <a:lnTo>
                            <a:pt x="1916" y="396"/>
                          </a:lnTo>
                          <a:lnTo>
                            <a:pt x="1914" y="394"/>
                          </a:lnTo>
                          <a:lnTo>
                            <a:pt x="1912" y="392"/>
                          </a:lnTo>
                          <a:lnTo>
                            <a:pt x="1912" y="390"/>
                          </a:lnTo>
                          <a:lnTo>
                            <a:pt x="1912" y="388"/>
                          </a:lnTo>
                          <a:lnTo>
                            <a:pt x="1912" y="386"/>
                          </a:lnTo>
                          <a:lnTo>
                            <a:pt x="1914" y="386"/>
                          </a:lnTo>
                          <a:lnTo>
                            <a:pt x="1914" y="384"/>
                          </a:lnTo>
                          <a:lnTo>
                            <a:pt x="1916" y="382"/>
                          </a:lnTo>
                          <a:lnTo>
                            <a:pt x="1918" y="380"/>
                          </a:lnTo>
                          <a:lnTo>
                            <a:pt x="1920" y="380"/>
                          </a:lnTo>
                          <a:lnTo>
                            <a:pt x="1922" y="382"/>
                          </a:lnTo>
                          <a:lnTo>
                            <a:pt x="1924" y="382"/>
                          </a:lnTo>
                          <a:lnTo>
                            <a:pt x="1926" y="382"/>
                          </a:lnTo>
                          <a:lnTo>
                            <a:pt x="1928" y="382"/>
                          </a:lnTo>
                          <a:lnTo>
                            <a:pt x="1930" y="382"/>
                          </a:lnTo>
                          <a:lnTo>
                            <a:pt x="1930" y="380"/>
                          </a:lnTo>
                          <a:lnTo>
                            <a:pt x="1930" y="378"/>
                          </a:lnTo>
                          <a:lnTo>
                            <a:pt x="1928" y="376"/>
                          </a:lnTo>
                          <a:lnTo>
                            <a:pt x="1926" y="374"/>
                          </a:lnTo>
                          <a:lnTo>
                            <a:pt x="1922" y="372"/>
                          </a:lnTo>
                          <a:lnTo>
                            <a:pt x="1920" y="372"/>
                          </a:lnTo>
                          <a:lnTo>
                            <a:pt x="1916" y="370"/>
                          </a:lnTo>
                          <a:lnTo>
                            <a:pt x="1914" y="368"/>
                          </a:lnTo>
                          <a:lnTo>
                            <a:pt x="1912" y="366"/>
                          </a:lnTo>
                          <a:lnTo>
                            <a:pt x="1910" y="364"/>
                          </a:lnTo>
                          <a:lnTo>
                            <a:pt x="1910" y="362"/>
                          </a:lnTo>
                          <a:lnTo>
                            <a:pt x="1910" y="360"/>
                          </a:lnTo>
                          <a:lnTo>
                            <a:pt x="1908" y="358"/>
                          </a:lnTo>
                          <a:lnTo>
                            <a:pt x="1908" y="356"/>
                          </a:lnTo>
                          <a:lnTo>
                            <a:pt x="1906" y="354"/>
                          </a:lnTo>
                          <a:lnTo>
                            <a:pt x="1906" y="352"/>
                          </a:lnTo>
                          <a:lnTo>
                            <a:pt x="1904" y="350"/>
                          </a:lnTo>
                          <a:lnTo>
                            <a:pt x="1906" y="348"/>
                          </a:lnTo>
                          <a:lnTo>
                            <a:pt x="1908" y="348"/>
                          </a:lnTo>
                          <a:lnTo>
                            <a:pt x="1908" y="346"/>
                          </a:lnTo>
                          <a:lnTo>
                            <a:pt x="1908" y="348"/>
                          </a:lnTo>
                          <a:lnTo>
                            <a:pt x="1910" y="348"/>
                          </a:lnTo>
                          <a:lnTo>
                            <a:pt x="1910" y="350"/>
                          </a:lnTo>
                          <a:lnTo>
                            <a:pt x="1912" y="352"/>
                          </a:lnTo>
                          <a:lnTo>
                            <a:pt x="1914" y="352"/>
                          </a:lnTo>
                          <a:lnTo>
                            <a:pt x="1916" y="354"/>
                          </a:lnTo>
                          <a:lnTo>
                            <a:pt x="1920" y="354"/>
                          </a:lnTo>
                          <a:lnTo>
                            <a:pt x="1918" y="350"/>
                          </a:lnTo>
                          <a:lnTo>
                            <a:pt x="1916" y="348"/>
                          </a:lnTo>
                          <a:lnTo>
                            <a:pt x="1914" y="346"/>
                          </a:lnTo>
                          <a:lnTo>
                            <a:pt x="1914" y="344"/>
                          </a:lnTo>
                          <a:lnTo>
                            <a:pt x="1912" y="342"/>
                          </a:lnTo>
                          <a:lnTo>
                            <a:pt x="1904" y="342"/>
                          </a:lnTo>
                          <a:lnTo>
                            <a:pt x="1902" y="340"/>
                          </a:lnTo>
                          <a:lnTo>
                            <a:pt x="1900" y="340"/>
                          </a:lnTo>
                          <a:lnTo>
                            <a:pt x="1898" y="336"/>
                          </a:lnTo>
                          <a:lnTo>
                            <a:pt x="1896" y="334"/>
                          </a:lnTo>
                          <a:lnTo>
                            <a:pt x="1894" y="332"/>
                          </a:lnTo>
                          <a:lnTo>
                            <a:pt x="1892" y="332"/>
                          </a:lnTo>
                          <a:lnTo>
                            <a:pt x="1892" y="330"/>
                          </a:lnTo>
                          <a:lnTo>
                            <a:pt x="1892" y="328"/>
                          </a:lnTo>
                          <a:lnTo>
                            <a:pt x="1892" y="326"/>
                          </a:lnTo>
                          <a:lnTo>
                            <a:pt x="1890" y="324"/>
                          </a:lnTo>
                          <a:lnTo>
                            <a:pt x="1886" y="322"/>
                          </a:lnTo>
                          <a:lnTo>
                            <a:pt x="1884" y="322"/>
                          </a:lnTo>
                          <a:lnTo>
                            <a:pt x="1882" y="320"/>
                          </a:lnTo>
                          <a:lnTo>
                            <a:pt x="1878" y="320"/>
                          </a:lnTo>
                          <a:lnTo>
                            <a:pt x="1878" y="324"/>
                          </a:lnTo>
                          <a:lnTo>
                            <a:pt x="1876" y="324"/>
                          </a:lnTo>
                          <a:lnTo>
                            <a:pt x="1874" y="324"/>
                          </a:lnTo>
                          <a:lnTo>
                            <a:pt x="1872" y="322"/>
                          </a:lnTo>
                          <a:lnTo>
                            <a:pt x="1870" y="322"/>
                          </a:lnTo>
                          <a:lnTo>
                            <a:pt x="1866" y="320"/>
                          </a:lnTo>
                          <a:lnTo>
                            <a:pt x="1864" y="318"/>
                          </a:lnTo>
                          <a:lnTo>
                            <a:pt x="1862" y="316"/>
                          </a:lnTo>
                          <a:lnTo>
                            <a:pt x="1862" y="308"/>
                          </a:lnTo>
                          <a:lnTo>
                            <a:pt x="1862" y="306"/>
                          </a:lnTo>
                          <a:lnTo>
                            <a:pt x="1862" y="304"/>
                          </a:lnTo>
                          <a:lnTo>
                            <a:pt x="1862" y="300"/>
                          </a:lnTo>
                          <a:lnTo>
                            <a:pt x="1860" y="298"/>
                          </a:lnTo>
                          <a:lnTo>
                            <a:pt x="1860" y="296"/>
                          </a:lnTo>
                          <a:lnTo>
                            <a:pt x="1858" y="294"/>
                          </a:lnTo>
                          <a:lnTo>
                            <a:pt x="1856" y="294"/>
                          </a:lnTo>
                          <a:lnTo>
                            <a:pt x="1856" y="292"/>
                          </a:lnTo>
                          <a:lnTo>
                            <a:pt x="1854" y="292"/>
                          </a:lnTo>
                          <a:lnTo>
                            <a:pt x="1852" y="292"/>
                          </a:lnTo>
                          <a:lnTo>
                            <a:pt x="1854" y="292"/>
                          </a:lnTo>
                          <a:lnTo>
                            <a:pt x="1854" y="288"/>
                          </a:lnTo>
                          <a:lnTo>
                            <a:pt x="1854" y="286"/>
                          </a:lnTo>
                          <a:lnTo>
                            <a:pt x="1856" y="286"/>
                          </a:lnTo>
                          <a:lnTo>
                            <a:pt x="1858" y="286"/>
                          </a:lnTo>
                          <a:lnTo>
                            <a:pt x="1860" y="288"/>
                          </a:lnTo>
                          <a:lnTo>
                            <a:pt x="1862" y="286"/>
                          </a:lnTo>
                          <a:lnTo>
                            <a:pt x="1862" y="284"/>
                          </a:lnTo>
                          <a:lnTo>
                            <a:pt x="1864" y="284"/>
                          </a:lnTo>
                          <a:lnTo>
                            <a:pt x="1866" y="286"/>
                          </a:lnTo>
                          <a:lnTo>
                            <a:pt x="1868" y="286"/>
                          </a:lnTo>
                          <a:lnTo>
                            <a:pt x="1870" y="288"/>
                          </a:lnTo>
                          <a:lnTo>
                            <a:pt x="1872" y="288"/>
                          </a:lnTo>
                          <a:lnTo>
                            <a:pt x="1872" y="290"/>
                          </a:lnTo>
                          <a:lnTo>
                            <a:pt x="1874" y="288"/>
                          </a:lnTo>
                          <a:lnTo>
                            <a:pt x="1874" y="286"/>
                          </a:lnTo>
                          <a:lnTo>
                            <a:pt x="1872" y="286"/>
                          </a:lnTo>
                          <a:lnTo>
                            <a:pt x="1870" y="286"/>
                          </a:lnTo>
                          <a:lnTo>
                            <a:pt x="1870" y="284"/>
                          </a:lnTo>
                          <a:lnTo>
                            <a:pt x="1872" y="282"/>
                          </a:lnTo>
                          <a:lnTo>
                            <a:pt x="1872" y="280"/>
                          </a:lnTo>
                          <a:lnTo>
                            <a:pt x="1872" y="278"/>
                          </a:lnTo>
                          <a:lnTo>
                            <a:pt x="1874" y="276"/>
                          </a:lnTo>
                          <a:lnTo>
                            <a:pt x="1876" y="276"/>
                          </a:lnTo>
                          <a:lnTo>
                            <a:pt x="1878" y="278"/>
                          </a:lnTo>
                          <a:lnTo>
                            <a:pt x="1882" y="280"/>
                          </a:lnTo>
                          <a:lnTo>
                            <a:pt x="1884" y="282"/>
                          </a:lnTo>
                          <a:lnTo>
                            <a:pt x="1886" y="284"/>
                          </a:lnTo>
                          <a:lnTo>
                            <a:pt x="1886" y="286"/>
                          </a:lnTo>
                          <a:lnTo>
                            <a:pt x="1888" y="288"/>
                          </a:lnTo>
                          <a:lnTo>
                            <a:pt x="1890" y="290"/>
                          </a:lnTo>
                          <a:lnTo>
                            <a:pt x="1890" y="286"/>
                          </a:lnTo>
                          <a:lnTo>
                            <a:pt x="1892" y="284"/>
                          </a:lnTo>
                          <a:lnTo>
                            <a:pt x="1892" y="280"/>
                          </a:lnTo>
                          <a:lnTo>
                            <a:pt x="1892" y="278"/>
                          </a:lnTo>
                          <a:lnTo>
                            <a:pt x="1894" y="278"/>
                          </a:lnTo>
                          <a:lnTo>
                            <a:pt x="1896" y="278"/>
                          </a:lnTo>
                          <a:lnTo>
                            <a:pt x="1904" y="278"/>
                          </a:lnTo>
                          <a:lnTo>
                            <a:pt x="1908" y="276"/>
                          </a:lnTo>
                          <a:lnTo>
                            <a:pt x="1918" y="276"/>
                          </a:lnTo>
                          <a:lnTo>
                            <a:pt x="1920" y="278"/>
                          </a:lnTo>
                          <a:lnTo>
                            <a:pt x="1922" y="278"/>
                          </a:lnTo>
                          <a:lnTo>
                            <a:pt x="1926" y="280"/>
                          </a:lnTo>
                          <a:lnTo>
                            <a:pt x="1928" y="280"/>
                          </a:lnTo>
                          <a:lnTo>
                            <a:pt x="1930" y="282"/>
                          </a:lnTo>
                          <a:lnTo>
                            <a:pt x="1932" y="282"/>
                          </a:lnTo>
                          <a:lnTo>
                            <a:pt x="1932" y="284"/>
                          </a:lnTo>
                          <a:lnTo>
                            <a:pt x="1934" y="284"/>
                          </a:lnTo>
                          <a:lnTo>
                            <a:pt x="1936" y="284"/>
                          </a:lnTo>
                          <a:lnTo>
                            <a:pt x="1938" y="286"/>
                          </a:lnTo>
                          <a:lnTo>
                            <a:pt x="1940" y="286"/>
                          </a:lnTo>
                          <a:lnTo>
                            <a:pt x="1942" y="286"/>
                          </a:lnTo>
                          <a:lnTo>
                            <a:pt x="1942" y="288"/>
                          </a:lnTo>
                          <a:lnTo>
                            <a:pt x="1944" y="288"/>
                          </a:lnTo>
                          <a:lnTo>
                            <a:pt x="1942" y="284"/>
                          </a:lnTo>
                          <a:lnTo>
                            <a:pt x="1940" y="282"/>
                          </a:lnTo>
                          <a:lnTo>
                            <a:pt x="1940" y="280"/>
                          </a:lnTo>
                          <a:lnTo>
                            <a:pt x="1940" y="278"/>
                          </a:lnTo>
                          <a:lnTo>
                            <a:pt x="1938" y="276"/>
                          </a:lnTo>
                          <a:lnTo>
                            <a:pt x="1938" y="274"/>
                          </a:lnTo>
                          <a:lnTo>
                            <a:pt x="1936" y="272"/>
                          </a:lnTo>
                          <a:lnTo>
                            <a:pt x="1942" y="272"/>
                          </a:lnTo>
                          <a:lnTo>
                            <a:pt x="1944" y="270"/>
                          </a:lnTo>
                          <a:lnTo>
                            <a:pt x="1948" y="270"/>
                          </a:lnTo>
                          <a:lnTo>
                            <a:pt x="1948" y="268"/>
                          </a:lnTo>
                          <a:lnTo>
                            <a:pt x="1948" y="264"/>
                          </a:lnTo>
                          <a:lnTo>
                            <a:pt x="1948" y="262"/>
                          </a:lnTo>
                          <a:lnTo>
                            <a:pt x="1946" y="262"/>
                          </a:lnTo>
                          <a:lnTo>
                            <a:pt x="1946" y="260"/>
                          </a:lnTo>
                          <a:lnTo>
                            <a:pt x="1946" y="258"/>
                          </a:lnTo>
                          <a:lnTo>
                            <a:pt x="1950" y="258"/>
                          </a:lnTo>
                          <a:lnTo>
                            <a:pt x="1950" y="252"/>
                          </a:lnTo>
                          <a:lnTo>
                            <a:pt x="1952" y="252"/>
                          </a:lnTo>
                          <a:lnTo>
                            <a:pt x="1956" y="252"/>
                          </a:lnTo>
                          <a:lnTo>
                            <a:pt x="1958" y="254"/>
                          </a:lnTo>
                          <a:lnTo>
                            <a:pt x="1960" y="254"/>
                          </a:lnTo>
                          <a:lnTo>
                            <a:pt x="1964" y="252"/>
                          </a:lnTo>
                          <a:lnTo>
                            <a:pt x="1966" y="252"/>
                          </a:lnTo>
                          <a:lnTo>
                            <a:pt x="1966" y="250"/>
                          </a:lnTo>
                          <a:lnTo>
                            <a:pt x="1968" y="250"/>
                          </a:lnTo>
                          <a:lnTo>
                            <a:pt x="1968" y="248"/>
                          </a:lnTo>
                          <a:lnTo>
                            <a:pt x="1970" y="246"/>
                          </a:lnTo>
                          <a:lnTo>
                            <a:pt x="1974" y="244"/>
                          </a:lnTo>
                          <a:lnTo>
                            <a:pt x="1974" y="242"/>
                          </a:lnTo>
                          <a:lnTo>
                            <a:pt x="1976" y="242"/>
                          </a:lnTo>
                          <a:lnTo>
                            <a:pt x="1976" y="238"/>
                          </a:lnTo>
                          <a:lnTo>
                            <a:pt x="1974" y="238"/>
                          </a:lnTo>
                          <a:lnTo>
                            <a:pt x="1974" y="236"/>
                          </a:lnTo>
                          <a:lnTo>
                            <a:pt x="1972" y="236"/>
                          </a:lnTo>
                          <a:lnTo>
                            <a:pt x="1972" y="234"/>
                          </a:lnTo>
                          <a:lnTo>
                            <a:pt x="1974" y="236"/>
                          </a:lnTo>
                          <a:lnTo>
                            <a:pt x="1976" y="236"/>
                          </a:lnTo>
                          <a:lnTo>
                            <a:pt x="1978" y="236"/>
                          </a:lnTo>
                          <a:lnTo>
                            <a:pt x="1980" y="236"/>
                          </a:lnTo>
                          <a:lnTo>
                            <a:pt x="1980" y="238"/>
                          </a:lnTo>
                          <a:lnTo>
                            <a:pt x="1980" y="240"/>
                          </a:lnTo>
                          <a:lnTo>
                            <a:pt x="1982" y="240"/>
                          </a:lnTo>
                          <a:lnTo>
                            <a:pt x="1982" y="242"/>
                          </a:lnTo>
                          <a:lnTo>
                            <a:pt x="1996" y="242"/>
                          </a:lnTo>
                          <a:lnTo>
                            <a:pt x="2000" y="242"/>
                          </a:lnTo>
                          <a:lnTo>
                            <a:pt x="2002" y="244"/>
                          </a:lnTo>
                          <a:lnTo>
                            <a:pt x="2006" y="244"/>
                          </a:lnTo>
                          <a:lnTo>
                            <a:pt x="2008" y="244"/>
                          </a:lnTo>
                          <a:lnTo>
                            <a:pt x="2010" y="244"/>
                          </a:lnTo>
                          <a:lnTo>
                            <a:pt x="2010" y="242"/>
                          </a:lnTo>
                          <a:lnTo>
                            <a:pt x="2008" y="240"/>
                          </a:lnTo>
                          <a:lnTo>
                            <a:pt x="2008" y="238"/>
                          </a:lnTo>
                          <a:lnTo>
                            <a:pt x="2008" y="236"/>
                          </a:lnTo>
                          <a:lnTo>
                            <a:pt x="2006" y="236"/>
                          </a:lnTo>
                          <a:lnTo>
                            <a:pt x="2002" y="236"/>
                          </a:lnTo>
                          <a:lnTo>
                            <a:pt x="2002" y="234"/>
                          </a:lnTo>
                          <a:lnTo>
                            <a:pt x="2000" y="234"/>
                          </a:lnTo>
                          <a:lnTo>
                            <a:pt x="2000" y="230"/>
                          </a:lnTo>
                          <a:lnTo>
                            <a:pt x="1996" y="230"/>
                          </a:lnTo>
                          <a:lnTo>
                            <a:pt x="1994" y="228"/>
                          </a:lnTo>
                          <a:lnTo>
                            <a:pt x="1992" y="228"/>
                          </a:lnTo>
                          <a:lnTo>
                            <a:pt x="1988" y="226"/>
                          </a:lnTo>
                          <a:lnTo>
                            <a:pt x="1986" y="224"/>
                          </a:lnTo>
                          <a:lnTo>
                            <a:pt x="1982" y="224"/>
                          </a:lnTo>
                          <a:lnTo>
                            <a:pt x="1982" y="222"/>
                          </a:lnTo>
                          <a:lnTo>
                            <a:pt x="1978" y="224"/>
                          </a:lnTo>
                          <a:lnTo>
                            <a:pt x="1976" y="224"/>
                          </a:lnTo>
                          <a:lnTo>
                            <a:pt x="1974" y="224"/>
                          </a:lnTo>
                          <a:lnTo>
                            <a:pt x="1972" y="226"/>
                          </a:lnTo>
                          <a:lnTo>
                            <a:pt x="1974" y="224"/>
                          </a:lnTo>
                          <a:lnTo>
                            <a:pt x="1974" y="222"/>
                          </a:lnTo>
                          <a:lnTo>
                            <a:pt x="1974" y="220"/>
                          </a:lnTo>
                          <a:lnTo>
                            <a:pt x="1972" y="220"/>
                          </a:lnTo>
                          <a:lnTo>
                            <a:pt x="1968" y="216"/>
                          </a:lnTo>
                          <a:lnTo>
                            <a:pt x="1966" y="216"/>
                          </a:lnTo>
                          <a:lnTo>
                            <a:pt x="1964" y="214"/>
                          </a:lnTo>
                          <a:lnTo>
                            <a:pt x="1962" y="212"/>
                          </a:lnTo>
                          <a:lnTo>
                            <a:pt x="1960" y="212"/>
                          </a:lnTo>
                          <a:lnTo>
                            <a:pt x="1958" y="210"/>
                          </a:lnTo>
                          <a:lnTo>
                            <a:pt x="1958" y="208"/>
                          </a:lnTo>
                          <a:lnTo>
                            <a:pt x="1956" y="210"/>
                          </a:lnTo>
                          <a:lnTo>
                            <a:pt x="1954" y="212"/>
                          </a:lnTo>
                          <a:lnTo>
                            <a:pt x="1952" y="212"/>
                          </a:lnTo>
                          <a:lnTo>
                            <a:pt x="1948" y="212"/>
                          </a:lnTo>
                          <a:lnTo>
                            <a:pt x="1946" y="210"/>
                          </a:lnTo>
                          <a:lnTo>
                            <a:pt x="1944" y="210"/>
                          </a:lnTo>
                          <a:lnTo>
                            <a:pt x="1942" y="208"/>
                          </a:lnTo>
                          <a:lnTo>
                            <a:pt x="1938" y="206"/>
                          </a:lnTo>
                          <a:lnTo>
                            <a:pt x="1936" y="206"/>
                          </a:lnTo>
                          <a:lnTo>
                            <a:pt x="1934" y="206"/>
                          </a:lnTo>
                          <a:lnTo>
                            <a:pt x="1932" y="206"/>
                          </a:lnTo>
                          <a:lnTo>
                            <a:pt x="1930" y="208"/>
                          </a:lnTo>
                          <a:lnTo>
                            <a:pt x="1926" y="208"/>
                          </a:lnTo>
                          <a:lnTo>
                            <a:pt x="1924" y="206"/>
                          </a:lnTo>
                          <a:lnTo>
                            <a:pt x="1922" y="206"/>
                          </a:lnTo>
                          <a:lnTo>
                            <a:pt x="1920" y="206"/>
                          </a:lnTo>
                          <a:lnTo>
                            <a:pt x="1920" y="204"/>
                          </a:lnTo>
                          <a:lnTo>
                            <a:pt x="1918" y="204"/>
                          </a:lnTo>
                          <a:lnTo>
                            <a:pt x="1916" y="202"/>
                          </a:lnTo>
                          <a:lnTo>
                            <a:pt x="1914" y="200"/>
                          </a:lnTo>
                          <a:lnTo>
                            <a:pt x="1914" y="198"/>
                          </a:lnTo>
                          <a:lnTo>
                            <a:pt x="1916" y="198"/>
                          </a:lnTo>
                          <a:lnTo>
                            <a:pt x="1920" y="198"/>
                          </a:lnTo>
                          <a:lnTo>
                            <a:pt x="1924" y="200"/>
                          </a:lnTo>
                          <a:lnTo>
                            <a:pt x="1926" y="200"/>
                          </a:lnTo>
                          <a:lnTo>
                            <a:pt x="1928" y="200"/>
                          </a:lnTo>
                          <a:lnTo>
                            <a:pt x="1932" y="202"/>
                          </a:lnTo>
                          <a:lnTo>
                            <a:pt x="1934" y="202"/>
                          </a:lnTo>
                          <a:lnTo>
                            <a:pt x="1936" y="202"/>
                          </a:lnTo>
                          <a:lnTo>
                            <a:pt x="1942" y="202"/>
                          </a:lnTo>
                          <a:lnTo>
                            <a:pt x="1944" y="204"/>
                          </a:lnTo>
                          <a:lnTo>
                            <a:pt x="1946" y="204"/>
                          </a:lnTo>
                          <a:lnTo>
                            <a:pt x="1948" y="202"/>
                          </a:lnTo>
                          <a:lnTo>
                            <a:pt x="1952" y="202"/>
                          </a:lnTo>
                          <a:lnTo>
                            <a:pt x="1954" y="200"/>
                          </a:lnTo>
                          <a:lnTo>
                            <a:pt x="1958" y="200"/>
                          </a:lnTo>
                          <a:lnTo>
                            <a:pt x="1960" y="198"/>
                          </a:lnTo>
                          <a:lnTo>
                            <a:pt x="1962" y="198"/>
                          </a:lnTo>
                          <a:lnTo>
                            <a:pt x="1962" y="196"/>
                          </a:lnTo>
                          <a:lnTo>
                            <a:pt x="1964" y="196"/>
                          </a:lnTo>
                          <a:lnTo>
                            <a:pt x="1962" y="196"/>
                          </a:lnTo>
                          <a:lnTo>
                            <a:pt x="1962" y="194"/>
                          </a:lnTo>
                          <a:lnTo>
                            <a:pt x="1960" y="194"/>
                          </a:lnTo>
                          <a:lnTo>
                            <a:pt x="1958" y="192"/>
                          </a:lnTo>
                          <a:lnTo>
                            <a:pt x="1956" y="190"/>
                          </a:lnTo>
                          <a:lnTo>
                            <a:pt x="1954" y="190"/>
                          </a:lnTo>
                          <a:lnTo>
                            <a:pt x="1954" y="188"/>
                          </a:lnTo>
                          <a:lnTo>
                            <a:pt x="1952" y="188"/>
                          </a:lnTo>
                          <a:lnTo>
                            <a:pt x="1948" y="186"/>
                          </a:lnTo>
                          <a:lnTo>
                            <a:pt x="1946" y="184"/>
                          </a:lnTo>
                          <a:lnTo>
                            <a:pt x="1944" y="184"/>
                          </a:lnTo>
                          <a:lnTo>
                            <a:pt x="1940" y="182"/>
                          </a:lnTo>
                          <a:lnTo>
                            <a:pt x="1940" y="180"/>
                          </a:lnTo>
                          <a:lnTo>
                            <a:pt x="1938" y="180"/>
                          </a:lnTo>
                          <a:lnTo>
                            <a:pt x="1938" y="178"/>
                          </a:lnTo>
                          <a:lnTo>
                            <a:pt x="1938" y="176"/>
                          </a:lnTo>
                          <a:lnTo>
                            <a:pt x="1946" y="176"/>
                          </a:lnTo>
                          <a:lnTo>
                            <a:pt x="1948" y="178"/>
                          </a:lnTo>
                          <a:lnTo>
                            <a:pt x="1950" y="180"/>
                          </a:lnTo>
                          <a:lnTo>
                            <a:pt x="1952" y="180"/>
                          </a:lnTo>
                          <a:lnTo>
                            <a:pt x="1952" y="182"/>
                          </a:lnTo>
                          <a:lnTo>
                            <a:pt x="1954" y="182"/>
                          </a:lnTo>
                          <a:lnTo>
                            <a:pt x="1956" y="182"/>
                          </a:lnTo>
                          <a:lnTo>
                            <a:pt x="1958" y="184"/>
                          </a:lnTo>
                          <a:lnTo>
                            <a:pt x="1962" y="186"/>
                          </a:lnTo>
                          <a:lnTo>
                            <a:pt x="1966" y="188"/>
                          </a:lnTo>
                          <a:lnTo>
                            <a:pt x="1970" y="190"/>
                          </a:lnTo>
                          <a:lnTo>
                            <a:pt x="1976" y="190"/>
                          </a:lnTo>
                          <a:lnTo>
                            <a:pt x="1978" y="190"/>
                          </a:lnTo>
                          <a:lnTo>
                            <a:pt x="1980" y="190"/>
                          </a:lnTo>
                          <a:lnTo>
                            <a:pt x="1982" y="188"/>
                          </a:lnTo>
                          <a:lnTo>
                            <a:pt x="1992" y="188"/>
                          </a:lnTo>
                          <a:lnTo>
                            <a:pt x="1994" y="190"/>
                          </a:lnTo>
                          <a:lnTo>
                            <a:pt x="1996" y="190"/>
                          </a:lnTo>
                          <a:lnTo>
                            <a:pt x="2002" y="192"/>
                          </a:lnTo>
                          <a:lnTo>
                            <a:pt x="2006" y="194"/>
                          </a:lnTo>
                          <a:lnTo>
                            <a:pt x="2010" y="196"/>
                          </a:lnTo>
                          <a:lnTo>
                            <a:pt x="2014" y="196"/>
                          </a:lnTo>
                          <a:lnTo>
                            <a:pt x="2018" y="196"/>
                          </a:lnTo>
                          <a:lnTo>
                            <a:pt x="2020" y="198"/>
                          </a:lnTo>
                          <a:lnTo>
                            <a:pt x="2024" y="198"/>
                          </a:lnTo>
                          <a:lnTo>
                            <a:pt x="2026" y="198"/>
                          </a:lnTo>
                          <a:lnTo>
                            <a:pt x="2028" y="200"/>
                          </a:lnTo>
                          <a:lnTo>
                            <a:pt x="2030" y="200"/>
                          </a:lnTo>
                          <a:lnTo>
                            <a:pt x="2034" y="202"/>
                          </a:lnTo>
                          <a:lnTo>
                            <a:pt x="2036" y="202"/>
                          </a:lnTo>
                          <a:lnTo>
                            <a:pt x="2040" y="204"/>
                          </a:lnTo>
                          <a:lnTo>
                            <a:pt x="2042" y="204"/>
                          </a:lnTo>
                          <a:lnTo>
                            <a:pt x="2044" y="206"/>
                          </a:lnTo>
                          <a:lnTo>
                            <a:pt x="2046" y="206"/>
                          </a:lnTo>
                          <a:lnTo>
                            <a:pt x="2048" y="206"/>
                          </a:lnTo>
                          <a:lnTo>
                            <a:pt x="2048" y="208"/>
                          </a:lnTo>
                          <a:lnTo>
                            <a:pt x="2052" y="208"/>
                          </a:lnTo>
                          <a:lnTo>
                            <a:pt x="2054" y="210"/>
                          </a:lnTo>
                          <a:lnTo>
                            <a:pt x="2058" y="212"/>
                          </a:lnTo>
                          <a:lnTo>
                            <a:pt x="2060" y="212"/>
                          </a:lnTo>
                          <a:lnTo>
                            <a:pt x="2064" y="212"/>
                          </a:lnTo>
                          <a:lnTo>
                            <a:pt x="2066" y="210"/>
                          </a:lnTo>
                          <a:lnTo>
                            <a:pt x="2064" y="208"/>
                          </a:lnTo>
                          <a:lnTo>
                            <a:pt x="2062" y="206"/>
                          </a:lnTo>
                          <a:lnTo>
                            <a:pt x="2060" y="204"/>
                          </a:lnTo>
                          <a:lnTo>
                            <a:pt x="2058" y="202"/>
                          </a:lnTo>
                          <a:lnTo>
                            <a:pt x="2056" y="202"/>
                          </a:lnTo>
                          <a:lnTo>
                            <a:pt x="2056" y="200"/>
                          </a:lnTo>
                          <a:lnTo>
                            <a:pt x="2058" y="200"/>
                          </a:lnTo>
                          <a:lnTo>
                            <a:pt x="2060" y="198"/>
                          </a:lnTo>
                          <a:lnTo>
                            <a:pt x="2060" y="196"/>
                          </a:lnTo>
                          <a:lnTo>
                            <a:pt x="2056" y="196"/>
                          </a:lnTo>
                          <a:lnTo>
                            <a:pt x="2054" y="194"/>
                          </a:lnTo>
                          <a:lnTo>
                            <a:pt x="2052" y="194"/>
                          </a:lnTo>
                          <a:lnTo>
                            <a:pt x="2050" y="194"/>
                          </a:lnTo>
                          <a:lnTo>
                            <a:pt x="2050" y="192"/>
                          </a:lnTo>
                          <a:lnTo>
                            <a:pt x="2052" y="192"/>
                          </a:lnTo>
                          <a:lnTo>
                            <a:pt x="2050" y="192"/>
                          </a:lnTo>
                          <a:lnTo>
                            <a:pt x="2048" y="190"/>
                          </a:lnTo>
                          <a:lnTo>
                            <a:pt x="2046" y="188"/>
                          </a:lnTo>
                          <a:lnTo>
                            <a:pt x="2044" y="188"/>
                          </a:lnTo>
                          <a:lnTo>
                            <a:pt x="2042" y="186"/>
                          </a:lnTo>
                          <a:lnTo>
                            <a:pt x="2040" y="186"/>
                          </a:lnTo>
                          <a:lnTo>
                            <a:pt x="2042" y="186"/>
                          </a:lnTo>
                          <a:lnTo>
                            <a:pt x="2044" y="186"/>
                          </a:lnTo>
                          <a:lnTo>
                            <a:pt x="2048" y="188"/>
                          </a:lnTo>
                          <a:lnTo>
                            <a:pt x="2052" y="188"/>
                          </a:lnTo>
                          <a:lnTo>
                            <a:pt x="2052" y="184"/>
                          </a:lnTo>
                          <a:lnTo>
                            <a:pt x="2054" y="184"/>
                          </a:lnTo>
                          <a:lnTo>
                            <a:pt x="2064" y="184"/>
                          </a:lnTo>
                          <a:lnTo>
                            <a:pt x="2066" y="184"/>
                          </a:lnTo>
                          <a:lnTo>
                            <a:pt x="2066" y="182"/>
                          </a:lnTo>
                          <a:lnTo>
                            <a:pt x="2064" y="180"/>
                          </a:lnTo>
                          <a:close/>
                          <a:moveTo>
                            <a:pt x="630" y="154"/>
                          </a:moveTo>
                          <a:lnTo>
                            <a:pt x="628" y="154"/>
                          </a:lnTo>
                          <a:lnTo>
                            <a:pt x="626" y="156"/>
                          </a:lnTo>
                          <a:lnTo>
                            <a:pt x="624" y="156"/>
                          </a:lnTo>
                          <a:lnTo>
                            <a:pt x="618" y="156"/>
                          </a:lnTo>
                          <a:lnTo>
                            <a:pt x="614" y="154"/>
                          </a:lnTo>
                          <a:lnTo>
                            <a:pt x="612" y="152"/>
                          </a:lnTo>
                          <a:lnTo>
                            <a:pt x="612" y="150"/>
                          </a:lnTo>
                          <a:lnTo>
                            <a:pt x="610" y="148"/>
                          </a:lnTo>
                          <a:lnTo>
                            <a:pt x="612" y="148"/>
                          </a:lnTo>
                          <a:lnTo>
                            <a:pt x="616" y="150"/>
                          </a:lnTo>
                          <a:lnTo>
                            <a:pt x="618" y="152"/>
                          </a:lnTo>
                          <a:lnTo>
                            <a:pt x="620" y="152"/>
                          </a:lnTo>
                          <a:lnTo>
                            <a:pt x="620" y="154"/>
                          </a:lnTo>
                          <a:lnTo>
                            <a:pt x="622" y="154"/>
                          </a:lnTo>
                          <a:lnTo>
                            <a:pt x="626" y="154"/>
                          </a:lnTo>
                          <a:lnTo>
                            <a:pt x="628" y="154"/>
                          </a:lnTo>
                          <a:lnTo>
                            <a:pt x="630" y="152"/>
                          </a:lnTo>
                          <a:lnTo>
                            <a:pt x="630" y="154"/>
                          </a:lnTo>
                          <a:close/>
                          <a:moveTo>
                            <a:pt x="984" y="64"/>
                          </a:moveTo>
                          <a:lnTo>
                            <a:pt x="984" y="64"/>
                          </a:lnTo>
                          <a:lnTo>
                            <a:pt x="982" y="64"/>
                          </a:lnTo>
                          <a:lnTo>
                            <a:pt x="984" y="64"/>
                          </a:lnTo>
                          <a:lnTo>
                            <a:pt x="986" y="64"/>
                          </a:lnTo>
                          <a:lnTo>
                            <a:pt x="984" y="64"/>
                          </a:lnTo>
                          <a:close/>
                          <a:moveTo>
                            <a:pt x="1186" y="400"/>
                          </a:moveTo>
                          <a:lnTo>
                            <a:pt x="1186" y="402"/>
                          </a:lnTo>
                          <a:lnTo>
                            <a:pt x="1188" y="400"/>
                          </a:lnTo>
                          <a:lnTo>
                            <a:pt x="1192" y="400"/>
                          </a:lnTo>
                          <a:lnTo>
                            <a:pt x="1192" y="402"/>
                          </a:lnTo>
                          <a:lnTo>
                            <a:pt x="1186" y="406"/>
                          </a:lnTo>
                          <a:lnTo>
                            <a:pt x="1186" y="410"/>
                          </a:lnTo>
                          <a:lnTo>
                            <a:pt x="1184" y="410"/>
                          </a:lnTo>
                          <a:lnTo>
                            <a:pt x="1184" y="412"/>
                          </a:lnTo>
                          <a:lnTo>
                            <a:pt x="1182" y="414"/>
                          </a:lnTo>
                          <a:lnTo>
                            <a:pt x="1180" y="414"/>
                          </a:lnTo>
                          <a:lnTo>
                            <a:pt x="1180" y="416"/>
                          </a:lnTo>
                          <a:lnTo>
                            <a:pt x="1178" y="416"/>
                          </a:lnTo>
                          <a:lnTo>
                            <a:pt x="1176" y="416"/>
                          </a:lnTo>
                          <a:lnTo>
                            <a:pt x="1176" y="418"/>
                          </a:lnTo>
                          <a:lnTo>
                            <a:pt x="1174" y="418"/>
                          </a:lnTo>
                          <a:lnTo>
                            <a:pt x="1174" y="422"/>
                          </a:lnTo>
                          <a:lnTo>
                            <a:pt x="1172" y="422"/>
                          </a:lnTo>
                          <a:lnTo>
                            <a:pt x="1168" y="422"/>
                          </a:lnTo>
                          <a:lnTo>
                            <a:pt x="1164" y="422"/>
                          </a:lnTo>
                          <a:lnTo>
                            <a:pt x="1162" y="422"/>
                          </a:lnTo>
                          <a:lnTo>
                            <a:pt x="1162" y="424"/>
                          </a:lnTo>
                          <a:lnTo>
                            <a:pt x="1164" y="424"/>
                          </a:lnTo>
                          <a:lnTo>
                            <a:pt x="1164" y="426"/>
                          </a:lnTo>
                          <a:lnTo>
                            <a:pt x="1166" y="426"/>
                          </a:lnTo>
                          <a:lnTo>
                            <a:pt x="1168" y="426"/>
                          </a:lnTo>
                          <a:lnTo>
                            <a:pt x="1168" y="428"/>
                          </a:lnTo>
                          <a:lnTo>
                            <a:pt x="1168" y="430"/>
                          </a:lnTo>
                          <a:lnTo>
                            <a:pt x="1166" y="432"/>
                          </a:lnTo>
                          <a:lnTo>
                            <a:pt x="1164" y="432"/>
                          </a:lnTo>
                          <a:lnTo>
                            <a:pt x="1164" y="434"/>
                          </a:lnTo>
                          <a:lnTo>
                            <a:pt x="1162" y="434"/>
                          </a:lnTo>
                          <a:lnTo>
                            <a:pt x="1160" y="434"/>
                          </a:lnTo>
                          <a:lnTo>
                            <a:pt x="1158" y="434"/>
                          </a:lnTo>
                          <a:lnTo>
                            <a:pt x="1156" y="436"/>
                          </a:lnTo>
                          <a:lnTo>
                            <a:pt x="1156" y="438"/>
                          </a:lnTo>
                          <a:lnTo>
                            <a:pt x="1154" y="438"/>
                          </a:lnTo>
                          <a:lnTo>
                            <a:pt x="1152" y="438"/>
                          </a:lnTo>
                          <a:lnTo>
                            <a:pt x="1148" y="440"/>
                          </a:lnTo>
                          <a:lnTo>
                            <a:pt x="1146" y="440"/>
                          </a:lnTo>
                          <a:lnTo>
                            <a:pt x="1144" y="438"/>
                          </a:lnTo>
                          <a:lnTo>
                            <a:pt x="1142" y="438"/>
                          </a:lnTo>
                          <a:lnTo>
                            <a:pt x="1140" y="436"/>
                          </a:lnTo>
                          <a:lnTo>
                            <a:pt x="1138" y="436"/>
                          </a:lnTo>
                          <a:lnTo>
                            <a:pt x="1134" y="436"/>
                          </a:lnTo>
                          <a:lnTo>
                            <a:pt x="1134" y="434"/>
                          </a:lnTo>
                          <a:lnTo>
                            <a:pt x="1136" y="434"/>
                          </a:lnTo>
                          <a:lnTo>
                            <a:pt x="1138" y="434"/>
                          </a:lnTo>
                          <a:lnTo>
                            <a:pt x="1146" y="434"/>
                          </a:lnTo>
                          <a:lnTo>
                            <a:pt x="1146" y="432"/>
                          </a:lnTo>
                          <a:lnTo>
                            <a:pt x="1148" y="432"/>
                          </a:lnTo>
                          <a:lnTo>
                            <a:pt x="1150" y="430"/>
                          </a:lnTo>
                          <a:lnTo>
                            <a:pt x="1152" y="430"/>
                          </a:lnTo>
                          <a:lnTo>
                            <a:pt x="1156" y="428"/>
                          </a:lnTo>
                          <a:lnTo>
                            <a:pt x="1156" y="426"/>
                          </a:lnTo>
                          <a:lnTo>
                            <a:pt x="1158" y="424"/>
                          </a:lnTo>
                          <a:lnTo>
                            <a:pt x="1158" y="420"/>
                          </a:lnTo>
                          <a:lnTo>
                            <a:pt x="1160" y="418"/>
                          </a:lnTo>
                          <a:lnTo>
                            <a:pt x="1162" y="418"/>
                          </a:lnTo>
                          <a:lnTo>
                            <a:pt x="1164" y="418"/>
                          </a:lnTo>
                          <a:lnTo>
                            <a:pt x="1164" y="416"/>
                          </a:lnTo>
                          <a:lnTo>
                            <a:pt x="1164" y="412"/>
                          </a:lnTo>
                          <a:lnTo>
                            <a:pt x="1162" y="410"/>
                          </a:lnTo>
                          <a:lnTo>
                            <a:pt x="1162" y="408"/>
                          </a:lnTo>
                          <a:lnTo>
                            <a:pt x="1164" y="406"/>
                          </a:lnTo>
                          <a:lnTo>
                            <a:pt x="1166" y="406"/>
                          </a:lnTo>
                          <a:lnTo>
                            <a:pt x="1168" y="404"/>
                          </a:lnTo>
                          <a:lnTo>
                            <a:pt x="1168" y="402"/>
                          </a:lnTo>
                          <a:lnTo>
                            <a:pt x="1170" y="402"/>
                          </a:lnTo>
                          <a:lnTo>
                            <a:pt x="1170" y="400"/>
                          </a:lnTo>
                          <a:lnTo>
                            <a:pt x="1170" y="398"/>
                          </a:lnTo>
                          <a:lnTo>
                            <a:pt x="1172" y="396"/>
                          </a:lnTo>
                          <a:lnTo>
                            <a:pt x="1174" y="394"/>
                          </a:lnTo>
                          <a:lnTo>
                            <a:pt x="1174" y="392"/>
                          </a:lnTo>
                          <a:lnTo>
                            <a:pt x="1176" y="392"/>
                          </a:lnTo>
                          <a:lnTo>
                            <a:pt x="1176" y="390"/>
                          </a:lnTo>
                          <a:lnTo>
                            <a:pt x="1174" y="390"/>
                          </a:lnTo>
                          <a:lnTo>
                            <a:pt x="1174" y="388"/>
                          </a:lnTo>
                          <a:lnTo>
                            <a:pt x="1172" y="386"/>
                          </a:lnTo>
                          <a:lnTo>
                            <a:pt x="1172" y="382"/>
                          </a:lnTo>
                          <a:lnTo>
                            <a:pt x="1172" y="380"/>
                          </a:lnTo>
                          <a:lnTo>
                            <a:pt x="1172" y="372"/>
                          </a:lnTo>
                          <a:lnTo>
                            <a:pt x="1170" y="370"/>
                          </a:lnTo>
                          <a:lnTo>
                            <a:pt x="1170" y="368"/>
                          </a:lnTo>
                          <a:lnTo>
                            <a:pt x="1170" y="366"/>
                          </a:lnTo>
                          <a:lnTo>
                            <a:pt x="1170" y="362"/>
                          </a:lnTo>
                          <a:lnTo>
                            <a:pt x="1172" y="360"/>
                          </a:lnTo>
                          <a:lnTo>
                            <a:pt x="1176" y="360"/>
                          </a:lnTo>
                          <a:lnTo>
                            <a:pt x="1178" y="362"/>
                          </a:lnTo>
                          <a:lnTo>
                            <a:pt x="1178" y="366"/>
                          </a:lnTo>
                          <a:lnTo>
                            <a:pt x="1180" y="368"/>
                          </a:lnTo>
                          <a:lnTo>
                            <a:pt x="1180" y="370"/>
                          </a:lnTo>
                          <a:lnTo>
                            <a:pt x="1182" y="372"/>
                          </a:lnTo>
                          <a:lnTo>
                            <a:pt x="1182" y="374"/>
                          </a:lnTo>
                          <a:lnTo>
                            <a:pt x="1182" y="376"/>
                          </a:lnTo>
                          <a:lnTo>
                            <a:pt x="1184" y="378"/>
                          </a:lnTo>
                          <a:lnTo>
                            <a:pt x="1186" y="382"/>
                          </a:lnTo>
                          <a:lnTo>
                            <a:pt x="1186" y="384"/>
                          </a:lnTo>
                          <a:lnTo>
                            <a:pt x="1188" y="386"/>
                          </a:lnTo>
                          <a:lnTo>
                            <a:pt x="1190" y="388"/>
                          </a:lnTo>
                          <a:lnTo>
                            <a:pt x="1190" y="390"/>
                          </a:lnTo>
                          <a:lnTo>
                            <a:pt x="1192" y="390"/>
                          </a:lnTo>
                          <a:lnTo>
                            <a:pt x="1190" y="392"/>
                          </a:lnTo>
                          <a:lnTo>
                            <a:pt x="1190" y="394"/>
                          </a:lnTo>
                          <a:lnTo>
                            <a:pt x="1190" y="396"/>
                          </a:lnTo>
                          <a:lnTo>
                            <a:pt x="1188" y="396"/>
                          </a:lnTo>
                          <a:lnTo>
                            <a:pt x="1186" y="396"/>
                          </a:lnTo>
                          <a:lnTo>
                            <a:pt x="1186" y="398"/>
                          </a:lnTo>
                          <a:lnTo>
                            <a:pt x="1184" y="400"/>
                          </a:lnTo>
                          <a:lnTo>
                            <a:pt x="1186" y="40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4" name="Freeform 236">
                      <a:extLst>
                        <a:ext uri="{FF2B5EF4-FFF2-40B4-BE49-F238E27FC236}">
                          <a16:creationId xmlns:a16="http://schemas.microsoft.com/office/drawing/2014/main" id="{B4C55221-0FE3-4534-B8BC-F8BE684F2E5D}"/>
                        </a:ext>
                      </a:extLst>
                    </p:cNvPr>
                    <p:cNvSpPr>
                      <a:spLocks noChangeAspect="1" noEditPoints="1"/>
                    </p:cNvSpPr>
                    <p:nvPr/>
                  </p:nvSpPr>
                  <p:spPr bwMode="auto">
                    <a:xfrm>
                      <a:off x="6108026" y="1681496"/>
                      <a:ext cx="276253" cy="87198"/>
                    </a:xfrm>
                    <a:custGeom>
                      <a:avLst/>
                      <a:gdLst/>
                      <a:ahLst/>
                      <a:cxnLst>
                        <a:cxn ang="0">
                          <a:pos x="8" y="26"/>
                        </a:cxn>
                        <a:cxn ang="0">
                          <a:pos x="14" y="28"/>
                        </a:cxn>
                        <a:cxn ang="0">
                          <a:pos x="18" y="28"/>
                        </a:cxn>
                        <a:cxn ang="0">
                          <a:pos x="18" y="24"/>
                        </a:cxn>
                        <a:cxn ang="0">
                          <a:pos x="2" y="24"/>
                        </a:cxn>
                        <a:cxn ang="0">
                          <a:pos x="8" y="20"/>
                        </a:cxn>
                        <a:cxn ang="0">
                          <a:pos x="32" y="22"/>
                        </a:cxn>
                        <a:cxn ang="0">
                          <a:pos x="40" y="20"/>
                        </a:cxn>
                        <a:cxn ang="0">
                          <a:pos x="48" y="18"/>
                        </a:cxn>
                        <a:cxn ang="0">
                          <a:pos x="48" y="16"/>
                        </a:cxn>
                        <a:cxn ang="0">
                          <a:pos x="46" y="12"/>
                        </a:cxn>
                        <a:cxn ang="0">
                          <a:pos x="40" y="10"/>
                        </a:cxn>
                        <a:cxn ang="0">
                          <a:pos x="28" y="4"/>
                        </a:cxn>
                        <a:cxn ang="0">
                          <a:pos x="22" y="2"/>
                        </a:cxn>
                        <a:cxn ang="0">
                          <a:pos x="16" y="0"/>
                        </a:cxn>
                        <a:cxn ang="0">
                          <a:pos x="0" y="2"/>
                        </a:cxn>
                        <a:cxn ang="0">
                          <a:pos x="2" y="12"/>
                        </a:cxn>
                        <a:cxn ang="0">
                          <a:pos x="88" y="24"/>
                        </a:cxn>
                        <a:cxn ang="0">
                          <a:pos x="82" y="20"/>
                        </a:cxn>
                        <a:cxn ang="0">
                          <a:pos x="66" y="22"/>
                        </a:cxn>
                        <a:cxn ang="0">
                          <a:pos x="64" y="22"/>
                        </a:cxn>
                        <a:cxn ang="0">
                          <a:pos x="62" y="20"/>
                        </a:cxn>
                        <a:cxn ang="0">
                          <a:pos x="52" y="20"/>
                        </a:cxn>
                        <a:cxn ang="0">
                          <a:pos x="38" y="24"/>
                        </a:cxn>
                        <a:cxn ang="0">
                          <a:pos x="32" y="24"/>
                        </a:cxn>
                        <a:cxn ang="0">
                          <a:pos x="32" y="26"/>
                        </a:cxn>
                        <a:cxn ang="0">
                          <a:pos x="34" y="28"/>
                        </a:cxn>
                        <a:cxn ang="0">
                          <a:pos x="46" y="32"/>
                        </a:cxn>
                        <a:cxn ang="0">
                          <a:pos x="58" y="32"/>
                        </a:cxn>
                        <a:cxn ang="0">
                          <a:pos x="66" y="30"/>
                        </a:cxn>
                        <a:cxn ang="0">
                          <a:pos x="72" y="32"/>
                        </a:cxn>
                        <a:cxn ang="0">
                          <a:pos x="78" y="34"/>
                        </a:cxn>
                        <a:cxn ang="0">
                          <a:pos x="94" y="34"/>
                        </a:cxn>
                        <a:cxn ang="0">
                          <a:pos x="164" y="40"/>
                        </a:cxn>
                        <a:cxn ang="0">
                          <a:pos x="160" y="38"/>
                        </a:cxn>
                        <a:cxn ang="0">
                          <a:pos x="158" y="36"/>
                        </a:cxn>
                        <a:cxn ang="0">
                          <a:pos x="152" y="34"/>
                        </a:cxn>
                        <a:cxn ang="0">
                          <a:pos x="144" y="30"/>
                        </a:cxn>
                        <a:cxn ang="0">
                          <a:pos x="134" y="32"/>
                        </a:cxn>
                        <a:cxn ang="0">
                          <a:pos x="130" y="34"/>
                        </a:cxn>
                        <a:cxn ang="0">
                          <a:pos x="128" y="28"/>
                        </a:cxn>
                        <a:cxn ang="0">
                          <a:pos x="122" y="24"/>
                        </a:cxn>
                        <a:cxn ang="0">
                          <a:pos x="116" y="26"/>
                        </a:cxn>
                        <a:cxn ang="0">
                          <a:pos x="112" y="32"/>
                        </a:cxn>
                        <a:cxn ang="0">
                          <a:pos x="108" y="42"/>
                        </a:cxn>
                        <a:cxn ang="0">
                          <a:pos x="108" y="48"/>
                        </a:cxn>
                        <a:cxn ang="0">
                          <a:pos x="114" y="50"/>
                        </a:cxn>
                        <a:cxn ang="0">
                          <a:pos x="122" y="48"/>
                        </a:cxn>
                        <a:cxn ang="0">
                          <a:pos x="128" y="46"/>
                        </a:cxn>
                        <a:cxn ang="0">
                          <a:pos x="142" y="44"/>
                        </a:cxn>
                        <a:cxn ang="0">
                          <a:pos x="168" y="44"/>
                        </a:cxn>
                      </a:cxnLst>
                      <a:rect l="0" t="0" r="r" b="b"/>
                      <a:pathLst>
                        <a:path w="168" h="50">
                          <a:moveTo>
                            <a:pt x="2" y="24"/>
                          </a:moveTo>
                          <a:lnTo>
                            <a:pt x="6" y="26"/>
                          </a:lnTo>
                          <a:lnTo>
                            <a:pt x="8" y="26"/>
                          </a:lnTo>
                          <a:lnTo>
                            <a:pt x="10" y="26"/>
                          </a:lnTo>
                          <a:lnTo>
                            <a:pt x="12" y="26"/>
                          </a:lnTo>
                          <a:lnTo>
                            <a:pt x="14" y="28"/>
                          </a:lnTo>
                          <a:lnTo>
                            <a:pt x="16" y="28"/>
                          </a:lnTo>
                          <a:lnTo>
                            <a:pt x="18" y="28"/>
                          </a:lnTo>
                          <a:lnTo>
                            <a:pt x="18" y="26"/>
                          </a:lnTo>
                          <a:lnTo>
                            <a:pt x="18" y="24"/>
                          </a:lnTo>
                          <a:lnTo>
                            <a:pt x="20" y="24"/>
                          </a:lnTo>
                          <a:lnTo>
                            <a:pt x="0" y="24"/>
                          </a:lnTo>
                          <a:lnTo>
                            <a:pt x="2" y="24"/>
                          </a:lnTo>
                          <a:close/>
                          <a:moveTo>
                            <a:pt x="4" y="16"/>
                          </a:moveTo>
                          <a:lnTo>
                            <a:pt x="6" y="18"/>
                          </a:lnTo>
                          <a:lnTo>
                            <a:pt x="8" y="20"/>
                          </a:lnTo>
                          <a:lnTo>
                            <a:pt x="8" y="22"/>
                          </a:lnTo>
                          <a:lnTo>
                            <a:pt x="32" y="22"/>
                          </a:lnTo>
                          <a:lnTo>
                            <a:pt x="34" y="20"/>
                          </a:lnTo>
                          <a:lnTo>
                            <a:pt x="38" y="20"/>
                          </a:lnTo>
                          <a:lnTo>
                            <a:pt x="40" y="20"/>
                          </a:lnTo>
                          <a:lnTo>
                            <a:pt x="44" y="20"/>
                          </a:lnTo>
                          <a:lnTo>
                            <a:pt x="46" y="18"/>
                          </a:lnTo>
                          <a:lnTo>
                            <a:pt x="48" y="18"/>
                          </a:lnTo>
                          <a:lnTo>
                            <a:pt x="50" y="16"/>
                          </a:lnTo>
                          <a:lnTo>
                            <a:pt x="48" y="16"/>
                          </a:lnTo>
                          <a:lnTo>
                            <a:pt x="48" y="14"/>
                          </a:lnTo>
                          <a:lnTo>
                            <a:pt x="46" y="12"/>
                          </a:lnTo>
                          <a:lnTo>
                            <a:pt x="44" y="10"/>
                          </a:lnTo>
                          <a:lnTo>
                            <a:pt x="42" y="10"/>
                          </a:lnTo>
                          <a:lnTo>
                            <a:pt x="40" y="10"/>
                          </a:lnTo>
                          <a:lnTo>
                            <a:pt x="38" y="8"/>
                          </a:lnTo>
                          <a:lnTo>
                            <a:pt x="32" y="6"/>
                          </a:lnTo>
                          <a:lnTo>
                            <a:pt x="28" y="4"/>
                          </a:lnTo>
                          <a:lnTo>
                            <a:pt x="26" y="4"/>
                          </a:lnTo>
                          <a:lnTo>
                            <a:pt x="24" y="2"/>
                          </a:lnTo>
                          <a:lnTo>
                            <a:pt x="22" y="2"/>
                          </a:lnTo>
                          <a:lnTo>
                            <a:pt x="20" y="2"/>
                          </a:lnTo>
                          <a:lnTo>
                            <a:pt x="18" y="2"/>
                          </a:lnTo>
                          <a:lnTo>
                            <a:pt x="16" y="0"/>
                          </a:lnTo>
                          <a:lnTo>
                            <a:pt x="2" y="0"/>
                          </a:lnTo>
                          <a:lnTo>
                            <a:pt x="2" y="2"/>
                          </a:lnTo>
                          <a:lnTo>
                            <a:pt x="0" y="2"/>
                          </a:lnTo>
                          <a:lnTo>
                            <a:pt x="0" y="8"/>
                          </a:lnTo>
                          <a:lnTo>
                            <a:pt x="2" y="12"/>
                          </a:lnTo>
                          <a:lnTo>
                            <a:pt x="4" y="16"/>
                          </a:lnTo>
                          <a:close/>
                          <a:moveTo>
                            <a:pt x="90" y="26"/>
                          </a:moveTo>
                          <a:lnTo>
                            <a:pt x="88" y="24"/>
                          </a:lnTo>
                          <a:lnTo>
                            <a:pt x="86" y="22"/>
                          </a:lnTo>
                          <a:lnTo>
                            <a:pt x="84" y="20"/>
                          </a:lnTo>
                          <a:lnTo>
                            <a:pt x="82" y="20"/>
                          </a:lnTo>
                          <a:lnTo>
                            <a:pt x="74" y="20"/>
                          </a:lnTo>
                          <a:lnTo>
                            <a:pt x="68" y="22"/>
                          </a:lnTo>
                          <a:lnTo>
                            <a:pt x="66" y="22"/>
                          </a:lnTo>
                          <a:lnTo>
                            <a:pt x="66" y="24"/>
                          </a:lnTo>
                          <a:lnTo>
                            <a:pt x="64" y="22"/>
                          </a:lnTo>
                          <a:lnTo>
                            <a:pt x="64" y="20"/>
                          </a:lnTo>
                          <a:lnTo>
                            <a:pt x="62" y="20"/>
                          </a:lnTo>
                          <a:lnTo>
                            <a:pt x="56" y="20"/>
                          </a:lnTo>
                          <a:lnTo>
                            <a:pt x="54" y="20"/>
                          </a:lnTo>
                          <a:lnTo>
                            <a:pt x="52" y="20"/>
                          </a:lnTo>
                          <a:lnTo>
                            <a:pt x="46" y="22"/>
                          </a:lnTo>
                          <a:lnTo>
                            <a:pt x="40" y="22"/>
                          </a:lnTo>
                          <a:lnTo>
                            <a:pt x="38" y="24"/>
                          </a:lnTo>
                          <a:lnTo>
                            <a:pt x="34" y="24"/>
                          </a:lnTo>
                          <a:lnTo>
                            <a:pt x="32" y="24"/>
                          </a:lnTo>
                          <a:lnTo>
                            <a:pt x="32" y="26"/>
                          </a:lnTo>
                          <a:lnTo>
                            <a:pt x="30" y="26"/>
                          </a:lnTo>
                          <a:lnTo>
                            <a:pt x="32" y="26"/>
                          </a:lnTo>
                          <a:lnTo>
                            <a:pt x="32" y="28"/>
                          </a:lnTo>
                          <a:lnTo>
                            <a:pt x="34" y="28"/>
                          </a:lnTo>
                          <a:lnTo>
                            <a:pt x="38" y="30"/>
                          </a:lnTo>
                          <a:lnTo>
                            <a:pt x="42" y="32"/>
                          </a:lnTo>
                          <a:lnTo>
                            <a:pt x="46" y="32"/>
                          </a:lnTo>
                          <a:lnTo>
                            <a:pt x="48" y="32"/>
                          </a:lnTo>
                          <a:lnTo>
                            <a:pt x="56" y="32"/>
                          </a:lnTo>
                          <a:lnTo>
                            <a:pt x="58" y="32"/>
                          </a:lnTo>
                          <a:lnTo>
                            <a:pt x="62" y="32"/>
                          </a:lnTo>
                          <a:lnTo>
                            <a:pt x="64" y="30"/>
                          </a:lnTo>
                          <a:lnTo>
                            <a:pt x="66" y="30"/>
                          </a:lnTo>
                          <a:lnTo>
                            <a:pt x="68" y="32"/>
                          </a:lnTo>
                          <a:lnTo>
                            <a:pt x="70" y="32"/>
                          </a:lnTo>
                          <a:lnTo>
                            <a:pt x="72" y="32"/>
                          </a:lnTo>
                          <a:lnTo>
                            <a:pt x="74" y="34"/>
                          </a:lnTo>
                          <a:lnTo>
                            <a:pt x="76" y="34"/>
                          </a:lnTo>
                          <a:lnTo>
                            <a:pt x="78" y="34"/>
                          </a:lnTo>
                          <a:lnTo>
                            <a:pt x="80" y="34"/>
                          </a:lnTo>
                          <a:lnTo>
                            <a:pt x="94" y="34"/>
                          </a:lnTo>
                          <a:lnTo>
                            <a:pt x="92" y="30"/>
                          </a:lnTo>
                          <a:lnTo>
                            <a:pt x="90" y="26"/>
                          </a:lnTo>
                          <a:close/>
                          <a:moveTo>
                            <a:pt x="164" y="40"/>
                          </a:moveTo>
                          <a:lnTo>
                            <a:pt x="162" y="40"/>
                          </a:lnTo>
                          <a:lnTo>
                            <a:pt x="160" y="38"/>
                          </a:lnTo>
                          <a:lnTo>
                            <a:pt x="160" y="36"/>
                          </a:lnTo>
                          <a:lnTo>
                            <a:pt x="158" y="36"/>
                          </a:lnTo>
                          <a:lnTo>
                            <a:pt x="156" y="36"/>
                          </a:lnTo>
                          <a:lnTo>
                            <a:pt x="154" y="34"/>
                          </a:lnTo>
                          <a:lnTo>
                            <a:pt x="152" y="34"/>
                          </a:lnTo>
                          <a:lnTo>
                            <a:pt x="148" y="32"/>
                          </a:lnTo>
                          <a:lnTo>
                            <a:pt x="146" y="32"/>
                          </a:lnTo>
                          <a:lnTo>
                            <a:pt x="144" y="30"/>
                          </a:lnTo>
                          <a:lnTo>
                            <a:pt x="140" y="30"/>
                          </a:lnTo>
                          <a:lnTo>
                            <a:pt x="138" y="32"/>
                          </a:lnTo>
                          <a:lnTo>
                            <a:pt x="134" y="32"/>
                          </a:lnTo>
                          <a:lnTo>
                            <a:pt x="132" y="34"/>
                          </a:lnTo>
                          <a:lnTo>
                            <a:pt x="130" y="34"/>
                          </a:lnTo>
                          <a:lnTo>
                            <a:pt x="128" y="30"/>
                          </a:lnTo>
                          <a:lnTo>
                            <a:pt x="128" y="28"/>
                          </a:lnTo>
                          <a:lnTo>
                            <a:pt x="126" y="26"/>
                          </a:lnTo>
                          <a:lnTo>
                            <a:pt x="124" y="24"/>
                          </a:lnTo>
                          <a:lnTo>
                            <a:pt x="122" y="24"/>
                          </a:lnTo>
                          <a:lnTo>
                            <a:pt x="120" y="24"/>
                          </a:lnTo>
                          <a:lnTo>
                            <a:pt x="118" y="24"/>
                          </a:lnTo>
                          <a:lnTo>
                            <a:pt x="116" y="26"/>
                          </a:lnTo>
                          <a:lnTo>
                            <a:pt x="116" y="28"/>
                          </a:lnTo>
                          <a:lnTo>
                            <a:pt x="114" y="30"/>
                          </a:lnTo>
                          <a:lnTo>
                            <a:pt x="112" y="32"/>
                          </a:lnTo>
                          <a:lnTo>
                            <a:pt x="110" y="36"/>
                          </a:lnTo>
                          <a:lnTo>
                            <a:pt x="110" y="40"/>
                          </a:lnTo>
                          <a:lnTo>
                            <a:pt x="108" y="42"/>
                          </a:lnTo>
                          <a:lnTo>
                            <a:pt x="108" y="44"/>
                          </a:lnTo>
                          <a:lnTo>
                            <a:pt x="108" y="46"/>
                          </a:lnTo>
                          <a:lnTo>
                            <a:pt x="108" y="48"/>
                          </a:lnTo>
                          <a:lnTo>
                            <a:pt x="112" y="50"/>
                          </a:lnTo>
                          <a:lnTo>
                            <a:pt x="114" y="50"/>
                          </a:lnTo>
                          <a:lnTo>
                            <a:pt x="118" y="50"/>
                          </a:lnTo>
                          <a:lnTo>
                            <a:pt x="120" y="50"/>
                          </a:lnTo>
                          <a:lnTo>
                            <a:pt x="122" y="48"/>
                          </a:lnTo>
                          <a:lnTo>
                            <a:pt x="126" y="48"/>
                          </a:lnTo>
                          <a:lnTo>
                            <a:pt x="128" y="48"/>
                          </a:lnTo>
                          <a:lnTo>
                            <a:pt x="128" y="46"/>
                          </a:lnTo>
                          <a:lnTo>
                            <a:pt x="130" y="46"/>
                          </a:lnTo>
                          <a:lnTo>
                            <a:pt x="136" y="46"/>
                          </a:lnTo>
                          <a:lnTo>
                            <a:pt x="142" y="44"/>
                          </a:lnTo>
                          <a:lnTo>
                            <a:pt x="156" y="44"/>
                          </a:lnTo>
                          <a:lnTo>
                            <a:pt x="158" y="44"/>
                          </a:lnTo>
                          <a:lnTo>
                            <a:pt x="168" y="44"/>
                          </a:lnTo>
                          <a:lnTo>
                            <a:pt x="164" y="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grpSp>
            <p:sp>
              <p:nvSpPr>
                <p:cNvPr id="178" name="Freeform 240">
                  <a:extLst>
                    <a:ext uri="{FF2B5EF4-FFF2-40B4-BE49-F238E27FC236}">
                      <a16:creationId xmlns:a16="http://schemas.microsoft.com/office/drawing/2014/main" id="{18682E1E-CF00-42B1-A519-B5ED228F0D38}"/>
                    </a:ext>
                  </a:extLst>
                </p:cNvPr>
                <p:cNvSpPr>
                  <a:spLocks noChangeAspect="1"/>
                </p:cNvSpPr>
                <p:nvPr/>
              </p:nvSpPr>
              <p:spPr bwMode="auto">
                <a:xfrm>
                  <a:off x="5989624" y="1901262"/>
                  <a:ext cx="23021" cy="13951"/>
                </a:xfrm>
                <a:custGeom>
                  <a:avLst/>
                  <a:gdLst/>
                  <a:ahLst/>
                  <a:cxnLst>
                    <a:cxn ang="0">
                      <a:pos x="14" y="2"/>
                    </a:cxn>
                    <a:cxn ang="0">
                      <a:pos x="12" y="0"/>
                    </a:cxn>
                    <a:cxn ang="0">
                      <a:pos x="10" y="0"/>
                    </a:cxn>
                    <a:cxn ang="0">
                      <a:pos x="10" y="0"/>
                    </a:cxn>
                    <a:cxn ang="0">
                      <a:pos x="8" y="0"/>
                    </a:cxn>
                    <a:cxn ang="0">
                      <a:pos x="8" y="0"/>
                    </a:cxn>
                    <a:cxn ang="0">
                      <a:pos x="8" y="0"/>
                    </a:cxn>
                    <a:cxn ang="0">
                      <a:pos x="8" y="0"/>
                    </a:cxn>
                    <a:cxn ang="0">
                      <a:pos x="6" y="0"/>
                    </a:cxn>
                    <a:cxn ang="0">
                      <a:pos x="4" y="2"/>
                    </a:cxn>
                    <a:cxn ang="0">
                      <a:pos x="2" y="2"/>
                    </a:cxn>
                    <a:cxn ang="0">
                      <a:pos x="2" y="4"/>
                    </a:cxn>
                    <a:cxn ang="0">
                      <a:pos x="2" y="4"/>
                    </a:cxn>
                    <a:cxn ang="0">
                      <a:pos x="0" y="4"/>
                    </a:cxn>
                    <a:cxn ang="0">
                      <a:pos x="0" y="4"/>
                    </a:cxn>
                    <a:cxn ang="0">
                      <a:pos x="4" y="4"/>
                    </a:cxn>
                    <a:cxn ang="0">
                      <a:pos x="6" y="6"/>
                    </a:cxn>
                    <a:cxn ang="0">
                      <a:pos x="8" y="6"/>
                    </a:cxn>
                    <a:cxn ang="0">
                      <a:pos x="8" y="6"/>
                    </a:cxn>
                    <a:cxn ang="0">
                      <a:pos x="10" y="8"/>
                    </a:cxn>
                    <a:cxn ang="0">
                      <a:pos x="10" y="8"/>
                    </a:cxn>
                    <a:cxn ang="0">
                      <a:pos x="10" y="8"/>
                    </a:cxn>
                    <a:cxn ang="0">
                      <a:pos x="14" y="2"/>
                    </a:cxn>
                    <a:cxn ang="0">
                      <a:pos x="14" y="2"/>
                    </a:cxn>
                    <a:cxn ang="0">
                      <a:pos x="14" y="2"/>
                    </a:cxn>
                  </a:cxnLst>
                  <a:rect l="0" t="0" r="r" b="b"/>
                  <a:pathLst>
                    <a:path w="14" h="8">
                      <a:moveTo>
                        <a:pt x="14" y="2"/>
                      </a:moveTo>
                      <a:lnTo>
                        <a:pt x="12" y="0"/>
                      </a:lnTo>
                      <a:lnTo>
                        <a:pt x="10" y="0"/>
                      </a:lnTo>
                      <a:lnTo>
                        <a:pt x="8" y="0"/>
                      </a:lnTo>
                      <a:lnTo>
                        <a:pt x="6" y="0"/>
                      </a:lnTo>
                      <a:lnTo>
                        <a:pt x="4" y="2"/>
                      </a:lnTo>
                      <a:lnTo>
                        <a:pt x="2" y="2"/>
                      </a:lnTo>
                      <a:lnTo>
                        <a:pt x="2" y="4"/>
                      </a:lnTo>
                      <a:lnTo>
                        <a:pt x="0" y="4"/>
                      </a:lnTo>
                      <a:lnTo>
                        <a:pt x="4" y="4"/>
                      </a:lnTo>
                      <a:lnTo>
                        <a:pt x="6" y="6"/>
                      </a:lnTo>
                      <a:lnTo>
                        <a:pt x="8" y="6"/>
                      </a:lnTo>
                      <a:lnTo>
                        <a:pt x="10" y="8"/>
                      </a:lnTo>
                      <a:lnTo>
                        <a:pt x="14"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grpSp>
        <p:grpSp>
          <p:nvGrpSpPr>
            <p:cNvPr id="8" name="Group 7">
              <a:extLst>
                <a:ext uri="{FF2B5EF4-FFF2-40B4-BE49-F238E27FC236}">
                  <a16:creationId xmlns:a16="http://schemas.microsoft.com/office/drawing/2014/main" id="{EEAFC110-24F2-4D95-BEAC-74423C9923BA}"/>
                </a:ext>
              </a:extLst>
            </p:cNvPr>
            <p:cNvGrpSpPr/>
            <p:nvPr/>
          </p:nvGrpSpPr>
          <p:grpSpPr>
            <a:xfrm>
              <a:off x="587907" y="1646617"/>
              <a:ext cx="8484904" cy="4457570"/>
              <a:chOff x="587907" y="1646617"/>
              <a:chExt cx="8484904" cy="4457570"/>
            </a:xfrm>
            <a:grpFill/>
          </p:grpSpPr>
          <p:sp>
            <p:nvSpPr>
              <p:cNvPr id="9" name="Freeform 51">
                <a:extLst>
                  <a:ext uri="{FF2B5EF4-FFF2-40B4-BE49-F238E27FC236}">
                    <a16:creationId xmlns:a16="http://schemas.microsoft.com/office/drawing/2014/main" id="{235397AB-B5EE-4A6D-93E5-DDFC964877D2}"/>
                  </a:ext>
                </a:extLst>
              </p:cNvPr>
              <p:cNvSpPr>
                <a:spLocks noChangeAspect="1"/>
              </p:cNvSpPr>
              <p:nvPr/>
            </p:nvSpPr>
            <p:spPr bwMode="auto">
              <a:xfrm>
                <a:off x="2980453" y="2536038"/>
                <a:ext cx="167725" cy="160444"/>
              </a:xfrm>
              <a:custGeom>
                <a:avLst/>
                <a:gdLst/>
                <a:ahLst/>
                <a:cxnLst>
                  <a:cxn ang="0">
                    <a:pos x="68" y="2"/>
                  </a:cxn>
                  <a:cxn ang="0">
                    <a:pos x="80" y="2"/>
                  </a:cxn>
                  <a:cxn ang="0">
                    <a:pos x="80" y="6"/>
                  </a:cxn>
                  <a:cxn ang="0">
                    <a:pos x="74" y="10"/>
                  </a:cxn>
                  <a:cxn ang="0">
                    <a:pos x="72" y="18"/>
                  </a:cxn>
                  <a:cxn ang="0">
                    <a:pos x="62" y="24"/>
                  </a:cxn>
                  <a:cxn ang="0">
                    <a:pos x="56" y="28"/>
                  </a:cxn>
                  <a:cxn ang="0">
                    <a:pos x="50" y="36"/>
                  </a:cxn>
                  <a:cxn ang="0">
                    <a:pos x="50" y="42"/>
                  </a:cxn>
                  <a:cxn ang="0">
                    <a:pos x="56" y="38"/>
                  </a:cxn>
                  <a:cxn ang="0">
                    <a:pos x="60" y="32"/>
                  </a:cxn>
                  <a:cxn ang="0">
                    <a:pos x="62" y="26"/>
                  </a:cxn>
                  <a:cxn ang="0">
                    <a:pos x="68" y="30"/>
                  </a:cxn>
                  <a:cxn ang="0">
                    <a:pos x="72" y="32"/>
                  </a:cxn>
                  <a:cxn ang="0">
                    <a:pos x="70" y="40"/>
                  </a:cxn>
                  <a:cxn ang="0">
                    <a:pos x="76" y="40"/>
                  </a:cxn>
                  <a:cxn ang="0">
                    <a:pos x="78" y="44"/>
                  </a:cxn>
                  <a:cxn ang="0">
                    <a:pos x="84" y="44"/>
                  </a:cxn>
                  <a:cxn ang="0">
                    <a:pos x="92" y="40"/>
                  </a:cxn>
                  <a:cxn ang="0">
                    <a:pos x="96" y="42"/>
                  </a:cxn>
                  <a:cxn ang="0">
                    <a:pos x="94" y="44"/>
                  </a:cxn>
                  <a:cxn ang="0">
                    <a:pos x="90" y="50"/>
                  </a:cxn>
                  <a:cxn ang="0">
                    <a:pos x="98" y="50"/>
                  </a:cxn>
                  <a:cxn ang="0">
                    <a:pos x="90" y="64"/>
                  </a:cxn>
                  <a:cxn ang="0">
                    <a:pos x="88" y="70"/>
                  </a:cxn>
                  <a:cxn ang="0">
                    <a:pos x="92" y="70"/>
                  </a:cxn>
                  <a:cxn ang="0">
                    <a:pos x="86" y="74"/>
                  </a:cxn>
                  <a:cxn ang="0">
                    <a:pos x="92" y="74"/>
                  </a:cxn>
                  <a:cxn ang="0">
                    <a:pos x="98" y="72"/>
                  </a:cxn>
                  <a:cxn ang="0">
                    <a:pos x="102" y="76"/>
                  </a:cxn>
                  <a:cxn ang="0">
                    <a:pos x="96" y="82"/>
                  </a:cxn>
                  <a:cxn ang="0">
                    <a:pos x="88" y="90"/>
                  </a:cxn>
                  <a:cxn ang="0">
                    <a:pos x="80" y="92"/>
                  </a:cxn>
                  <a:cxn ang="0">
                    <a:pos x="76" y="88"/>
                  </a:cxn>
                  <a:cxn ang="0">
                    <a:pos x="80" y="84"/>
                  </a:cxn>
                  <a:cxn ang="0">
                    <a:pos x="72" y="86"/>
                  </a:cxn>
                  <a:cxn ang="0">
                    <a:pos x="68" y="84"/>
                  </a:cxn>
                  <a:cxn ang="0">
                    <a:pos x="58" y="86"/>
                  </a:cxn>
                  <a:cxn ang="0">
                    <a:pos x="52" y="86"/>
                  </a:cxn>
                  <a:cxn ang="0">
                    <a:pos x="46" y="84"/>
                  </a:cxn>
                  <a:cxn ang="0">
                    <a:pos x="52" y="82"/>
                  </a:cxn>
                  <a:cxn ang="0">
                    <a:pos x="56" y="80"/>
                  </a:cxn>
                  <a:cxn ang="0">
                    <a:pos x="52" y="76"/>
                  </a:cxn>
                  <a:cxn ang="0">
                    <a:pos x="34" y="72"/>
                  </a:cxn>
                  <a:cxn ang="0">
                    <a:pos x="20" y="70"/>
                  </a:cxn>
                  <a:cxn ang="0">
                    <a:pos x="16" y="72"/>
                  </a:cxn>
                  <a:cxn ang="0">
                    <a:pos x="2" y="70"/>
                  </a:cxn>
                  <a:cxn ang="0">
                    <a:pos x="6" y="66"/>
                  </a:cxn>
                  <a:cxn ang="0">
                    <a:pos x="8" y="66"/>
                  </a:cxn>
                  <a:cxn ang="0">
                    <a:pos x="0" y="62"/>
                  </a:cxn>
                  <a:cxn ang="0">
                    <a:pos x="8" y="58"/>
                  </a:cxn>
                  <a:cxn ang="0">
                    <a:pos x="16" y="54"/>
                  </a:cxn>
                  <a:cxn ang="0">
                    <a:pos x="30" y="40"/>
                  </a:cxn>
                  <a:cxn ang="0">
                    <a:pos x="36" y="36"/>
                  </a:cxn>
                  <a:cxn ang="0">
                    <a:pos x="48" y="24"/>
                  </a:cxn>
                  <a:cxn ang="0">
                    <a:pos x="62" y="6"/>
                  </a:cxn>
                </a:cxnLst>
                <a:rect l="0" t="0" r="r" b="b"/>
                <a:pathLst>
                  <a:path w="102" h="92">
                    <a:moveTo>
                      <a:pt x="62" y="6"/>
                    </a:moveTo>
                    <a:lnTo>
                      <a:pt x="62" y="6"/>
                    </a:lnTo>
                    <a:lnTo>
                      <a:pt x="64" y="4"/>
                    </a:lnTo>
                    <a:lnTo>
                      <a:pt x="66" y="4"/>
                    </a:lnTo>
                    <a:lnTo>
                      <a:pt x="68" y="2"/>
                    </a:lnTo>
                    <a:lnTo>
                      <a:pt x="70" y="2"/>
                    </a:lnTo>
                    <a:lnTo>
                      <a:pt x="74" y="2"/>
                    </a:lnTo>
                    <a:lnTo>
                      <a:pt x="76" y="0"/>
                    </a:lnTo>
                    <a:lnTo>
                      <a:pt x="78" y="2"/>
                    </a:lnTo>
                    <a:lnTo>
                      <a:pt x="80" y="2"/>
                    </a:lnTo>
                    <a:lnTo>
                      <a:pt x="82" y="2"/>
                    </a:lnTo>
                    <a:lnTo>
                      <a:pt x="82" y="4"/>
                    </a:lnTo>
                    <a:lnTo>
                      <a:pt x="82" y="6"/>
                    </a:lnTo>
                    <a:lnTo>
                      <a:pt x="80" y="6"/>
                    </a:lnTo>
                    <a:lnTo>
                      <a:pt x="78" y="8"/>
                    </a:lnTo>
                    <a:lnTo>
                      <a:pt x="76" y="8"/>
                    </a:lnTo>
                    <a:lnTo>
                      <a:pt x="76" y="10"/>
                    </a:lnTo>
                    <a:lnTo>
                      <a:pt x="74" y="10"/>
                    </a:lnTo>
                    <a:lnTo>
                      <a:pt x="74" y="12"/>
                    </a:lnTo>
                    <a:lnTo>
                      <a:pt x="74" y="14"/>
                    </a:lnTo>
                    <a:lnTo>
                      <a:pt x="72" y="18"/>
                    </a:lnTo>
                    <a:lnTo>
                      <a:pt x="70" y="20"/>
                    </a:lnTo>
                    <a:lnTo>
                      <a:pt x="68" y="20"/>
                    </a:lnTo>
                    <a:lnTo>
                      <a:pt x="68" y="22"/>
                    </a:lnTo>
                    <a:lnTo>
                      <a:pt x="66" y="22"/>
                    </a:lnTo>
                    <a:lnTo>
                      <a:pt x="64" y="24"/>
                    </a:lnTo>
                    <a:lnTo>
                      <a:pt x="62" y="24"/>
                    </a:lnTo>
                    <a:lnTo>
                      <a:pt x="60" y="24"/>
                    </a:lnTo>
                    <a:lnTo>
                      <a:pt x="58" y="26"/>
                    </a:lnTo>
                    <a:lnTo>
                      <a:pt x="56" y="28"/>
                    </a:lnTo>
                    <a:lnTo>
                      <a:pt x="54" y="32"/>
                    </a:lnTo>
                    <a:lnTo>
                      <a:pt x="52" y="32"/>
                    </a:lnTo>
                    <a:lnTo>
                      <a:pt x="52" y="34"/>
                    </a:lnTo>
                    <a:lnTo>
                      <a:pt x="50" y="36"/>
                    </a:lnTo>
                    <a:lnTo>
                      <a:pt x="50" y="38"/>
                    </a:lnTo>
                    <a:lnTo>
                      <a:pt x="50" y="40"/>
                    </a:lnTo>
                    <a:lnTo>
                      <a:pt x="50" y="42"/>
                    </a:lnTo>
                    <a:lnTo>
                      <a:pt x="52" y="40"/>
                    </a:lnTo>
                    <a:lnTo>
                      <a:pt x="54" y="40"/>
                    </a:lnTo>
                    <a:lnTo>
                      <a:pt x="54" y="38"/>
                    </a:lnTo>
                    <a:lnTo>
                      <a:pt x="56" y="38"/>
                    </a:lnTo>
                    <a:lnTo>
                      <a:pt x="58" y="36"/>
                    </a:lnTo>
                    <a:lnTo>
                      <a:pt x="58" y="34"/>
                    </a:lnTo>
                    <a:lnTo>
                      <a:pt x="60" y="32"/>
                    </a:lnTo>
                    <a:lnTo>
                      <a:pt x="60" y="30"/>
                    </a:lnTo>
                    <a:lnTo>
                      <a:pt x="62" y="28"/>
                    </a:lnTo>
                    <a:lnTo>
                      <a:pt x="62" y="26"/>
                    </a:lnTo>
                    <a:lnTo>
                      <a:pt x="64" y="28"/>
                    </a:lnTo>
                    <a:lnTo>
                      <a:pt x="66" y="28"/>
                    </a:lnTo>
                    <a:lnTo>
                      <a:pt x="66" y="30"/>
                    </a:lnTo>
                    <a:lnTo>
                      <a:pt x="68" y="30"/>
                    </a:lnTo>
                    <a:lnTo>
                      <a:pt x="68" y="32"/>
                    </a:lnTo>
                    <a:lnTo>
                      <a:pt x="70" y="32"/>
                    </a:lnTo>
                    <a:lnTo>
                      <a:pt x="72" y="32"/>
                    </a:lnTo>
                    <a:lnTo>
                      <a:pt x="72" y="34"/>
                    </a:lnTo>
                    <a:lnTo>
                      <a:pt x="72" y="36"/>
                    </a:lnTo>
                    <a:lnTo>
                      <a:pt x="70" y="38"/>
                    </a:lnTo>
                    <a:lnTo>
                      <a:pt x="70" y="40"/>
                    </a:lnTo>
                    <a:lnTo>
                      <a:pt x="72" y="40"/>
                    </a:lnTo>
                    <a:lnTo>
                      <a:pt x="74" y="40"/>
                    </a:lnTo>
                    <a:lnTo>
                      <a:pt x="76" y="40"/>
                    </a:lnTo>
                    <a:lnTo>
                      <a:pt x="78" y="40"/>
                    </a:lnTo>
                    <a:lnTo>
                      <a:pt x="78" y="42"/>
                    </a:lnTo>
                    <a:lnTo>
                      <a:pt x="78" y="44"/>
                    </a:lnTo>
                    <a:lnTo>
                      <a:pt x="80" y="46"/>
                    </a:lnTo>
                    <a:lnTo>
                      <a:pt x="82" y="44"/>
                    </a:lnTo>
                    <a:lnTo>
                      <a:pt x="84" y="44"/>
                    </a:lnTo>
                    <a:lnTo>
                      <a:pt x="86" y="44"/>
                    </a:lnTo>
                    <a:lnTo>
                      <a:pt x="86" y="42"/>
                    </a:lnTo>
                    <a:lnTo>
                      <a:pt x="88" y="42"/>
                    </a:lnTo>
                    <a:lnTo>
                      <a:pt x="90" y="40"/>
                    </a:lnTo>
                    <a:lnTo>
                      <a:pt x="92" y="40"/>
                    </a:lnTo>
                    <a:lnTo>
                      <a:pt x="94" y="42"/>
                    </a:lnTo>
                    <a:lnTo>
                      <a:pt x="96" y="42"/>
                    </a:lnTo>
                    <a:lnTo>
                      <a:pt x="96" y="44"/>
                    </a:lnTo>
                    <a:lnTo>
                      <a:pt x="94" y="44"/>
                    </a:lnTo>
                    <a:lnTo>
                      <a:pt x="92" y="46"/>
                    </a:lnTo>
                    <a:lnTo>
                      <a:pt x="92" y="48"/>
                    </a:lnTo>
                    <a:lnTo>
                      <a:pt x="90" y="48"/>
                    </a:lnTo>
                    <a:lnTo>
                      <a:pt x="90" y="50"/>
                    </a:lnTo>
                    <a:lnTo>
                      <a:pt x="92" y="50"/>
                    </a:lnTo>
                    <a:lnTo>
                      <a:pt x="96" y="50"/>
                    </a:lnTo>
                    <a:lnTo>
                      <a:pt x="98" y="50"/>
                    </a:lnTo>
                    <a:lnTo>
                      <a:pt x="98" y="52"/>
                    </a:lnTo>
                    <a:lnTo>
                      <a:pt x="96" y="54"/>
                    </a:lnTo>
                    <a:lnTo>
                      <a:pt x="94" y="56"/>
                    </a:lnTo>
                    <a:lnTo>
                      <a:pt x="92" y="60"/>
                    </a:lnTo>
                    <a:lnTo>
                      <a:pt x="90" y="64"/>
                    </a:lnTo>
                    <a:lnTo>
                      <a:pt x="88" y="68"/>
                    </a:lnTo>
                    <a:lnTo>
                      <a:pt x="86" y="68"/>
                    </a:lnTo>
                    <a:lnTo>
                      <a:pt x="84" y="68"/>
                    </a:lnTo>
                    <a:lnTo>
                      <a:pt x="84" y="70"/>
                    </a:lnTo>
                    <a:lnTo>
                      <a:pt x="88" y="70"/>
                    </a:lnTo>
                    <a:lnTo>
                      <a:pt x="90" y="70"/>
                    </a:lnTo>
                    <a:lnTo>
                      <a:pt x="92" y="70"/>
                    </a:lnTo>
                    <a:lnTo>
                      <a:pt x="90" y="72"/>
                    </a:lnTo>
                    <a:lnTo>
                      <a:pt x="88" y="72"/>
                    </a:lnTo>
                    <a:lnTo>
                      <a:pt x="88" y="74"/>
                    </a:lnTo>
                    <a:lnTo>
                      <a:pt x="86" y="74"/>
                    </a:lnTo>
                    <a:lnTo>
                      <a:pt x="88" y="74"/>
                    </a:lnTo>
                    <a:lnTo>
                      <a:pt x="90" y="74"/>
                    </a:lnTo>
                    <a:lnTo>
                      <a:pt x="92" y="74"/>
                    </a:lnTo>
                    <a:lnTo>
                      <a:pt x="94" y="74"/>
                    </a:lnTo>
                    <a:lnTo>
                      <a:pt x="96" y="72"/>
                    </a:lnTo>
                    <a:lnTo>
                      <a:pt x="98" y="72"/>
                    </a:lnTo>
                    <a:lnTo>
                      <a:pt x="100" y="72"/>
                    </a:lnTo>
                    <a:lnTo>
                      <a:pt x="100" y="74"/>
                    </a:lnTo>
                    <a:lnTo>
                      <a:pt x="102" y="74"/>
                    </a:lnTo>
                    <a:lnTo>
                      <a:pt x="102" y="76"/>
                    </a:lnTo>
                    <a:lnTo>
                      <a:pt x="102" y="78"/>
                    </a:lnTo>
                    <a:lnTo>
                      <a:pt x="98" y="80"/>
                    </a:lnTo>
                    <a:lnTo>
                      <a:pt x="96" y="82"/>
                    </a:lnTo>
                    <a:lnTo>
                      <a:pt x="94" y="84"/>
                    </a:lnTo>
                    <a:lnTo>
                      <a:pt x="92" y="86"/>
                    </a:lnTo>
                    <a:lnTo>
                      <a:pt x="92" y="88"/>
                    </a:lnTo>
                    <a:lnTo>
                      <a:pt x="90" y="88"/>
                    </a:lnTo>
                    <a:lnTo>
                      <a:pt x="88" y="90"/>
                    </a:lnTo>
                    <a:lnTo>
                      <a:pt x="86" y="92"/>
                    </a:lnTo>
                    <a:lnTo>
                      <a:pt x="82" y="92"/>
                    </a:lnTo>
                    <a:lnTo>
                      <a:pt x="80" y="92"/>
                    </a:lnTo>
                    <a:lnTo>
                      <a:pt x="78" y="92"/>
                    </a:lnTo>
                    <a:lnTo>
                      <a:pt x="76" y="90"/>
                    </a:lnTo>
                    <a:lnTo>
                      <a:pt x="74" y="90"/>
                    </a:lnTo>
                    <a:lnTo>
                      <a:pt x="76" y="88"/>
                    </a:lnTo>
                    <a:lnTo>
                      <a:pt x="78" y="88"/>
                    </a:lnTo>
                    <a:lnTo>
                      <a:pt x="80" y="86"/>
                    </a:lnTo>
                    <a:lnTo>
                      <a:pt x="80" y="84"/>
                    </a:lnTo>
                    <a:lnTo>
                      <a:pt x="78" y="86"/>
                    </a:lnTo>
                    <a:lnTo>
                      <a:pt x="76" y="86"/>
                    </a:lnTo>
                    <a:lnTo>
                      <a:pt x="74" y="86"/>
                    </a:lnTo>
                    <a:lnTo>
                      <a:pt x="72" y="86"/>
                    </a:lnTo>
                    <a:lnTo>
                      <a:pt x="72" y="84"/>
                    </a:lnTo>
                    <a:lnTo>
                      <a:pt x="70" y="84"/>
                    </a:lnTo>
                    <a:lnTo>
                      <a:pt x="68" y="84"/>
                    </a:lnTo>
                    <a:lnTo>
                      <a:pt x="66" y="84"/>
                    </a:lnTo>
                    <a:lnTo>
                      <a:pt x="64" y="84"/>
                    </a:lnTo>
                    <a:lnTo>
                      <a:pt x="62" y="86"/>
                    </a:lnTo>
                    <a:lnTo>
                      <a:pt x="60" y="86"/>
                    </a:lnTo>
                    <a:lnTo>
                      <a:pt x="58" y="86"/>
                    </a:lnTo>
                    <a:lnTo>
                      <a:pt x="56" y="86"/>
                    </a:lnTo>
                    <a:lnTo>
                      <a:pt x="54" y="86"/>
                    </a:lnTo>
                    <a:lnTo>
                      <a:pt x="52" y="86"/>
                    </a:lnTo>
                    <a:lnTo>
                      <a:pt x="48" y="86"/>
                    </a:lnTo>
                    <a:lnTo>
                      <a:pt x="48" y="84"/>
                    </a:lnTo>
                    <a:lnTo>
                      <a:pt x="46" y="84"/>
                    </a:lnTo>
                    <a:lnTo>
                      <a:pt x="44" y="84"/>
                    </a:lnTo>
                    <a:lnTo>
                      <a:pt x="48" y="82"/>
                    </a:lnTo>
                    <a:lnTo>
                      <a:pt x="50" y="82"/>
                    </a:lnTo>
                    <a:lnTo>
                      <a:pt x="52" y="82"/>
                    </a:lnTo>
                    <a:lnTo>
                      <a:pt x="54" y="80"/>
                    </a:lnTo>
                    <a:lnTo>
                      <a:pt x="56" y="80"/>
                    </a:lnTo>
                    <a:lnTo>
                      <a:pt x="56" y="78"/>
                    </a:lnTo>
                    <a:lnTo>
                      <a:pt x="54" y="76"/>
                    </a:lnTo>
                    <a:lnTo>
                      <a:pt x="52" y="76"/>
                    </a:lnTo>
                    <a:lnTo>
                      <a:pt x="50" y="76"/>
                    </a:lnTo>
                    <a:lnTo>
                      <a:pt x="48" y="76"/>
                    </a:lnTo>
                    <a:lnTo>
                      <a:pt x="46" y="76"/>
                    </a:lnTo>
                    <a:lnTo>
                      <a:pt x="44" y="76"/>
                    </a:lnTo>
                    <a:lnTo>
                      <a:pt x="40" y="74"/>
                    </a:lnTo>
                    <a:lnTo>
                      <a:pt x="34" y="72"/>
                    </a:lnTo>
                    <a:lnTo>
                      <a:pt x="30" y="72"/>
                    </a:lnTo>
                    <a:lnTo>
                      <a:pt x="26" y="72"/>
                    </a:lnTo>
                    <a:lnTo>
                      <a:pt x="24" y="70"/>
                    </a:lnTo>
                    <a:lnTo>
                      <a:pt x="22" y="70"/>
                    </a:lnTo>
                    <a:lnTo>
                      <a:pt x="20" y="70"/>
                    </a:lnTo>
                    <a:lnTo>
                      <a:pt x="18" y="70"/>
                    </a:lnTo>
                    <a:lnTo>
                      <a:pt x="16" y="72"/>
                    </a:lnTo>
                    <a:lnTo>
                      <a:pt x="14" y="72"/>
                    </a:lnTo>
                    <a:lnTo>
                      <a:pt x="10" y="72"/>
                    </a:lnTo>
                    <a:lnTo>
                      <a:pt x="6" y="72"/>
                    </a:lnTo>
                    <a:lnTo>
                      <a:pt x="4" y="72"/>
                    </a:lnTo>
                    <a:lnTo>
                      <a:pt x="2" y="70"/>
                    </a:lnTo>
                    <a:lnTo>
                      <a:pt x="2" y="68"/>
                    </a:lnTo>
                    <a:lnTo>
                      <a:pt x="4" y="68"/>
                    </a:lnTo>
                    <a:lnTo>
                      <a:pt x="6" y="66"/>
                    </a:lnTo>
                    <a:lnTo>
                      <a:pt x="8" y="66"/>
                    </a:lnTo>
                    <a:lnTo>
                      <a:pt x="10" y="66"/>
                    </a:lnTo>
                    <a:lnTo>
                      <a:pt x="8" y="66"/>
                    </a:lnTo>
                    <a:lnTo>
                      <a:pt x="6" y="66"/>
                    </a:lnTo>
                    <a:lnTo>
                      <a:pt x="4" y="64"/>
                    </a:lnTo>
                    <a:lnTo>
                      <a:pt x="2" y="64"/>
                    </a:lnTo>
                    <a:lnTo>
                      <a:pt x="0" y="64"/>
                    </a:lnTo>
                    <a:lnTo>
                      <a:pt x="0" y="62"/>
                    </a:lnTo>
                    <a:lnTo>
                      <a:pt x="2" y="62"/>
                    </a:lnTo>
                    <a:lnTo>
                      <a:pt x="4" y="60"/>
                    </a:lnTo>
                    <a:lnTo>
                      <a:pt x="6" y="58"/>
                    </a:lnTo>
                    <a:lnTo>
                      <a:pt x="8" y="58"/>
                    </a:lnTo>
                    <a:lnTo>
                      <a:pt x="12" y="56"/>
                    </a:lnTo>
                    <a:lnTo>
                      <a:pt x="14" y="54"/>
                    </a:lnTo>
                    <a:lnTo>
                      <a:pt x="16" y="54"/>
                    </a:lnTo>
                    <a:lnTo>
                      <a:pt x="20" y="50"/>
                    </a:lnTo>
                    <a:lnTo>
                      <a:pt x="22" y="48"/>
                    </a:lnTo>
                    <a:lnTo>
                      <a:pt x="24" y="44"/>
                    </a:lnTo>
                    <a:lnTo>
                      <a:pt x="28" y="44"/>
                    </a:lnTo>
                    <a:lnTo>
                      <a:pt x="30" y="42"/>
                    </a:lnTo>
                    <a:lnTo>
                      <a:pt x="30" y="40"/>
                    </a:lnTo>
                    <a:lnTo>
                      <a:pt x="32" y="40"/>
                    </a:lnTo>
                    <a:lnTo>
                      <a:pt x="34" y="38"/>
                    </a:lnTo>
                    <a:lnTo>
                      <a:pt x="34" y="36"/>
                    </a:lnTo>
                    <a:lnTo>
                      <a:pt x="36" y="36"/>
                    </a:lnTo>
                    <a:lnTo>
                      <a:pt x="38" y="34"/>
                    </a:lnTo>
                    <a:lnTo>
                      <a:pt x="40" y="32"/>
                    </a:lnTo>
                    <a:lnTo>
                      <a:pt x="42" y="30"/>
                    </a:lnTo>
                    <a:lnTo>
                      <a:pt x="44" y="28"/>
                    </a:lnTo>
                    <a:lnTo>
                      <a:pt x="46" y="26"/>
                    </a:lnTo>
                    <a:lnTo>
                      <a:pt x="48" y="24"/>
                    </a:lnTo>
                    <a:lnTo>
                      <a:pt x="48" y="22"/>
                    </a:lnTo>
                    <a:lnTo>
                      <a:pt x="62"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 name="Freeform 11">
                <a:extLst>
                  <a:ext uri="{FF2B5EF4-FFF2-40B4-BE49-F238E27FC236}">
                    <a16:creationId xmlns:a16="http://schemas.microsoft.com/office/drawing/2014/main" id="{4C7088B9-74CE-47E3-BC88-7200B329F18A}"/>
                  </a:ext>
                </a:extLst>
              </p:cNvPr>
              <p:cNvSpPr>
                <a:spLocks noChangeAspect="1"/>
              </p:cNvSpPr>
              <p:nvPr/>
            </p:nvSpPr>
            <p:spPr bwMode="auto">
              <a:xfrm>
                <a:off x="1308137" y="3162121"/>
                <a:ext cx="731740" cy="606899"/>
              </a:xfrm>
              <a:custGeom>
                <a:avLst/>
                <a:gdLst/>
                <a:ahLst/>
                <a:cxnLst>
                  <a:cxn ang="0">
                    <a:pos x="360" y="318"/>
                  </a:cxn>
                  <a:cxn ang="0">
                    <a:pos x="370" y="310"/>
                  </a:cxn>
                  <a:cxn ang="0">
                    <a:pos x="358" y="300"/>
                  </a:cxn>
                  <a:cxn ang="0">
                    <a:pos x="364" y="286"/>
                  </a:cxn>
                  <a:cxn ang="0">
                    <a:pos x="396" y="280"/>
                  </a:cxn>
                  <a:cxn ang="0">
                    <a:pos x="408" y="276"/>
                  </a:cxn>
                  <a:cxn ang="0">
                    <a:pos x="414" y="274"/>
                  </a:cxn>
                  <a:cxn ang="0">
                    <a:pos x="424" y="256"/>
                  </a:cxn>
                  <a:cxn ang="0">
                    <a:pos x="428" y="246"/>
                  </a:cxn>
                  <a:cxn ang="0">
                    <a:pos x="444" y="214"/>
                  </a:cxn>
                  <a:cxn ang="0">
                    <a:pos x="404" y="216"/>
                  </a:cxn>
                  <a:cxn ang="0">
                    <a:pos x="378" y="244"/>
                  </a:cxn>
                  <a:cxn ang="0">
                    <a:pos x="362" y="264"/>
                  </a:cxn>
                  <a:cxn ang="0">
                    <a:pos x="320" y="274"/>
                  </a:cxn>
                  <a:cxn ang="0">
                    <a:pos x="286" y="266"/>
                  </a:cxn>
                  <a:cxn ang="0">
                    <a:pos x="272" y="236"/>
                  </a:cxn>
                  <a:cxn ang="0">
                    <a:pos x="264" y="208"/>
                  </a:cxn>
                  <a:cxn ang="0">
                    <a:pos x="270" y="172"/>
                  </a:cxn>
                  <a:cxn ang="0">
                    <a:pos x="274" y="154"/>
                  </a:cxn>
                  <a:cxn ang="0">
                    <a:pos x="288" y="130"/>
                  </a:cxn>
                  <a:cxn ang="0">
                    <a:pos x="270" y="124"/>
                  </a:cxn>
                  <a:cxn ang="0">
                    <a:pos x="256" y="110"/>
                  </a:cxn>
                  <a:cxn ang="0">
                    <a:pos x="250" y="86"/>
                  </a:cxn>
                  <a:cxn ang="0">
                    <a:pos x="236" y="54"/>
                  </a:cxn>
                  <a:cxn ang="0">
                    <a:pos x="222" y="54"/>
                  </a:cxn>
                  <a:cxn ang="0">
                    <a:pos x="186" y="58"/>
                  </a:cxn>
                  <a:cxn ang="0">
                    <a:pos x="176" y="32"/>
                  </a:cxn>
                  <a:cxn ang="0">
                    <a:pos x="160" y="16"/>
                  </a:cxn>
                  <a:cxn ang="0">
                    <a:pos x="136" y="26"/>
                  </a:cxn>
                  <a:cxn ang="0">
                    <a:pos x="80" y="22"/>
                  </a:cxn>
                  <a:cxn ang="0">
                    <a:pos x="36" y="0"/>
                  </a:cxn>
                  <a:cxn ang="0">
                    <a:pos x="0" y="8"/>
                  </a:cxn>
                  <a:cxn ang="0">
                    <a:pos x="2" y="28"/>
                  </a:cxn>
                  <a:cxn ang="0">
                    <a:pos x="6" y="42"/>
                  </a:cxn>
                  <a:cxn ang="0">
                    <a:pos x="16" y="64"/>
                  </a:cxn>
                  <a:cxn ang="0">
                    <a:pos x="20" y="94"/>
                  </a:cxn>
                  <a:cxn ang="0">
                    <a:pos x="4" y="94"/>
                  </a:cxn>
                  <a:cxn ang="0">
                    <a:pos x="18" y="108"/>
                  </a:cxn>
                  <a:cxn ang="0">
                    <a:pos x="38" y="126"/>
                  </a:cxn>
                  <a:cxn ang="0">
                    <a:pos x="62" y="176"/>
                  </a:cxn>
                  <a:cxn ang="0">
                    <a:pos x="74" y="178"/>
                  </a:cxn>
                  <a:cxn ang="0">
                    <a:pos x="58" y="156"/>
                  </a:cxn>
                  <a:cxn ang="0">
                    <a:pos x="54" y="130"/>
                  </a:cxn>
                  <a:cxn ang="0">
                    <a:pos x="48" y="104"/>
                  </a:cxn>
                  <a:cxn ang="0">
                    <a:pos x="42" y="80"/>
                  </a:cxn>
                  <a:cxn ang="0">
                    <a:pos x="26" y="50"/>
                  </a:cxn>
                  <a:cxn ang="0">
                    <a:pos x="30" y="18"/>
                  </a:cxn>
                  <a:cxn ang="0">
                    <a:pos x="48" y="22"/>
                  </a:cxn>
                  <a:cxn ang="0">
                    <a:pos x="56" y="58"/>
                  </a:cxn>
                  <a:cxn ang="0">
                    <a:pos x="70" y="92"/>
                  </a:cxn>
                  <a:cxn ang="0">
                    <a:pos x="84" y="110"/>
                  </a:cxn>
                  <a:cxn ang="0">
                    <a:pos x="92" y="124"/>
                  </a:cxn>
                  <a:cxn ang="0">
                    <a:pos x="94" y="138"/>
                  </a:cxn>
                  <a:cxn ang="0">
                    <a:pos x="102" y="154"/>
                  </a:cxn>
                  <a:cxn ang="0">
                    <a:pos x="122" y="174"/>
                  </a:cxn>
                  <a:cxn ang="0">
                    <a:pos x="134" y="220"/>
                  </a:cxn>
                  <a:cxn ang="0">
                    <a:pos x="126" y="244"/>
                  </a:cxn>
                  <a:cxn ang="0">
                    <a:pos x="164" y="280"/>
                  </a:cxn>
                  <a:cxn ang="0">
                    <a:pos x="226" y="306"/>
                  </a:cxn>
                  <a:cxn ang="0">
                    <a:pos x="250" y="320"/>
                  </a:cxn>
                  <a:cxn ang="0">
                    <a:pos x="292" y="316"/>
                  </a:cxn>
                  <a:cxn ang="0">
                    <a:pos x="332" y="346"/>
                  </a:cxn>
                </a:cxnLst>
                <a:rect l="0" t="0" r="r" b="b"/>
                <a:pathLst>
                  <a:path w="444" h="348">
                    <a:moveTo>
                      <a:pt x="340" y="342"/>
                    </a:moveTo>
                    <a:lnTo>
                      <a:pt x="340" y="338"/>
                    </a:lnTo>
                    <a:lnTo>
                      <a:pt x="340" y="336"/>
                    </a:lnTo>
                    <a:lnTo>
                      <a:pt x="340" y="334"/>
                    </a:lnTo>
                    <a:lnTo>
                      <a:pt x="340" y="332"/>
                    </a:lnTo>
                    <a:lnTo>
                      <a:pt x="340" y="330"/>
                    </a:lnTo>
                    <a:lnTo>
                      <a:pt x="340" y="328"/>
                    </a:lnTo>
                    <a:lnTo>
                      <a:pt x="342" y="326"/>
                    </a:lnTo>
                    <a:lnTo>
                      <a:pt x="342" y="324"/>
                    </a:lnTo>
                    <a:lnTo>
                      <a:pt x="344" y="322"/>
                    </a:lnTo>
                    <a:lnTo>
                      <a:pt x="344" y="320"/>
                    </a:lnTo>
                    <a:lnTo>
                      <a:pt x="346" y="318"/>
                    </a:lnTo>
                    <a:lnTo>
                      <a:pt x="350" y="318"/>
                    </a:lnTo>
                    <a:lnTo>
                      <a:pt x="354" y="318"/>
                    </a:lnTo>
                    <a:lnTo>
                      <a:pt x="356" y="318"/>
                    </a:lnTo>
                    <a:lnTo>
                      <a:pt x="358" y="318"/>
                    </a:lnTo>
                    <a:lnTo>
                      <a:pt x="360" y="318"/>
                    </a:lnTo>
                    <a:lnTo>
                      <a:pt x="362" y="318"/>
                    </a:lnTo>
                    <a:lnTo>
                      <a:pt x="364" y="318"/>
                    </a:lnTo>
                    <a:lnTo>
                      <a:pt x="366" y="318"/>
                    </a:lnTo>
                    <a:lnTo>
                      <a:pt x="366" y="316"/>
                    </a:lnTo>
                    <a:lnTo>
                      <a:pt x="366" y="314"/>
                    </a:lnTo>
                    <a:lnTo>
                      <a:pt x="368" y="314"/>
                    </a:lnTo>
                    <a:lnTo>
                      <a:pt x="370" y="314"/>
                    </a:lnTo>
                    <a:lnTo>
                      <a:pt x="370" y="312"/>
                    </a:lnTo>
                    <a:lnTo>
                      <a:pt x="370" y="310"/>
                    </a:lnTo>
                    <a:lnTo>
                      <a:pt x="368" y="310"/>
                    </a:lnTo>
                    <a:lnTo>
                      <a:pt x="366" y="310"/>
                    </a:lnTo>
                    <a:lnTo>
                      <a:pt x="366" y="308"/>
                    </a:lnTo>
                    <a:lnTo>
                      <a:pt x="366" y="306"/>
                    </a:lnTo>
                    <a:lnTo>
                      <a:pt x="366" y="304"/>
                    </a:lnTo>
                    <a:lnTo>
                      <a:pt x="364" y="304"/>
                    </a:lnTo>
                    <a:lnTo>
                      <a:pt x="362" y="304"/>
                    </a:lnTo>
                    <a:lnTo>
                      <a:pt x="360" y="304"/>
                    </a:lnTo>
                    <a:lnTo>
                      <a:pt x="358" y="302"/>
                    </a:lnTo>
                    <a:lnTo>
                      <a:pt x="358" y="300"/>
                    </a:lnTo>
                    <a:lnTo>
                      <a:pt x="356" y="298"/>
                    </a:lnTo>
                    <a:lnTo>
                      <a:pt x="354" y="296"/>
                    </a:lnTo>
                    <a:lnTo>
                      <a:pt x="356" y="296"/>
                    </a:lnTo>
                    <a:lnTo>
                      <a:pt x="358" y="296"/>
                    </a:lnTo>
                    <a:lnTo>
                      <a:pt x="360" y="296"/>
                    </a:lnTo>
                    <a:lnTo>
                      <a:pt x="362" y="296"/>
                    </a:lnTo>
                    <a:lnTo>
                      <a:pt x="364" y="294"/>
                    </a:lnTo>
                    <a:lnTo>
                      <a:pt x="364" y="292"/>
                    </a:lnTo>
                    <a:lnTo>
                      <a:pt x="364" y="290"/>
                    </a:lnTo>
                    <a:lnTo>
                      <a:pt x="364" y="288"/>
                    </a:lnTo>
                    <a:lnTo>
                      <a:pt x="364" y="286"/>
                    </a:lnTo>
                    <a:lnTo>
                      <a:pt x="364" y="284"/>
                    </a:lnTo>
                    <a:lnTo>
                      <a:pt x="368" y="284"/>
                    </a:lnTo>
                    <a:lnTo>
                      <a:pt x="372" y="284"/>
                    </a:lnTo>
                    <a:lnTo>
                      <a:pt x="378" y="284"/>
                    </a:lnTo>
                    <a:lnTo>
                      <a:pt x="380" y="284"/>
                    </a:lnTo>
                    <a:lnTo>
                      <a:pt x="384" y="284"/>
                    </a:lnTo>
                    <a:lnTo>
                      <a:pt x="386" y="284"/>
                    </a:lnTo>
                    <a:lnTo>
                      <a:pt x="388" y="284"/>
                    </a:lnTo>
                    <a:lnTo>
                      <a:pt x="390" y="284"/>
                    </a:lnTo>
                    <a:lnTo>
                      <a:pt x="392" y="284"/>
                    </a:lnTo>
                    <a:lnTo>
                      <a:pt x="394" y="284"/>
                    </a:lnTo>
                    <a:lnTo>
                      <a:pt x="394" y="282"/>
                    </a:lnTo>
                    <a:lnTo>
                      <a:pt x="394" y="280"/>
                    </a:lnTo>
                    <a:lnTo>
                      <a:pt x="396" y="280"/>
                    </a:lnTo>
                    <a:lnTo>
                      <a:pt x="398" y="282"/>
                    </a:lnTo>
                    <a:lnTo>
                      <a:pt x="400" y="282"/>
                    </a:lnTo>
                    <a:lnTo>
                      <a:pt x="402" y="282"/>
                    </a:lnTo>
                    <a:lnTo>
                      <a:pt x="402" y="280"/>
                    </a:lnTo>
                    <a:lnTo>
                      <a:pt x="404" y="280"/>
                    </a:lnTo>
                    <a:lnTo>
                      <a:pt x="404" y="278"/>
                    </a:lnTo>
                    <a:lnTo>
                      <a:pt x="406" y="276"/>
                    </a:lnTo>
                    <a:lnTo>
                      <a:pt x="406" y="274"/>
                    </a:lnTo>
                    <a:lnTo>
                      <a:pt x="406" y="272"/>
                    </a:lnTo>
                    <a:lnTo>
                      <a:pt x="408" y="274"/>
                    </a:lnTo>
                    <a:lnTo>
                      <a:pt x="408" y="276"/>
                    </a:lnTo>
                    <a:lnTo>
                      <a:pt x="410" y="274"/>
                    </a:lnTo>
                    <a:lnTo>
                      <a:pt x="410" y="272"/>
                    </a:lnTo>
                    <a:lnTo>
                      <a:pt x="412" y="272"/>
                    </a:lnTo>
                    <a:lnTo>
                      <a:pt x="414" y="270"/>
                    </a:lnTo>
                    <a:lnTo>
                      <a:pt x="414" y="268"/>
                    </a:lnTo>
                    <a:lnTo>
                      <a:pt x="416" y="266"/>
                    </a:lnTo>
                    <a:lnTo>
                      <a:pt x="416" y="268"/>
                    </a:lnTo>
                    <a:lnTo>
                      <a:pt x="416" y="270"/>
                    </a:lnTo>
                    <a:lnTo>
                      <a:pt x="414" y="270"/>
                    </a:lnTo>
                    <a:lnTo>
                      <a:pt x="414" y="272"/>
                    </a:lnTo>
                    <a:lnTo>
                      <a:pt x="414" y="274"/>
                    </a:lnTo>
                    <a:lnTo>
                      <a:pt x="416" y="274"/>
                    </a:lnTo>
                    <a:lnTo>
                      <a:pt x="418" y="276"/>
                    </a:lnTo>
                    <a:lnTo>
                      <a:pt x="420" y="276"/>
                    </a:lnTo>
                    <a:lnTo>
                      <a:pt x="420" y="272"/>
                    </a:lnTo>
                    <a:lnTo>
                      <a:pt x="422" y="270"/>
                    </a:lnTo>
                    <a:lnTo>
                      <a:pt x="422" y="268"/>
                    </a:lnTo>
                    <a:lnTo>
                      <a:pt x="422" y="266"/>
                    </a:lnTo>
                    <a:lnTo>
                      <a:pt x="424" y="264"/>
                    </a:lnTo>
                    <a:lnTo>
                      <a:pt x="424" y="262"/>
                    </a:lnTo>
                    <a:lnTo>
                      <a:pt x="424" y="260"/>
                    </a:lnTo>
                    <a:lnTo>
                      <a:pt x="424" y="258"/>
                    </a:lnTo>
                    <a:lnTo>
                      <a:pt x="424" y="256"/>
                    </a:lnTo>
                    <a:lnTo>
                      <a:pt x="422" y="256"/>
                    </a:lnTo>
                    <a:lnTo>
                      <a:pt x="424" y="256"/>
                    </a:lnTo>
                    <a:lnTo>
                      <a:pt x="426" y="256"/>
                    </a:lnTo>
                    <a:lnTo>
                      <a:pt x="428" y="254"/>
                    </a:lnTo>
                    <a:lnTo>
                      <a:pt x="428" y="252"/>
                    </a:lnTo>
                    <a:lnTo>
                      <a:pt x="426" y="252"/>
                    </a:lnTo>
                    <a:lnTo>
                      <a:pt x="424" y="250"/>
                    </a:lnTo>
                    <a:lnTo>
                      <a:pt x="424" y="248"/>
                    </a:lnTo>
                    <a:lnTo>
                      <a:pt x="426" y="248"/>
                    </a:lnTo>
                    <a:lnTo>
                      <a:pt x="426" y="246"/>
                    </a:lnTo>
                    <a:lnTo>
                      <a:pt x="428" y="246"/>
                    </a:lnTo>
                    <a:lnTo>
                      <a:pt x="428" y="244"/>
                    </a:lnTo>
                    <a:lnTo>
                      <a:pt x="428" y="242"/>
                    </a:lnTo>
                    <a:lnTo>
                      <a:pt x="430" y="242"/>
                    </a:lnTo>
                    <a:lnTo>
                      <a:pt x="430" y="240"/>
                    </a:lnTo>
                    <a:lnTo>
                      <a:pt x="432" y="238"/>
                    </a:lnTo>
                    <a:lnTo>
                      <a:pt x="432" y="236"/>
                    </a:lnTo>
                    <a:lnTo>
                      <a:pt x="436" y="234"/>
                    </a:lnTo>
                    <a:lnTo>
                      <a:pt x="438" y="232"/>
                    </a:lnTo>
                    <a:lnTo>
                      <a:pt x="438" y="230"/>
                    </a:lnTo>
                    <a:lnTo>
                      <a:pt x="440" y="228"/>
                    </a:lnTo>
                    <a:lnTo>
                      <a:pt x="442" y="226"/>
                    </a:lnTo>
                    <a:lnTo>
                      <a:pt x="442" y="224"/>
                    </a:lnTo>
                    <a:lnTo>
                      <a:pt x="442" y="222"/>
                    </a:lnTo>
                    <a:lnTo>
                      <a:pt x="444" y="220"/>
                    </a:lnTo>
                    <a:lnTo>
                      <a:pt x="444" y="218"/>
                    </a:lnTo>
                    <a:lnTo>
                      <a:pt x="444" y="216"/>
                    </a:lnTo>
                    <a:lnTo>
                      <a:pt x="444" y="214"/>
                    </a:lnTo>
                    <a:lnTo>
                      <a:pt x="442" y="214"/>
                    </a:lnTo>
                    <a:lnTo>
                      <a:pt x="442" y="212"/>
                    </a:lnTo>
                    <a:lnTo>
                      <a:pt x="440" y="212"/>
                    </a:lnTo>
                    <a:lnTo>
                      <a:pt x="438" y="212"/>
                    </a:lnTo>
                    <a:lnTo>
                      <a:pt x="436" y="214"/>
                    </a:lnTo>
                    <a:lnTo>
                      <a:pt x="434" y="214"/>
                    </a:lnTo>
                    <a:lnTo>
                      <a:pt x="432" y="214"/>
                    </a:lnTo>
                    <a:lnTo>
                      <a:pt x="430" y="214"/>
                    </a:lnTo>
                    <a:lnTo>
                      <a:pt x="428" y="214"/>
                    </a:lnTo>
                    <a:lnTo>
                      <a:pt x="426" y="212"/>
                    </a:lnTo>
                    <a:lnTo>
                      <a:pt x="422" y="212"/>
                    </a:lnTo>
                    <a:lnTo>
                      <a:pt x="420" y="212"/>
                    </a:lnTo>
                    <a:lnTo>
                      <a:pt x="418" y="212"/>
                    </a:lnTo>
                    <a:lnTo>
                      <a:pt x="416" y="212"/>
                    </a:lnTo>
                    <a:lnTo>
                      <a:pt x="414" y="212"/>
                    </a:lnTo>
                    <a:lnTo>
                      <a:pt x="412" y="214"/>
                    </a:lnTo>
                    <a:lnTo>
                      <a:pt x="406" y="214"/>
                    </a:lnTo>
                    <a:lnTo>
                      <a:pt x="404" y="216"/>
                    </a:lnTo>
                    <a:lnTo>
                      <a:pt x="402" y="216"/>
                    </a:lnTo>
                    <a:lnTo>
                      <a:pt x="400" y="216"/>
                    </a:lnTo>
                    <a:lnTo>
                      <a:pt x="398" y="216"/>
                    </a:lnTo>
                    <a:lnTo>
                      <a:pt x="392" y="216"/>
                    </a:lnTo>
                    <a:lnTo>
                      <a:pt x="390" y="216"/>
                    </a:lnTo>
                    <a:lnTo>
                      <a:pt x="388" y="218"/>
                    </a:lnTo>
                    <a:lnTo>
                      <a:pt x="386" y="218"/>
                    </a:lnTo>
                    <a:lnTo>
                      <a:pt x="384" y="220"/>
                    </a:lnTo>
                    <a:lnTo>
                      <a:pt x="382" y="222"/>
                    </a:lnTo>
                    <a:lnTo>
                      <a:pt x="382" y="224"/>
                    </a:lnTo>
                    <a:lnTo>
                      <a:pt x="380" y="230"/>
                    </a:lnTo>
                    <a:lnTo>
                      <a:pt x="380" y="232"/>
                    </a:lnTo>
                    <a:lnTo>
                      <a:pt x="380" y="234"/>
                    </a:lnTo>
                    <a:lnTo>
                      <a:pt x="378" y="238"/>
                    </a:lnTo>
                    <a:lnTo>
                      <a:pt x="378" y="240"/>
                    </a:lnTo>
                    <a:lnTo>
                      <a:pt x="378" y="242"/>
                    </a:lnTo>
                    <a:lnTo>
                      <a:pt x="378" y="244"/>
                    </a:lnTo>
                    <a:lnTo>
                      <a:pt x="378" y="246"/>
                    </a:lnTo>
                    <a:lnTo>
                      <a:pt x="376" y="246"/>
                    </a:lnTo>
                    <a:lnTo>
                      <a:pt x="376" y="248"/>
                    </a:lnTo>
                    <a:lnTo>
                      <a:pt x="374" y="250"/>
                    </a:lnTo>
                    <a:lnTo>
                      <a:pt x="374" y="254"/>
                    </a:lnTo>
                    <a:lnTo>
                      <a:pt x="372" y="256"/>
                    </a:lnTo>
                    <a:lnTo>
                      <a:pt x="370" y="256"/>
                    </a:lnTo>
                    <a:lnTo>
                      <a:pt x="368" y="258"/>
                    </a:lnTo>
                    <a:lnTo>
                      <a:pt x="366" y="258"/>
                    </a:lnTo>
                    <a:lnTo>
                      <a:pt x="366" y="260"/>
                    </a:lnTo>
                    <a:lnTo>
                      <a:pt x="364" y="260"/>
                    </a:lnTo>
                    <a:lnTo>
                      <a:pt x="362" y="262"/>
                    </a:lnTo>
                    <a:lnTo>
                      <a:pt x="362" y="264"/>
                    </a:lnTo>
                    <a:lnTo>
                      <a:pt x="360" y="266"/>
                    </a:lnTo>
                    <a:lnTo>
                      <a:pt x="360" y="270"/>
                    </a:lnTo>
                    <a:lnTo>
                      <a:pt x="360" y="272"/>
                    </a:lnTo>
                    <a:lnTo>
                      <a:pt x="358" y="274"/>
                    </a:lnTo>
                    <a:lnTo>
                      <a:pt x="356" y="274"/>
                    </a:lnTo>
                    <a:lnTo>
                      <a:pt x="354" y="274"/>
                    </a:lnTo>
                    <a:lnTo>
                      <a:pt x="354" y="272"/>
                    </a:lnTo>
                    <a:lnTo>
                      <a:pt x="352" y="270"/>
                    </a:lnTo>
                    <a:lnTo>
                      <a:pt x="352" y="268"/>
                    </a:lnTo>
                    <a:lnTo>
                      <a:pt x="350" y="268"/>
                    </a:lnTo>
                    <a:lnTo>
                      <a:pt x="348" y="268"/>
                    </a:lnTo>
                    <a:lnTo>
                      <a:pt x="346" y="268"/>
                    </a:lnTo>
                    <a:lnTo>
                      <a:pt x="344" y="268"/>
                    </a:lnTo>
                    <a:lnTo>
                      <a:pt x="338" y="270"/>
                    </a:lnTo>
                    <a:lnTo>
                      <a:pt x="332" y="272"/>
                    </a:lnTo>
                    <a:lnTo>
                      <a:pt x="328" y="272"/>
                    </a:lnTo>
                    <a:lnTo>
                      <a:pt x="326" y="272"/>
                    </a:lnTo>
                    <a:lnTo>
                      <a:pt x="324" y="272"/>
                    </a:lnTo>
                    <a:lnTo>
                      <a:pt x="320" y="274"/>
                    </a:lnTo>
                    <a:lnTo>
                      <a:pt x="318" y="274"/>
                    </a:lnTo>
                    <a:lnTo>
                      <a:pt x="314" y="276"/>
                    </a:lnTo>
                    <a:lnTo>
                      <a:pt x="312" y="278"/>
                    </a:lnTo>
                    <a:lnTo>
                      <a:pt x="310" y="278"/>
                    </a:lnTo>
                    <a:lnTo>
                      <a:pt x="308" y="280"/>
                    </a:lnTo>
                    <a:lnTo>
                      <a:pt x="306" y="278"/>
                    </a:lnTo>
                    <a:lnTo>
                      <a:pt x="304" y="278"/>
                    </a:lnTo>
                    <a:lnTo>
                      <a:pt x="304" y="276"/>
                    </a:lnTo>
                    <a:lnTo>
                      <a:pt x="302" y="274"/>
                    </a:lnTo>
                    <a:lnTo>
                      <a:pt x="302" y="272"/>
                    </a:lnTo>
                    <a:lnTo>
                      <a:pt x="302" y="270"/>
                    </a:lnTo>
                    <a:lnTo>
                      <a:pt x="300" y="270"/>
                    </a:lnTo>
                    <a:lnTo>
                      <a:pt x="298" y="268"/>
                    </a:lnTo>
                    <a:lnTo>
                      <a:pt x="296" y="268"/>
                    </a:lnTo>
                    <a:lnTo>
                      <a:pt x="294" y="268"/>
                    </a:lnTo>
                    <a:lnTo>
                      <a:pt x="290" y="268"/>
                    </a:lnTo>
                    <a:lnTo>
                      <a:pt x="288" y="268"/>
                    </a:lnTo>
                    <a:lnTo>
                      <a:pt x="286" y="268"/>
                    </a:lnTo>
                    <a:lnTo>
                      <a:pt x="286" y="266"/>
                    </a:lnTo>
                    <a:lnTo>
                      <a:pt x="284" y="264"/>
                    </a:lnTo>
                    <a:lnTo>
                      <a:pt x="284" y="260"/>
                    </a:lnTo>
                    <a:lnTo>
                      <a:pt x="282" y="258"/>
                    </a:lnTo>
                    <a:lnTo>
                      <a:pt x="282" y="256"/>
                    </a:lnTo>
                    <a:lnTo>
                      <a:pt x="280" y="256"/>
                    </a:lnTo>
                    <a:lnTo>
                      <a:pt x="278" y="254"/>
                    </a:lnTo>
                    <a:lnTo>
                      <a:pt x="278" y="250"/>
                    </a:lnTo>
                    <a:lnTo>
                      <a:pt x="278" y="248"/>
                    </a:lnTo>
                    <a:lnTo>
                      <a:pt x="278" y="246"/>
                    </a:lnTo>
                    <a:lnTo>
                      <a:pt x="278" y="244"/>
                    </a:lnTo>
                    <a:lnTo>
                      <a:pt x="276" y="242"/>
                    </a:lnTo>
                    <a:lnTo>
                      <a:pt x="274" y="240"/>
                    </a:lnTo>
                    <a:lnTo>
                      <a:pt x="274" y="238"/>
                    </a:lnTo>
                    <a:lnTo>
                      <a:pt x="272" y="236"/>
                    </a:lnTo>
                    <a:lnTo>
                      <a:pt x="272" y="234"/>
                    </a:lnTo>
                    <a:lnTo>
                      <a:pt x="270" y="232"/>
                    </a:lnTo>
                    <a:lnTo>
                      <a:pt x="270" y="230"/>
                    </a:lnTo>
                    <a:lnTo>
                      <a:pt x="268" y="226"/>
                    </a:lnTo>
                    <a:lnTo>
                      <a:pt x="268" y="224"/>
                    </a:lnTo>
                    <a:lnTo>
                      <a:pt x="268" y="222"/>
                    </a:lnTo>
                    <a:lnTo>
                      <a:pt x="268" y="220"/>
                    </a:lnTo>
                    <a:lnTo>
                      <a:pt x="268" y="218"/>
                    </a:lnTo>
                    <a:lnTo>
                      <a:pt x="266" y="216"/>
                    </a:lnTo>
                    <a:lnTo>
                      <a:pt x="266" y="214"/>
                    </a:lnTo>
                    <a:lnTo>
                      <a:pt x="264" y="212"/>
                    </a:lnTo>
                    <a:lnTo>
                      <a:pt x="264" y="208"/>
                    </a:lnTo>
                    <a:lnTo>
                      <a:pt x="264" y="206"/>
                    </a:lnTo>
                    <a:lnTo>
                      <a:pt x="264" y="204"/>
                    </a:lnTo>
                    <a:lnTo>
                      <a:pt x="264" y="202"/>
                    </a:lnTo>
                    <a:lnTo>
                      <a:pt x="264" y="200"/>
                    </a:lnTo>
                    <a:lnTo>
                      <a:pt x="264" y="198"/>
                    </a:lnTo>
                    <a:lnTo>
                      <a:pt x="264" y="196"/>
                    </a:lnTo>
                    <a:lnTo>
                      <a:pt x="264" y="194"/>
                    </a:lnTo>
                    <a:lnTo>
                      <a:pt x="264" y="192"/>
                    </a:lnTo>
                    <a:lnTo>
                      <a:pt x="264" y="190"/>
                    </a:lnTo>
                    <a:lnTo>
                      <a:pt x="266" y="190"/>
                    </a:lnTo>
                    <a:lnTo>
                      <a:pt x="266" y="188"/>
                    </a:lnTo>
                    <a:lnTo>
                      <a:pt x="268" y="186"/>
                    </a:lnTo>
                    <a:lnTo>
                      <a:pt x="268" y="184"/>
                    </a:lnTo>
                    <a:lnTo>
                      <a:pt x="270" y="182"/>
                    </a:lnTo>
                    <a:lnTo>
                      <a:pt x="270" y="180"/>
                    </a:lnTo>
                    <a:lnTo>
                      <a:pt x="270" y="178"/>
                    </a:lnTo>
                    <a:lnTo>
                      <a:pt x="270" y="172"/>
                    </a:lnTo>
                    <a:lnTo>
                      <a:pt x="270" y="170"/>
                    </a:lnTo>
                    <a:lnTo>
                      <a:pt x="270" y="168"/>
                    </a:lnTo>
                    <a:lnTo>
                      <a:pt x="270" y="166"/>
                    </a:lnTo>
                    <a:lnTo>
                      <a:pt x="270" y="162"/>
                    </a:lnTo>
                    <a:lnTo>
                      <a:pt x="270" y="160"/>
                    </a:lnTo>
                    <a:lnTo>
                      <a:pt x="270" y="158"/>
                    </a:lnTo>
                    <a:lnTo>
                      <a:pt x="270" y="156"/>
                    </a:lnTo>
                    <a:lnTo>
                      <a:pt x="272" y="156"/>
                    </a:lnTo>
                    <a:lnTo>
                      <a:pt x="274" y="156"/>
                    </a:lnTo>
                    <a:lnTo>
                      <a:pt x="274" y="154"/>
                    </a:lnTo>
                    <a:lnTo>
                      <a:pt x="274" y="152"/>
                    </a:lnTo>
                    <a:lnTo>
                      <a:pt x="274" y="150"/>
                    </a:lnTo>
                    <a:lnTo>
                      <a:pt x="274" y="148"/>
                    </a:lnTo>
                    <a:lnTo>
                      <a:pt x="274" y="144"/>
                    </a:lnTo>
                    <a:lnTo>
                      <a:pt x="276" y="142"/>
                    </a:lnTo>
                    <a:lnTo>
                      <a:pt x="276" y="140"/>
                    </a:lnTo>
                    <a:lnTo>
                      <a:pt x="278" y="140"/>
                    </a:lnTo>
                    <a:lnTo>
                      <a:pt x="280" y="140"/>
                    </a:lnTo>
                    <a:lnTo>
                      <a:pt x="282" y="140"/>
                    </a:lnTo>
                    <a:lnTo>
                      <a:pt x="284" y="140"/>
                    </a:lnTo>
                    <a:lnTo>
                      <a:pt x="284" y="138"/>
                    </a:lnTo>
                    <a:lnTo>
                      <a:pt x="286" y="134"/>
                    </a:lnTo>
                    <a:lnTo>
                      <a:pt x="288" y="132"/>
                    </a:lnTo>
                    <a:lnTo>
                      <a:pt x="288" y="130"/>
                    </a:lnTo>
                    <a:lnTo>
                      <a:pt x="286" y="130"/>
                    </a:lnTo>
                    <a:lnTo>
                      <a:pt x="284" y="130"/>
                    </a:lnTo>
                    <a:lnTo>
                      <a:pt x="282" y="130"/>
                    </a:lnTo>
                    <a:lnTo>
                      <a:pt x="280" y="128"/>
                    </a:lnTo>
                    <a:lnTo>
                      <a:pt x="280" y="126"/>
                    </a:lnTo>
                    <a:lnTo>
                      <a:pt x="278" y="126"/>
                    </a:lnTo>
                    <a:lnTo>
                      <a:pt x="276" y="126"/>
                    </a:lnTo>
                    <a:lnTo>
                      <a:pt x="274" y="126"/>
                    </a:lnTo>
                    <a:lnTo>
                      <a:pt x="272" y="126"/>
                    </a:lnTo>
                    <a:lnTo>
                      <a:pt x="270" y="126"/>
                    </a:lnTo>
                    <a:lnTo>
                      <a:pt x="270" y="124"/>
                    </a:lnTo>
                    <a:lnTo>
                      <a:pt x="268" y="122"/>
                    </a:lnTo>
                    <a:lnTo>
                      <a:pt x="266" y="122"/>
                    </a:lnTo>
                    <a:lnTo>
                      <a:pt x="264" y="122"/>
                    </a:lnTo>
                    <a:lnTo>
                      <a:pt x="262" y="122"/>
                    </a:lnTo>
                    <a:lnTo>
                      <a:pt x="260" y="120"/>
                    </a:lnTo>
                    <a:lnTo>
                      <a:pt x="258" y="120"/>
                    </a:lnTo>
                    <a:lnTo>
                      <a:pt x="258" y="118"/>
                    </a:lnTo>
                    <a:lnTo>
                      <a:pt x="258" y="116"/>
                    </a:lnTo>
                    <a:lnTo>
                      <a:pt x="258" y="114"/>
                    </a:lnTo>
                    <a:lnTo>
                      <a:pt x="258" y="112"/>
                    </a:lnTo>
                    <a:lnTo>
                      <a:pt x="256" y="110"/>
                    </a:lnTo>
                    <a:lnTo>
                      <a:pt x="256" y="106"/>
                    </a:lnTo>
                    <a:lnTo>
                      <a:pt x="256" y="104"/>
                    </a:lnTo>
                    <a:lnTo>
                      <a:pt x="256" y="102"/>
                    </a:lnTo>
                    <a:lnTo>
                      <a:pt x="256" y="100"/>
                    </a:lnTo>
                    <a:lnTo>
                      <a:pt x="256" y="98"/>
                    </a:lnTo>
                    <a:lnTo>
                      <a:pt x="258" y="98"/>
                    </a:lnTo>
                    <a:lnTo>
                      <a:pt x="258" y="96"/>
                    </a:lnTo>
                    <a:lnTo>
                      <a:pt x="256" y="96"/>
                    </a:lnTo>
                    <a:lnTo>
                      <a:pt x="254" y="94"/>
                    </a:lnTo>
                    <a:lnTo>
                      <a:pt x="252" y="94"/>
                    </a:lnTo>
                    <a:lnTo>
                      <a:pt x="250" y="92"/>
                    </a:lnTo>
                    <a:lnTo>
                      <a:pt x="250" y="90"/>
                    </a:lnTo>
                    <a:lnTo>
                      <a:pt x="250" y="88"/>
                    </a:lnTo>
                    <a:lnTo>
                      <a:pt x="250" y="86"/>
                    </a:lnTo>
                    <a:lnTo>
                      <a:pt x="248" y="84"/>
                    </a:lnTo>
                    <a:lnTo>
                      <a:pt x="246" y="82"/>
                    </a:lnTo>
                    <a:lnTo>
                      <a:pt x="246" y="80"/>
                    </a:lnTo>
                    <a:lnTo>
                      <a:pt x="246" y="78"/>
                    </a:lnTo>
                    <a:lnTo>
                      <a:pt x="248" y="74"/>
                    </a:lnTo>
                    <a:lnTo>
                      <a:pt x="248" y="72"/>
                    </a:lnTo>
                    <a:lnTo>
                      <a:pt x="248" y="70"/>
                    </a:lnTo>
                    <a:lnTo>
                      <a:pt x="246" y="70"/>
                    </a:lnTo>
                    <a:lnTo>
                      <a:pt x="246" y="68"/>
                    </a:lnTo>
                    <a:lnTo>
                      <a:pt x="246" y="66"/>
                    </a:lnTo>
                    <a:lnTo>
                      <a:pt x="244" y="66"/>
                    </a:lnTo>
                    <a:lnTo>
                      <a:pt x="242" y="64"/>
                    </a:lnTo>
                    <a:lnTo>
                      <a:pt x="240" y="60"/>
                    </a:lnTo>
                    <a:lnTo>
                      <a:pt x="240" y="58"/>
                    </a:lnTo>
                    <a:lnTo>
                      <a:pt x="238" y="56"/>
                    </a:lnTo>
                    <a:lnTo>
                      <a:pt x="236" y="56"/>
                    </a:lnTo>
                    <a:lnTo>
                      <a:pt x="236" y="54"/>
                    </a:lnTo>
                    <a:lnTo>
                      <a:pt x="234" y="54"/>
                    </a:lnTo>
                    <a:lnTo>
                      <a:pt x="232" y="54"/>
                    </a:lnTo>
                    <a:lnTo>
                      <a:pt x="230" y="54"/>
                    </a:lnTo>
                    <a:lnTo>
                      <a:pt x="228" y="54"/>
                    </a:lnTo>
                    <a:lnTo>
                      <a:pt x="226" y="54"/>
                    </a:lnTo>
                    <a:lnTo>
                      <a:pt x="224" y="54"/>
                    </a:lnTo>
                    <a:lnTo>
                      <a:pt x="222" y="52"/>
                    </a:lnTo>
                    <a:lnTo>
                      <a:pt x="222" y="54"/>
                    </a:lnTo>
                    <a:lnTo>
                      <a:pt x="220" y="54"/>
                    </a:lnTo>
                    <a:lnTo>
                      <a:pt x="218" y="54"/>
                    </a:lnTo>
                    <a:lnTo>
                      <a:pt x="218" y="56"/>
                    </a:lnTo>
                    <a:lnTo>
                      <a:pt x="216" y="56"/>
                    </a:lnTo>
                    <a:lnTo>
                      <a:pt x="214" y="58"/>
                    </a:lnTo>
                    <a:lnTo>
                      <a:pt x="214" y="60"/>
                    </a:lnTo>
                    <a:lnTo>
                      <a:pt x="212" y="64"/>
                    </a:lnTo>
                    <a:lnTo>
                      <a:pt x="210" y="66"/>
                    </a:lnTo>
                    <a:lnTo>
                      <a:pt x="208" y="68"/>
                    </a:lnTo>
                    <a:lnTo>
                      <a:pt x="206" y="68"/>
                    </a:lnTo>
                    <a:lnTo>
                      <a:pt x="204" y="68"/>
                    </a:lnTo>
                    <a:lnTo>
                      <a:pt x="204" y="70"/>
                    </a:lnTo>
                    <a:lnTo>
                      <a:pt x="202" y="68"/>
                    </a:lnTo>
                    <a:lnTo>
                      <a:pt x="200" y="68"/>
                    </a:lnTo>
                    <a:lnTo>
                      <a:pt x="198" y="68"/>
                    </a:lnTo>
                    <a:lnTo>
                      <a:pt x="196" y="66"/>
                    </a:lnTo>
                    <a:lnTo>
                      <a:pt x="192" y="64"/>
                    </a:lnTo>
                    <a:lnTo>
                      <a:pt x="190" y="62"/>
                    </a:lnTo>
                    <a:lnTo>
                      <a:pt x="188" y="60"/>
                    </a:lnTo>
                    <a:lnTo>
                      <a:pt x="186" y="58"/>
                    </a:lnTo>
                    <a:lnTo>
                      <a:pt x="186" y="56"/>
                    </a:lnTo>
                    <a:lnTo>
                      <a:pt x="186" y="54"/>
                    </a:lnTo>
                    <a:lnTo>
                      <a:pt x="186" y="52"/>
                    </a:lnTo>
                    <a:lnTo>
                      <a:pt x="188" y="48"/>
                    </a:lnTo>
                    <a:lnTo>
                      <a:pt x="188" y="46"/>
                    </a:lnTo>
                    <a:lnTo>
                      <a:pt x="188" y="42"/>
                    </a:lnTo>
                    <a:lnTo>
                      <a:pt x="186" y="40"/>
                    </a:lnTo>
                    <a:lnTo>
                      <a:pt x="186" y="38"/>
                    </a:lnTo>
                    <a:lnTo>
                      <a:pt x="184" y="38"/>
                    </a:lnTo>
                    <a:lnTo>
                      <a:pt x="182" y="36"/>
                    </a:lnTo>
                    <a:lnTo>
                      <a:pt x="180" y="36"/>
                    </a:lnTo>
                    <a:lnTo>
                      <a:pt x="178" y="34"/>
                    </a:lnTo>
                    <a:lnTo>
                      <a:pt x="176" y="32"/>
                    </a:lnTo>
                    <a:lnTo>
                      <a:pt x="176" y="30"/>
                    </a:lnTo>
                    <a:lnTo>
                      <a:pt x="176" y="28"/>
                    </a:lnTo>
                    <a:lnTo>
                      <a:pt x="176" y="26"/>
                    </a:lnTo>
                    <a:lnTo>
                      <a:pt x="174" y="26"/>
                    </a:lnTo>
                    <a:lnTo>
                      <a:pt x="172" y="24"/>
                    </a:lnTo>
                    <a:lnTo>
                      <a:pt x="170" y="24"/>
                    </a:lnTo>
                    <a:lnTo>
                      <a:pt x="170" y="22"/>
                    </a:lnTo>
                    <a:lnTo>
                      <a:pt x="170" y="20"/>
                    </a:lnTo>
                    <a:lnTo>
                      <a:pt x="168" y="18"/>
                    </a:lnTo>
                    <a:lnTo>
                      <a:pt x="166" y="16"/>
                    </a:lnTo>
                    <a:lnTo>
                      <a:pt x="160" y="16"/>
                    </a:lnTo>
                    <a:lnTo>
                      <a:pt x="156" y="16"/>
                    </a:lnTo>
                    <a:lnTo>
                      <a:pt x="154" y="16"/>
                    </a:lnTo>
                    <a:lnTo>
                      <a:pt x="150" y="16"/>
                    </a:lnTo>
                    <a:lnTo>
                      <a:pt x="148" y="16"/>
                    </a:lnTo>
                    <a:lnTo>
                      <a:pt x="146" y="16"/>
                    </a:lnTo>
                    <a:lnTo>
                      <a:pt x="144" y="16"/>
                    </a:lnTo>
                    <a:lnTo>
                      <a:pt x="142" y="16"/>
                    </a:lnTo>
                    <a:lnTo>
                      <a:pt x="140" y="16"/>
                    </a:lnTo>
                    <a:lnTo>
                      <a:pt x="138" y="18"/>
                    </a:lnTo>
                    <a:lnTo>
                      <a:pt x="138" y="20"/>
                    </a:lnTo>
                    <a:lnTo>
                      <a:pt x="138" y="22"/>
                    </a:lnTo>
                    <a:lnTo>
                      <a:pt x="136" y="24"/>
                    </a:lnTo>
                    <a:lnTo>
                      <a:pt x="136" y="26"/>
                    </a:lnTo>
                    <a:lnTo>
                      <a:pt x="130" y="26"/>
                    </a:lnTo>
                    <a:lnTo>
                      <a:pt x="128" y="26"/>
                    </a:lnTo>
                    <a:lnTo>
                      <a:pt x="124" y="26"/>
                    </a:lnTo>
                    <a:lnTo>
                      <a:pt x="120" y="26"/>
                    </a:lnTo>
                    <a:lnTo>
                      <a:pt x="116" y="26"/>
                    </a:lnTo>
                    <a:lnTo>
                      <a:pt x="114" y="26"/>
                    </a:lnTo>
                    <a:lnTo>
                      <a:pt x="108" y="26"/>
                    </a:lnTo>
                    <a:lnTo>
                      <a:pt x="104" y="26"/>
                    </a:lnTo>
                    <a:lnTo>
                      <a:pt x="100" y="26"/>
                    </a:lnTo>
                    <a:lnTo>
                      <a:pt x="96" y="26"/>
                    </a:lnTo>
                    <a:lnTo>
                      <a:pt x="94" y="26"/>
                    </a:lnTo>
                    <a:lnTo>
                      <a:pt x="92" y="26"/>
                    </a:lnTo>
                    <a:lnTo>
                      <a:pt x="90" y="26"/>
                    </a:lnTo>
                    <a:lnTo>
                      <a:pt x="88" y="26"/>
                    </a:lnTo>
                    <a:lnTo>
                      <a:pt x="84" y="24"/>
                    </a:lnTo>
                    <a:lnTo>
                      <a:pt x="80" y="22"/>
                    </a:lnTo>
                    <a:lnTo>
                      <a:pt x="76" y="20"/>
                    </a:lnTo>
                    <a:lnTo>
                      <a:pt x="72" y="18"/>
                    </a:lnTo>
                    <a:lnTo>
                      <a:pt x="68" y="18"/>
                    </a:lnTo>
                    <a:lnTo>
                      <a:pt x="64" y="16"/>
                    </a:lnTo>
                    <a:lnTo>
                      <a:pt x="58" y="14"/>
                    </a:lnTo>
                    <a:lnTo>
                      <a:pt x="54" y="10"/>
                    </a:lnTo>
                    <a:lnTo>
                      <a:pt x="50" y="8"/>
                    </a:lnTo>
                    <a:lnTo>
                      <a:pt x="48" y="8"/>
                    </a:lnTo>
                    <a:lnTo>
                      <a:pt x="44" y="6"/>
                    </a:lnTo>
                    <a:lnTo>
                      <a:pt x="42" y="6"/>
                    </a:lnTo>
                    <a:lnTo>
                      <a:pt x="40" y="4"/>
                    </a:lnTo>
                    <a:lnTo>
                      <a:pt x="38" y="4"/>
                    </a:lnTo>
                    <a:lnTo>
                      <a:pt x="38" y="2"/>
                    </a:lnTo>
                    <a:lnTo>
                      <a:pt x="36" y="2"/>
                    </a:lnTo>
                    <a:lnTo>
                      <a:pt x="36" y="0"/>
                    </a:lnTo>
                    <a:lnTo>
                      <a:pt x="38" y="0"/>
                    </a:lnTo>
                    <a:lnTo>
                      <a:pt x="32" y="0"/>
                    </a:lnTo>
                    <a:lnTo>
                      <a:pt x="26" y="0"/>
                    </a:lnTo>
                    <a:lnTo>
                      <a:pt x="22" y="0"/>
                    </a:lnTo>
                    <a:lnTo>
                      <a:pt x="18" y="0"/>
                    </a:lnTo>
                    <a:lnTo>
                      <a:pt x="14" y="0"/>
                    </a:lnTo>
                    <a:lnTo>
                      <a:pt x="10" y="0"/>
                    </a:lnTo>
                    <a:lnTo>
                      <a:pt x="8" y="0"/>
                    </a:lnTo>
                    <a:lnTo>
                      <a:pt x="6" y="0"/>
                    </a:lnTo>
                    <a:lnTo>
                      <a:pt x="4" y="0"/>
                    </a:lnTo>
                    <a:lnTo>
                      <a:pt x="2" y="0"/>
                    </a:lnTo>
                    <a:lnTo>
                      <a:pt x="2" y="2"/>
                    </a:lnTo>
                    <a:lnTo>
                      <a:pt x="0" y="6"/>
                    </a:lnTo>
                    <a:lnTo>
                      <a:pt x="0" y="8"/>
                    </a:lnTo>
                    <a:lnTo>
                      <a:pt x="0" y="10"/>
                    </a:lnTo>
                    <a:lnTo>
                      <a:pt x="2" y="12"/>
                    </a:lnTo>
                    <a:lnTo>
                      <a:pt x="2" y="16"/>
                    </a:lnTo>
                    <a:lnTo>
                      <a:pt x="4" y="18"/>
                    </a:lnTo>
                    <a:lnTo>
                      <a:pt x="6" y="18"/>
                    </a:lnTo>
                    <a:lnTo>
                      <a:pt x="4" y="20"/>
                    </a:lnTo>
                    <a:lnTo>
                      <a:pt x="2" y="20"/>
                    </a:lnTo>
                    <a:lnTo>
                      <a:pt x="2" y="22"/>
                    </a:lnTo>
                    <a:lnTo>
                      <a:pt x="2" y="24"/>
                    </a:lnTo>
                    <a:lnTo>
                      <a:pt x="4" y="26"/>
                    </a:lnTo>
                    <a:lnTo>
                      <a:pt x="4" y="28"/>
                    </a:lnTo>
                    <a:lnTo>
                      <a:pt x="2" y="28"/>
                    </a:lnTo>
                    <a:lnTo>
                      <a:pt x="2" y="30"/>
                    </a:lnTo>
                    <a:lnTo>
                      <a:pt x="4" y="32"/>
                    </a:lnTo>
                    <a:lnTo>
                      <a:pt x="6" y="34"/>
                    </a:lnTo>
                    <a:lnTo>
                      <a:pt x="4" y="36"/>
                    </a:lnTo>
                    <a:lnTo>
                      <a:pt x="4" y="38"/>
                    </a:lnTo>
                    <a:lnTo>
                      <a:pt x="4" y="40"/>
                    </a:lnTo>
                    <a:lnTo>
                      <a:pt x="2" y="40"/>
                    </a:lnTo>
                    <a:lnTo>
                      <a:pt x="2" y="42"/>
                    </a:lnTo>
                    <a:lnTo>
                      <a:pt x="4" y="42"/>
                    </a:lnTo>
                    <a:lnTo>
                      <a:pt x="6" y="42"/>
                    </a:lnTo>
                    <a:lnTo>
                      <a:pt x="6" y="44"/>
                    </a:lnTo>
                    <a:lnTo>
                      <a:pt x="6" y="48"/>
                    </a:lnTo>
                    <a:lnTo>
                      <a:pt x="6" y="50"/>
                    </a:lnTo>
                    <a:lnTo>
                      <a:pt x="6" y="54"/>
                    </a:lnTo>
                    <a:lnTo>
                      <a:pt x="6" y="56"/>
                    </a:lnTo>
                    <a:lnTo>
                      <a:pt x="6" y="60"/>
                    </a:lnTo>
                    <a:lnTo>
                      <a:pt x="8" y="60"/>
                    </a:lnTo>
                    <a:lnTo>
                      <a:pt x="8" y="62"/>
                    </a:lnTo>
                    <a:lnTo>
                      <a:pt x="10" y="62"/>
                    </a:lnTo>
                    <a:lnTo>
                      <a:pt x="10" y="64"/>
                    </a:lnTo>
                    <a:lnTo>
                      <a:pt x="12" y="64"/>
                    </a:lnTo>
                    <a:lnTo>
                      <a:pt x="14" y="64"/>
                    </a:lnTo>
                    <a:lnTo>
                      <a:pt x="14" y="62"/>
                    </a:lnTo>
                    <a:lnTo>
                      <a:pt x="14" y="64"/>
                    </a:lnTo>
                    <a:lnTo>
                      <a:pt x="16" y="64"/>
                    </a:lnTo>
                    <a:lnTo>
                      <a:pt x="16" y="66"/>
                    </a:lnTo>
                    <a:lnTo>
                      <a:pt x="18" y="68"/>
                    </a:lnTo>
                    <a:lnTo>
                      <a:pt x="20" y="70"/>
                    </a:lnTo>
                    <a:lnTo>
                      <a:pt x="22" y="74"/>
                    </a:lnTo>
                    <a:lnTo>
                      <a:pt x="22" y="76"/>
                    </a:lnTo>
                    <a:lnTo>
                      <a:pt x="24" y="80"/>
                    </a:lnTo>
                    <a:lnTo>
                      <a:pt x="24" y="82"/>
                    </a:lnTo>
                    <a:lnTo>
                      <a:pt x="22" y="84"/>
                    </a:lnTo>
                    <a:lnTo>
                      <a:pt x="22" y="86"/>
                    </a:lnTo>
                    <a:lnTo>
                      <a:pt x="20" y="88"/>
                    </a:lnTo>
                    <a:lnTo>
                      <a:pt x="20" y="90"/>
                    </a:lnTo>
                    <a:lnTo>
                      <a:pt x="18" y="90"/>
                    </a:lnTo>
                    <a:lnTo>
                      <a:pt x="18" y="92"/>
                    </a:lnTo>
                    <a:lnTo>
                      <a:pt x="16" y="92"/>
                    </a:lnTo>
                    <a:lnTo>
                      <a:pt x="18" y="94"/>
                    </a:lnTo>
                    <a:lnTo>
                      <a:pt x="20" y="94"/>
                    </a:lnTo>
                    <a:lnTo>
                      <a:pt x="20" y="96"/>
                    </a:lnTo>
                    <a:lnTo>
                      <a:pt x="18" y="98"/>
                    </a:lnTo>
                    <a:lnTo>
                      <a:pt x="16" y="96"/>
                    </a:lnTo>
                    <a:lnTo>
                      <a:pt x="16" y="94"/>
                    </a:lnTo>
                    <a:lnTo>
                      <a:pt x="14" y="94"/>
                    </a:lnTo>
                    <a:lnTo>
                      <a:pt x="12" y="94"/>
                    </a:lnTo>
                    <a:lnTo>
                      <a:pt x="10" y="94"/>
                    </a:lnTo>
                    <a:lnTo>
                      <a:pt x="8" y="94"/>
                    </a:lnTo>
                    <a:lnTo>
                      <a:pt x="8" y="92"/>
                    </a:lnTo>
                    <a:lnTo>
                      <a:pt x="6" y="92"/>
                    </a:lnTo>
                    <a:lnTo>
                      <a:pt x="4" y="92"/>
                    </a:lnTo>
                    <a:lnTo>
                      <a:pt x="2" y="92"/>
                    </a:lnTo>
                    <a:lnTo>
                      <a:pt x="4" y="94"/>
                    </a:lnTo>
                    <a:lnTo>
                      <a:pt x="6" y="96"/>
                    </a:lnTo>
                    <a:lnTo>
                      <a:pt x="8" y="98"/>
                    </a:lnTo>
                    <a:lnTo>
                      <a:pt x="8" y="100"/>
                    </a:lnTo>
                    <a:lnTo>
                      <a:pt x="8" y="102"/>
                    </a:lnTo>
                    <a:lnTo>
                      <a:pt x="10" y="102"/>
                    </a:lnTo>
                    <a:lnTo>
                      <a:pt x="10" y="104"/>
                    </a:lnTo>
                    <a:lnTo>
                      <a:pt x="10" y="106"/>
                    </a:lnTo>
                    <a:lnTo>
                      <a:pt x="12" y="106"/>
                    </a:lnTo>
                    <a:lnTo>
                      <a:pt x="14" y="106"/>
                    </a:lnTo>
                    <a:lnTo>
                      <a:pt x="16" y="106"/>
                    </a:lnTo>
                    <a:lnTo>
                      <a:pt x="18" y="108"/>
                    </a:lnTo>
                    <a:lnTo>
                      <a:pt x="18" y="110"/>
                    </a:lnTo>
                    <a:lnTo>
                      <a:pt x="20" y="112"/>
                    </a:lnTo>
                    <a:lnTo>
                      <a:pt x="22" y="112"/>
                    </a:lnTo>
                    <a:lnTo>
                      <a:pt x="22" y="114"/>
                    </a:lnTo>
                    <a:lnTo>
                      <a:pt x="24" y="114"/>
                    </a:lnTo>
                    <a:lnTo>
                      <a:pt x="24" y="112"/>
                    </a:lnTo>
                    <a:lnTo>
                      <a:pt x="26" y="112"/>
                    </a:lnTo>
                    <a:lnTo>
                      <a:pt x="28" y="110"/>
                    </a:lnTo>
                    <a:lnTo>
                      <a:pt x="30" y="110"/>
                    </a:lnTo>
                    <a:lnTo>
                      <a:pt x="30" y="108"/>
                    </a:lnTo>
                    <a:lnTo>
                      <a:pt x="30" y="110"/>
                    </a:lnTo>
                    <a:lnTo>
                      <a:pt x="30" y="112"/>
                    </a:lnTo>
                    <a:lnTo>
                      <a:pt x="32" y="114"/>
                    </a:lnTo>
                    <a:lnTo>
                      <a:pt x="32" y="116"/>
                    </a:lnTo>
                    <a:lnTo>
                      <a:pt x="32" y="118"/>
                    </a:lnTo>
                    <a:lnTo>
                      <a:pt x="32" y="120"/>
                    </a:lnTo>
                    <a:lnTo>
                      <a:pt x="34" y="122"/>
                    </a:lnTo>
                    <a:lnTo>
                      <a:pt x="38" y="126"/>
                    </a:lnTo>
                    <a:lnTo>
                      <a:pt x="40" y="128"/>
                    </a:lnTo>
                    <a:lnTo>
                      <a:pt x="40" y="130"/>
                    </a:lnTo>
                    <a:lnTo>
                      <a:pt x="40" y="132"/>
                    </a:lnTo>
                    <a:lnTo>
                      <a:pt x="40" y="134"/>
                    </a:lnTo>
                    <a:lnTo>
                      <a:pt x="38" y="138"/>
                    </a:lnTo>
                    <a:lnTo>
                      <a:pt x="36" y="140"/>
                    </a:lnTo>
                    <a:lnTo>
                      <a:pt x="36" y="142"/>
                    </a:lnTo>
                    <a:lnTo>
                      <a:pt x="36" y="144"/>
                    </a:lnTo>
                    <a:lnTo>
                      <a:pt x="36" y="146"/>
                    </a:lnTo>
                    <a:lnTo>
                      <a:pt x="38" y="148"/>
                    </a:lnTo>
                    <a:lnTo>
                      <a:pt x="38" y="150"/>
                    </a:lnTo>
                    <a:lnTo>
                      <a:pt x="40" y="152"/>
                    </a:lnTo>
                    <a:lnTo>
                      <a:pt x="42" y="156"/>
                    </a:lnTo>
                    <a:lnTo>
                      <a:pt x="46" y="160"/>
                    </a:lnTo>
                    <a:lnTo>
                      <a:pt x="52" y="164"/>
                    </a:lnTo>
                    <a:lnTo>
                      <a:pt x="56" y="168"/>
                    </a:lnTo>
                    <a:lnTo>
                      <a:pt x="56" y="170"/>
                    </a:lnTo>
                    <a:lnTo>
                      <a:pt x="58" y="172"/>
                    </a:lnTo>
                    <a:lnTo>
                      <a:pt x="60" y="174"/>
                    </a:lnTo>
                    <a:lnTo>
                      <a:pt x="62" y="176"/>
                    </a:lnTo>
                    <a:lnTo>
                      <a:pt x="62" y="178"/>
                    </a:lnTo>
                    <a:lnTo>
                      <a:pt x="62" y="180"/>
                    </a:lnTo>
                    <a:lnTo>
                      <a:pt x="60" y="182"/>
                    </a:lnTo>
                    <a:lnTo>
                      <a:pt x="60" y="184"/>
                    </a:lnTo>
                    <a:lnTo>
                      <a:pt x="60" y="186"/>
                    </a:lnTo>
                    <a:lnTo>
                      <a:pt x="62" y="186"/>
                    </a:lnTo>
                    <a:lnTo>
                      <a:pt x="64" y="186"/>
                    </a:lnTo>
                    <a:lnTo>
                      <a:pt x="66" y="186"/>
                    </a:lnTo>
                    <a:lnTo>
                      <a:pt x="68" y="186"/>
                    </a:lnTo>
                    <a:lnTo>
                      <a:pt x="70" y="186"/>
                    </a:lnTo>
                    <a:lnTo>
                      <a:pt x="72" y="184"/>
                    </a:lnTo>
                    <a:lnTo>
                      <a:pt x="74" y="184"/>
                    </a:lnTo>
                    <a:lnTo>
                      <a:pt x="74" y="182"/>
                    </a:lnTo>
                    <a:lnTo>
                      <a:pt x="76" y="182"/>
                    </a:lnTo>
                    <a:lnTo>
                      <a:pt x="76" y="180"/>
                    </a:lnTo>
                    <a:lnTo>
                      <a:pt x="74" y="178"/>
                    </a:lnTo>
                    <a:lnTo>
                      <a:pt x="74" y="176"/>
                    </a:lnTo>
                    <a:lnTo>
                      <a:pt x="74" y="174"/>
                    </a:lnTo>
                    <a:lnTo>
                      <a:pt x="72" y="172"/>
                    </a:lnTo>
                    <a:lnTo>
                      <a:pt x="72" y="170"/>
                    </a:lnTo>
                    <a:lnTo>
                      <a:pt x="72" y="166"/>
                    </a:lnTo>
                    <a:lnTo>
                      <a:pt x="70" y="164"/>
                    </a:lnTo>
                    <a:lnTo>
                      <a:pt x="70" y="162"/>
                    </a:lnTo>
                    <a:lnTo>
                      <a:pt x="68" y="162"/>
                    </a:lnTo>
                    <a:lnTo>
                      <a:pt x="66" y="162"/>
                    </a:lnTo>
                    <a:lnTo>
                      <a:pt x="64" y="162"/>
                    </a:lnTo>
                    <a:lnTo>
                      <a:pt x="62" y="162"/>
                    </a:lnTo>
                    <a:lnTo>
                      <a:pt x="60" y="160"/>
                    </a:lnTo>
                    <a:lnTo>
                      <a:pt x="58" y="158"/>
                    </a:lnTo>
                    <a:lnTo>
                      <a:pt x="58" y="156"/>
                    </a:lnTo>
                    <a:lnTo>
                      <a:pt x="56" y="156"/>
                    </a:lnTo>
                    <a:lnTo>
                      <a:pt x="58" y="154"/>
                    </a:lnTo>
                    <a:lnTo>
                      <a:pt x="58" y="152"/>
                    </a:lnTo>
                    <a:lnTo>
                      <a:pt x="58" y="150"/>
                    </a:lnTo>
                    <a:lnTo>
                      <a:pt x="58" y="148"/>
                    </a:lnTo>
                    <a:lnTo>
                      <a:pt x="58" y="146"/>
                    </a:lnTo>
                    <a:lnTo>
                      <a:pt x="58" y="144"/>
                    </a:lnTo>
                    <a:lnTo>
                      <a:pt x="58" y="142"/>
                    </a:lnTo>
                    <a:lnTo>
                      <a:pt x="58" y="140"/>
                    </a:lnTo>
                    <a:lnTo>
                      <a:pt x="58" y="138"/>
                    </a:lnTo>
                    <a:lnTo>
                      <a:pt x="56" y="136"/>
                    </a:lnTo>
                    <a:lnTo>
                      <a:pt x="56" y="134"/>
                    </a:lnTo>
                    <a:lnTo>
                      <a:pt x="56" y="132"/>
                    </a:lnTo>
                    <a:lnTo>
                      <a:pt x="54" y="132"/>
                    </a:lnTo>
                    <a:lnTo>
                      <a:pt x="54" y="130"/>
                    </a:lnTo>
                    <a:lnTo>
                      <a:pt x="54" y="128"/>
                    </a:lnTo>
                    <a:lnTo>
                      <a:pt x="56" y="128"/>
                    </a:lnTo>
                    <a:lnTo>
                      <a:pt x="56" y="126"/>
                    </a:lnTo>
                    <a:lnTo>
                      <a:pt x="56" y="124"/>
                    </a:lnTo>
                    <a:lnTo>
                      <a:pt x="56" y="120"/>
                    </a:lnTo>
                    <a:lnTo>
                      <a:pt x="56" y="118"/>
                    </a:lnTo>
                    <a:lnTo>
                      <a:pt x="56" y="116"/>
                    </a:lnTo>
                    <a:lnTo>
                      <a:pt x="54" y="114"/>
                    </a:lnTo>
                    <a:lnTo>
                      <a:pt x="52" y="114"/>
                    </a:lnTo>
                    <a:lnTo>
                      <a:pt x="50" y="114"/>
                    </a:lnTo>
                    <a:lnTo>
                      <a:pt x="48" y="114"/>
                    </a:lnTo>
                    <a:lnTo>
                      <a:pt x="48" y="112"/>
                    </a:lnTo>
                    <a:lnTo>
                      <a:pt x="48" y="110"/>
                    </a:lnTo>
                    <a:lnTo>
                      <a:pt x="48" y="108"/>
                    </a:lnTo>
                    <a:lnTo>
                      <a:pt x="48" y="106"/>
                    </a:lnTo>
                    <a:lnTo>
                      <a:pt x="48" y="104"/>
                    </a:lnTo>
                    <a:lnTo>
                      <a:pt x="48" y="102"/>
                    </a:lnTo>
                    <a:lnTo>
                      <a:pt x="46" y="100"/>
                    </a:lnTo>
                    <a:lnTo>
                      <a:pt x="44" y="98"/>
                    </a:lnTo>
                    <a:lnTo>
                      <a:pt x="42" y="96"/>
                    </a:lnTo>
                    <a:lnTo>
                      <a:pt x="40" y="94"/>
                    </a:lnTo>
                    <a:lnTo>
                      <a:pt x="40" y="92"/>
                    </a:lnTo>
                    <a:lnTo>
                      <a:pt x="42" y="90"/>
                    </a:lnTo>
                    <a:lnTo>
                      <a:pt x="42" y="88"/>
                    </a:lnTo>
                    <a:lnTo>
                      <a:pt x="42" y="86"/>
                    </a:lnTo>
                    <a:lnTo>
                      <a:pt x="42" y="84"/>
                    </a:lnTo>
                    <a:lnTo>
                      <a:pt x="42" y="82"/>
                    </a:lnTo>
                    <a:lnTo>
                      <a:pt x="42" y="80"/>
                    </a:lnTo>
                    <a:lnTo>
                      <a:pt x="40" y="80"/>
                    </a:lnTo>
                    <a:lnTo>
                      <a:pt x="40" y="78"/>
                    </a:lnTo>
                    <a:lnTo>
                      <a:pt x="38" y="76"/>
                    </a:lnTo>
                    <a:lnTo>
                      <a:pt x="36" y="74"/>
                    </a:lnTo>
                    <a:lnTo>
                      <a:pt x="36" y="72"/>
                    </a:lnTo>
                    <a:lnTo>
                      <a:pt x="34" y="72"/>
                    </a:lnTo>
                    <a:lnTo>
                      <a:pt x="34" y="70"/>
                    </a:lnTo>
                    <a:lnTo>
                      <a:pt x="34" y="68"/>
                    </a:lnTo>
                    <a:lnTo>
                      <a:pt x="32" y="66"/>
                    </a:lnTo>
                    <a:lnTo>
                      <a:pt x="32" y="64"/>
                    </a:lnTo>
                    <a:lnTo>
                      <a:pt x="32" y="62"/>
                    </a:lnTo>
                    <a:lnTo>
                      <a:pt x="32" y="60"/>
                    </a:lnTo>
                    <a:lnTo>
                      <a:pt x="30" y="58"/>
                    </a:lnTo>
                    <a:lnTo>
                      <a:pt x="30" y="56"/>
                    </a:lnTo>
                    <a:lnTo>
                      <a:pt x="28" y="54"/>
                    </a:lnTo>
                    <a:lnTo>
                      <a:pt x="26" y="50"/>
                    </a:lnTo>
                    <a:lnTo>
                      <a:pt x="24" y="48"/>
                    </a:lnTo>
                    <a:lnTo>
                      <a:pt x="24" y="46"/>
                    </a:lnTo>
                    <a:lnTo>
                      <a:pt x="24" y="44"/>
                    </a:lnTo>
                    <a:lnTo>
                      <a:pt x="26" y="44"/>
                    </a:lnTo>
                    <a:lnTo>
                      <a:pt x="26" y="42"/>
                    </a:lnTo>
                    <a:lnTo>
                      <a:pt x="26" y="40"/>
                    </a:lnTo>
                    <a:lnTo>
                      <a:pt x="28" y="40"/>
                    </a:lnTo>
                    <a:lnTo>
                      <a:pt x="28" y="38"/>
                    </a:lnTo>
                    <a:lnTo>
                      <a:pt x="28" y="36"/>
                    </a:lnTo>
                    <a:lnTo>
                      <a:pt x="28" y="34"/>
                    </a:lnTo>
                    <a:lnTo>
                      <a:pt x="26" y="32"/>
                    </a:lnTo>
                    <a:lnTo>
                      <a:pt x="28" y="30"/>
                    </a:lnTo>
                    <a:lnTo>
                      <a:pt x="28" y="28"/>
                    </a:lnTo>
                    <a:lnTo>
                      <a:pt x="28" y="26"/>
                    </a:lnTo>
                    <a:lnTo>
                      <a:pt x="30" y="26"/>
                    </a:lnTo>
                    <a:lnTo>
                      <a:pt x="30" y="24"/>
                    </a:lnTo>
                    <a:lnTo>
                      <a:pt x="30" y="20"/>
                    </a:lnTo>
                    <a:lnTo>
                      <a:pt x="30" y="18"/>
                    </a:lnTo>
                    <a:lnTo>
                      <a:pt x="30" y="16"/>
                    </a:lnTo>
                    <a:lnTo>
                      <a:pt x="32" y="16"/>
                    </a:lnTo>
                    <a:lnTo>
                      <a:pt x="32" y="18"/>
                    </a:lnTo>
                    <a:lnTo>
                      <a:pt x="34" y="18"/>
                    </a:lnTo>
                    <a:lnTo>
                      <a:pt x="36" y="20"/>
                    </a:lnTo>
                    <a:lnTo>
                      <a:pt x="38" y="20"/>
                    </a:lnTo>
                    <a:lnTo>
                      <a:pt x="38" y="22"/>
                    </a:lnTo>
                    <a:lnTo>
                      <a:pt x="40" y="22"/>
                    </a:lnTo>
                    <a:lnTo>
                      <a:pt x="44" y="22"/>
                    </a:lnTo>
                    <a:lnTo>
                      <a:pt x="46" y="20"/>
                    </a:lnTo>
                    <a:lnTo>
                      <a:pt x="48" y="20"/>
                    </a:lnTo>
                    <a:lnTo>
                      <a:pt x="48" y="22"/>
                    </a:lnTo>
                    <a:lnTo>
                      <a:pt x="48" y="24"/>
                    </a:lnTo>
                    <a:lnTo>
                      <a:pt x="50" y="26"/>
                    </a:lnTo>
                    <a:lnTo>
                      <a:pt x="52" y="26"/>
                    </a:lnTo>
                    <a:lnTo>
                      <a:pt x="54" y="26"/>
                    </a:lnTo>
                    <a:lnTo>
                      <a:pt x="56" y="26"/>
                    </a:lnTo>
                    <a:lnTo>
                      <a:pt x="56" y="28"/>
                    </a:lnTo>
                    <a:lnTo>
                      <a:pt x="56" y="30"/>
                    </a:lnTo>
                    <a:lnTo>
                      <a:pt x="56" y="32"/>
                    </a:lnTo>
                    <a:lnTo>
                      <a:pt x="56" y="34"/>
                    </a:lnTo>
                    <a:lnTo>
                      <a:pt x="54" y="36"/>
                    </a:lnTo>
                    <a:lnTo>
                      <a:pt x="54" y="38"/>
                    </a:lnTo>
                    <a:lnTo>
                      <a:pt x="54" y="40"/>
                    </a:lnTo>
                    <a:lnTo>
                      <a:pt x="56" y="40"/>
                    </a:lnTo>
                    <a:lnTo>
                      <a:pt x="56" y="44"/>
                    </a:lnTo>
                    <a:lnTo>
                      <a:pt x="56" y="48"/>
                    </a:lnTo>
                    <a:lnTo>
                      <a:pt x="56" y="54"/>
                    </a:lnTo>
                    <a:lnTo>
                      <a:pt x="56" y="58"/>
                    </a:lnTo>
                    <a:lnTo>
                      <a:pt x="56" y="60"/>
                    </a:lnTo>
                    <a:lnTo>
                      <a:pt x="56" y="62"/>
                    </a:lnTo>
                    <a:lnTo>
                      <a:pt x="56" y="64"/>
                    </a:lnTo>
                    <a:lnTo>
                      <a:pt x="58" y="66"/>
                    </a:lnTo>
                    <a:lnTo>
                      <a:pt x="58" y="68"/>
                    </a:lnTo>
                    <a:lnTo>
                      <a:pt x="58" y="70"/>
                    </a:lnTo>
                    <a:lnTo>
                      <a:pt x="60" y="72"/>
                    </a:lnTo>
                    <a:lnTo>
                      <a:pt x="62" y="78"/>
                    </a:lnTo>
                    <a:lnTo>
                      <a:pt x="62" y="82"/>
                    </a:lnTo>
                    <a:lnTo>
                      <a:pt x="64" y="86"/>
                    </a:lnTo>
                    <a:lnTo>
                      <a:pt x="64" y="88"/>
                    </a:lnTo>
                    <a:lnTo>
                      <a:pt x="66" y="90"/>
                    </a:lnTo>
                    <a:lnTo>
                      <a:pt x="68" y="90"/>
                    </a:lnTo>
                    <a:lnTo>
                      <a:pt x="68" y="92"/>
                    </a:lnTo>
                    <a:lnTo>
                      <a:pt x="70" y="92"/>
                    </a:lnTo>
                    <a:lnTo>
                      <a:pt x="74" y="92"/>
                    </a:lnTo>
                    <a:lnTo>
                      <a:pt x="76" y="92"/>
                    </a:lnTo>
                    <a:lnTo>
                      <a:pt x="78" y="92"/>
                    </a:lnTo>
                    <a:lnTo>
                      <a:pt x="76" y="92"/>
                    </a:lnTo>
                    <a:lnTo>
                      <a:pt x="76" y="94"/>
                    </a:lnTo>
                    <a:lnTo>
                      <a:pt x="74" y="96"/>
                    </a:lnTo>
                    <a:lnTo>
                      <a:pt x="74" y="98"/>
                    </a:lnTo>
                    <a:lnTo>
                      <a:pt x="74" y="102"/>
                    </a:lnTo>
                    <a:lnTo>
                      <a:pt x="76" y="104"/>
                    </a:lnTo>
                    <a:lnTo>
                      <a:pt x="78" y="104"/>
                    </a:lnTo>
                    <a:lnTo>
                      <a:pt x="80" y="106"/>
                    </a:lnTo>
                    <a:lnTo>
                      <a:pt x="82" y="108"/>
                    </a:lnTo>
                    <a:lnTo>
                      <a:pt x="84" y="108"/>
                    </a:lnTo>
                    <a:lnTo>
                      <a:pt x="84" y="110"/>
                    </a:lnTo>
                    <a:lnTo>
                      <a:pt x="84" y="112"/>
                    </a:lnTo>
                    <a:lnTo>
                      <a:pt x="84" y="114"/>
                    </a:lnTo>
                    <a:lnTo>
                      <a:pt x="86" y="114"/>
                    </a:lnTo>
                    <a:lnTo>
                      <a:pt x="88" y="114"/>
                    </a:lnTo>
                    <a:lnTo>
                      <a:pt x="90" y="114"/>
                    </a:lnTo>
                    <a:lnTo>
                      <a:pt x="92" y="114"/>
                    </a:lnTo>
                    <a:lnTo>
                      <a:pt x="92" y="116"/>
                    </a:lnTo>
                    <a:lnTo>
                      <a:pt x="92" y="118"/>
                    </a:lnTo>
                    <a:lnTo>
                      <a:pt x="92" y="120"/>
                    </a:lnTo>
                    <a:lnTo>
                      <a:pt x="94" y="122"/>
                    </a:lnTo>
                    <a:lnTo>
                      <a:pt x="94" y="124"/>
                    </a:lnTo>
                    <a:lnTo>
                      <a:pt x="92" y="124"/>
                    </a:lnTo>
                    <a:lnTo>
                      <a:pt x="90" y="124"/>
                    </a:lnTo>
                    <a:lnTo>
                      <a:pt x="88" y="126"/>
                    </a:lnTo>
                    <a:lnTo>
                      <a:pt x="86" y="128"/>
                    </a:lnTo>
                    <a:lnTo>
                      <a:pt x="84" y="130"/>
                    </a:lnTo>
                    <a:lnTo>
                      <a:pt x="84" y="132"/>
                    </a:lnTo>
                    <a:lnTo>
                      <a:pt x="84" y="134"/>
                    </a:lnTo>
                    <a:lnTo>
                      <a:pt x="86" y="134"/>
                    </a:lnTo>
                    <a:lnTo>
                      <a:pt x="86" y="136"/>
                    </a:lnTo>
                    <a:lnTo>
                      <a:pt x="88" y="136"/>
                    </a:lnTo>
                    <a:lnTo>
                      <a:pt x="90" y="136"/>
                    </a:lnTo>
                    <a:lnTo>
                      <a:pt x="90" y="134"/>
                    </a:lnTo>
                    <a:lnTo>
                      <a:pt x="92" y="134"/>
                    </a:lnTo>
                    <a:lnTo>
                      <a:pt x="92" y="136"/>
                    </a:lnTo>
                    <a:lnTo>
                      <a:pt x="94" y="138"/>
                    </a:lnTo>
                    <a:lnTo>
                      <a:pt x="96" y="140"/>
                    </a:lnTo>
                    <a:lnTo>
                      <a:pt x="96" y="142"/>
                    </a:lnTo>
                    <a:lnTo>
                      <a:pt x="98" y="142"/>
                    </a:lnTo>
                    <a:lnTo>
                      <a:pt x="100" y="142"/>
                    </a:lnTo>
                    <a:lnTo>
                      <a:pt x="102" y="142"/>
                    </a:lnTo>
                    <a:lnTo>
                      <a:pt x="104" y="142"/>
                    </a:lnTo>
                    <a:lnTo>
                      <a:pt x="104" y="144"/>
                    </a:lnTo>
                    <a:lnTo>
                      <a:pt x="104" y="146"/>
                    </a:lnTo>
                    <a:lnTo>
                      <a:pt x="104" y="148"/>
                    </a:lnTo>
                    <a:lnTo>
                      <a:pt x="104" y="150"/>
                    </a:lnTo>
                    <a:lnTo>
                      <a:pt x="104" y="152"/>
                    </a:lnTo>
                    <a:lnTo>
                      <a:pt x="102" y="154"/>
                    </a:lnTo>
                    <a:lnTo>
                      <a:pt x="102" y="156"/>
                    </a:lnTo>
                    <a:lnTo>
                      <a:pt x="104" y="156"/>
                    </a:lnTo>
                    <a:lnTo>
                      <a:pt x="106" y="156"/>
                    </a:lnTo>
                    <a:lnTo>
                      <a:pt x="110" y="156"/>
                    </a:lnTo>
                    <a:lnTo>
                      <a:pt x="112" y="156"/>
                    </a:lnTo>
                    <a:lnTo>
                      <a:pt x="112" y="158"/>
                    </a:lnTo>
                    <a:lnTo>
                      <a:pt x="112" y="160"/>
                    </a:lnTo>
                    <a:lnTo>
                      <a:pt x="112" y="162"/>
                    </a:lnTo>
                    <a:lnTo>
                      <a:pt x="114" y="164"/>
                    </a:lnTo>
                    <a:lnTo>
                      <a:pt x="114" y="166"/>
                    </a:lnTo>
                    <a:lnTo>
                      <a:pt x="116" y="168"/>
                    </a:lnTo>
                    <a:lnTo>
                      <a:pt x="120" y="172"/>
                    </a:lnTo>
                    <a:lnTo>
                      <a:pt x="122" y="174"/>
                    </a:lnTo>
                    <a:lnTo>
                      <a:pt x="124" y="176"/>
                    </a:lnTo>
                    <a:lnTo>
                      <a:pt x="126" y="178"/>
                    </a:lnTo>
                    <a:lnTo>
                      <a:pt x="126" y="182"/>
                    </a:lnTo>
                    <a:lnTo>
                      <a:pt x="130" y="186"/>
                    </a:lnTo>
                    <a:lnTo>
                      <a:pt x="130" y="188"/>
                    </a:lnTo>
                    <a:lnTo>
                      <a:pt x="132" y="192"/>
                    </a:lnTo>
                    <a:lnTo>
                      <a:pt x="132" y="194"/>
                    </a:lnTo>
                    <a:lnTo>
                      <a:pt x="134" y="196"/>
                    </a:lnTo>
                    <a:lnTo>
                      <a:pt x="134" y="198"/>
                    </a:lnTo>
                    <a:lnTo>
                      <a:pt x="132" y="200"/>
                    </a:lnTo>
                    <a:lnTo>
                      <a:pt x="132" y="202"/>
                    </a:lnTo>
                    <a:lnTo>
                      <a:pt x="132" y="206"/>
                    </a:lnTo>
                    <a:lnTo>
                      <a:pt x="132" y="208"/>
                    </a:lnTo>
                    <a:lnTo>
                      <a:pt x="134" y="208"/>
                    </a:lnTo>
                    <a:lnTo>
                      <a:pt x="136" y="210"/>
                    </a:lnTo>
                    <a:lnTo>
                      <a:pt x="136" y="212"/>
                    </a:lnTo>
                    <a:lnTo>
                      <a:pt x="138" y="214"/>
                    </a:lnTo>
                    <a:lnTo>
                      <a:pt x="138" y="216"/>
                    </a:lnTo>
                    <a:lnTo>
                      <a:pt x="136" y="218"/>
                    </a:lnTo>
                    <a:lnTo>
                      <a:pt x="134" y="220"/>
                    </a:lnTo>
                    <a:lnTo>
                      <a:pt x="134" y="222"/>
                    </a:lnTo>
                    <a:lnTo>
                      <a:pt x="132" y="222"/>
                    </a:lnTo>
                    <a:lnTo>
                      <a:pt x="130" y="224"/>
                    </a:lnTo>
                    <a:lnTo>
                      <a:pt x="130" y="226"/>
                    </a:lnTo>
                    <a:lnTo>
                      <a:pt x="130" y="228"/>
                    </a:lnTo>
                    <a:lnTo>
                      <a:pt x="132" y="230"/>
                    </a:lnTo>
                    <a:lnTo>
                      <a:pt x="134" y="230"/>
                    </a:lnTo>
                    <a:lnTo>
                      <a:pt x="132" y="230"/>
                    </a:lnTo>
                    <a:lnTo>
                      <a:pt x="130" y="230"/>
                    </a:lnTo>
                    <a:lnTo>
                      <a:pt x="128" y="232"/>
                    </a:lnTo>
                    <a:lnTo>
                      <a:pt x="126" y="232"/>
                    </a:lnTo>
                    <a:lnTo>
                      <a:pt x="126" y="234"/>
                    </a:lnTo>
                    <a:lnTo>
                      <a:pt x="126" y="238"/>
                    </a:lnTo>
                    <a:lnTo>
                      <a:pt x="126" y="240"/>
                    </a:lnTo>
                    <a:lnTo>
                      <a:pt x="126" y="244"/>
                    </a:lnTo>
                    <a:lnTo>
                      <a:pt x="126" y="248"/>
                    </a:lnTo>
                    <a:lnTo>
                      <a:pt x="128" y="252"/>
                    </a:lnTo>
                    <a:lnTo>
                      <a:pt x="128" y="254"/>
                    </a:lnTo>
                    <a:lnTo>
                      <a:pt x="130" y="256"/>
                    </a:lnTo>
                    <a:lnTo>
                      <a:pt x="132" y="256"/>
                    </a:lnTo>
                    <a:lnTo>
                      <a:pt x="134" y="256"/>
                    </a:lnTo>
                    <a:lnTo>
                      <a:pt x="140" y="258"/>
                    </a:lnTo>
                    <a:lnTo>
                      <a:pt x="142" y="258"/>
                    </a:lnTo>
                    <a:lnTo>
                      <a:pt x="144" y="258"/>
                    </a:lnTo>
                    <a:lnTo>
                      <a:pt x="148" y="260"/>
                    </a:lnTo>
                    <a:lnTo>
                      <a:pt x="150" y="260"/>
                    </a:lnTo>
                    <a:lnTo>
                      <a:pt x="150" y="262"/>
                    </a:lnTo>
                    <a:lnTo>
                      <a:pt x="150" y="264"/>
                    </a:lnTo>
                    <a:lnTo>
                      <a:pt x="152" y="266"/>
                    </a:lnTo>
                    <a:lnTo>
                      <a:pt x="152" y="268"/>
                    </a:lnTo>
                    <a:lnTo>
                      <a:pt x="156" y="274"/>
                    </a:lnTo>
                    <a:lnTo>
                      <a:pt x="156" y="276"/>
                    </a:lnTo>
                    <a:lnTo>
                      <a:pt x="158" y="278"/>
                    </a:lnTo>
                    <a:lnTo>
                      <a:pt x="160" y="278"/>
                    </a:lnTo>
                    <a:lnTo>
                      <a:pt x="162" y="280"/>
                    </a:lnTo>
                    <a:lnTo>
                      <a:pt x="164" y="280"/>
                    </a:lnTo>
                    <a:lnTo>
                      <a:pt x="168" y="280"/>
                    </a:lnTo>
                    <a:lnTo>
                      <a:pt x="172" y="280"/>
                    </a:lnTo>
                    <a:lnTo>
                      <a:pt x="174" y="280"/>
                    </a:lnTo>
                    <a:lnTo>
                      <a:pt x="178" y="280"/>
                    </a:lnTo>
                    <a:lnTo>
                      <a:pt x="180" y="280"/>
                    </a:lnTo>
                    <a:lnTo>
                      <a:pt x="182" y="280"/>
                    </a:lnTo>
                    <a:lnTo>
                      <a:pt x="182" y="282"/>
                    </a:lnTo>
                    <a:lnTo>
                      <a:pt x="184" y="284"/>
                    </a:lnTo>
                    <a:lnTo>
                      <a:pt x="186" y="288"/>
                    </a:lnTo>
                    <a:lnTo>
                      <a:pt x="188" y="290"/>
                    </a:lnTo>
                    <a:lnTo>
                      <a:pt x="190" y="292"/>
                    </a:lnTo>
                    <a:lnTo>
                      <a:pt x="192" y="296"/>
                    </a:lnTo>
                    <a:lnTo>
                      <a:pt x="196" y="298"/>
                    </a:lnTo>
                    <a:lnTo>
                      <a:pt x="198" y="300"/>
                    </a:lnTo>
                    <a:lnTo>
                      <a:pt x="202" y="302"/>
                    </a:lnTo>
                    <a:lnTo>
                      <a:pt x="208" y="302"/>
                    </a:lnTo>
                    <a:lnTo>
                      <a:pt x="212" y="304"/>
                    </a:lnTo>
                    <a:lnTo>
                      <a:pt x="218" y="304"/>
                    </a:lnTo>
                    <a:lnTo>
                      <a:pt x="222" y="304"/>
                    </a:lnTo>
                    <a:lnTo>
                      <a:pt x="224" y="304"/>
                    </a:lnTo>
                    <a:lnTo>
                      <a:pt x="226" y="306"/>
                    </a:lnTo>
                    <a:lnTo>
                      <a:pt x="228" y="306"/>
                    </a:lnTo>
                    <a:lnTo>
                      <a:pt x="228" y="308"/>
                    </a:lnTo>
                    <a:lnTo>
                      <a:pt x="230" y="310"/>
                    </a:lnTo>
                    <a:lnTo>
                      <a:pt x="232" y="312"/>
                    </a:lnTo>
                    <a:lnTo>
                      <a:pt x="232" y="314"/>
                    </a:lnTo>
                    <a:lnTo>
                      <a:pt x="234" y="314"/>
                    </a:lnTo>
                    <a:lnTo>
                      <a:pt x="236" y="314"/>
                    </a:lnTo>
                    <a:lnTo>
                      <a:pt x="238" y="314"/>
                    </a:lnTo>
                    <a:lnTo>
                      <a:pt x="238" y="316"/>
                    </a:lnTo>
                    <a:lnTo>
                      <a:pt x="240" y="316"/>
                    </a:lnTo>
                    <a:lnTo>
                      <a:pt x="240" y="318"/>
                    </a:lnTo>
                    <a:lnTo>
                      <a:pt x="242" y="320"/>
                    </a:lnTo>
                    <a:lnTo>
                      <a:pt x="242" y="322"/>
                    </a:lnTo>
                    <a:lnTo>
                      <a:pt x="244" y="322"/>
                    </a:lnTo>
                    <a:lnTo>
                      <a:pt x="244" y="320"/>
                    </a:lnTo>
                    <a:lnTo>
                      <a:pt x="246" y="320"/>
                    </a:lnTo>
                    <a:lnTo>
                      <a:pt x="250" y="320"/>
                    </a:lnTo>
                    <a:lnTo>
                      <a:pt x="252" y="320"/>
                    </a:lnTo>
                    <a:lnTo>
                      <a:pt x="256" y="320"/>
                    </a:lnTo>
                    <a:lnTo>
                      <a:pt x="258" y="320"/>
                    </a:lnTo>
                    <a:lnTo>
                      <a:pt x="258" y="322"/>
                    </a:lnTo>
                    <a:lnTo>
                      <a:pt x="260" y="322"/>
                    </a:lnTo>
                    <a:lnTo>
                      <a:pt x="260" y="324"/>
                    </a:lnTo>
                    <a:lnTo>
                      <a:pt x="260" y="326"/>
                    </a:lnTo>
                    <a:lnTo>
                      <a:pt x="262" y="326"/>
                    </a:lnTo>
                    <a:lnTo>
                      <a:pt x="264" y="328"/>
                    </a:lnTo>
                    <a:lnTo>
                      <a:pt x="266" y="328"/>
                    </a:lnTo>
                    <a:lnTo>
                      <a:pt x="268" y="328"/>
                    </a:lnTo>
                    <a:lnTo>
                      <a:pt x="270" y="326"/>
                    </a:lnTo>
                    <a:lnTo>
                      <a:pt x="274" y="324"/>
                    </a:lnTo>
                    <a:lnTo>
                      <a:pt x="278" y="322"/>
                    </a:lnTo>
                    <a:lnTo>
                      <a:pt x="284" y="320"/>
                    </a:lnTo>
                    <a:lnTo>
                      <a:pt x="290" y="318"/>
                    </a:lnTo>
                    <a:lnTo>
                      <a:pt x="292" y="316"/>
                    </a:lnTo>
                    <a:lnTo>
                      <a:pt x="294" y="314"/>
                    </a:lnTo>
                    <a:lnTo>
                      <a:pt x="296" y="314"/>
                    </a:lnTo>
                    <a:lnTo>
                      <a:pt x="298" y="314"/>
                    </a:lnTo>
                    <a:lnTo>
                      <a:pt x="300" y="314"/>
                    </a:lnTo>
                    <a:lnTo>
                      <a:pt x="302" y="314"/>
                    </a:lnTo>
                    <a:lnTo>
                      <a:pt x="304" y="316"/>
                    </a:lnTo>
                    <a:lnTo>
                      <a:pt x="306" y="318"/>
                    </a:lnTo>
                    <a:lnTo>
                      <a:pt x="312" y="322"/>
                    </a:lnTo>
                    <a:lnTo>
                      <a:pt x="318" y="326"/>
                    </a:lnTo>
                    <a:lnTo>
                      <a:pt x="322" y="328"/>
                    </a:lnTo>
                    <a:lnTo>
                      <a:pt x="324" y="330"/>
                    </a:lnTo>
                    <a:lnTo>
                      <a:pt x="326" y="332"/>
                    </a:lnTo>
                    <a:lnTo>
                      <a:pt x="328" y="334"/>
                    </a:lnTo>
                    <a:lnTo>
                      <a:pt x="330" y="336"/>
                    </a:lnTo>
                    <a:lnTo>
                      <a:pt x="330" y="338"/>
                    </a:lnTo>
                    <a:lnTo>
                      <a:pt x="332" y="340"/>
                    </a:lnTo>
                    <a:lnTo>
                      <a:pt x="332" y="342"/>
                    </a:lnTo>
                    <a:lnTo>
                      <a:pt x="332" y="346"/>
                    </a:lnTo>
                    <a:lnTo>
                      <a:pt x="334" y="348"/>
                    </a:lnTo>
                    <a:lnTo>
                      <a:pt x="336" y="348"/>
                    </a:lnTo>
                    <a:lnTo>
                      <a:pt x="338" y="348"/>
                    </a:lnTo>
                    <a:lnTo>
                      <a:pt x="338" y="346"/>
                    </a:lnTo>
                    <a:lnTo>
                      <a:pt x="338" y="344"/>
                    </a:lnTo>
                    <a:lnTo>
                      <a:pt x="340" y="34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 name="Freeform 14">
                <a:extLst>
                  <a:ext uri="{FF2B5EF4-FFF2-40B4-BE49-F238E27FC236}">
                    <a16:creationId xmlns:a16="http://schemas.microsoft.com/office/drawing/2014/main" id="{2E385887-6B97-4CA6-8A58-C5BAC67D7DC7}"/>
                  </a:ext>
                </a:extLst>
              </p:cNvPr>
              <p:cNvSpPr>
                <a:spLocks noChangeAspect="1"/>
              </p:cNvSpPr>
              <p:nvPr/>
            </p:nvSpPr>
            <p:spPr bwMode="auto">
              <a:xfrm>
                <a:off x="643815" y="1939603"/>
                <a:ext cx="999771" cy="495286"/>
              </a:xfrm>
              <a:custGeom>
                <a:avLst/>
                <a:gdLst/>
                <a:ahLst/>
                <a:cxnLst>
                  <a:cxn ang="0">
                    <a:pos x="368" y="186"/>
                  </a:cxn>
                  <a:cxn ang="0">
                    <a:pos x="408" y="192"/>
                  </a:cxn>
                  <a:cxn ang="0">
                    <a:pos x="420" y="198"/>
                  </a:cxn>
                  <a:cxn ang="0">
                    <a:pos x="444" y="208"/>
                  </a:cxn>
                  <a:cxn ang="0">
                    <a:pos x="460" y="218"/>
                  </a:cxn>
                  <a:cxn ang="0">
                    <a:pos x="468" y="218"/>
                  </a:cxn>
                  <a:cxn ang="0">
                    <a:pos x="472" y="228"/>
                  </a:cxn>
                  <a:cxn ang="0">
                    <a:pos x="468" y="250"/>
                  </a:cxn>
                  <a:cxn ang="0">
                    <a:pos x="478" y="258"/>
                  </a:cxn>
                  <a:cxn ang="0">
                    <a:pos x="460" y="276"/>
                  </a:cxn>
                  <a:cxn ang="0">
                    <a:pos x="480" y="266"/>
                  </a:cxn>
                  <a:cxn ang="0">
                    <a:pos x="478" y="240"/>
                  </a:cxn>
                  <a:cxn ang="0">
                    <a:pos x="480" y="204"/>
                  </a:cxn>
                  <a:cxn ang="0">
                    <a:pos x="464" y="196"/>
                  </a:cxn>
                  <a:cxn ang="0">
                    <a:pos x="442" y="202"/>
                  </a:cxn>
                  <a:cxn ang="0">
                    <a:pos x="434" y="182"/>
                  </a:cxn>
                  <a:cxn ang="0">
                    <a:pos x="510" y="106"/>
                  </a:cxn>
                  <a:cxn ang="0">
                    <a:pos x="604" y="24"/>
                  </a:cxn>
                  <a:cxn ang="0">
                    <a:pos x="540" y="16"/>
                  </a:cxn>
                  <a:cxn ang="0">
                    <a:pos x="494" y="6"/>
                  </a:cxn>
                  <a:cxn ang="0">
                    <a:pos x="458" y="6"/>
                  </a:cxn>
                  <a:cxn ang="0">
                    <a:pos x="416" y="6"/>
                  </a:cxn>
                  <a:cxn ang="0">
                    <a:pos x="348" y="20"/>
                  </a:cxn>
                  <a:cxn ang="0">
                    <a:pos x="264" y="46"/>
                  </a:cxn>
                  <a:cxn ang="0">
                    <a:pos x="288" y="66"/>
                  </a:cxn>
                  <a:cxn ang="0">
                    <a:pos x="292" y="78"/>
                  </a:cxn>
                  <a:cxn ang="0">
                    <a:pos x="248" y="84"/>
                  </a:cxn>
                  <a:cxn ang="0">
                    <a:pos x="222" y="76"/>
                  </a:cxn>
                  <a:cxn ang="0">
                    <a:pos x="182" y="94"/>
                  </a:cxn>
                  <a:cxn ang="0">
                    <a:pos x="196" y="110"/>
                  </a:cxn>
                  <a:cxn ang="0">
                    <a:pos x="224" y="108"/>
                  </a:cxn>
                  <a:cxn ang="0">
                    <a:pos x="234" y="110"/>
                  </a:cxn>
                  <a:cxn ang="0">
                    <a:pos x="200" y="124"/>
                  </a:cxn>
                  <a:cxn ang="0">
                    <a:pos x="154" y="142"/>
                  </a:cxn>
                  <a:cxn ang="0">
                    <a:pos x="120" y="156"/>
                  </a:cxn>
                  <a:cxn ang="0">
                    <a:pos x="104" y="168"/>
                  </a:cxn>
                  <a:cxn ang="0">
                    <a:pos x="108" y="172"/>
                  </a:cxn>
                  <a:cxn ang="0">
                    <a:pos x="108" y="176"/>
                  </a:cxn>
                  <a:cxn ang="0">
                    <a:pos x="96" y="192"/>
                  </a:cxn>
                  <a:cxn ang="0">
                    <a:pos x="140" y="178"/>
                  </a:cxn>
                  <a:cxn ang="0">
                    <a:pos x="102" y="208"/>
                  </a:cxn>
                  <a:cxn ang="0">
                    <a:pos x="124" y="204"/>
                  </a:cxn>
                  <a:cxn ang="0">
                    <a:pos x="144" y="208"/>
                  </a:cxn>
                  <a:cxn ang="0">
                    <a:pos x="160" y="210"/>
                  </a:cxn>
                  <a:cxn ang="0">
                    <a:pos x="166" y="214"/>
                  </a:cxn>
                  <a:cxn ang="0">
                    <a:pos x="128" y="232"/>
                  </a:cxn>
                  <a:cxn ang="0">
                    <a:pos x="84" y="246"/>
                  </a:cxn>
                  <a:cxn ang="0">
                    <a:pos x="52" y="262"/>
                  </a:cxn>
                  <a:cxn ang="0">
                    <a:pos x="14" y="272"/>
                  </a:cxn>
                  <a:cxn ang="0">
                    <a:pos x="6" y="278"/>
                  </a:cxn>
                  <a:cxn ang="0">
                    <a:pos x="38" y="266"/>
                  </a:cxn>
                  <a:cxn ang="0">
                    <a:pos x="72" y="264"/>
                  </a:cxn>
                  <a:cxn ang="0">
                    <a:pos x="118" y="248"/>
                  </a:cxn>
                  <a:cxn ang="0">
                    <a:pos x="162" y="232"/>
                  </a:cxn>
                  <a:cxn ang="0">
                    <a:pos x="204" y="214"/>
                  </a:cxn>
                  <a:cxn ang="0">
                    <a:pos x="244" y="192"/>
                  </a:cxn>
                  <a:cxn ang="0">
                    <a:pos x="280" y="176"/>
                  </a:cxn>
                  <a:cxn ang="0">
                    <a:pos x="308" y="172"/>
                  </a:cxn>
                  <a:cxn ang="0">
                    <a:pos x="268" y="186"/>
                  </a:cxn>
                  <a:cxn ang="0">
                    <a:pos x="248" y="198"/>
                  </a:cxn>
                  <a:cxn ang="0">
                    <a:pos x="322" y="176"/>
                  </a:cxn>
                  <a:cxn ang="0">
                    <a:pos x="364" y="168"/>
                  </a:cxn>
                </a:cxnLst>
                <a:rect l="0" t="0" r="r" b="b"/>
                <a:pathLst>
                  <a:path w="608" h="284">
                    <a:moveTo>
                      <a:pt x="358" y="176"/>
                    </a:moveTo>
                    <a:lnTo>
                      <a:pt x="358" y="176"/>
                    </a:lnTo>
                    <a:lnTo>
                      <a:pt x="358" y="178"/>
                    </a:lnTo>
                    <a:lnTo>
                      <a:pt x="358" y="180"/>
                    </a:lnTo>
                    <a:lnTo>
                      <a:pt x="358" y="182"/>
                    </a:lnTo>
                    <a:lnTo>
                      <a:pt x="360" y="182"/>
                    </a:lnTo>
                    <a:lnTo>
                      <a:pt x="360" y="180"/>
                    </a:lnTo>
                    <a:lnTo>
                      <a:pt x="362" y="180"/>
                    </a:lnTo>
                    <a:lnTo>
                      <a:pt x="364" y="178"/>
                    </a:lnTo>
                    <a:lnTo>
                      <a:pt x="366" y="176"/>
                    </a:lnTo>
                    <a:lnTo>
                      <a:pt x="370" y="174"/>
                    </a:lnTo>
                    <a:lnTo>
                      <a:pt x="372" y="174"/>
                    </a:lnTo>
                    <a:lnTo>
                      <a:pt x="374" y="172"/>
                    </a:lnTo>
                    <a:lnTo>
                      <a:pt x="372" y="174"/>
                    </a:lnTo>
                    <a:lnTo>
                      <a:pt x="370" y="176"/>
                    </a:lnTo>
                    <a:lnTo>
                      <a:pt x="368" y="178"/>
                    </a:lnTo>
                    <a:lnTo>
                      <a:pt x="366" y="180"/>
                    </a:lnTo>
                    <a:lnTo>
                      <a:pt x="364" y="182"/>
                    </a:lnTo>
                    <a:lnTo>
                      <a:pt x="364" y="184"/>
                    </a:lnTo>
                    <a:lnTo>
                      <a:pt x="366" y="186"/>
                    </a:lnTo>
                    <a:lnTo>
                      <a:pt x="368" y="186"/>
                    </a:lnTo>
                    <a:lnTo>
                      <a:pt x="372" y="186"/>
                    </a:lnTo>
                    <a:lnTo>
                      <a:pt x="376" y="186"/>
                    </a:lnTo>
                    <a:lnTo>
                      <a:pt x="378" y="188"/>
                    </a:lnTo>
                    <a:lnTo>
                      <a:pt x="384" y="188"/>
                    </a:lnTo>
                    <a:lnTo>
                      <a:pt x="386" y="188"/>
                    </a:lnTo>
                    <a:lnTo>
                      <a:pt x="390" y="188"/>
                    </a:lnTo>
                    <a:lnTo>
                      <a:pt x="392" y="188"/>
                    </a:lnTo>
                    <a:lnTo>
                      <a:pt x="394" y="188"/>
                    </a:lnTo>
                    <a:lnTo>
                      <a:pt x="396" y="188"/>
                    </a:lnTo>
                    <a:lnTo>
                      <a:pt x="398" y="188"/>
                    </a:lnTo>
                    <a:lnTo>
                      <a:pt x="400" y="190"/>
                    </a:lnTo>
                    <a:lnTo>
                      <a:pt x="402" y="190"/>
                    </a:lnTo>
                    <a:lnTo>
                      <a:pt x="404" y="188"/>
                    </a:lnTo>
                    <a:lnTo>
                      <a:pt x="406" y="186"/>
                    </a:lnTo>
                    <a:lnTo>
                      <a:pt x="408" y="186"/>
                    </a:lnTo>
                    <a:lnTo>
                      <a:pt x="410" y="186"/>
                    </a:lnTo>
                    <a:lnTo>
                      <a:pt x="410" y="184"/>
                    </a:lnTo>
                    <a:lnTo>
                      <a:pt x="410" y="186"/>
                    </a:lnTo>
                    <a:lnTo>
                      <a:pt x="408" y="188"/>
                    </a:lnTo>
                    <a:lnTo>
                      <a:pt x="408" y="190"/>
                    </a:lnTo>
                    <a:lnTo>
                      <a:pt x="408" y="192"/>
                    </a:lnTo>
                    <a:lnTo>
                      <a:pt x="410" y="194"/>
                    </a:lnTo>
                    <a:lnTo>
                      <a:pt x="412" y="194"/>
                    </a:lnTo>
                    <a:lnTo>
                      <a:pt x="416" y="194"/>
                    </a:lnTo>
                    <a:lnTo>
                      <a:pt x="418" y="194"/>
                    </a:lnTo>
                    <a:lnTo>
                      <a:pt x="420" y="192"/>
                    </a:lnTo>
                    <a:lnTo>
                      <a:pt x="422" y="192"/>
                    </a:lnTo>
                    <a:lnTo>
                      <a:pt x="424" y="192"/>
                    </a:lnTo>
                    <a:lnTo>
                      <a:pt x="428" y="192"/>
                    </a:lnTo>
                    <a:lnTo>
                      <a:pt x="430" y="192"/>
                    </a:lnTo>
                    <a:lnTo>
                      <a:pt x="432" y="190"/>
                    </a:lnTo>
                    <a:lnTo>
                      <a:pt x="432" y="192"/>
                    </a:lnTo>
                    <a:lnTo>
                      <a:pt x="430" y="192"/>
                    </a:lnTo>
                    <a:lnTo>
                      <a:pt x="428" y="192"/>
                    </a:lnTo>
                    <a:lnTo>
                      <a:pt x="426" y="194"/>
                    </a:lnTo>
                    <a:lnTo>
                      <a:pt x="422" y="194"/>
                    </a:lnTo>
                    <a:lnTo>
                      <a:pt x="420" y="196"/>
                    </a:lnTo>
                    <a:lnTo>
                      <a:pt x="420" y="198"/>
                    </a:lnTo>
                    <a:lnTo>
                      <a:pt x="420" y="200"/>
                    </a:lnTo>
                    <a:lnTo>
                      <a:pt x="424" y="202"/>
                    </a:lnTo>
                    <a:lnTo>
                      <a:pt x="426" y="204"/>
                    </a:lnTo>
                    <a:lnTo>
                      <a:pt x="428" y="204"/>
                    </a:lnTo>
                    <a:lnTo>
                      <a:pt x="426" y="204"/>
                    </a:lnTo>
                    <a:lnTo>
                      <a:pt x="426" y="206"/>
                    </a:lnTo>
                    <a:lnTo>
                      <a:pt x="428" y="208"/>
                    </a:lnTo>
                    <a:lnTo>
                      <a:pt x="428" y="210"/>
                    </a:lnTo>
                    <a:lnTo>
                      <a:pt x="428" y="212"/>
                    </a:lnTo>
                    <a:lnTo>
                      <a:pt x="428" y="216"/>
                    </a:lnTo>
                    <a:lnTo>
                      <a:pt x="430" y="216"/>
                    </a:lnTo>
                    <a:lnTo>
                      <a:pt x="430" y="218"/>
                    </a:lnTo>
                    <a:lnTo>
                      <a:pt x="432" y="218"/>
                    </a:lnTo>
                    <a:lnTo>
                      <a:pt x="436" y="216"/>
                    </a:lnTo>
                    <a:lnTo>
                      <a:pt x="440" y="216"/>
                    </a:lnTo>
                    <a:lnTo>
                      <a:pt x="442" y="216"/>
                    </a:lnTo>
                    <a:lnTo>
                      <a:pt x="444" y="216"/>
                    </a:lnTo>
                    <a:lnTo>
                      <a:pt x="446" y="216"/>
                    </a:lnTo>
                    <a:lnTo>
                      <a:pt x="444" y="214"/>
                    </a:lnTo>
                    <a:lnTo>
                      <a:pt x="444" y="212"/>
                    </a:lnTo>
                    <a:lnTo>
                      <a:pt x="444" y="210"/>
                    </a:lnTo>
                    <a:lnTo>
                      <a:pt x="444" y="208"/>
                    </a:lnTo>
                    <a:lnTo>
                      <a:pt x="446" y="208"/>
                    </a:lnTo>
                    <a:lnTo>
                      <a:pt x="448" y="206"/>
                    </a:lnTo>
                    <a:lnTo>
                      <a:pt x="450" y="208"/>
                    </a:lnTo>
                    <a:lnTo>
                      <a:pt x="450" y="210"/>
                    </a:lnTo>
                    <a:lnTo>
                      <a:pt x="452" y="210"/>
                    </a:lnTo>
                    <a:lnTo>
                      <a:pt x="454" y="210"/>
                    </a:lnTo>
                    <a:lnTo>
                      <a:pt x="456" y="210"/>
                    </a:lnTo>
                    <a:lnTo>
                      <a:pt x="458" y="208"/>
                    </a:lnTo>
                    <a:lnTo>
                      <a:pt x="460" y="208"/>
                    </a:lnTo>
                    <a:lnTo>
                      <a:pt x="458" y="208"/>
                    </a:lnTo>
                    <a:lnTo>
                      <a:pt x="458" y="210"/>
                    </a:lnTo>
                    <a:lnTo>
                      <a:pt x="456" y="212"/>
                    </a:lnTo>
                    <a:lnTo>
                      <a:pt x="456" y="214"/>
                    </a:lnTo>
                    <a:lnTo>
                      <a:pt x="454" y="216"/>
                    </a:lnTo>
                    <a:lnTo>
                      <a:pt x="454" y="218"/>
                    </a:lnTo>
                    <a:lnTo>
                      <a:pt x="456" y="218"/>
                    </a:lnTo>
                    <a:lnTo>
                      <a:pt x="458" y="218"/>
                    </a:lnTo>
                    <a:lnTo>
                      <a:pt x="460" y="218"/>
                    </a:lnTo>
                    <a:lnTo>
                      <a:pt x="460" y="216"/>
                    </a:lnTo>
                    <a:lnTo>
                      <a:pt x="462" y="214"/>
                    </a:lnTo>
                    <a:lnTo>
                      <a:pt x="464" y="212"/>
                    </a:lnTo>
                    <a:lnTo>
                      <a:pt x="464" y="210"/>
                    </a:lnTo>
                    <a:lnTo>
                      <a:pt x="466" y="208"/>
                    </a:lnTo>
                    <a:lnTo>
                      <a:pt x="466" y="206"/>
                    </a:lnTo>
                    <a:lnTo>
                      <a:pt x="468" y="204"/>
                    </a:lnTo>
                    <a:lnTo>
                      <a:pt x="470" y="202"/>
                    </a:lnTo>
                    <a:lnTo>
                      <a:pt x="472" y="200"/>
                    </a:lnTo>
                    <a:lnTo>
                      <a:pt x="472" y="198"/>
                    </a:lnTo>
                    <a:lnTo>
                      <a:pt x="474" y="198"/>
                    </a:lnTo>
                    <a:lnTo>
                      <a:pt x="472" y="200"/>
                    </a:lnTo>
                    <a:lnTo>
                      <a:pt x="470" y="202"/>
                    </a:lnTo>
                    <a:lnTo>
                      <a:pt x="470" y="204"/>
                    </a:lnTo>
                    <a:lnTo>
                      <a:pt x="470" y="206"/>
                    </a:lnTo>
                    <a:lnTo>
                      <a:pt x="468" y="208"/>
                    </a:lnTo>
                    <a:lnTo>
                      <a:pt x="468" y="210"/>
                    </a:lnTo>
                    <a:lnTo>
                      <a:pt x="468" y="212"/>
                    </a:lnTo>
                    <a:lnTo>
                      <a:pt x="466" y="212"/>
                    </a:lnTo>
                    <a:lnTo>
                      <a:pt x="466" y="214"/>
                    </a:lnTo>
                    <a:lnTo>
                      <a:pt x="466" y="216"/>
                    </a:lnTo>
                    <a:lnTo>
                      <a:pt x="468" y="216"/>
                    </a:lnTo>
                    <a:lnTo>
                      <a:pt x="468" y="218"/>
                    </a:lnTo>
                    <a:lnTo>
                      <a:pt x="468" y="220"/>
                    </a:lnTo>
                    <a:lnTo>
                      <a:pt x="470" y="218"/>
                    </a:lnTo>
                    <a:lnTo>
                      <a:pt x="472" y="218"/>
                    </a:lnTo>
                    <a:lnTo>
                      <a:pt x="474" y="218"/>
                    </a:lnTo>
                    <a:lnTo>
                      <a:pt x="476" y="216"/>
                    </a:lnTo>
                    <a:lnTo>
                      <a:pt x="474" y="218"/>
                    </a:lnTo>
                    <a:lnTo>
                      <a:pt x="474" y="220"/>
                    </a:lnTo>
                    <a:lnTo>
                      <a:pt x="472" y="220"/>
                    </a:lnTo>
                    <a:lnTo>
                      <a:pt x="472" y="222"/>
                    </a:lnTo>
                    <a:lnTo>
                      <a:pt x="470" y="222"/>
                    </a:lnTo>
                    <a:lnTo>
                      <a:pt x="472" y="224"/>
                    </a:lnTo>
                    <a:lnTo>
                      <a:pt x="474" y="224"/>
                    </a:lnTo>
                    <a:lnTo>
                      <a:pt x="476" y="226"/>
                    </a:lnTo>
                    <a:lnTo>
                      <a:pt x="478" y="226"/>
                    </a:lnTo>
                    <a:lnTo>
                      <a:pt x="476" y="226"/>
                    </a:lnTo>
                    <a:lnTo>
                      <a:pt x="474" y="226"/>
                    </a:lnTo>
                    <a:lnTo>
                      <a:pt x="472" y="226"/>
                    </a:lnTo>
                    <a:lnTo>
                      <a:pt x="472" y="228"/>
                    </a:lnTo>
                    <a:lnTo>
                      <a:pt x="472" y="230"/>
                    </a:lnTo>
                    <a:lnTo>
                      <a:pt x="470" y="232"/>
                    </a:lnTo>
                    <a:lnTo>
                      <a:pt x="468" y="234"/>
                    </a:lnTo>
                    <a:lnTo>
                      <a:pt x="466" y="234"/>
                    </a:lnTo>
                    <a:lnTo>
                      <a:pt x="466" y="236"/>
                    </a:lnTo>
                    <a:lnTo>
                      <a:pt x="464" y="236"/>
                    </a:lnTo>
                    <a:lnTo>
                      <a:pt x="462" y="238"/>
                    </a:lnTo>
                    <a:lnTo>
                      <a:pt x="460" y="238"/>
                    </a:lnTo>
                    <a:lnTo>
                      <a:pt x="462" y="240"/>
                    </a:lnTo>
                    <a:lnTo>
                      <a:pt x="464" y="242"/>
                    </a:lnTo>
                    <a:lnTo>
                      <a:pt x="466" y="242"/>
                    </a:lnTo>
                    <a:lnTo>
                      <a:pt x="468" y="242"/>
                    </a:lnTo>
                    <a:lnTo>
                      <a:pt x="468" y="244"/>
                    </a:lnTo>
                    <a:lnTo>
                      <a:pt x="468" y="246"/>
                    </a:lnTo>
                    <a:lnTo>
                      <a:pt x="468" y="248"/>
                    </a:lnTo>
                    <a:lnTo>
                      <a:pt x="468" y="250"/>
                    </a:lnTo>
                    <a:lnTo>
                      <a:pt x="466" y="252"/>
                    </a:lnTo>
                    <a:lnTo>
                      <a:pt x="464" y="252"/>
                    </a:lnTo>
                    <a:lnTo>
                      <a:pt x="464" y="254"/>
                    </a:lnTo>
                    <a:lnTo>
                      <a:pt x="462" y="254"/>
                    </a:lnTo>
                    <a:lnTo>
                      <a:pt x="464" y="254"/>
                    </a:lnTo>
                    <a:lnTo>
                      <a:pt x="466" y="256"/>
                    </a:lnTo>
                    <a:lnTo>
                      <a:pt x="468" y="256"/>
                    </a:lnTo>
                    <a:lnTo>
                      <a:pt x="466" y="258"/>
                    </a:lnTo>
                    <a:lnTo>
                      <a:pt x="464" y="260"/>
                    </a:lnTo>
                    <a:lnTo>
                      <a:pt x="462" y="260"/>
                    </a:lnTo>
                    <a:lnTo>
                      <a:pt x="462" y="262"/>
                    </a:lnTo>
                    <a:lnTo>
                      <a:pt x="464" y="262"/>
                    </a:lnTo>
                    <a:lnTo>
                      <a:pt x="466" y="262"/>
                    </a:lnTo>
                    <a:lnTo>
                      <a:pt x="468" y="262"/>
                    </a:lnTo>
                    <a:lnTo>
                      <a:pt x="470" y="262"/>
                    </a:lnTo>
                    <a:lnTo>
                      <a:pt x="472" y="260"/>
                    </a:lnTo>
                    <a:lnTo>
                      <a:pt x="474" y="260"/>
                    </a:lnTo>
                    <a:lnTo>
                      <a:pt x="476" y="258"/>
                    </a:lnTo>
                    <a:lnTo>
                      <a:pt x="478" y="258"/>
                    </a:lnTo>
                    <a:lnTo>
                      <a:pt x="476" y="262"/>
                    </a:lnTo>
                    <a:lnTo>
                      <a:pt x="474" y="264"/>
                    </a:lnTo>
                    <a:lnTo>
                      <a:pt x="472" y="266"/>
                    </a:lnTo>
                    <a:lnTo>
                      <a:pt x="470" y="266"/>
                    </a:lnTo>
                    <a:lnTo>
                      <a:pt x="470" y="268"/>
                    </a:lnTo>
                    <a:lnTo>
                      <a:pt x="468" y="268"/>
                    </a:lnTo>
                    <a:lnTo>
                      <a:pt x="468" y="270"/>
                    </a:lnTo>
                    <a:lnTo>
                      <a:pt x="466" y="270"/>
                    </a:lnTo>
                    <a:lnTo>
                      <a:pt x="468" y="272"/>
                    </a:lnTo>
                    <a:lnTo>
                      <a:pt x="470" y="272"/>
                    </a:lnTo>
                    <a:lnTo>
                      <a:pt x="472" y="272"/>
                    </a:lnTo>
                    <a:lnTo>
                      <a:pt x="470" y="274"/>
                    </a:lnTo>
                    <a:lnTo>
                      <a:pt x="468" y="274"/>
                    </a:lnTo>
                    <a:lnTo>
                      <a:pt x="466" y="274"/>
                    </a:lnTo>
                    <a:lnTo>
                      <a:pt x="464" y="276"/>
                    </a:lnTo>
                    <a:lnTo>
                      <a:pt x="462" y="276"/>
                    </a:lnTo>
                    <a:lnTo>
                      <a:pt x="460" y="276"/>
                    </a:lnTo>
                    <a:lnTo>
                      <a:pt x="460" y="278"/>
                    </a:lnTo>
                    <a:lnTo>
                      <a:pt x="458" y="278"/>
                    </a:lnTo>
                    <a:lnTo>
                      <a:pt x="458" y="280"/>
                    </a:lnTo>
                    <a:lnTo>
                      <a:pt x="456" y="280"/>
                    </a:lnTo>
                    <a:lnTo>
                      <a:pt x="458" y="280"/>
                    </a:lnTo>
                    <a:lnTo>
                      <a:pt x="460" y="282"/>
                    </a:lnTo>
                    <a:lnTo>
                      <a:pt x="460" y="284"/>
                    </a:lnTo>
                    <a:lnTo>
                      <a:pt x="466" y="282"/>
                    </a:lnTo>
                    <a:lnTo>
                      <a:pt x="468" y="280"/>
                    </a:lnTo>
                    <a:lnTo>
                      <a:pt x="470" y="280"/>
                    </a:lnTo>
                    <a:lnTo>
                      <a:pt x="472" y="278"/>
                    </a:lnTo>
                    <a:lnTo>
                      <a:pt x="474" y="276"/>
                    </a:lnTo>
                    <a:lnTo>
                      <a:pt x="476" y="276"/>
                    </a:lnTo>
                    <a:lnTo>
                      <a:pt x="478" y="274"/>
                    </a:lnTo>
                    <a:lnTo>
                      <a:pt x="478" y="272"/>
                    </a:lnTo>
                    <a:lnTo>
                      <a:pt x="480" y="270"/>
                    </a:lnTo>
                    <a:lnTo>
                      <a:pt x="480" y="268"/>
                    </a:lnTo>
                    <a:lnTo>
                      <a:pt x="480" y="266"/>
                    </a:lnTo>
                    <a:lnTo>
                      <a:pt x="482" y="266"/>
                    </a:lnTo>
                    <a:lnTo>
                      <a:pt x="484" y="266"/>
                    </a:lnTo>
                    <a:lnTo>
                      <a:pt x="484" y="264"/>
                    </a:lnTo>
                    <a:lnTo>
                      <a:pt x="486" y="264"/>
                    </a:lnTo>
                    <a:lnTo>
                      <a:pt x="488" y="262"/>
                    </a:lnTo>
                    <a:lnTo>
                      <a:pt x="490" y="260"/>
                    </a:lnTo>
                    <a:lnTo>
                      <a:pt x="490" y="258"/>
                    </a:lnTo>
                    <a:lnTo>
                      <a:pt x="488" y="258"/>
                    </a:lnTo>
                    <a:lnTo>
                      <a:pt x="486" y="256"/>
                    </a:lnTo>
                    <a:lnTo>
                      <a:pt x="484" y="256"/>
                    </a:lnTo>
                    <a:lnTo>
                      <a:pt x="484" y="254"/>
                    </a:lnTo>
                    <a:lnTo>
                      <a:pt x="482" y="254"/>
                    </a:lnTo>
                    <a:lnTo>
                      <a:pt x="482" y="252"/>
                    </a:lnTo>
                    <a:lnTo>
                      <a:pt x="480" y="252"/>
                    </a:lnTo>
                    <a:lnTo>
                      <a:pt x="478" y="252"/>
                    </a:lnTo>
                    <a:lnTo>
                      <a:pt x="476" y="250"/>
                    </a:lnTo>
                    <a:lnTo>
                      <a:pt x="476" y="248"/>
                    </a:lnTo>
                    <a:lnTo>
                      <a:pt x="478" y="244"/>
                    </a:lnTo>
                    <a:lnTo>
                      <a:pt x="478" y="242"/>
                    </a:lnTo>
                    <a:lnTo>
                      <a:pt x="478" y="240"/>
                    </a:lnTo>
                    <a:lnTo>
                      <a:pt x="480" y="238"/>
                    </a:lnTo>
                    <a:lnTo>
                      <a:pt x="480" y="234"/>
                    </a:lnTo>
                    <a:lnTo>
                      <a:pt x="480" y="232"/>
                    </a:lnTo>
                    <a:lnTo>
                      <a:pt x="480" y="230"/>
                    </a:lnTo>
                    <a:lnTo>
                      <a:pt x="480" y="228"/>
                    </a:lnTo>
                    <a:lnTo>
                      <a:pt x="482" y="226"/>
                    </a:lnTo>
                    <a:lnTo>
                      <a:pt x="482" y="224"/>
                    </a:lnTo>
                    <a:lnTo>
                      <a:pt x="484" y="222"/>
                    </a:lnTo>
                    <a:lnTo>
                      <a:pt x="484" y="220"/>
                    </a:lnTo>
                    <a:lnTo>
                      <a:pt x="484" y="218"/>
                    </a:lnTo>
                    <a:lnTo>
                      <a:pt x="484" y="216"/>
                    </a:lnTo>
                    <a:lnTo>
                      <a:pt x="482" y="214"/>
                    </a:lnTo>
                    <a:lnTo>
                      <a:pt x="482" y="212"/>
                    </a:lnTo>
                    <a:lnTo>
                      <a:pt x="480" y="210"/>
                    </a:lnTo>
                    <a:lnTo>
                      <a:pt x="480" y="208"/>
                    </a:lnTo>
                    <a:lnTo>
                      <a:pt x="478" y="208"/>
                    </a:lnTo>
                    <a:lnTo>
                      <a:pt x="480" y="208"/>
                    </a:lnTo>
                    <a:lnTo>
                      <a:pt x="480" y="206"/>
                    </a:lnTo>
                    <a:lnTo>
                      <a:pt x="480" y="204"/>
                    </a:lnTo>
                    <a:lnTo>
                      <a:pt x="480" y="202"/>
                    </a:lnTo>
                    <a:lnTo>
                      <a:pt x="480" y="200"/>
                    </a:lnTo>
                    <a:lnTo>
                      <a:pt x="480" y="198"/>
                    </a:lnTo>
                    <a:lnTo>
                      <a:pt x="482" y="198"/>
                    </a:lnTo>
                    <a:lnTo>
                      <a:pt x="484" y="196"/>
                    </a:lnTo>
                    <a:lnTo>
                      <a:pt x="486" y="196"/>
                    </a:lnTo>
                    <a:lnTo>
                      <a:pt x="486" y="194"/>
                    </a:lnTo>
                    <a:lnTo>
                      <a:pt x="484" y="194"/>
                    </a:lnTo>
                    <a:lnTo>
                      <a:pt x="482" y="192"/>
                    </a:lnTo>
                    <a:lnTo>
                      <a:pt x="478" y="192"/>
                    </a:lnTo>
                    <a:lnTo>
                      <a:pt x="476" y="192"/>
                    </a:lnTo>
                    <a:lnTo>
                      <a:pt x="472" y="194"/>
                    </a:lnTo>
                    <a:lnTo>
                      <a:pt x="470" y="194"/>
                    </a:lnTo>
                    <a:lnTo>
                      <a:pt x="468" y="194"/>
                    </a:lnTo>
                    <a:lnTo>
                      <a:pt x="466" y="196"/>
                    </a:lnTo>
                    <a:lnTo>
                      <a:pt x="464" y="196"/>
                    </a:lnTo>
                    <a:lnTo>
                      <a:pt x="462" y="196"/>
                    </a:lnTo>
                    <a:lnTo>
                      <a:pt x="462" y="198"/>
                    </a:lnTo>
                    <a:lnTo>
                      <a:pt x="460" y="198"/>
                    </a:lnTo>
                    <a:lnTo>
                      <a:pt x="460" y="200"/>
                    </a:lnTo>
                    <a:lnTo>
                      <a:pt x="458" y="200"/>
                    </a:lnTo>
                    <a:lnTo>
                      <a:pt x="456" y="200"/>
                    </a:lnTo>
                    <a:lnTo>
                      <a:pt x="454" y="202"/>
                    </a:lnTo>
                    <a:lnTo>
                      <a:pt x="452" y="202"/>
                    </a:lnTo>
                    <a:lnTo>
                      <a:pt x="450" y="202"/>
                    </a:lnTo>
                    <a:lnTo>
                      <a:pt x="448" y="202"/>
                    </a:lnTo>
                    <a:lnTo>
                      <a:pt x="448" y="204"/>
                    </a:lnTo>
                    <a:lnTo>
                      <a:pt x="446" y="204"/>
                    </a:lnTo>
                    <a:lnTo>
                      <a:pt x="444" y="204"/>
                    </a:lnTo>
                    <a:lnTo>
                      <a:pt x="444" y="206"/>
                    </a:lnTo>
                    <a:lnTo>
                      <a:pt x="440" y="208"/>
                    </a:lnTo>
                    <a:lnTo>
                      <a:pt x="438" y="208"/>
                    </a:lnTo>
                    <a:lnTo>
                      <a:pt x="440" y="206"/>
                    </a:lnTo>
                    <a:lnTo>
                      <a:pt x="440" y="204"/>
                    </a:lnTo>
                    <a:lnTo>
                      <a:pt x="442" y="204"/>
                    </a:lnTo>
                    <a:lnTo>
                      <a:pt x="442" y="202"/>
                    </a:lnTo>
                    <a:lnTo>
                      <a:pt x="444" y="202"/>
                    </a:lnTo>
                    <a:lnTo>
                      <a:pt x="444" y="200"/>
                    </a:lnTo>
                    <a:lnTo>
                      <a:pt x="442" y="200"/>
                    </a:lnTo>
                    <a:lnTo>
                      <a:pt x="440" y="200"/>
                    </a:lnTo>
                    <a:lnTo>
                      <a:pt x="440" y="198"/>
                    </a:lnTo>
                    <a:lnTo>
                      <a:pt x="438" y="196"/>
                    </a:lnTo>
                    <a:lnTo>
                      <a:pt x="436" y="196"/>
                    </a:lnTo>
                    <a:lnTo>
                      <a:pt x="436" y="192"/>
                    </a:lnTo>
                    <a:lnTo>
                      <a:pt x="436" y="190"/>
                    </a:lnTo>
                    <a:lnTo>
                      <a:pt x="436" y="188"/>
                    </a:lnTo>
                    <a:lnTo>
                      <a:pt x="438" y="186"/>
                    </a:lnTo>
                    <a:lnTo>
                      <a:pt x="440" y="184"/>
                    </a:lnTo>
                    <a:lnTo>
                      <a:pt x="442" y="184"/>
                    </a:lnTo>
                    <a:lnTo>
                      <a:pt x="442" y="182"/>
                    </a:lnTo>
                    <a:lnTo>
                      <a:pt x="440" y="182"/>
                    </a:lnTo>
                    <a:lnTo>
                      <a:pt x="438" y="182"/>
                    </a:lnTo>
                    <a:lnTo>
                      <a:pt x="436" y="182"/>
                    </a:lnTo>
                    <a:lnTo>
                      <a:pt x="434" y="182"/>
                    </a:lnTo>
                    <a:lnTo>
                      <a:pt x="432" y="184"/>
                    </a:lnTo>
                    <a:lnTo>
                      <a:pt x="430" y="184"/>
                    </a:lnTo>
                    <a:lnTo>
                      <a:pt x="428" y="184"/>
                    </a:lnTo>
                    <a:lnTo>
                      <a:pt x="426" y="184"/>
                    </a:lnTo>
                    <a:lnTo>
                      <a:pt x="424" y="186"/>
                    </a:lnTo>
                    <a:lnTo>
                      <a:pt x="422" y="186"/>
                    </a:lnTo>
                    <a:lnTo>
                      <a:pt x="420" y="186"/>
                    </a:lnTo>
                    <a:lnTo>
                      <a:pt x="418" y="184"/>
                    </a:lnTo>
                    <a:lnTo>
                      <a:pt x="416" y="184"/>
                    </a:lnTo>
                    <a:lnTo>
                      <a:pt x="418" y="182"/>
                    </a:lnTo>
                    <a:lnTo>
                      <a:pt x="418" y="180"/>
                    </a:lnTo>
                    <a:lnTo>
                      <a:pt x="420" y="180"/>
                    </a:lnTo>
                    <a:lnTo>
                      <a:pt x="422" y="178"/>
                    </a:lnTo>
                    <a:lnTo>
                      <a:pt x="424" y="176"/>
                    </a:lnTo>
                    <a:lnTo>
                      <a:pt x="434" y="170"/>
                    </a:lnTo>
                    <a:lnTo>
                      <a:pt x="440" y="164"/>
                    </a:lnTo>
                    <a:lnTo>
                      <a:pt x="450" y="156"/>
                    </a:lnTo>
                    <a:lnTo>
                      <a:pt x="458" y="150"/>
                    </a:lnTo>
                    <a:lnTo>
                      <a:pt x="464" y="144"/>
                    </a:lnTo>
                    <a:lnTo>
                      <a:pt x="472" y="138"/>
                    </a:lnTo>
                    <a:lnTo>
                      <a:pt x="478" y="132"/>
                    </a:lnTo>
                    <a:lnTo>
                      <a:pt x="484" y="126"/>
                    </a:lnTo>
                    <a:lnTo>
                      <a:pt x="498" y="116"/>
                    </a:lnTo>
                    <a:lnTo>
                      <a:pt x="510" y="106"/>
                    </a:lnTo>
                    <a:lnTo>
                      <a:pt x="520" y="98"/>
                    </a:lnTo>
                    <a:lnTo>
                      <a:pt x="532" y="90"/>
                    </a:lnTo>
                    <a:lnTo>
                      <a:pt x="540" y="82"/>
                    </a:lnTo>
                    <a:lnTo>
                      <a:pt x="548" y="76"/>
                    </a:lnTo>
                    <a:lnTo>
                      <a:pt x="556" y="68"/>
                    </a:lnTo>
                    <a:lnTo>
                      <a:pt x="564" y="62"/>
                    </a:lnTo>
                    <a:lnTo>
                      <a:pt x="570" y="56"/>
                    </a:lnTo>
                    <a:lnTo>
                      <a:pt x="576" y="52"/>
                    </a:lnTo>
                    <a:lnTo>
                      <a:pt x="580" y="48"/>
                    </a:lnTo>
                    <a:lnTo>
                      <a:pt x="586" y="44"/>
                    </a:lnTo>
                    <a:lnTo>
                      <a:pt x="590" y="42"/>
                    </a:lnTo>
                    <a:lnTo>
                      <a:pt x="594" y="38"/>
                    </a:lnTo>
                    <a:lnTo>
                      <a:pt x="596" y="36"/>
                    </a:lnTo>
                    <a:lnTo>
                      <a:pt x="600" y="34"/>
                    </a:lnTo>
                    <a:lnTo>
                      <a:pt x="602" y="32"/>
                    </a:lnTo>
                    <a:lnTo>
                      <a:pt x="602" y="30"/>
                    </a:lnTo>
                    <a:lnTo>
                      <a:pt x="604" y="30"/>
                    </a:lnTo>
                    <a:lnTo>
                      <a:pt x="606" y="28"/>
                    </a:lnTo>
                    <a:lnTo>
                      <a:pt x="606" y="26"/>
                    </a:lnTo>
                    <a:lnTo>
                      <a:pt x="608" y="26"/>
                    </a:lnTo>
                    <a:lnTo>
                      <a:pt x="606" y="26"/>
                    </a:lnTo>
                    <a:lnTo>
                      <a:pt x="604" y="26"/>
                    </a:lnTo>
                    <a:lnTo>
                      <a:pt x="604" y="24"/>
                    </a:lnTo>
                    <a:lnTo>
                      <a:pt x="602" y="24"/>
                    </a:lnTo>
                    <a:lnTo>
                      <a:pt x="602" y="22"/>
                    </a:lnTo>
                    <a:lnTo>
                      <a:pt x="602" y="20"/>
                    </a:lnTo>
                    <a:lnTo>
                      <a:pt x="600" y="18"/>
                    </a:lnTo>
                    <a:lnTo>
                      <a:pt x="598" y="18"/>
                    </a:lnTo>
                    <a:lnTo>
                      <a:pt x="594" y="18"/>
                    </a:lnTo>
                    <a:lnTo>
                      <a:pt x="586" y="18"/>
                    </a:lnTo>
                    <a:lnTo>
                      <a:pt x="582" y="20"/>
                    </a:lnTo>
                    <a:lnTo>
                      <a:pt x="580" y="20"/>
                    </a:lnTo>
                    <a:lnTo>
                      <a:pt x="578" y="20"/>
                    </a:lnTo>
                    <a:lnTo>
                      <a:pt x="576" y="22"/>
                    </a:lnTo>
                    <a:lnTo>
                      <a:pt x="574" y="22"/>
                    </a:lnTo>
                    <a:lnTo>
                      <a:pt x="572" y="22"/>
                    </a:lnTo>
                    <a:lnTo>
                      <a:pt x="570" y="22"/>
                    </a:lnTo>
                    <a:lnTo>
                      <a:pt x="568" y="20"/>
                    </a:lnTo>
                    <a:lnTo>
                      <a:pt x="566" y="20"/>
                    </a:lnTo>
                    <a:lnTo>
                      <a:pt x="564" y="18"/>
                    </a:lnTo>
                    <a:lnTo>
                      <a:pt x="562" y="18"/>
                    </a:lnTo>
                    <a:lnTo>
                      <a:pt x="560" y="16"/>
                    </a:lnTo>
                    <a:lnTo>
                      <a:pt x="558" y="16"/>
                    </a:lnTo>
                    <a:lnTo>
                      <a:pt x="556" y="16"/>
                    </a:lnTo>
                    <a:lnTo>
                      <a:pt x="554" y="16"/>
                    </a:lnTo>
                    <a:lnTo>
                      <a:pt x="550" y="16"/>
                    </a:lnTo>
                    <a:lnTo>
                      <a:pt x="546" y="16"/>
                    </a:lnTo>
                    <a:lnTo>
                      <a:pt x="544" y="16"/>
                    </a:lnTo>
                    <a:lnTo>
                      <a:pt x="542" y="16"/>
                    </a:lnTo>
                    <a:lnTo>
                      <a:pt x="540" y="16"/>
                    </a:lnTo>
                    <a:lnTo>
                      <a:pt x="538" y="14"/>
                    </a:lnTo>
                    <a:lnTo>
                      <a:pt x="536" y="14"/>
                    </a:lnTo>
                    <a:lnTo>
                      <a:pt x="534" y="14"/>
                    </a:lnTo>
                    <a:lnTo>
                      <a:pt x="532" y="12"/>
                    </a:lnTo>
                    <a:lnTo>
                      <a:pt x="528" y="12"/>
                    </a:lnTo>
                    <a:lnTo>
                      <a:pt x="526" y="12"/>
                    </a:lnTo>
                    <a:lnTo>
                      <a:pt x="522" y="12"/>
                    </a:lnTo>
                    <a:lnTo>
                      <a:pt x="520" y="12"/>
                    </a:lnTo>
                    <a:lnTo>
                      <a:pt x="514" y="12"/>
                    </a:lnTo>
                    <a:lnTo>
                      <a:pt x="510" y="12"/>
                    </a:lnTo>
                    <a:lnTo>
                      <a:pt x="504" y="12"/>
                    </a:lnTo>
                    <a:lnTo>
                      <a:pt x="502" y="12"/>
                    </a:lnTo>
                    <a:lnTo>
                      <a:pt x="500" y="12"/>
                    </a:lnTo>
                    <a:lnTo>
                      <a:pt x="498" y="12"/>
                    </a:lnTo>
                    <a:lnTo>
                      <a:pt x="496" y="12"/>
                    </a:lnTo>
                    <a:lnTo>
                      <a:pt x="494" y="12"/>
                    </a:lnTo>
                    <a:lnTo>
                      <a:pt x="496" y="10"/>
                    </a:lnTo>
                    <a:lnTo>
                      <a:pt x="496" y="8"/>
                    </a:lnTo>
                    <a:lnTo>
                      <a:pt x="496" y="6"/>
                    </a:lnTo>
                    <a:lnTo>
                      <a:pt x="494" y="6"/>
                    </a:lnTo>
                    <a:lnTo>
                      <a:pt x="492" y="6"/>
                    </a:lnTo>
                    <a:lnTo>
                      <a:pt x="490" y="6"/>
                    </a:lnTo>
                    <a:lnTo>
                      <a:pt x="486" y="6"/>
                    </a:lnTo>
                    <a:lnTo>
                      <a:pt x="484" y="6"/>
                    </a:lnTo>
                    <a:lnTo>
                      <a:pt x="482" y="6"/>
                    </a:lnTo>
                    <a:lnTo>
                      <a:pt x="480" y="6"/>
                    </a:lnTo>
                    <a:lnTo>
                      <a:pt x="476" y="6"/>
                    </a:lnTo>
                    <a:lnTo>
                      <a:pt x="474" y="6"/>
                    </a:lnTo>
                    <a:lnTo>
                      <a:pt x="472" y="6"/>
                    </a:lnTo>
                    <a:lnTo>
                      <a:pt x="470" y="6"/>
                    </a:lnTo>
                    <a:lnTo>
                      <a:pt x="468" y="6"/>
                    </a:lnTo>
                    <a:lnTo>
                      <a:pt x="468" y="8"/>
                    </a:lnTo>
                    <a:lnTo>
                      <a:pt x="470" y="6"/>
                    </a:lnTo>
                    <a:lnTo>
                      <a:pt x="472" y="4"/>
                    </a:lnTo>
                    <a:lnTo>
                      <a:pt x="474" y="2"/>
                    </a:lnTo>
                    <a:lnTo>
                      <a:pt x="474" y="0"/>
                    </a:lnTo>
                    <a:lnTo>
                      <a:pt x="476" y="0"/>
                    </a:lnTo>
                    <a:lnTo>
                      <a:pt x="472" y="2"/>
                    </a:lnTo>
                    <a:lnTo>
                      <a:pt x="468" y="2"/>
                    </a:lnTo>
                    <a:lnTo>
                      <a:pt x="466" y="4"/>
                    </a:lnTo>
                    <a:lnTo>
                      <a:pt x="464" y="4"/>
                    </a:lnTo>
                    <a:lnTo>
                      <a:pt x="462" y="6"/>
                    </a:lnTo>
                    <a:lnTo>
                      <a:pt x="460" y="6"/>
                    </a:lnTo>
                    <a:lnTo>
                      <a:pt x="458" y="6"/>
                    </a:lnTo>
                    <a:lnTo>
                      <a:pt x="456" y="6"/>
                    </a:lnTo>
                    <a:lnTo>
                      <a:pt x="456" y="8"/>
                    </a:lnTo>
                    <a:lnTo>
                      <a:pt x="458" y="6"/>
                    </a:lnTo>
                    <a:lnTo>
                      <a:pt x="460" y="4"/>
                    </a:lnTo>
                    <a:lnTo>
                      <a:pt x="460" y="2"/>
                    </a:lnTo>
                    <a:lnTo>
                      <a:pt x="462" y="0"/>
                    </a:lnTo>
                    <a:lnTo>
                      <a:pt x="460" y="0"/>
                    </a:lnTo>
                    <a:lnTo>
                      <a:pt x="458" y="0"/>
                    </a:lnTo>
                    <a:lnTo>
                      <a:pt x="456" y="0"/>
                    </a:lnTo>
                    <a:lnTo>
                      <a:pt x="454" y="0"/>
                    </a:lnTo>
                    <a:lnTo>
                      <a:pt x="452" y="2"/>
                    </a:lnTo>
                    <a:lnTo>
                      <a:pt x="450" y="4"/>
                    </a:lnTo>
                    <a:lnTo>
                      <a:pt x="446" y="4"/>
                    </a:lnTo>
                    <a:lnTo>
                      <a:pt x="442" y="6"/>
                    </a:lnTo>
                    <a:lnTo>
                      <a:pt x="438" y="6"/>
                    </a:lnTo>
                    <a:lnTo>
                      <a:pt x="434" y="6"/>
                    </a:lnTo>
                    <a:lnTo>
                      <a:pt x="430" y="6"/>
                    </a:lnTo>
                    <a:lnTo>
                      <a:pt x="426" y="6"/>
                    </a:lnTo>
                    <a:lnTo>
                      <a:pt x="420" y="6"/>
                    </a:lnTo>
                    <a:lnTo>
                      <a:pt x="416" y="6"/>
                    </a:lnTo>
                    <a:lnTo>
                      <a:pt x="412" y="6"/>
                    </a:lnTo>
                    <a:lnTo>
                      <a:pt x="408" y="6"/>
                    </a:lnTo>
                    <a:lnTo>
                      <a:pt x="406" y="6"/>
                    </a:lnTo>
                    <a:lnTo>
                      <a:pt x="404" y="6"/>
                    </a:lnTo>
                    <a:lnTo>
                      <a:pt x="404" y="8"/>
                    </a:lnTo>
                    <a:lnTo>
                      <a:pt x="402" y="8"/>
                    </a:lnTo>
                    <a:lnTo>
                      <a:pt x="400" y="10"/>
                    </a:lnTo>
                    <a:lnTo>
                      <a:pt x="398" y="10"/>
                    </a:lnTo>
                    <a:lnTo>
                      <a:pt x="396" y="10"/>
                    </a:lnTo>
                    <a:lnTo>
                      <a:pt x="394" y="12"/>
                    </a:lnTo>
                    <a:lnTo>
                      <a:pt x="392" y="12"/>
                    </a:lnTo>
                    <a:lnTo>
                      <a:pt x="390" y="12"/>
                    </a:lnTo>
                    <a:lnTo>
                      <a:pt x="388" y="12"/>
                    </a:lnTo>
                    <a:lnTo>
                      <a:pt x="386" y="12"/>
                    </a:lnTo>
                    <a:lnTo>
                      <a:pt x="384" y="12"/>
                    </a:lnTo>
                    <a:lnTo>
                      <a:pt x="380" y="12"/>
                    </a:lnTo>
                    <a:lnTo>
                      <a:pt x="376" y="12"/>
                    </a:lnTo>
                    <a:lnTo>
                      <a:pt x="372" y="14"/>
                    </a:lnTo>
                    <a:lnTo>
                      <a:pt x="368" y="14"/>
                    </a:lnTo>
                    <a:lnTo>
                      <a:pt x="364" y="14"/>
                    </a:lnTo>
                    <a:lnTo>
                      <a:pt x="362" y="14"/>
                    </a:lnTo>
                    <a:lnTo>
                      <a:pt x="360" y="14"/>
                    </a:lnTo>
                    <a:lnTo>
                      <a:pt x="358" y="16"/>
                    </a:lnTo>
                    <a:lnTo>
                      <a:pt x="354" y="18"/>
                    </a:lnTo>
                    <a:lnTo>
                      <a:pt x="348" y="20"/>
                    </a:lnTo>
                    <a:lnTo>
                      <a:pt x="342" y="24"/>
                    </a:lnTo>
                    <a:lnTo>
                      <a:pt x="336" y="28"/>
                    </a:lnTo>
                    <a:lnTo>
                      <a:pt x="330" y="30"/>
                    </a:lnTo>
                    <a:lnTo>
                      <a:pt x="326" y="30"/>
                    </a:lnTo>
                    <a:lnTo>
                      <a:pt x="324" y="32"/>
                    </a:lnTo>
                    <a:lnTo>
                      <a:pt x="320" y="32"/>
                    </a:lnTo>
                    <a:lnTo>
                      <a:pt x="316" y="34"/>
                    </a:lnTo>
                    <a:lnTo>
                      <a:pt x="312" y="34"/>
                    </a:lnTo>
                    <a:lnTo>
                      <a:pt x="306" y="34"/>
                    </a:lnTo>
                    <a:lnTo>
                      <a:pt x="300" y="36"/>
                    </a:lnTo>
                    <a:lnTo>
                      <a:pt x="294" y="36"/>
                    </a:lnTo>
                    <a:lnTo>
                      <a:pt x="292" y="36"/>
                    </a:lnTo>
                    <a:lnTo>
                      <a:pt x="290" y="36"/>
                    </a:lnTo>
                    <a:lnTo>
                      <a:pt x="288" y="36"/>
                    </a:lnTo>
                    <a:lnTo>
                      <a:pt x="286" y="36"/>
                    </a:lnTo>
                    <a:lnTo>
                      <a:pt x="284" y="36"/>
                    </a:lnTo>
                    <a:lnTo>
                      <a:pt x="284" y="38"/>
                    </a:lnTo>
                    <a:lnTo>
                      <a:pt x="282" y="38"/>
                    </a:lnTo>
                    <a:lnTo>
                      <a:pt x="280" y="38"/>
                    </a:lnTo>
                    <a:lnTo>
                      <a:pt x="278" y="38"/>
                    </a:lnTo>
                    <a:lnTo>
                      <a:pt x="276" y="40"/>
                    </a:lnTo>
                    <a:lnTo>
                      <a:pt x="272" y="42"/>
                    </a:lnTo>
                    <a:lnTo>
                      <a:pt x="268" y="42"/>
                    </a:lnTo>
                    <a:lnTo>
                      <a:pt x="268" y="44"/>
                    </a:lnTo>
                    <a:lnTo>
                      <a:pt x="266" y="44"/>
                    </a:lnTo>
                    <a:lnTo>
                      <a:pt x="264" y="46"/>
                    </a:lnTo>
                    <a:lnTo>
                      <a:pt x="262" y="46"/>
                    </a:lnTo>
                    <a:lnTo>
                      <a:pt x="264" y="48"/>
                    </a:lnTo>
                    <a:lnTo>
                      <a:pt x="266" y="50"/>
                    </a:lnTo>
                    <a:lnTo>
                      <a:pt x="268" y="50"/>
                    </a:lnTo>
                    <a:lnTo>
                      <a:pt x="268" y="52"/>
                    </a:lnTo>
                    <a:lnTo>
                      <a:pt x="270" y="52"/>
                    </a:lnTo>
                    <a:lnTo>
                      <a:pt x="272" y="54"/>
                    </a:lnTo>
                    <a:lnTo>
                      <a:pt x="272" y="56"/>
                    </a:lnTo>
                    <a:lnTo>
                      <a:pt x="274" y="58"/>
                    </a:lnTo>
                    <a:lnTo>
                      <a:pt x="274" y="60"/>
                    </a:lnTo>
                    <a:lnTo>
                      <a:pt x="274" y="62"/>
                    </a:lnTo>
                    <a:lnTo>
                      <a:pt x="272" y="62"/>
                    </a:lnTo>
                    <a:lnTo>
                      <a:pt x="270" y="64"/>
                    </a:lnTo>
                    <a:lnTo>
                      <a:pt x="268" y="66"/>
                    </a:lnTo>
                    <a:lnTo>
                      <a:pt x="272" y="66"/>
                    </a:lnTo>
                    <a:lnTo>
                      <a:pt x="274" y="66"/>
                    </a:lnTo>
                    <a:lnTo>
                      <a:pt x="278" y="66"/>
                    </a:lnTo>
                    <a:lnTo>
                      <a:pt x="280" y="66"/>
                    </a:lnTo>
                    <a:lnTo>
                      <a:pt x="282" y="66"/>
                    </a:lnTo>
                    <a:lnTo>
                      <a:pt x="284" y="66"/>
                    </a:lnTo>
                    <a:lnTo>
                      <a:pt x="286" y="66"/>
                    </a:lnTo>
                    <a:lnTo>
                      <a:pt x="288" y="66"/>
                    </a:lnTo>
                    <a:lnTo>
                      <a:pt x="290" y="66"/>
                    </a:lnTo>
                    <a:lnTo>
                      <a:pt x="288" y="68"/>
                    </a:lnTo>
                    <a:lnTo>
                      <a:pt x="286" y="72"/>
                    </a:lnTo>
                    <a:lnTo>
                      <a:pt x="284" y="72"/>
                    </a:lnTo>
                    <a:lnTo>
                      <a:pt x="284" y="74"/>
                    </a:lnTo>
                    <a:lnTo>
                      <a:pt x="282" y="74"/>
                    </a:lnTo>
                    <a:lnTo>
                      <a:pt x="286" y="74"/>
                    </a:lnTo>
                    <a:lnTo>
                      <a:pt x="288" y="76"/>
                    </a:lnTo>
                    <a:lnTo>
                      <a:pt x="290" y="76"/>
                    </a:lnTo>
                    <a:lnTo>
                      <a:pt x="292" y="76"/>
                    </a:lnTo>
                    <a:lnTo>
                      <a:pt x="294" y="76"/>
                    </a:lnTo>
                    <a:lnTo>
                      <a:pt x="296" y="76"/>
                    </a:lnTo>
                    <a:lnTo>
                      <a:pt x="298" y="76"/>
                    </a:lnTo>
                    <a:lnTo>
                      <a:pt x="296" y="78"/>
                    </a:lnTo>
                    <a:lnTo>
                      <a:pt x="294" y="78"/>
                    </a:lnTo>
                    <a:lnTo>
                      <a:pt x="292" y="78"/>
                    </a:lnTo>
                    <a:lnTo>
                      <a:pt x="290" y="78"/>
                    </a:lnTo>
                    <a:lnTo>
                      <a:pt x="288" y="78"/>
                    </a:lnTo>
                    <a:lnTo>
                      <a:pt x="286" y="78"/>
                    </a:lnTo>
                    <a:lnTo>
                      <a:pt x="284" y="78"/>
                    </a:lnTo>
                    <a:lnTo>
                      <a:pt x="282" y="80"/>
                    </a:lnTo>
                    <a:lnTo>
                      <a:pt x="280" y="82"/>
                    </a:lnTo>
                    <a:lnTo>
                      <a:pt x="278" y="82"/>
                    </a:lnTo>
                    <a:lnTo>
                      <a:pt x="276" y="82"/>
                    </a:lnTo>
                    <a:lnTo>
                      <a:pt x="274" y="82"/>
                    </a:lnTo>
                    <a:lnTo>
                      <a:pt x="272" y="82"/>
                    </a:lnTo>
                    <a:lnTo>
                      <a:pt x="270" y="82"/>
                    </a:lnTo>
                    <a:lnTo>
                      <a:pt x="268" y="82"/>
                    </a:lnTo>
                    <a:lnTo>
                      <a:pt x="266" y="82"/>
                    </a:lnTo>
                    <a:lnTo>
                      <a:pt x="262" y="84"/>
                    </a:lnTo>
                    <a:lnTo>
                      <a:pt x="258" y="84"/>
                    </a:lnTo>
                    <a:lnTo>
                      <a:pt x="256" y="84"/>
                    </a:lnTo>
                    <a:lnTo>
                      <a:pt x="252" y="84"/>
                    </a:lnTo>
                    <a:lnTo>
                      <a:pt x="250" y="84"/>
                    </a:lnTo>
                    <a:lnTo>
                      <a:pt x="248" y="84"/>
                    </a:lnTo>
                    <a:lnTo>
                      <a:pt x="246" y="84"/>
                    </a:lnTo>
                    <a:lnTo>
                      <a:pt x="246" y="82"/>
                    </a:lnTo>
                    <a:lnTo>
                      <a:pt x="244" y="82"/>
                    </a:lnTo>
                    <a:lnTo>
                      <a:pt x="246" y="80"/>
                    </a:lnTo>
                    <a:lnTo>
                      <a:pt x="248" y="80"/>
                    </a:lnTo>
                    <a:lnTo>
                      <a:pt x="250" y="78"/>
                    </a:lnTo>
                    <a:lnTo>
                      <a:pt x="250" y="76"/>
                    </a:lnTo>
                    <a:lnTo>
                      <a:pt x="248" y="76"/>
                    </a:lnTo>
                    <a:lnTo>
                      <a:pt x="246" y="76"/>
                    </a:lnTo>
                    <a:lnTo>
                      <a:pt x="244" y="76"/>
                    </a:lnTo>
                    <a:lnTo>
                      <a:pt x="242" y="76"/>
                    </a:lnTo>
                    <a:lnTo>
                      <a:pt x="240" y="76"/>
                    </a:lnTo>
                    <a:lnTo>
                      <a:pt x="238" y="76"/>
                    </a:lnTo>
                    <a:lnTo>
                      <a:pt x="236" y="76"/>
                    </a:lnTo>
                    <a:lnTo>
                      <a:pt x="234" y="76"/>
                    </a:lnTo>
                    <a:lnTo>
                      <a:pt x="230" y="76"/>
                    </a:lnTo>
                    <a:lnTo>
                      <a:pt x="228" y="76"/>
                    </a:lnTo>
                    <a:lnTo>
                      <a:pt x="224" y="76"/>
                    </a:lnTo>
                    <a:lnTo>
                      <a:pt x="222" y="76"/>
                    </a:lnTo>
                    <a:lnTo>
                      <a:pt x="222" y="78"/>
                    </a:lnTo>
                    <a:lnTo>
                      <a:pt x="220" y="80"/>
                    </a:lnTo>
                    <a:lnTo>
                      <a:pt x="222" y="82"/>
                    </a:lnTo>
                    <a:lnTo>
                      <a:pt x="220" y="82"/>
                    </a:lnTo>
                    <a:lnTo>
                      <a:pt x="218" y="82"/>
                    </a:lnTo>
                    <a:lnTo>
                      <a:pt x="216" y="82"/>
                    </a:lnTo>
                    <a:lnTo>
                      <a:pt x="212" y="84"/>
                    </a:lnTo>
                    <a:lnTo>
                      <a:pt x="208" y="84"/>
                    </a:lnTo>
                    <a:lnTo>
                      <a:pt x="204" y="84"/>
                    </a:lnTo>
                    <a:lnTo>
                      <a:pt x="202" y="84"/>
                    </a:lnTo>
                    <a:lnTo>
                      <a:pt x="200" y="84"/>
                    </a:lnTo>
                    <a:lnTo>
                      <a:pt x="198" y="84"/>
                    </a:lnTo>
                    <a:lnTo>
                      <a:pt x="196" y="86"/>
                    </a:lnTo>
                    <a:lnTo>
                      <a:pt x="194" y="86"/>
                    </a:lnTo>
                    <a:lnTo>
                      <a:pt x="188" y="86"/>
                    </a:lnTo>
                    <a:lnTo>
                      <a:pt x="182" y="88"/>
                    </a:lnTo>
                    <a:lnTo>
                      <a:pt x="180" y="88"/>
                    </a:lnTo>
                    <a:lnTo>
                      <a:pt x="178" y="90"/>
                    </a:lnTo>
                    <a:lnTo>
                      <a:pt x="176" y="90"/>
                    </a:lnTo>
                    <a:lnTo>
                      <a:pt x="174" y="90"/>
                    </a:lnTo>
                    <a:lnTo>
                      <a:pt x="174" y="92"/>
                    </a:lnTo>
                    <a:lnTo>
                      <a:pt x="180" y="94"/>
                    </a:lnTo>
                    <a:lnTo>
                      <a:pt x="182" y="94"/>
                    </a:lnTo>
                    <a:lnTo>
                      <a:pt x="184" y="94"/>
                    </a:lnTo>
                    <a:lnTo>
                      <a:pt x="186" y="96"/>
                    </a:lnTo>
                    <a:lnTo>
                      <a:pt x="188" y="96"/>
                    </a:lnTo>
                    <a:lnTo>
                      <a:pt x="190" y="96"/>
                    </a:lnTo>
                    <a:lnTo>
                      <a:pt x="188" y="96"/>
                    </a:lnTo>
                    <a:lnTo>
                      <a:pt x="186" y="96"/>
                    </a:lnTo>
                    <a:lnTo>
                      <a:pt x="184" y="98"/>
                    </a:lnTo>
                    <a:lnTo>
                      <a:pt x="182" y="98"/>
                    </a:lnTo>
                    <a:lnTo>
                      <a:pt x="180" y="100"/>
                    </a:lnTo>
                    <a:lnTo>
                      <a:pt x="178" y="100"/>
                    </a:lnTo>
                    <a:lnTo>
                      <a:pt x="178" y="102"/>
                    </a:lnTo>
                    <a:lnTo>
                      <a:pt x="178" y="104"/>
                    </a:lnTo>
                    <a:lnTo>
                      <a:pt x="176" y="106"/>
                    </a:lnTo>
                    <a:lnTo>
                      <a:pt x="176" y="108"/>
                    </a:lnTo>
                    <a:lnTo>
                      <a:pt x="178" y="108"/>
                    </a:lnTo>
                    <a:lnTo>
                      <a:pt x="180" y="110"/>
                    </a:lnTo>
                    <a:lnTo>
                      <a:pt x="184" y="110"/>
                    </a:lnTo>
                    <a:lnTo>
                      <a:pt x="186" y="110"/>
                    </a:lnTo>
                    <a:lnTo>
                      <a:pt x="188" y="110"/>
                    </a:lnTo>
                    <a:lnTo>
                      <a:pt x="190" y="110"/>
                    </a:lnTo>
                    <a:lnTo>
                      <a:pt x="194" y="110"/>
                    </a:lnTo>
                    <a:lnTo>
                      <a:pt x="196" y="110"/>
                    </a:lnTo>
                    <a:lnTo>
                      <a:pt x="198" y="110"/>
                    </a:lnTo>
                    <a:lnTo>
                      <a:pt x="200" y="110"/>
                    </a:lnTo>
                    <a:lnTo>
                      <a:pt x="200" y="108"/>
                    </a:lnTo>
                    <a:lnTo>
                      <a:pt x="202" y="110"/>
                    </a:lnTo>
                    <a:lnTo>
                      <a:pt x="204" y="110"/>
                    </a:lnTo>
                    <a:lnTo>
                      <a:pt x="208" y="110"/>
                    </a:lnTo>
                    <a:lnTo>
                      <a:pt x="210" y="112"/>
                    </a:lnTo>
                    <a:lnTo>
                      <a:pt x="212" y="112"/>
                    </a:lnTo>
                    <a:lnTo>
                      <a:pt x="212" y="110"/>
                    </a:lnTo>
                    <a:lnTo>
                      <a:pt x="214" y="110"/>
                    </a:lnTo>
                    <a:lnTo>
                      <a:pt x="214" y="108"/>
                    </a:lnTo>
                    <a:lnTo>
                      <a:pt x="216" y="108"/>
                    </a:lnTo>
                    <a:lnTo>
                      <a:pt x="216" y="110"/>
                    </a:lnTo>
                    <a:lnTo>
                      <a:pt x="218" y="110"/>
                    </a:lnTo>
                    <a:lnTo>
                      <a:pt x="218" y="112"/>
                    </a:lnTo>
                    <a:lnTo>
                      <a:pt x="220" y="110"/>
                    </a:lnTo>
                    <a:lnTo>
                      <a:pt x="222" y="110"/>
                    </a:lnTo>
                    <a:lnTo>
                      <a:pt x="224" y="108"/>
                    </a:lnTo>
                    <a:lnTo>
                      <a:pt x="226" y="106"/>
                    </a:lnTo>
                    <a:lnTo>
                      <a:pt x="228" y="106"/>
                    </a:lnTo>
                    <a:lnTo>
                      <a:pt x="230" y="106"/>
                    </a:lnTo>
                    <a:lnTo>
                      <a:pt x="232" y="104"/>
                    </a:lnTo>
                    <a:lnTo>
                      <a:pt x="232" y="106"/>
                    </a:lnTo>
                    <a:lnTo>
                      <a:pt x="234" y="106"/>
                    </a:lnTo>
                    <a:lnTo>
                      <a:pt x="238" y="106"/>
                    </a:lnTo>
                    <a:lnTo>
                      <a:pt x="240" y="106"/>
                    </a:lnTo>
                    <a:lnTo>
                      <a:pt x="242" y="104"/>
                    </a:lnTo>
                    <a:lnTo>
                      <a:pt x="246" y="102"/>
                    </a:lnTo>
                    <a:lnTo>
                      <a:pt x="248" y="102"/>
                    </a:lnTo>
                    <a:lnTo>
                      <a:pt x="250" y="102"/>
                    </a:lnTo>
                    <a:lnTo>
                      <a:pt x="250" y="104"/>
                    </a:lnTo>
                    <a:lnTo>
                      <a:pt x="248" y="108"/>
                    </a:lnTo>
                    <a:lnTo>
                      <a:pt x="246" y="110"/>
                    </a:lnTo>
                    <a:lnTo>
                      <a:pt x="244" y="110"/>
                    </a:lnTo>
                    <a:lnTo>
                      <a:pt x="242" y="110"/>
                    </a:lnTo>
                    <a:lnTo>
                      <a:pt x="240" y="110"/>
                    </a:lnTo>
                    <a:lnTo>
                      <a:pt x="236" y="110"/>
                    </a:lnTo>
                    <a:lnTo>
                      <a:pt x="234" y="110"/>
                    </a:lnTo>
                    <a:lnTo>
                      <a:pt x="234" y="112"/>
                    </a:lnTo>
                    <a:lnTo>
                      <a:pt x="234" y="114"/>
                    </a:lnTo>
                    <a:lnTo>
                      <a:pt x="234" y="116"/>
                    </a:lnTo>
                    <a:lnTo>
                      <a:pt x="234" y="118"/>
                    </a:lnTo>
                    <a:lnTo>
                      <a:pt x="234" y="120"/>
                    </a:lnTo>
                    <a:lnTo>
                      <a:pt x="232" y="122"/>
                    </a:lnTo>
                    <a:lnTo>
                      <a:pt x="228" y="124"/>
                    </a:lnTo>
                    <a:lnTo>
                      <a:pt x="226" y="124"/>
                    </a:lnTo>
                    <a:lnTo>
                      <a:pt x="224" y="126"/>
                    </a:lnTo>
                    <a:lnTo>
                      <a:pt x="220" y="128"/>
                    </a:lnTo>
                    <a:lnTo>
                      <a:pt x="218" y="128"/>
                    </a:lnTo>
                    <a:lnTo>
                      <a:pt x="214" y="128"/>
                    </a:lnTo>
                    <a:lnTo>
                      <a:pt x="212" y="128"/>
                    </a:lnTo>
                    <a:lnTo>
                      <a:pt x="210" y="128"/>
                    </a:lnTo>
                    <a:lnTo>
                      <a:pt x="208" y="128"/>
                    </a:lnTo>
                    <a:lnTo>
                      <a:pt x="206" y="128"/>
                    </a:lnTo>
                    <a:lnTo>
                      <a:pt x="204" y="128"/>
                    </a:lnTo>
                    <a:lnTo>
                      <a:pt x="204" y="126"/>
                    </a:lnTo>
                    <a:lnTo>
                      <a:pt x="202" y="126"/>
                    </a:lnTo>
                    <a:lnTo>
                      <a:pt x="202" y="124"/>
                    </a:lnTo>
                    <a:lnTo>
                      <a:pt x="200" y="124"/>
                    </a:lnTo>
                    <a:lnTo>
                      <a:pt x="198" y="126"/>
                    </a:lnTo>
                    <a:lnTo>
                      <a:pt x="196" y="126"/>
                    </a:lnTo>
                    <a:lnTo>
                      <a:pt x="196" y="128"/>
                    </a:lnTo>
                    <a:lnTo>
                      <a:pt x="196" y="130"/>
                    </a:lnTo>
                    <a:lnTo>
                      <a:pt x="194" y="130"/>
                    </a:lnTo>
                    <a:lnTo>
                      <a:pt x="192" y="132"/>
                    </a:lnTo>
                    <a:lnTo>
                      <a:pt x="190" y="134"/>
                    </a:lnTo>
                    <a:lnTo>
                      <a:pt x="186" y="134"/>
                    </a:lnTo>
                    <a:lnTo>
                      <a:pt x="182" y="136"/>
                    </a:lnTo>
                    <a:lnTo>
                      <a:pt x="180" y="136"/>
                    </a:lnTo>
                    <a:lnTo>
                      <a:pt x="178" y="136"/>
                    </a:lnTo>
                    <a:lnTo>
                      <a:pt x="174" y="134"/>
                    </a:lnTo>
                    <a:lnTo>
                      <a:pt x="172" y="132"/>
                    </a:lnTo>
                    <a:lnTo>
                      <a:pt x="170" y="132"/>
                    </a:lnTo>
                    <a:lnTo>
                      <a:pt x="166" y="134"/>
                    </a:lnTo>
                    <a:lnTo>
                      <a:pt x="164" y="136"/>
                    </a:lnTo>
                    <a:lnTo>
                      <a:pt x="160" y="138"/>
                    </a:lnTo>
                    <a:lnTo>
                      <a:pt x="158" y="138"/>
                    </a:lnTo>
                    <a:lnTo>
                      <a:pt x="156" y="140"/>
                    </a:lnTo>
                    <a:lnTo>
                      <a:pt x="154" y="142"/>
                    </a:lnTo>
                    <a:lnTo>
                      <a:pt x="152" y="142"/>
                    </a:lnTo>
                    <a:lnTo>
                      <a:pt x="150" y="142"/>
                    </a:lnTo>
                    <a:lnTo>
                      <a:pt x="150" y="144"/>
                    </a:lnTo>
                    <a:lnTo>
                      <a:pt x="148" y="144"/>
                    </a:lnTo>
                    <a:lnTo>
                      <a:pt x="146" y="146"/>
                    </a:lnTo>
                    <a:lnTo>
                      <a:pt x="146" y="148"/>
                    </a:lnTo>
                    <a:lnTo>
                      <a:pt x="144" y="148"/>
                    </a:lnTo>
                    <a:lnTo>
                      <a:pt x="142" y="146"/>
                    </a:lnTo>
                    <a:lnTo>
                      <a:pt x="142" y="144"/>
                    </a:lnTo>
                    <a:lnTo>
                      <a:pt x="140" y="144"/>
                    </a:lnTo>
                    <a:lnTo>
                      <a:pt x="140" y="146"/>
                    </a:lnTo>
                    <a:lnTo>
                      <a:pt x="138" y="146"/>
                    </a:lnTo>
                    <a:lnTo>
                      <a:pt x="132" y="148"/>
                    </a:lnTo>
                    <a:lnTo>
                      <a:pt x="130" y="148"/>
                    </a:lnTo>
                    <a:lnTo>
                      <a:pt x="128" y="148"/>
                    </a:lnTo>
                    <a:lnTo>
                      <a:pt x="126" y="150"/>
                    </a:lnTo>
                    <a:lnTo>
                      <a:pt x="124" y="150"/>
                    </a:lnTo>
                    <a:lnTo>
                      <a:pt x="122" y="154"/>
                    </a:lnTo>
                    <a:lnTo>
                      <a:pt x="120" y="156"/>
                    </a:lnTo>
                    <a:lnTo>
                      <a:pt x="118" y="156"/>
                    </a:lnTo>
                    <a:lnTo>
                      <a:pt x="116" y="154"/>
                    </a:lnTo>
                    <a:lnTo>
                      <a:pt x="114" y="154"/>
                    </a:lnTo>
                    <a:lnTo>
                      <a:pt x="112" y="154"/>
                    </a:lnTo>
                    <a:lnTo>
                      <a:pt x="112" y="156"/>
                    </a:lnTo>
                    <a:lnTo>
                      <a:pt x="112" y="158"/>
                    </a:lnTo>
                    <a:lnTo>
                      <a:pt x="110" y="158"/>
                    </a:lnTo>
                    <a:lnTo>
                      <a:pt x="108" y="158"/>
                    </a:lnTo>
                    <a:lnTo>
                      <a:pt x="106" y="158"/>
                    </a:lnTo>
                    <a:lnTo>
                      <a:pt x="106" y="160"/>
                    </a:lnTo>
                    <a:lnTo>
                      <a:pt x="106" y="162"/>
                    </a:lnTo>
                    <a:lnTo>
                      <a:pt x="106" y="164"/>
                    </a:lnTo>
                    <a:lnTo>
                      <a:pt x="104" y="166"/>
                    </a:lnTo>
                    <a:lnTo>
                      <a:pt x="104" y="168"/>
                    </a:lnTo>
                    <a:lnTo>
                      <a:pt x="102" y="168"/>
                    </a:lnTo>
                    <a:lnTo>
                      <a:pt x="106" y="166"/>
                    </a:lnTo>
                    <a:lnTo>
                      <a:pt x="108" y="166"/>
                    </a:lnTo>
                    <a:lnTo>
                      <a:pt x="110" y="166"/>
                    </a:lnTo>
                    <a:lnTo>
                      <a:pt x="112" y="164"/>
                    </a:lnTo>
                    <a:lnTo>
                      <a:pt x="114" y="164"/>
                    </a:lnTo>
                    <a:lnTo>
                      <a:pt x="116" y="164"/>
                    </a:lnTo>
                    <a:lnTo>
                      <a:pt x="116" y="162"/>
                    </a:lnTo>
                    <a:lnTo>
                      <a:pt x="118" y="162"/>
                    </a:lnTo>
                    <a:lnTo>
                      <a:pt x="116" y="164"/>
                    </a:lnTo>
                    <a:lnTo>
                      <a:pt x="114" y="166"/>
                    </a:lnTo>
                    <a:lnTo>
                      <a:pt x="112" y="166"/>
                    </a:lnTo>
                    <a:lnTo>
                      <a:pt x="112" y="168"/>
                    </a:lnTo>
                    <a:lnTo>
                      <a:pt x="112" y="170"/>
                    </a:lnTo>
                    <a:lnTo>
                      <a:pt x="110" y="170"/>
                    </a:lnTo>
                    <a:lnTo>
                      <a:pt x="108" y="172"/>
                    </a:lnTo>
                    <a:lnTo>
                      <a:pt x="110" y="172"/>
                    </a:lnTo>
                    <a:lnTo>
                      <a:pt x="112" y="172"/>
                    </a:lnTo>
                    <a:lnTo>
                      <a:pt x="116" y="172"/>
                    </a:lnTo>
                    <a:lnTo>
                      <a:pt x="120" y="172"/>
                    </a:lnTo>
                    <a:lnTo>
                      <a:pt x="122" y="172"/>
                    </a:lnTo>
                    <a:lnTo>
                      <a:pt x="122" y="174"/>
                    </a:lnTo>
                    <a:lnTo>
                      <a:pt x="122" y="176"/>
                    </a:lnTo>
                    <a:lnTo>
                      <a:pt x="120" y="176"/>
                    </a:lnTo>
                    <a:lnTo>
                      <a:pt x="118" y="176"/>
                    </a:lnTo>
                    <a:lnTo>
                      <a:pt x="116" y="176"/>
                    </a:lnTo>
                    <a:lnTo>
                      <a:pt x="114" y="176"/>
                    </a:lnTo>
                    <a:lnTo>
                      <a:pt x="112" y="176"/>
                    </a:lnTo>
                    <a:lnTo>
                      <a:pt x="110" y="176"/>
                    </a:lnTo>
                    <a:lnTo>
                      <a:pt x="108" y="178"/>
                    </a:lnTo>
                    <a:lnTo>
                      <a:pt x="106" y="178"/>
                    </a:lnTo>
                    <a:lnTo>
                      <a:pt x="104" y="178"/>
                    </a:lnTo>
                    <a:lnTo>
                      <a:pt x="106" y="178"/>
                    </a:lnTo>
                    <a:lnTo>
                      <a:pt x="106" y="176"/>
                    </a:lnTo>
                    <a:lnTo>
                      <a:pt x="108" y="176"/>
                    </a:lnTo>
                    <a:lnTo>
                      <a:pt x="106" y="174"/>
                    </a:lnTo>
                    <a:lnTo>
                      <a:pt x="104" y="174"/>
                    </a:lnTo>
                    <a:lnTo>
                      <a:pt x="102" y="174"/>
                    </a:lnTo>
                    <a:lnTo>
                      <a:pt x="100" y="174"/>
                    </a:lnTo>
                    <a:lnTo>
                      <a:pt x="100" y="176"/>
                    </a:lnTo>
                    <a:lnTo>
                      <a:pt x="98" y="176"/>
                    </a:lnTo>
                    <a:lnTo>
                      <a:pt x="96" y="178"/>
                    </a:lnTo>
                    <a:lnTo>
                      <a:pt x="94" y="178"/>
                    </a:lnTo>
                    <a:lnTo>
                      <a:pt x="96" y="180"/>
                    </a:lnTo>
                    <a:lnTo>
                      <a:pt x="98" y="180"/>
                    </a:lnTo>
                    <a:lnTo>
                      <a:pt x="98" y="182"/>
                    </a:lnTo>
                    <a:lnTo>
                      <a:pt x="96" y="182"/>
                    </a:lnTo>
                    <a:lnTo>
                      <a:pt x="96" y="184"/>
                    </a:lnTo>
                    <a:lnTo>
                      <a:pt x="96" y="186"/>
                    </a:lnTo>
                    <a:lnTo>
                      <a:pt x="94" y="188"/>
                    </a:lnTo>
                    <a:lnTo>
                      <a:pt x="94" y="190"/>
                    </a:lnTo>
                    <a:lnTo>
                      <a:pt x="94" y="192"/>
                    </a:lnTo>
                    <a:lnTo>
                      <a:pt x="96" y="192"/>
                    </a:lnTo>
                    <a:lnTo>
                      <a:pt x="98" y="192"/>
                    </a:lnTo>
                    <a:lnTo>
                      <a:pt x="100" y="192"/>
                    </a:lnTo>
                    <a:lnTo>
                      <a:pt x="104" y="192"/>
                    </a:lnTo>
                    <a:lnTo>
                      <a:pt x="106" y="192"/>
                    </a:lnTo>
                    <a:lnTo>
                      <a:pt x="108" y="192"/>
                    </a:lnTo>
                    <a:lnTo>
                      <a:pt x="110" y="190"/>
                    </a:lnTo>
                    <a:lnTo>
                      <a:pt x="112" y="190"/>
                    </a:lnTo>
                    <a:lnTo>
                      <a:pt x="114" y="190"/>
                    </a:lnTo>
                    <a:lnTo>
                      <a:pt x="116" y="188"/>
                    </a:lnTo>
                    <a:lnTo>
                      <a:pt x="118" y="188"/>
                    </a:lnTo>
                    <a:lnTo>
                      <a:pt x="120" y="186"/>
                    </a:lnTo>
                    <a:lnTo>
                      <a:pt x="122" y="186"/>
                    </a:lnTo>
                    <a:lnTo>
                      <a:pt x="122" y="184"/>
                    </a:lnTo>
                    <a:lnTo>
                      <a:pt x="124" y="184"/>
                    </a:lnTo>
                    <a:lnTo>
                      <a:pt x="126" y="182"/>
                    </a:lnTo>
                    <a:lnTo>
                      <a:pt x="128" y="182"/>
                    </a:lnTo>
                    <a:lnTo>
                      <a:pt x="130" y="180"/>
                    </a:lnTo>
                    <a:lnTo>
                      <a:pt x="132" y="180"/>
                    </a:lnTo>
                    <a:lnTo>
                      <a:pt x="134" y="180"/>
                    </a:lnTo>
                    <a:lnTo>
                      <a:pt x="136" y="178"/>
                    </a:lnTo>
                    <a:lnTo>
                      <a:pt x="138" y="178"/>
                    </a:lnTo>
                    <a:lnTo>
                      <a:pt x="140" y="178"/>
                    </a:lnTo>
                    <a:lnTo>
                      <a:pt x="138" y="178"/>
                    </a:lnTo>
                    <a:lnTo>
                      <a:pt x="134" y="180"/>
                    </a:lnTo>
                    <a:lnTo>
                      <a:pt x="132" y="182"/>
                    </a:lnTo>
                    <a:lnTo>
                      <a:pt x="128" y="184"/>
                    </a:lnTo>
                    <a:lnTo>
                      <a:pt x="126" y="184"/>
                    </a:lnTo>
                    <a:lnTo>
                      <a:pt x="124" y="186"/>
                    </a:lnTo>
                    <a:lnTo>
                      <a:pt x="124" y="188"/>
                    </a:lnTo>
                    <a:lnTo>
                      <a:pt x="122" y="188"/>
                    </a:lnTo>
                    <a:lnTo>
                      <a:pt x="122" y="190"/>
                    </a:lnTo>
                    <a:lnTo>
                      <a:pt x="120" y="194"/>
                    </a:lnTo>
                    <a:lnTo>
                      <a:pt x="120" y="196"/>
                    </a:lnTo>
                    <a:lnTo>
                      <a:pt x="118" y="196"/>
                    </a:lnTo>
                    <a:lnTo>
                      <a:pt x="116" y="196"/>
                    </a:lnTo>
                    <a:lnTo>
                      <a:pt x="114" y="196"/>
                    </a:lnTo>
                    <a:lnTo>
                      <a:pt x="112" y="196"/>
                    </a:lnTo>
                    <a:lnTo>
                      <a:pt x="110" y="198"/>
                    </a:lnTo>
                    <a:lnTo>
                      <a:pt x="108" y="200"/>
                    </a:lnTo>
                    <a:lnTo>
                      <a:pt x="106" y="204"/>
                    </a:lnTo>
                    <a:lnTo>
                      <a:pt x="104" y="206"/>
                    </a:lnTo>
                    <a:lnTo>
                      <a:pt x="104" y="208"/>
                    </a:lnTo>
                    <a:lnTo>
                      <a:pt x="102" y="208"/>
                    </a:lnTo>
                    <a:lnTo>
                      <a:pt x="100" y="210"/>
                    </a:lnTo>
                    <a:lnTo>
                      <a:pt x="98" y="212"/>
                    </a:lnTo>
                    <a:lnTo>
                      <a:pt x="100" y="212"/>
                    </a:lnTo>
                    <a:lnTo>
                      <a:pt x="102" y="212"/>
                    </a:lnTo>
                    <a:lnTo>
                      <a:pt x="104" y="212"/>
                    </a:lnTo>
                    <a:lnTo>
                      <a:pt x="106" y="212"/>
                    </a:lnTo>
                    <a:lnTo>
                      <a:pt x="108" y="210"/>
                    </a:lnTo>
                    <a:lnTo>
                      <a:pt x="110" y="210"/>
                    </a:lnTo>
                    <a:lnTo>
                      <a:pt x="108" y="212"/>
                    </a:lnTo>
                    <a:lnTo>
                      <a:pt x="108" y="214"/>
                    </a:lnTo>
                    <a:lnTo>
                      <a:pt x="106" y="216"/>
                    </a:lnTo>
                    <a:lnTo>
                      <a:pt x="108" y="214"/>
                    </a:lnTo>
                    <a:lnTo>
                      <a:pt x="110" y="212"/>
                    </a:lnTo>
                    <a:lnTo>
                      <a:pt x="114" y="210"/>
                    </a:lnTo>
                    <a:lnTo>
                      <a:pt x="116" y="208"/>
                    </a:lnTo>
                    <a:lnTo>
                      <a:pt x="118" y="206"/>
                    </a:lnTo>
                    <a:lnTo>
                      <a:pt x="122" y="204"/>
                    </a:lnTo>
                    <a:lnTo>
                      <a:pt x="124" y="204"/>
                    </a:lnTo>
                    <a:lnTo>
                      <a:pt x="126" y="206"/>
                    </a:lnTo>
                    <a:lnTo>
                      <a:pt x="128" y="206"/>
                    </a:lnTo>
                    <a:lnTo>
                      <a:pt x="128" y="208"/>
                    </a:lnTo>
                    <a:lnTo>
                      <a:pt x="126" y="208"/>
                    </a:lnTo>
                    <a:lnTo>
                      <a:pt x="128" y="208"/>
                    </a:lnTo>
                    <a:lnTo>
                      <a:pt x="130" y="208"/>
                    </a:lnTo>
                    <a:lnTo>
                      <a:pt x="132" y="208"/>
                    </a:lnTo>
                    <a:lnTo>
                      <a:pt x="132" y="210"/>
                    </a:lnTo>
                    <a:lnTo>
                      <a:pt x="130" y="212"/>
                    </a:lnTo>
                    <a:lnTo>
                      <a:pt x="130" y="214"/>
                    </a:lnTo>
                    <a:lnTo>
                      <a:pt x="132" y="216"/>
                    </a:lnTo>
                    <a:lnTo>
                      <a:pt x="134" y="216"/>
                    </a:lnTo>
                    <a:lnTo>
                      <a:pt x="136" y="216"/>
                    </a:lnTo>
                    <a:lnTo>
                      <a:pt x="138" y="214"/>
                    </a:lnTo>
                    <a:lnTo>
                      <a:pt x="140" y="212"/>
                    </a:lnTo>
                    <a:lnTo>
                      <a:pt x="142" y="210"/>
                    </a:lnTo>
                    <a:lnTo>
                      <a:pt x="144" y="210"/>
                    </a:lnTo>
                    <a:lnTo>
                      <a:pt x="144" y="208"/>
                    </a:lnTo>
                    <a:lnTo>
                      <a:pt x="148" y="206"/>
                    </a:lnTo>
                    <a:lnTo>
                      <a:pt x="150" y="206"/>
                    </a:lnTo>
                    <a:lnTo>
                      <a:pt x="152" y="204"/>
                    </a:lnTo>
                    <a:lnTo>
                      <a:pt x="154" y="204"/>
                    </a:lnTo>
                    <a:lnTo>
                      <a:pt x="156" y="206"/>
                    </a:lnTo>
                    <a:lnTo>
                      <a:pt x="154" y="206"/>
                    </a:lnTo>
                    <a:lnTo>
                      <a:pt x="152" y="206"/>
                    </a:lnTo>
                    <a:lnTo>
                      <a:pt x="150" y="206"/>
                    </a:lnTo>
                    <a:lnTo>
                      <a:pt x="148" y="208"/>
                    </a:lnTo>
                    <a:lnTo>
                      <a:pt x="148" y="210"/>
                    </a:lnTo>
                    <a:lnTo>
                      <a:pt x="148" y="212"/>
                    </a:lnTo>
                    <a:lnTo>
                      <a:pt x="150" y="212"/>
                    </a:lnTo>
                    <a:lnTo>
                      <a:pt x="152" y="212"/>
                    </a:lnTo>
                    <a:lnTo>
                      <a:pt x="156" y="210"/>
                    </a:lnTo>
                    <a:lnTo>
                      <a:pt x="160" y="210"/>
                    </a:lnTo>
                    <a:lnTo>
                      <a:pt x="164" y="208"/>
                    </a:lnTo>
                    <a:lnTo>
                      <a:pt x="166" y="208"/>
                    </a:lnTo>
                    <a:lnTo>
                      <a:pt x="168" y="208"/>
                    </a:lnTo>
                    <a:lnTo>
                      <a:pt x="172" y="206"/>
                    </a:lnTo>
                    <a:lnTo>
                      <a:pt x="174" y="204"/>
                    </a:lnTo>
                    <a:lnTo>
                      <a:pt x="176" y="204"/>
                    </a:lnTo>
                    <a:lnTo>
                      <a:pt x="178" y="204"/>
                    </a:lnTo>
                    <a:lnTo>
                      <a:pt x="178" y="202"/>
                    </a:lnTo>
                    <a:lnTo>
                      <a:pt x="176" y="204"/>
                    </a:lnTo>
                    <a:lnTo>
                      <a:pt x="174" y="206"/>
                    </a:lnTo>
                    <a:lnTo>
                      <a:pt x="172" y="206"/>
                    </a:lnTo>
                    <a:lnTo>
                      <a:pt x="170" y="208"/>
                    </a:lnTo>
                    <a:lnTo>
                      <a:pt x="168" y="208"/>
                    </a:lnTo>
                    <a:lnTo>
                      <a:pt x="168" y="210"/>
                    </a:lnTo>
                    <a:lnTo>
                      <a:pt x="168" y="212"/>
                    </a:lnTo>
                    <a:lnTo>
                      <a:pt x="168" y="214"/>
                    </a:lnTo>
                    <a:lnTo>
                      <a:pt x="166" y="214"/>
                    </a:lnTo>
                    <a:lnTo>
                      <a:pt x="164" y="214"/>
                    </a:lnTo>
                    <a:lnTo>
                      <a:pt x="160" y="214"/>
                    </a:lnTo>
                    <a:lnTo>
                      <a:pt x="156" y="214"/>
                    </a:lnTo>
                    <a:lnTo>
                      <a:pt x="156" y="216"/>
                    </a:lnTo>
                    <a:lnTo>
                      <a:pt x="154" y="216"/>
                    </a:lnTo>
                    <a:lnTo>
                      <a:pt x="152" y="218"/>
                    </a:lnTo>
                    <a:lnTo>
                      <a:pt x="150" y="220"/>
                    </a:lnTo>
                    <a:lnTo>
                      <a:pt x="148" y="220"/>
                    </a:lnTo>
                    <a:lnTo>
                      <a:pt x="146" y="220"/>
                    </a:lnTo>
                    <a:lnTo>
                      <a:pt x="144" y="220"/>
                    </a:lnTo>
                    <a:lnTo>
                      <a:pt x="140" y="224"/>
                    </a:lnTo>
                    <a:lnTo>
                      <a:pt x="138" y="226"/>
                    </a:lnTo>
                    <a:lnTo>
                      <a:pt x="136" y="226"/>
                    </a:lnTo>
                    <a:lnTo>
                      <a:pt x="136" y="228"/>
                    </a:lnTo>
                    <a:lnTo>
                      <a:pt x="134" y="228"/>
                    </a:lnTo>
                    <a:lnTo>
                      <a:pt x="134" y="230"/>
                    </a:lnTo>
                    <a:lnTo>
                      <a:pt x="134" y="232"/>
                    </a:lnTo>
                    <a:lnTo>
                      <a:pt x="132" y="232"/>
                    </a:lnTo>
                    <a:lnTo>
                      <a:pt x="128" y="232"/>
                    </a:lnTo>
                    <a:lnTo>
                      <a:pt x="126" y="232"/>
                    </a:lnTo>
                    <a:lnTo>
                      <a:pt x="124" y="232"/>
                    </a:lnTo>
                    <a:lnTo>
                      <a:pt x="124" y="234"/>
                    </a:lnTo>
                    <a:lnTo>
                      <a:pt x="122" y="234"/>
                    </a:lnTo>
                    <a:lnTo>
                      <a:pt x="120" y="234"/>
                    </a:lnTo>
                    <a:lnTo>
                      <a:pt x="116" y="234"/>
                    </a:lnTo>
                    <a:lnTo>
                      <a:pt x="114" y="236"/>
                    </a:lnTo>
                    <a:lnTo>
                      <a:pt x="110" y="236"/>
                    </a:lnTo>
                    <a:lnTo>
                      <a:pt x="110" y="238"/>
                    </a:lnTo>
                    <a:lnTo>
                      <a:pt x="108" y="238"/>
                    </a:lnTo>
                    <a:lnTo>
                      <a:pt x="106" y="238"/>
                    </a:lnTo>
                    <a:lnTo>
                      <a:pt x="106" y="240"/>
                    </a:lnTo>
                    <a:lnTo>
                      <a:pt x="106" y="242"/>
                    </a:lnTo>
                    <a:lnTo>
                      <a:pt x="106" y="244"/>
                    </a:lnTo>
                    <a:lnTo>
                      <a:pt x="104" y="244"/>
                    </a:lnTo>
                    <a:lnTo>
                      <a:pt x="104" y="246"/>
                    </a:lnTo>
                    <a:lnTo>
                      <a:pt x="102" y="246"/>
                    </a:lnTo>
                    <a:lnTo>
                      <a:pt x="100" y="246"/>
                    </a:lnTo>
                    <a:lnTo>
                      <a:pt x="98" y="246"/>
                    </a:lnTo>
                    <a:lnTo>
                      <a:pt x="96" y="246"/>
                    </a:lnTo>
                    <a:lnTo>
                      <a:pt x="90" y="246"/>
                    </a:lnTo>
                    <a:lnTo>
                      <a:pt x="86" y="246"/>
                    </a:lnTo>
                    <a:lnTo>
                      <a:pt x="84" y="246"/>
                    </a:lnTo>
                    <a:lnTo>
                      <a:pt x="82" y="248"/>
                    </a:lnTo>
                    <a:lnTo>
                      <a:pt x="78" y="250"/>
                    </a:lnTo>
                    <a:lnTo>
                      <a:pt x="74" y="252"/>
                    </a:lnTo>
                    <a:lnTo>
                      <a:pt x="70" y="254"/>
                    </a:lnTo>
                    <a:lnTo>
                      <a:pt x="66" y="258"/>
                    </a:lnTo>
                    <a:lnTo>
                      <a:pt x="64" y="258"/>
                    </a:lnTo>
                    <a:lnTo>
                      <a:pt x="62" y="260"/>
                    </a:lnTo>
                    <a:lnTo>
                      <a:pt x="60" y="262"/>
                    </a:lnTo>
                    <a:lnTo>
                      <a:pt x="58" y="262"/>
                    </a:lnTo>
                    <a:lnTo>
                      <a:pt x="56" y="262"/>
                    </a:lnTo>
                    <a:lnTo>
                      <a:pt x="54" y="262"/>
                    </a:lnTo>
                    <a:lnTo>
                      <a:pt x="52" y="264"/>
                    </a:lnTo>
                    <a:lnTo>
                      <a:pt x="52" y="266"/>
                    </a:lnTo>
                    <a:lnTo>
                      <a:pt x="52" y="264"/>
                    </a:lnTo>
                    <a:lnTo>
                      <a:pt x="52" y="262"/>
                    </a:lnTo>
                    <a:lnTo>
                      <a:pt x="50" y="262"/>
                    </a:lnTo>
                    <a:lnTo>
                      <a:pt x="48" y="262"/>
                    </a:lnTo>
                    <a:lnTo>
                      <a:pt x="44" y="262"/>
                    </a:lnTo>
                    <a:lnTo>
                      <a:pt x="42" y="262"/>
                    </a:lnTo>
                    <a:lnTo>
                      <a:pt x="40" y="262"/>
                    </a:lnTo>
                    <a:lnTo>
                      <a:pt x="38" y="262"/>
                    </a:lnTo>
                    <a:lnTo>
                      <a:pt x="36" y="264"/>
                    </a:lnTo>
                    <a:lnTo>
                      <a:pt x="34" y="264"/>
                    </a:lnTo>
                    <a:lnTo>
                      <a:pt x="32" y="266"/>
                    </a:lnTo>
                    <a:lnTo>
                      <a:pt x="28" y="266"/>
                    </a:lnTo>
                    <a:lnTo>
                      <a:pt x="26" y="266"/>
                    </a:lnTo>
                    <a:lnTo>
                      <a:pt x="24" y="268"/>
                    </a:lnTo>
                    <a:lnTo>
                      <a:pt x="22" y="268"/>
                    </a:lnTo>
                    <a:lnTo>
                      <a:pt x="20" y="268"/>
                    </a:lnTo>
                    <a:lnTo>
                      <a:pt x="20" y="270"/>
                    </a:lnTo>
                    <a:lnTo>
                      <a:pt x="18" y="270"/>
                    </a:lnTo>
                    <a:lnTo>
                      <a:pt x="16" y="272"/>
                    </a:lnTo>
                    <a:lnTo>
                      <a:pt x="14" y="272"/>
                    </a:lnTo>
                    <a:lnTo>
                      <a:pt x="12" y="272"/>
                    </a:lnTo>
                    <a:lnTo>
                      <a:pt x="10" y="274"/>
                    </a:lnTo>
                    <a:lnTo>
                      <a:pt x="8" y="274"/>
                    </a:lnTo>
                    <a:lnTo>
                      <a:pt x="6" y="274"/>
                    </a:lnTo>
                    <a:lnTo>
                      <a:pt x="4" y="274"/>
                    </a:lnTo>
                    <a:lnTo>
                      <a:pt x="2" y="276"/>
                    </a:lnTo>
                    <a:lnTo>
                      <a:pt x="0" y="278"/>
                    </a:lnTo>
                    <a:lnTo>
                      <a:pt x="0" y="280"/>
                    </a:lnTo>
                    <a:lnTo>
                      <a:pt x="2" y="280"/>
                    </a:lnTo>
                    <a:lnTo>
                      <a:pt x="4" y="278"/>
                    </a:lnTo>
                    <a:lnTo>
                      <a:pt x="4" y="276"/>
                    </a:lnTo>
                    <a:lnTo>
                      <a:pt x="6" y="278"/>
                    </a:lnTo>
                    <a:lnTo>
                      <a:pt x="8" y="278"/>
                    </a:lnTo>
                    <a:lnTo>
                      <a:pt x="10" y="278"/>
                    </a:lnTo>
                    <a:lnTo>
                      <a:pt x="12" y="276"/>
                    </a:lnTo>
                    <a:lnTo>
                      <a:pt x="14" y="276"/>
                    </a:lnTo>
                    <a:lnTo>
                      <a:pt x="14" y="274"/>
                    </a:lnTo>
                    <a:lnTo>
                      <a:pt x="14" y="276"/>
                    </a:lnTo>
                    <a:lnTo>
                      <a:pt x="14" y="278"/>
                    </a:lnTo>
                    <a:lnTo>
                      <a:pt x="16" y="278"/>
                    </a:lnTo>
                    <a:lnTo>
                      <a:pt x="18" y="276"/>
                    </a:lnTo>
                    <a:lnTo>
                      <a:pt x="22" y="276"/>
                    </a:lnTo>
                    <a:lnTo>
                      <a:pt x="24" y="276"/>
                    </a:lnTo>
                    <a:lnTo>
                      <a:pt x="26" y="274"/>
                    </a:lnTo>
                    <a:lnTo>
                      <a:pt x="28" y="272"/>
                    </a:lnTo>
                    <a:lnTo>
                      <a:pt x="30" y="270"/>
                    </a:lnTo>
                    <a:lnTo>
                      <a:pt x="32" y="268"/>
                    </a:lnTo>
                    <a:lnTo>
                      <a:pt x="34" y="268"/>
                    </a:lnTo>
                    <a:lnTo>
                      <a:pt x="36" y="266"/>
                    </a:lnTo>
                    <a:lnTo>
                      <a:pt x="38" y="266"/>
                    </a:lnTo>
                    <a:lnTo>
                      <a:pt x="38" y="268"/>
                    </a:lnTo>
                    <a:lnTo>
                      <a:pt x="38" y="270"/>
                    </a:lnTo>
                    <a:lnTo>
                      <a:pt x="40" y="270"/>
                    </a:lnTo>
                    <a:lnTo>
                      <a:pt x="42" y="272"/>
                    </a:lnTo>
                    <a:lnTo>
                      <a:pt x="44" y="270"/>
                    </a:lnTo>
                    <a:lnTo>
                      <a:pt x="46" y="270"/>
                    </a:lnTo>
                    <a:lnTo>
                      <a:pt x="50" y="270"/>
                    </a:lnTo>
                    <a:lnTo>
                      <a:pt x="52" y="268"/>
                    </a:lnTo>
                    <a:lnTo>
                      <a:pt x="54" y="268"/>
                    </a:lnTo>
                    <a:lnTo>
                      <a:pt x="58" y="266"/>
                    </a:lnTo>
                    <a:lnTo>
                      <a:pt x="60" y="266"/>
                    </a:lnTo>
                    <a:lnTo>
                      <a:pt x="62" y="266"/>
                    </a:lnTo>
                    <a:lnTo>
                      <a:pt x="64" y="266"/>
                    </a:lnTo>
                    <a:lnTo>
                      <a:pt x="66" y="266"/>
                    </a:lnTo>
                    <a:lnTo>
                      <a:pt x="66" y="268"/>
                    </a:lnTo>
                    <a:lnTo>
                      <a:pt x="68" y="268"/>
                    </a:lnTo>
                    <a:lnTo>
                      <a:pt x="68" y="266"/>
                    </a:lnTo>
                    <a:lnTo>
                      <a:pt x="70" y="266"/>
                    </a:lnTo>
                    <a:lnTo>
                      <a:pt x="72" y="264"/>
                    </a:lnTo>
                    <a:lnTo>
                      <a:pt x="74" y="264"/>
                    </a:lnTo>
                    <a:lnTo>
                      <a:pt x="76" y="264"/>
                    </a:lnTo>
                    <a:lnTo>
                      <a:pt x="78" y="264"/>
                    </a:lnTo>
                    <a:lnTo>
                      <a:pt x="82" y="262"/>
                    </a:lnTo>
                    <a:lnTo>
                      <a:pt x="84" y="262"/>
                    </a:lnTo>
                    <a:lnTo>
                      <a:pt x="86" y="262"/>
                    </a:lnTo>
                    <a:lnTo>
                      <a:pt x="88" y="260"/>
                    </a:lnTo>
                    <a:lnTo>
                      <a:pt x="92" y="258"/>
                    </a:lnTo>
                    <a:lnTo>
                      <a:pt x="96" y="254"/>
                    </a:lnTo>
                    <a:lnTo>
                      <a:pt x="98" y="252"/>
                    </a:lnTo>
                    <a:lnTo>
                      <a:pt x="100" y="252"/>
                    </a:lnTo>
                    <a:lnTo>
                      <a:pt x="100" y="250"/>
                    </a:lnTo>
                    <a:lnTo>
                      <a:pt x="102" y="250"/>
                    </a:lnTo>
                    <a:lnTo>
                      <a:pt x="104" y="250"/>
                    </a:lnTo>
                    <a:lnTo>
                      <a:pt x="106" y="250"/>
                    </a:lnTo>
                    <a:lnTo>
                      <a:pt x="108" y="250"/>
                    </a:lnTo>
                    <a:lnTo>
                      <a:pt x="108" y="248"/>
                    </a:lnTo>
                    <a:lnTo>
                      <a:pt x="110" y="248"/>
                    </a:lnTo>
                    <a:lnTo>
                      <a:pt x="112" y="248"/>
                    </a:lnTo>
                    <a:lnTo>
                      <a:pt x="114" y="248"/>
                    </a:lnTo>
                    <a:lnTo>
                      <a:pt x="116" y="248"/>
                    </a:lnTo>
                    <a:lnTo>
                      <a:pt x="118" y="248"/>
                    </a:lnTo>
                    <a:lnTo>
                      <a:pt x="120" y="246"/>
                    </a:lnTo>
                    <a:lnTo>
                      <a:pt x="122" y="246"/>
                    </a:lnTo>
                    <a:lnTo>
                      <a:pt x="124" y="244"/>
                    </a:lnTo>
                    <a:lnTo>
                      <a:pt x="126" y="244"/>
                    </a:lnTo>
                    <a:lnTo>
                      <a:pt x="130" y="244"/>
                    </a:lnTo>
                    <a:lnTo>
                      <a:pt x="132" y="244"/>
                    </a:lnTo>
                    <a:lnTo>
                      <a:pt x="136" y="242"/>
                    </a:lnTo>
                    <a:lnTo>
                      <a:pt x="138" y="242"/>
                    </a:lnTo>
                    <a:lnTo>
                      <a:pt x="142" y="240"/>
                    </a:lnTo>
                    <a:lnTo>
                      <a:pt x="144" y="238"/>
                    </a:lnTo>
                    <a:lnTo>
                      <a:pt x="146" y="236"/>
                    </a:lnTo>
                    <a:lnTo>
                      <a:pt x="148" y="234"/>
                    </a:lnTo>
                    <a:lnTo>
                      <a:pt x="150" y="234"/>
                    </a:lnTo>
                    <a:lnTo>
                      <a:pt x="152" y="232"/>
                    </a:lnTo>
                    <a:lnTo>
                      <a:pt x="154" y="232"/>
                    </a:lnTo>
                    <a:lnTo>
                      <a:pt x="156" y="232"/>
                    </a:lnTo>
                    <a:lnTo>
                      <a:pt x="158" y="232"/>
                    </a:lnTo>
                    <a:lnTo>
                      <a:pt x="160" y="232"/>
                    </a:lnTo>
                    <a:lnTo>
                      <a:pt x="162" y="232"/>
                    </a:lnTo>
                    <a:lnTo>
                      <a:pt x="166" y="230"/>
                    </a:lnTo>
                    <a:lnTo>
                      <a:pt x="168" y="228"/>
                    </a:lnTo>
                    <a:lnTo>
                      <a:pt x="170" y="228"/>
                    </a:lnTo>
                    <a:lnTo>
                      <a:pt x="172" y="226"/>
                    </a:lnTo>
                    <a:lnTo>
                      <a:pt x="174" y="224"/>
                    </a:lnTo>
                    <a:lnTo>
                      <a:pt x="176" y="224"/>
                    </a:lnTo>
                    <a:lnTo>
                      <a:pt x="178" y="224"/>
                    </a:lnTo>
                    <a:lnTo>
                      <a:pt x="182" y="222"/>
                    </a:lnTo>
                    <a:lnTo>
                      <a:pt x="184" y="222"/>
                    </a:lnTo>
                    <a:lnTo>
                      <a:pt x="188" y="222"/>
                    </a:lnTo>
                    <a:lnTo>
                      <a:pt x="192" y="222"/>
                    </a:lnTo>
                    <a:lnTo>
                      <a:pt x="194" y="222"/>
                    </a:lnTo>
                    <a:lnTo>
                      <a:pt x="194" y="220"/>
                    </a:lnTo>
                    <a:lnTo>
                      <a:pt x="196" y="220"/>
                    </a:lnTo>
                    <a:lnTo>
                      <a:pt x="198" y="216"/>
                    </a:lnTo>
                    <a:lnTo>
                      <a:pt x="200" y="216"/>
                    </a:lnTo>
                    <a:lnTo>
                      <a:pt x="200" y="214"/>
                    </a:lnTo>
                    <a:lnTo>
                      <a:pt x="202" y="214"/>
                    </a:lnTo>
                    <a:lnTo>
                      <a:pt x="204" y="214"/>
                    </a:lnTo>
                    <a:lnTo>
                      <a:pt x="206" y="214"/>
                    </a:lnTo>
                    <a:lnTo>
                      <a:pt x="210" y="212"/>
                    </a:lnTo>
                    <a:lnTo>
                      <a:pt x="212" y="212"/>
                    </a:lnTo>
                    <a:lnTo>
                      <a:pt x="216" y="210"/>
                    </a:lnTo>
                    <a:lnTo>
                      <a:pt x="218" y="210"/>
                    </a:lnTo>
                    <a:lnTo>
                      <a:pt x="218" y="208"/>
                    </a:lnTo>
                    <a:lnTo>
                      <a:pt x="218" y="206"/>
                    </a:lnTo>
                    <a:lnTo>
                      <a:pt x="216" y="206"/>
                    </a:lnTo>
                    <a:lnTo>
                      <a:pt x="214" y="206"/>
                    </a:lnTo>
                    <a:lnTo>
                      <a:pt x="216" y="206"/>
                    </a:lnTo>
                    <a:lnTo>
                      <a:pt x="216" y="204"/>
                    </a:lnTo>
                    <a:lnTo>
                      <a:pt x="218" y="204"/>
                    </a:lnTo>
                    <a:lnTo>
                      <a:pt x="220" y="202"/>
                    </a:lnTo>
                    <a:lnTo>
                      <a:pt x="222" y="200"/>
                    </a:lnTo>
                    <a:lnTo>
                      <a:pt x="224" y="198"/>
                    </a:lnTo>
                    <a:lnTo>
                      <a:pt x="226" y="198"/>
                    </a:lnTo>
                    <a:lnTo>
                      <a:pt x="228" y="198"/>
                    </a:lnTo>
                    <a:lnTo>
                      <a:pt x="230" y="196"/>
                    </a:lnTo>
                    <a:lnTo>
                      <a:pt x="234" y="196"/>
                    </a:lnTo>
                    <a:lnTo>
                      <a:pt x="236" y="196"/>
                    </a:lnTo>
                    <a:lnTo>
                      <a:pt x="238" y="194"/>
                    </a:lnTo>
                    <a:lnTo>
                      <a:pt x="242" y="194"/>
                    </a:lnTo>
                    <a:lnTo>
                      <a:pt x="244" y="192"/>
                    </a:lnTo>
                    <a:lnTo>
                      <a:pt x="246" y="190"/>
                    </a:lnTo>
                    <a:lnTo>
                      <a:pt x="248" y="190"/>
                    </a:lnTo>
                    <a:lnTo>
                      <a:pt x="250" y="190"/>
                    </a:lnTo>
                    <a:lnTo>
                      <a:pt x="252" y="188"/>
                    </a:lnTo>
                    <a:lnTo>
                      <a:pt x="254" y="188"/>
                    </a:lnTo>
                    <a:lnTo>
                      <a:pt x="256" y="188"/>
                    </a:lnTo>
                    <a:lnTo>
                      <a:pt x="256" y="186"/>
                    </a:lnTo>
                    <a:lnTo>
                      <a:pt x="256" y="184"/>
                    </a:lnTo>
                    <a:lnTo>
                      <a:pt x="256" y="182"/>
                    </a:lnTo>
                    <a:lnTo>
                      <a:pt x="254" y="182"/>
                    </a:lnTo>
                    <a:lnTo>
                      <a:pt x="256" y="182"/>
                    </a:lnTo>
                    <a:lnTo>
                      <a:pt x="258" y="182"/>
                    </a:lnTo>
                    <a:lnTo>
                      <a:pt x="260" y="184"/>
                    </a:lnTo>
                    <a:lnTo>
                      <a:pt x="264" y="184"/>
                    </a:lnTo>
                    <a:lnTo>
                      <a:pt x="266" y="182"/>
                    </a:lnTo>
                    <a:lnTo>
                      <a:pt x="268" y="182"/>
                    </a:lnTo>
                    <a:lnTo>
                      <a:pt x="268" y="180"/>
                    </a:lnTo>
                    <a:lnTo>
                      <a:pt x="270" y="180"/>
                    </a:lnTo>
                    <a:lnTo>
                      <a:pt x="274" y="178"/>
                    </a:lnTo>
                    <a:lnTo>
                      <a:pt x="276" y="178"/>
                    </a:lnTo>
                    <a:lnTo>
                      <a:pt x="278" y="176"/>
                    </a:lnTo>
                    <a:lnTo>
                      <a:pt x="280" y="176"/>
                    </a:lnTo>
                    <a:lnTo>
                      <a:pt x="280" y="174"/>
                    </a:lnTo>
                    <a:lnTo>
                      <a:pt x="282" y="174"/>
                    </a:lnTo>
                    <a:lnTo>
                      <a:pt x="284" y="174"/>
                    </a:lnTo>
                    <a:lnTo>
                      <a:pt x="286" y="172"/>
                    </a:lnTo>
                    <a:lnTo>
                      <a:pt x="292" y="172"/>
                    </a:lnTo>
                    <a:lnTo>
                      <a:pt x="294" y="170"/>
                    </a:lnTo>
                    <a:lnTo>
                      <a:pt x="298" y="168"/>
                    </a:lnTo>
                    <a:lnTo>
                      <a:pt x="300" y="168"/>
                    </a:lnTo>
                    <a:lnTo>
                      <a:pt x="302" y="166"/>
                    </a:lnTo>
                    <a:lnTo>
                      <a:pt x="304" y="166"/>
                    </a:lnTo>
                    <a:lnTo>
                      <a:pt x="306" y="166"/>
                    </a:lnTo>
                    <a:lnTo>
                      <a:pt x="310" y="168"/>
                    </a:lnTo>
                    <a:lnTo>
                      <a:pt x="312" y="170"/>
                    </a:lnTo>
                    <a:lnTo>
                      <a:pt x="314" y="170"/>
                    </a:lnTo>
                    <a:lnTo>
                      <a:pt x="316" y="172"/>
                    </a:lnTo>
                    <a:lnTo>
                      <a:pt x="314" y="172"/>
                    </a:lnTo>
                    <a:lnTo>
                      <a:pt x="312" y="172"/>
                    </a:lnTo>
                    <a:lnTo>
                      <a:pt x="310" y="172"/>
                    </a:lnTo>
                    <a:lnTo>
                      <a:pt x="308" y="172"/>
                    </a:lnTo>
                    <a:lnTo>
                      <a:pt x="306" y="172"/>
                    </a:lnTo>
                    <a:lnTo>
                      <a:pt x="306" y="170"/>
                    </a:lnTo>
                    <a:lnTo>
                      <a:pt x="304" y="170"/>
                    </a:lnTo>
                    <a:lnTo>
                      <a:pt x="302" y="172"/>
                    </a:lnTo>
                    <a:lnTo>
                      <a:pt x="298" y="172"/>
                    </a:lnTo>
                    <a:lnTo>
                      <a:pt x="298" y="174"/>
                    </a:lnTo>
                    <a:lnTo>
                      <a:pt x="296" y="174"/>
                    </a:lnTo>
                    <a:lnTo>
                      <a:pt x="292" y="174"/>
                    </a:lnTo>
                    <a:lnTo>
                      <a:pt x="290" y="174"/>
                    </a:lnTo>
                    <a:lnTo>
                      <a:pt x="288" y="174"/>
                    </a:lnTo>
                    <a:lnTo>
                      <a:pt x="288" y="176"/>
                    </a:lnTo>
                    <a:lnTo>
                      <a:pt x="286" y="176"/>
                    </a:lnTo>
                    <a:lnTo>
                      <a:pt x="284" y="178"/>
                    </a:lnTo>
                    <a:lnTo>
                      <a:pt x="282" y="180"/>
                    </a:lnTo>
                    <a:lnTo>
                      <a:pt x="280" y="180"/>
                    </a:lnTo>
                    <a:lnTo>
                      <a:pt x="280" y="182"/>
                    </a:lnTo>
                    <a:lnTo>
                      <a:pt x="278" y="184"/>
                    </a:lnTo>
                    <a:lnTo>
                      <a:pt x="276" y="184"/>
                    </a:lnTo>
                    <a:lnTo>
                      <a:pt x="274" y="184"/>
                    </a:lnTo>
                    <a:lnTo>
                      <a:pt x="272" y="186"/>
                    </a:lnTo>
                    <a:lnTo>
                      <a:pt x="268" y="186"/>
                    </a:lnTo>
                    <a:lnTo>
                      <a:pt x="266" y="186"/>
                    </a:lnTo>
                    <a:lnTo>
                      <a:pt x="264" y="188"/>
                    </a:lnTo>
                    <a:lnTo>
                      <a:pt x="262" y="188"/>
                    </a:lnTo>
                    <a:lnTo>
                      <a:pt x="262" y="190"/>
                    </a:lnTo>
                    <a:lnTo>
                      <a:pt x="260" y="190"/>
                    </a:lnTo>
                    <a:lnTo>
                      <a:pt x="262" y="192"/>
                    </a:lnTo>
                    <a:lnTo>
                      <a:pt x="264" y="194"/>
                    </a:lnTo>
                    <a:lnTo>
                      <a:pt x="266" y="194"/>
                    </a:lnTo>
                    <a:lnTo>
                      <a:pt x="268" y="194"/>
                    </a:lnTo>
                    <a:lnTo>
                      <a:pt x="266" y="194"/>
                    </a:lnTo>
                    <a:lnTo>
                      <a:pt x="266" y="196"/>
                    </a:lnTo>
                    <a:lnTo>
                      <a:pt x="262" y="196"/>
                    </a:lnTo>
                    <a:lnTo>
                      <a:pt x="260" y="196"/>
                    </a:lnTo>
                    <a:lnTo>
                      <a:pt x="258" y="196"/>
                    </a:lnTo>
                    <a:lnTo>
                      <a:pt x="256" y="196"/>
                    </a:lnTo>
                    <a:lnTo>
                      <a:pt x="254" y="196"/>
                    </a:lnTo>
                    <a:lnTo>
                      <a:pt x="252" y="196"/>
                    </a:lnTo>
                    <a:lnTo>
                      <a:pt x="250" y="196"/>
                    </a:lnTo>
                    <a:lnTo>
                      <a:pt x="248" y="198"/>
                    </a:lnTo>
                    <a:lnTo>
                      <a:pt x="248" y="200"/>
                    </a:lnTo>
                    <a:lnTo>
                      <a:pt x="250" y="202"/>
                    </a:lnTo>
                    <a:lnTo>
                      <a:pt x="252" y="202"/>
                    </a:lnTo>
                    <a:lnTo>
                      <a:pt x="254" y="202"/>
                    </a:lnTo>
                    <a:lnTo>
                      <a:pt x="256" y="202"/>
                    </a:lnTo>
                    <a:lnTo>
                      <a:pt x="260" y="200"/>
                    </a:lnTo>
                    <a:lnTo>
                      <a:pt x="264" y="198"/>
                    </a:lnTo>
                    <a:lnTo>
                      <a:pt x="268" y="196"/>
                    </a:lnTo>
                    <a:lnTo>
                      <a:pt x="272" y="196"/>
                    </a:lnTo>
                    <a:lnTo>
                      <a:pt x="276" y="194"/>
                    </a:lnTo>
                    <a:lnTo>
                      <a:pt x="280" y="192"/>
                    </a:lnTo>
                    <a:lnTo>
                      <a:pt x="284" y="190"/>
                    </a:lnTo>
                    <a:lnTo>
                      <a:pt x="286" y="190"/>
                    </a:lnTo>
                    <a:lnTo>
                      <a:pt x="288" y="190"/>
                    </a:lnTo>
                    <a:lnTo>
                      <a:pt x="292" y="190"/>
                    </a:lnTo>
                    <a:lnTo>
                      <a:pt x="298" y="190"/>
                    </a:lnTo>
                    <a:lnTo>
                      <a:pt x="300" y="190"/>
                    </a:lnTo>
                    <a:lnTo>
                      <a:pt x="304" y="190"/>
                    </a:lnTo>
                    <a:lnTo>
                      <a:pt x="306" y="190"/>
                    </a:lnTo>
                    <a:lnTo>
                      <a:pt x="310" y="188"/>
                    </a:lnTo>
                    <a:lnTo>
                      <a:pt x="312" y="188"/>
                    </a:lnTo>
                    <a:lnTo>
                      <a:pt x="314" y="186"/>
                    </a:lnTo>
                    <a:lnTo>
                      <a:pt x="316" y="182"/>
                    </a:lnTo>
                    <a:lnTo>
                      <a:pt x="318" y="180"/>
                    </a:lnTo>
                    <a:lnTo>
                      <a:pt x="320" y="180"/>
                    </a:lnTo>
                    <a:lnTo>
                      <a:pt x="322" y="178"/>
                    </a:lnTo>
                    <a:lnTo>
                      <a:pt x="322" y="176"/>
                    </a:lnTo>
                    <a:lnTo>
                      <a:pt x="320" y="176"/>
                    </a:lnTo>
                    <a:lnTo>
                      <a:pt x="320" y="174"/>
                    </a:lnTo>
                    <a:lnTo>
                      <a:pt x="322" y="174"/>
                    </a:lnTo>
                    <a:lnTo>
                      <a:pt x="324" y="174"/>
                    </a:lnTo>
                    <a:lnTo>
                      <a:pt x="326" y="172"/>
                    </a:lnTo>
                    <a:lnTo>
                      <a:pt x="328" y="172"/>
                    </a:lnTo>
                    <a:lnTo>
                      <a:pt x="332" y="172"/>
                    </a:lnTo>
                    <a:lnTo>
                      <a:pt x="336" y="170"/>
                    </a:lnTo>
                    <a:lnTo>
                      <a:pt x="340" y="170"/>
                    </a:lnTo>
                    <a:lnTo>
                      <a:pt x="340" y="168"/>
                    </a:lnTo>
                    <a:lnTo>
                      <a:pt x="342" y="168"/>
                    </a:lnTo>
                    <a:lnTo>
                      <a:pt x="344" y="168"/>
                    </a:lnTo>
                    <a:lnTo>
                      <a:pt x="346" y="168"/>
                    </a:lnTo>
                    <a:lnTo>
                      <a:pt x="348" y="170"/>
                    </a:lnTo>
                    <a:lnTo>
                      <a:pt x="348" y="172"/>
                    </a:lnTo>
                    <a:lnTo>
                      <a:pt x="352" y="172"/>
                    </a:lnTo>
                    <a:lnTo>
                      <a:pt x="354" y="170"/>
                    </a:lnTo>
                    <a:lnTo>
                      <a:pt x="356" y="170"/>
                    </a:lnTo>
                    <a:lnTo>
                      <a:pt x="358" y="170"/>
                    </a:lnTo>
                    <a:lnTo>
                      <a:pt x="358" y="168"/>
                    </a:lnTo>
                    <a:lnTo>
                      <a:pt x="360" y="168"/>
                    </a:lnTo>
                    <a:lnTo>
                      <a:pt x="362" y="168"/>
                    </a:lnTo>
                    <a:lnTo>
                      <a:pt x="364" y="168"/>
                    </a:lnTo>
                    <a:lnTo>
                      <a:pt x="360" y="170"/>
                    </a:lnTo>
                    <a:lnTo>
                      <a:pt x="358" y="172"/>
                    </a:lnTo>
                    <a:lnTo>
                      <a:pt x="356" y="172"/>
                    </a:lnTo>
                    <a:lnTo>
                      <a:pt x="354" y="174"/>
                    </a:lnTo>
                    <a:lnTo>
                      <a:pt x="358" y="17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2" name="Freeform 15">
                <a:extLst>
                  <a:ext uri="{FF2B5EF4-FFF2-40B4-BE49-F238E27FC236}">
                    <a16:creationId xmlns:a16="http://schemas.microsoft.com/office/drawing/2014/main" id="{07F345B1-D996-4CDA-8083-91DDC606C60F}"/>
                  </a:ext>
                </a:extLst>
              </p:cNvPr>
              <p:cNvSpPr>
                <a:spLocks noChangeAspect="1"/>
              </p:cNvSpPr>
              <p:nvPr/>
            </p:nvSpPr>
            <p:spPr bwMode="auto">
              <a:xfrm>
                <a:off x="2878502" y="2591845"/>
                <a:ext cx="65775" cy="20928"/>
              </a:xfrm>
              <a:custGeom>
                <a:avLst/>
                <a:gdLst/>
                <a:ahLst/>
                <a:cxnLst>
                  <a:cxn ang="0">
                    <a:pos x="24" y="4"/>
                  </a:cxn>
                  <a:cxn ang="0">
                    <a:pos x="24" y="4"/>
                  </a:cxn>
                  <a:cxn ang="0">
                    <a:pos x="24" y="4"/>
                  </a:cxn>
                  <a:cxn ang="0">
                    <a:pos x="22" y="4"/>
                  </a:cxn>
                  <a:cxn ang="0">
                    <a:pos x="20" y="4"/>
                  </a:cxn>
                  <a:cxn ang="0">
                    <a:pos x="16" y="2"/>
                  </a:cxn>
                  <a:cxn ang="0">
                    <a:pos x="12" y="2"/>
                  </a:cxn>
                  <a:cxn ang="0">
                    <a:pos x="10" y="2"/>
                  </a:cxn>
                  <a:cxn ang="0">
                    <a:pos x="2" y="0"/>
                  </a:cxn>
                  <a:cxn ang="0">
                    <a:pos x="0" y="0"/>
                  </a:cxn>
                  <a:cxn ang="0">
                    <a:pos x="0" y="0"/>
                  </a:cxn>
                  <a:cxn ang="0">
                    <a:pos x="0" y="2"/>
                  </a:cxn>
                  <a:cxn ang="0">
                    <a:pos x="0" y="2"/>
                  </a:cxn>
                  <a:cxn ang="0">
                    <a:pos x="0" y="2"/>
                  </a:cxn>
                  <a:cxn ang="0">
                    <a:pos x="0" y="2"/>
                  </a:cxn>
                  <a:cxn ang="0">
                    <a:pos x="2" y="2"/>
                  </a:cxn>
                  <a:cxn ang="0">
                    <a:pos x="4" y="4"/>
                  </a:cxn>
                  <a:cxn ang="0">
                    <a:pos x="6" y="4"/>
                  </a:cxn>
                  <a:cxn ang="0">
                    <a:pos x="8" y="4"/>
                  </a:cxn>
                  <a:cxn ang="0">
                    <a:pos x="8" y="4"/>
                  </a:cxn>
                  <a:cxn ang="0">
                    <a:pos x="8" y="4"/>
                  </a:cxn>
                  <a:cxn ang="0">
                    <a:pos x="8" y="6"/>
                  </a:cxn>
                  <a:cxn ang="0">
                    <a:pos x="8" y="8"/>
                  </a:cxn>
                  <a:cxn ang="0">
                    <a:pos x="8" y="8"/>
                  </a:cxn>
                  <a:cxn ang="0">
                    <a:pos x="8" y="8"/>
                  </a:cxn>
                  <a:cxn ang="0">
                    <a:pos x="8" y="8"/>
                  </a:cxn>
                  <a:cxn ang="0">
                    <a:pos x="8" y="8"/>
                  </a:cxn>
                  <a:cxn ang="0">
                    <a:pos x="8" y="8"/>
                  </a:cxn>
                  <a:cxn ang="0">
                    <a:pos x="8" y="8"/>
                  </a:cxn>
                  <a:cxn ang="0">
                    <a:pos x="10" y="8"/>
                  </a:cxn>
                  <a:cxn ang="0">
                    <a:pos x="12" y="10"/>
                  </a:cxn>
                  <a:cxn ang="0">
                    <a:pos x="14" y="10"/>
                  </a:cxn>
                  <a:cxn ang="0">
                    <a:pos x="18" y="10"/>
                  </a:cxn>
                  <a:cxn ang="0">
                    <a:pos x="22" y="12"/>
                  </a:cxn>
                  <a:cxn ang="0">
                    <a:pos x="30" y="12"/>
                  </a:cxn>
                  <a:cxn ang="0">
                    <a:pos x="34" y="12"/>
                  </a:cxn>
                  <a:cxn ang="0">
                    <a:pos x="36" y="12"/>
                  </a:cxn>
                  <a:cxn ang="0">
                    <a:pos x="38" y="12"/>
                  </a:cxn>
                  <a:cxn ang="0">
                    <a:pos x="38" y="12"/>
                  </a:cxn>
                  <a:cxn ang="0">
                    <a:pos x="40" y="12"/>
                  </a:cxn>
                  <a:cxn ang="0">
                    <a:pos x="40" y="12"/>
                  </a:cxn>
                  <a:cxn ang="0">
                    <a:pos x="40" y="10"/>
                  </a:cxn>
                  <a:cxn ang="0">
                    <a:pos x="40" y="10"/>
                  </a:cxn>
                  <a:cxn ang="0">
                    <a:pos x="38" y="10"/>
                  </a:cxn>
                  <a:cxn ang="0">
                    <a:pos x="36" y="8"/>
                  </a:cxn>
                  <a:cxn ang="0">
                    <a:pos x="34" y="8"/>
                  </a:cxn>
                  <a:cxn ang="0">
                    <a:pos x="32" y="6"/>
                  </a:cxn>
                  <a:cxn ang="0">
                    <a:pos x="28" y="6"/>
                  </a:cxn>
                  <a:cxn ang="0">
                    <a:pos x="24" y="4"/>
                  </a:cxn>
                  <a:cxn ang="0">
                    <a:pos x="24" y="4"/>
                  </a:cxn>
                  <a:cxn ang="0">
                    <a:pos x="24" y="4"/>
                  </a:cxn>
                </a:cxnLst>
                <a:rect l="0" t="0" r="r" b="b"/>
                <a:pathLst>
                  <a:path w="40" h="12">
                    <a:moveTo>
                      <a:pt x="24" y="4"/>
                    </a:moveTo>
                    <a:lnTo>
                      <a:pt x="24" y="4"/>
                    </a:lnTo>
                    <a:lnTo>
                      <a:pt x="22" y="4"/>
                    </a:lnTo>
                    <a:lnTo>
                      <a:pt x="20" y="4"/>
                    </a:lnTo>
                    <a:lnTo>
                      <a:pt x="16" y="2"/>
                    </a:lnTo>
                    <a:lnTo>
                      <a:pt x="12" y="2"/>
                    </a:lnTo>
                    <a:lnTo>
                      <a:pt x="10" y="2"/>
                    </a:lnTo>
                    <a:lnTo>
                      <a:pt x="2" y="0"/>
                    </a:lnTo>
                    <a:lnTo>
                      <a:pt x="0" y="0"/>
                    </a:lnTo>
                    <a:lnTo>
                      <a:pt x="0" y="2"/>
                    </a:lnTo>
                    <a:lnTo>
                      <a:pt x="2" y="2"/>
                    </a:lnTo>
                    <a:lnTo>
                      <a:pt x="4" y="4"/>
                    </a:lnTo>
                    <a:lnTo>
                      <a:pt x="6" y="4"/>
                    </a:lnTo>
                    <a:lnTo>
                      <a:pt x="8" y="4"/>
                    </a:lnTo>
                    <a:lnTo>
                      <a:pt x="8" y="6"/>
                    </a:lnTo>
                    <a:lnTo>
                      <a:pt x="8" y="8"/>
                    </a:lnTo>
                    <a:lnTo>
                      <a:pt x="10" y="8"/>
                    </a:lnTo>
                    <a:lnTo>
                      <a:pt x="12" y="10"/>
                    </a:lnTo>
                    <a:lnTo>
                      <a:pt x="14" y="10"/>
                    </a:lnTo>
                    <a:lnTo>
                      <a:pt x="18" y="10"/>
                    </a:lnTo>
                    <a:lnTo>
                      <a:pt x="22" y="12"/>
                    </a:lnTo>
                    <a:lnTo>
                      <a:pt x="30" y="12"/>
                    </a:lnTo>
                    <a:lnTo>
                      <a:pt x="34" y="12"/>
                    </a:lnTo>
                    <a:lnTo>
                      <a:pt x="36" y="12"/>
                    </a:lnTo>
                    <a:lnTo>
                      <a:pt x="38" y="12"/>
                    </a:lnTo>
                    <a:lnTo>
                      <a:pt x="40" y="12"/>
                    </a:lnTo>
                    <a:lnTo>
                      <a:pt x="40" y="10"/>
                    </a:lnTo>
                    <a:lnTo>
                      <a:pt x="38" y="10"/>
                    </a:lnTo>
                    <a:lnTo>
                      <a:pt x="36" y="8"/>
                    </a:lnTo>
                    <a:lnTo>
                      <a:pt x="34" y="8"/>
                    </a:lnTo>
                    <a:lnTo>
                      <a:pt x="32" y="6"/>
                    </a:lnTo>
                    <a:lnTo>
                      <a:pt x="28" y="6"/>
                    </a:lnTo>
                    <a:lnTo>
                      <a:pt x="24"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 name="Freeform 18">
                <a:extLst>
                  <a:ext uri="{FF2B5EF4-FFF2-40B4-BE49-F238E27FC236}">
                    <a16:creationId xmlns:a16="http://schemas.microsoft.com/office/drawing/2014/main" id="{1B4CD340-D91F-4625-83F6-1C524AD0B244}"/>
                  </a:ext>
                </a:extLst>
              </p:cNvPr>
              <p:cNvSpPr>
                <a:spLocks noChangeAspect="1" noEditPoints="1"/>
              </p:cNvSpPr>
              <p:nvPr/>
            </p:nvSpPr>
            <p:spPr bwMode="auto">
              <a:xfrm>
                <a:off x="1331158" y="1646617"/>
                <a:ext cx="2162335" cy="1205078"/>
              </a:xfrm>
              <a:custGeom>
                <a:avLst/>
                <a:gdLst/>
                <a:ahLst/>
                <a:cxnLst>
                  <a:cxn ang="0">
                    <a:pos x="664" y="172"/>
                  </a:cxn>
                  <a:cxn ang="0">
                    <a:pos x="578" y="140"/>
                  </a:cxn>
                  <a:cxn ang="0">
                    <a:pos x="506" y="198"/>
                  </a:cxn>
                  <a:cxn ang="0">
                    <a:pos x="752" y="160"/>
                  </a:cxn>
                  <a:cxn ang="0">
                    <a:pos x="804" y="84"/>
                  </a:cxn>
                  <a:cxn ang="0">
                    <a:pos x="970" y="114"/>
                  </a:cxn>
                  <a:cxn ang="0">
                    <a:pos x="878" y="82"/>
                  </a:cxn>
                  <a:cxn ang="0">
                    <a:pos x="988" y="32"/>
                  </a:cxn>
                  <a:cxn ang="0">
                    <a:pos x="856" y="102"/>
                  </a:cxn>
                  <a:cxn ang="0">
                    <a:pos x="710" y="210"/>
                  </a:cxn>
                  <a:cxn ang="0">
                    <a:pos x="710" y="58"/>
                  </a:cxn>
                  <a:cxn ang="0">
                    <a:pos x="816" y="264"/>
                  </a:cxn>
                  <a:cxn ang="0">
                    <a:pos x="1276" y="4"/>
                  </a:cxn>
                  <a:cxn ang="0">
                    <a:pos x="1066" y="12"/>
                  </a:cxn>
                  <a:cxn ang="0">
                    <a:pos x="1068" y="32"/>
                  </a:cxn>
                  <a:cxn ang="0">
                    <a:pos x="998" y="72"/>
                  </a:cxn>
                  <a:cxn ang="0">
                    <a:pos x="990" y="88"/>
                  </a:cxn>
                  <a:cxn ang="0">
                    <a:pos x="1122" y="54"/>
                  </a:cxn>
                  <a:cxn ang="0">
                    <a:pos x="1304" y="14"/>
                  </a:cxn>
                  <a:cxn ang="0">
                    <a:pos x="1070" y="186"/>
                  </a:cxn>
                  <a:cxn ang="0">
                    <a:pos x="1022" y="162"/>
                  </a:cxn>
                  <a:cxn ang="0">
                    <a:pos x="926" y="136"/>
                  </a:cxn>
                  <a:cxn ang="0">
                    <a:pos x="902" y="128"/>
                  </a:cxn>
                  <a:cxn ang="0">
                    <a:pos x="956" y="188"/>
                  </a:cxn>
                  <a:cxn ang="0">
                    <a:pos x="930" y="266"/>
                  </a:cxn>
                  <a:cxn ang="0">
                    <a:pos x="1008" y="316"/>
                  </a:cxn>
                  <a:cxn ang="0">
                    <a:pos x="1052" y="270"/>
                  </a:cxn>
                  <a:cxn ang="0">
                    <a:pos x="610" y="102"/>
                  </a:cxn>
                  <a:cxn ang="0">
                    <a:pos x="736" y="92"/>
                  </a:cxn>
                  <a:cxn ang="0">
                    <a:pos x="1028" y="470"/>
                  </a:cxn>
                  <a:cxn ang="0">
                    <a:pos x="1046" y="398"/>
                  </a:cxn>
                  <a:cxn ang="0">
                    <a:pos x="990" y="376"/>
                  </a:cxn>
                  <a:cxn ang="0">
                    <a:pos x="972" y="342"/>
                  </a:cxn>
                  <a:cxn ang="0">
                    <a:pos x="854" y="352"/>
                  </a:cxn>
                  <a:cxn ang="0">
                    <a:pos x="730" y="520"/>
                  </a:cxn>
                  <a:cxn ang="0">
                    <a:pos x="660" y="414"/>
                  </a:cxn>
                  <a:cxn ang="0">
                    <a:pos x="716" y="300"/>
                  </a:cxn>
                  <a:cxn ang="0">
                    <a:pos x="776" y="258"/>
                  </a:cxn>
                  <a:cxn ang="0">
                    <a:pos x="904" y="196"/>
                  </a:cxn>
                  <a:cxn ang="0">
                    <a:pos x="798" y="200"/>
                  </a:cxn>
                  <a:cxn ang="0">
                    <a:pos x="750" y="194"/>
                  </a:cxn>
                  <a:cxn ang="0">
                    <a:pos x="696" y="222"/>
                  </a:cxn>
                  <a:cxn ang="0">
                    <a:pos x="532" y="222"/>
                  </a:cxn>
                  <a:cxn ang="0">
                    <a:pos x="364" y="182"/>
                  </a:cxn>
                  <a:cxn ang="0">
                    <a:pos x="282" y="196"/>
                  </a:cxn>
                  <a:cxn ang="0">
                    <a:pos x="8" y="344"/>
                  </a:cxn>
                  <a:cxn ang="0">
                    <a:pos x="62" y="440"/>
                  </a:cxn>
                  <a:cxn ang="0">
                    <a:pos x="44" y="502"/>
                  </a:cxn>
                  <a:cxn ang="0">
                    <a:pos x="486" y="550"/>
                  </a:cxn>
                  <a:cxn ang="0">
                    <a:pos x="606" y="582"/>
                  </a:cxn>
                  <a:cxn ang="0">
                    <a:pos x="636" y="652"/>
                  </a:cxn>
                  <a:cxn ang="0">
                    <a:pos x="732" y="642"/>
                  </a:cxn>
                  <a:cxn ang="0">
                    <a:pos x="898" y="624"/>
                  </a:cxn>
                  <a:cxn ang="0">
                    <a:pos x="954" y="622"/>
                  </a:cxn>
                  <a:cxn ang="0">
                    <a:pos x="934" y="566"/>
                  </a:cxn>
                  <a:cxn ang="0">
                    <a:pos x="930" y="534"/>
                  </a:cxn>
                  <a:cxn ang="0">
                    <a:pos x="366" y="250"/>
                  </a:cxn>
                  <a:cxn ang="0">
                    <a:pos x="404" y="254"/>
                  </a:cxn>
                  <a:cxn ang="0">
                    <a:pos x="426" y="320"/>
                  </a:cxn>
                  <a:cxn ang="0">
                    <a:pos x="434" y="312"/>
                  </a:cxn>
                  <a:cxn ang="0">
                    <a:pos x="476" y="482"/>
                  </a:cxn>
                  <a:cxn ang="0">
                    <a:pos x="568" y="78"/>
                  </a:cxn>
                  <a:cxn ang="0">
                    <a:pos x="522" y="144"/>
                  </a:cxn>
                </a:cxnLst>
                <a:rect l="0" t="0" r="r" b="b"/>
                <a:pathLst>
                  <a:path w="1314" h="690">
                    <a:moveTo>
                      <a:pt x="980" y="138"/>
                    </a:moveTo>
                    <a:lnTo>
                      <a:pt x="980" y="142"/>
                    </a:lnTo>
                    <a:lnTo>
                      <a:pt x="982" y="144"/>
                    </a:lnTo>
                    <a:lnTo>
                      <a:pt x="984" y="144"/>
                    </a:lnTo>
                    <a:lnTo>
                      <a:pt x="986" y="146"/>
                    </a:lnTo>
                    <a:lnTo>
                      <a:pt x="988" y="146"/>
                    </a:lnTo>
                    <a:lnTo>
                      <a:pt x="990" y="144"/>
                    </a:lnTo>
                    <a:lnTo>
                      <a:pt x="992" y="144"/>
                    </a:lnTo>
                    <a:lnTo>
                      <a:pt x="994" y="144"/>
                    </a:lnTo>
                    <a:lnTo>
                      <a:pt x="996" y="142"/>
                    </a:lnTo>
                    <a:lnTo>
                      <a:pt x="1014" y="142"/>
                    </a:lnTo>
                    <a:lnTo>
                      <a:pt x="1016" y="142"/>
                    </a:lnTo>
                    <a:lnTo>
                      <a:pt x="1018" y="144"/>
                    </a:lnTo>
                    <a:lnTo>
                      <a:pt x="1022" y="144"/>
                    </a:lnTo>
                    <a:lnTo>
                      <a:pt x="1024" y="142"/>
                    </a:lnTo>
                    <a:lnTo>
                      <a:pt x="1024" y="140"/>
                    </a:lnTo>
                    <a:lnTo>
                      <a:pt x="1024" y="138"/>
                    </a:lnTo>
                    <a:lnTo>
                      <a:pt x="1024" y="136"/>
                    </a:lnTo>
                    <a:lnTo>
                      <a:pt x="1022" y="134"/>
                    </a:lnTo>
                    <a:lnTo>
                      <a:pt x="1020" y="132"/>
                    </a:lnTo>
                    <a:lnTo>
                      <a:pt x="1018" y="130"/>
                    </a:lnTo>
                    <a:lnTo>
                      <a:pt x="1006" y="130"/>
                    </a:lnTo>
                    <a:lnTo>
                      <a:pt x="1006" y="132"/>
                    </a:lnTo>
                    <a:lnTo>
                      <a:pt x="996" y="132"/>
                    </a:lnTo>
                    <a:lnTo>
                      <a:pt x="996" y="130"/>
                    </a:lnTo>
                    <a:lnTo>
                      <a:pt x="994" y="130"/>
                    </a:lnTo>
                    <a:lnTo>
                      <a:pt x="990" y="130"/>
                    </a:lnTo>
                    <a:lnTo>
                      <a:pt x="988" y="128"/>
                    </a:lnTo>
                    <a:lnTo>
                      <a:pt x="986" y="128"/>
                    </a:lnTo>
                    <a:lnTo>
                      <a:pt x="984" y="130"/>
                    </a:lnTo>
                    <a:lnTo>
                      <a:pt x="982" y="130"/>
                    </a:lnTo>
                    <a:lnTo>
                      <a:pt x="980" y="132"/>
                    </a:lnTo>
                    <a:lnTo>
                      <a:pt x="978" y="134"/>
                    </a:lnTo>
                    <a:lnTo>
                      <a:pt x="976" y="134"/>
                    </a:lnTo>
                    <a:lnTo>
                      <a:pt x="976" y="136"/>
                    </a:lnTo>
                    <a:lnTo>
                      <a:pt x="978" y="136"/>
                    </a:lnTo>
                    <a:lnTo>
                      <a:pt x="980" y="136"/>
                    </a:lnTo>
                    <a:lnTo>
                      <a:pt x="980" y="138"/>
                    </a:lnTo>
                    <a:lnTo>
                      <a:pt x="982" y="138"/>
                    </a:lnTo>
                    <a:lnTo>
                      <a:pt x="980" y="138"/>
                    </a:lnTo>
                    <a:close/>
                    <a:moveTo>
                      <a:pt x="686" y="138"/>
                    </a:moveTo>
                    <a:lnTo>
                      <a:pt x="688" y="138"/>
                    </a:lnTo>
                    <a:lnTo>
                      <a:pt x="688" y="140"/>
                    </a:lnTo>
                    <a:lnTo>
                      <a:pt x="690" y="140"/>
                    </a:lnTo>
                    <a:lnTo>
                      <a:pt x="706" y="134"/>
                    </a:lnTo>
                    <a:lnTo>
                      <a:pt x="704" y="132"/>
                    </a:lnTo>
                    <a:lnTo>
                      <a:pt x="702" y="132"/>
                    </a:lnTo>
                    <a:lnTo>
                      <a:pt x="700" y="130"/>
                    </a:lnTo>
                    <a:lnTo>
                      <a:pt x="698" y="130"/>
                    </a:lnTo>
                    <a:lnTo>
                      <a:pt x="698" y="128"/>
                    </a:lnTo>
                    <a:lnTo>
                      <a:pt x="696" y="130"/>
                    </a:lnTo>
                    <a:lnTo>
                      <a:pt x="692" y="130"/>
                    </a:lnTo>
                    <a:lnTo>
                      <a:pt x="690" y="128"/>
                    </a:lnTo>
                    <a:lnTo>
                      <a:pt x="688" y="128"/>
                    </a:lnTo>
                    <a:lnTo>
                      <a:pt x="686" y="126"/>
                    </a:lnTo>
                    <a:lnTo>
                      <a:pt x="682" y="126"/>
                    </a:lnTo>
                    <a:lnTo>
                      <a:pt x="678" y="128"/>
                    </a:lnTo>
                    <a:lnTo>
                      <a:pt x="676" y="128"/>
                    </a:lnTo>
                    <a:lnTo>
                      <a:pt x="676" y="130"/>
                    </a:lnTo>
                    <a:lnTo>
                      <a:pt x="678" y="132"/>
                    </a:lnTo>
                    <a:lnTo>
                      <a:pt x="680" y="134"/>
                    </a:lnTo>
                    <a:lnTo>
                      <a:pt x="682" y="134"/>
                    </a:lnTo>
                    <a:lnTo>
                      <a:pt x="684" y="136"/>
                    </a:lnTo>
                    <a:lnTo>
                      <a:pt x="686" y="138"/>
                    </a:lnTo>
                    <a:close/>
                    <a:moveTo>
                      <a:pt x="652" y="194"/>
                    </a:moveTo>
                    <a:lnTo>
                      <a:pt x="654" y="192"/>
                    </a:lnTo>
                    <a:lnTo>
                      <a:pt x="662" y="192"/>
                    </a:lnTo>
                    <a:lnTo>
                      <a:pt x="664" y="192"/>
                    </a:lnTo>
                    <a:lnTo>
                      <a:pt x="668" y="192"/>
                    </a:lnTo>
                    <a:lnTo>
                      <a:pt x="674" y="192"/>
                    </a:lnTo>
                    <a:lnTo>
                      <a:pt x="678" y="190"/>
                    </a:lnTo>
                    <a:lnTo>
                      <a:pt x="680" y="190"/>
                    </a:lnTo>
                    <a:lnTo>
                      <a:pt x="682" y="190"/>
                    </a:lnTo>
                    <a:lnTo>
                      <a:pt x="682" y="188"/>
                    </a:lnTo>
                    <a:lnTo>
                      <a:pt x="684" y="188"/>
                    </a:lnTo>
                    <a:lnTo>
                      <a:pt x="684" y="186"/>
                    </a:lnTo>
                    <a:lnTo>
                      <a:pt x="682" y="186"/>
                    </a:lnTo>
                    <a:lnTo>
                      <a:pt x="682" y="184"/>
                    </a:lnTo>
                    <a:lnTo>
                      <a:pt x="682" y="182"/>
                    </a:lnTo>
                    <a:lnTo>
                      <a:pt x="680" y="182"/>
                    </a:lnTo>
                    <a:lnTo>
                      <a:pt x="678" y="180"/>
                    </a:lnTo>
                    <a:lnTo>
                      <a:pt x="678" y="178"/>
                    </a:lnTo>
                    <a:lnTo>
                      <a:pt x="676" y="178"/>
                    </a:lnTo>
                    <a:lnTo>
                      <a:pt x="672" y="178"/>
                    </a:lnTo>
                    <a:lnTo>
                      <a:pt x="670" y="176"/>
                    </a:lnTo>
                    <a:lnTo>
                      <a:pt x="654" y="176"/>
                    </a:lnTo>
                    <a:lnTo>
                      <a:pt x="658" y="174"/>
                    </a:lnTo>
                    <a:lnTo>
                      <a:pt x="660" y="174"/>
                    </a:lnTo>
                    <a:lnTo>
                      <a:pt x="662" y="172"/>
                    </a:lnTo>
                    <a:lnTo>
                      <a:pt x="664" y="172"/>
                    </a:lnTo>
                    <a:lnTo>
                      <a:pt x="666" y="170"/>
                    </a:lnTo>
                    <a:lnTo>
                      <a:pt x="668" y="170"/>
                    </a:lnTo>
                    <a:lnTo>
                      <a:pt x="670" y="168"/>
                    </a:lnTo>
                    <a:lnTo>
                      <a:pt x="672" y="168"/>
                    </a:lnTo>
                    <a:lnTo>
                      <a:pt x="672" y="166"/>
                    </a:lnTo>
                    <a:lnTo>
                      <a:pt x="674" y="164"/>
                    </a:lnTo>
                    <a:lnTo>
                      <a:pt x="674" y="162"/>
                    </a:lnTo>
                    <a:lnTo>
                      <a:pt x="674" y="160"/>
                    </a:lnTo>
                    <a:lnTo>
                      <a:pt x="676" y="158"/>
                    </a:lnTo>
                    <a:lnTo>
                      <a:pt x="676" y="152"/>
                    </a:lnTo>
                    <a:lnTo>
                      <a:pt x="678" y="148"/>
                    </a:lnTo>
                    <a:lnTo>
                      <a:pt x="678" y="146"/>
                    </a:lnTo>
                    <a:lnTo>
                      <a:pt x="678" y="144"/>
                    </a:lnTo>
                    <a:lnTo>
                      <a:pt x="678" y="142"/>
                    </a:lnTo>
                    <a:lnTo>
                      <a:pt x="676" y="140"/>
                    </a:lnTo>
                    <a:lnTo>
                      <a:pt x="676" y="138"/>
                    </a:lnTo>
                    <a:lnTo>
                      <a:pt x="674" y="138"/>
                    </a:lnTo>
                    <a:lnTo>
                      <a:pt x="670" y="136"/>
                    </a:lnTo>
                    <a:lnTo>
                      <a:pt x="666" y="136"/>
                    </a:lnTo>
                    <a:lnTo>
                      <a:pt x="662" y="138"/>
                    </a:lnTo>
                    <a:lnTo>
                      <a:pt x="658" y="138"/>
                    </a:lnTo>
                    <a:lnTo>
                      <a:pt x="656" y="138"/>
                    </a:lnTo>
                    <a:lnTo>
                      <a:pt x="652" y="140"/>
                    </a:lnTo>
                    <a:lnTo>
                      <a:pt x="650" y="140"/>
                    </a:lnTo>
                    <a:lnTo>
                      <a:pt x="650" y="142"/>
                    </a:lnTo>
                    <a:lnTo>
                      <a:pt x="648" y="142"/>
                    </a:lnTo>
                    <a:lnTo>
                      <a:pt x="648" y="144"/>
                    </a:lnTo>
                    <a:lnTo>
                      <a:pt x="646" y="148"/>
                    </a:lnTo>
                    <a:lnTo>
                      <a:pt x="644" y="150"/>
                    </a:lnTo>
                    <a:lnTo>
                      <a:pt x="642" y="154"/>
                    </a:lnTo>
                    <a:lnTo>
                      <a:pt x="640" y="158"/>
                    </a:lnTo>
                    <a:lnTo>
                      <a:pt x="638" y="158"/>
                    </a:lnTo>
                    <a:lnTo>
                      <a:pt x="636" y="160"/>
                    </a:lnTo>
                    <a:lnTo>
                      <a:pt x="634" y="160"/>
                    </a:lnTo>
                    <a:lnTo>
                      <a:pt x="632" y="162"/>
                    </a:lnTo>
                    <a:lnTo>
                      <a:pt x="630" y="162"/>
                    </a:lnTo>
                    <a:lnTo>
                      <a:pt x="630" y="160"/>
                    </a:lnTo>
                    <a:lnTo>
                      <a:pt x="630" y="158"/>
                    </a:lnTo>
                    <a:lnTo>
                      <a:pt x="632" y="154"/>
                    </a:lnTo>
                    <a:lnTo>
                      <a:pt x="634" y="152"/>
                    </a:lnTo>
                    <a:lnTo>
                      <a:pt x="636" y="150"/>
                    </a:lnTo>
                    <a:lnTo>
                      <a:pt x="636" y="148"/>
                    </a:lnTo>
                    <a:lnTo>
                      <a:pt x="638" y="146"/>
                    </a:lnTo>
                    <a:lnTo>
                      <a:pt x="638" y="144"/>
                    </a:lnTo>
                    <a:lnTo>
                      <a:pt x="636" y="144"/>
                    </a:lnTo>
                    <a:lnTo>
                      <a:pt x="634" y="142"/>
                    </a:lnTo>
                    <a:lnTo>
                      <a:pt x="632" y="142"/>
                    </a:lnTo>
                    <a:lnTo>
                      <a:pt x="630" y="142"/>
                    </a:lnTo>
                    <a:lnTo>
                      <a:pt x="624" y="142"/>
                    </a:lnTo>
                    <a:lnTo>
                      <a:pt x="620" y="140"/>
                    </a:lnTo>
                    <a:lnTo>
                      <a:pt x="614" y="140"/>
                    </a:lnTo>
                    <a:lnTo>
                      <a:pt x="614" y="142"/>
                    </a:lnTo>
                    <a:lnTo>
                      <a:pt x="612" y="144"/>
                    </a:lnTo>
                    <a:lnTo>
                      <a:pt x="612" y="146"/>
                    </a:lnTo>
                    <a:lnTo>
                      <a:pt x="610" y="146"/>
                    </a:lnTo>
                    <a:lnTo>
                      <a:pt x="606" y="148"/>
                    </a:lnTo>
                    <a:lnTo>
                      <a:pt x="604" y="148"/>
                    </a:lnTo>
                    <a:lnTo>
                      <a:pt x="600" y="150"/>
                    </a:lnTo>
                    <a:lnTo>
                      <a:pt x="594" y="150"/>
                    </a:lnTo>
                    <a:lnTo>
                      <a:pt x="590" y="150"/>
                    </a:lnTo>
                    <a:lnTo>
                      <a:pt x="586" y="152"/>
                    </a:lnTo>
                    <a:lnTo>
                      <a:pt x="582" y="152"/>
                    </a:lnTo>
                    <a:lnTo>
                      <a:pt x="582" y="150"/>
                    </a:lnTo>
                    <a:lnTo>
                      <a:pt x="584" y="150"/>
                    </a:lnTo>
                    <a:lnTo>
                      <a:pt x="586" y="150"/>
                    </a:lnTo>
                    <a:lnTo>
                      <a:pt x="588" y="150"/>
                    </a:lnTo>
                    <a:lnTo>
                      <a:pt x="590" y="148"/>
                    </a:lnTo>
                    <a:lnTo>
                      <a:pt x="594" y="146"/>
                    </a:lnTo>
                    <a:lnTo>
                      <a:pt x="598" y="146"/>
                    </a:lnTo>
                    <a:lnTo>
                      <a:pt x="604" y="144"/>
                    </a:lnTo>
                    <a:lnTo>
                      <a:pt x="606" y="142"/>
                    </a:lnTo>
                    <a:lnTo>
                      <a:pt x="608" y="142"/>
                    </a:lnTo>
                    <a:lnTo>
                      <a:pt x="608" y="140"/>
                    </a:lnTo>
                    <a:lnTo>
                      <a:pt x="606" y="140"/>
                    </a:lnTo>
                    <a:lnTo>
                      <a:pt x="602" y="138"/>
                    </a:lnTo>
                    <a:lnTo>
                      <a:pt x="596" y="138"/>
                    </a:lnTo>
                    <a:lnTo>
                      <a:pt x="594" y="140"/>
                    </a:lnTo>
                    <a:lnTo>
                      <a:pt x="592" y="140"/>
                    </a:lnTo>
                    <a:lnTo>
                      <a:pt x="590" y="140"/>
                    </a:lnTo>
                    <a:lnTo>
                      <a:pt x="588" y="142"/>
                    </a:lnTo>
                    <a:lnTo>
                      <a:pt x="586" y="142"/>
                    </a:lnTo>
                    <a:lnTo>
                      <a:pt x="584" y="142"/>
                    </a:lnTo>
                    <a:lnTo>
                      <a:pt x="580" y="144"/>
                    </a:lnTo>
                    <a:lnTo>
                      <a:pt x="574" y="144"/>
                    </a:lnTo>
                    <a:lnTo>
                      <a:pt x="574" y="142"/>
                    </a:lnTo>
                    <a:lnTo>
                      <a:pt x="576" y="142"/>
                    </a:lnTo>
                    <a:lnTo>
                      <a:pt x="578" y="140"/>
                    </a:lnTo>
                    <a:lnTo>
                      <a:pt x="580" y="138"/>
                    </a:lnTo>
                    <a:lnTo>
                      <a:pt x="584" y="136"/>
                    </a:lnTo>
                    <a:lnTo>
                      <a:pt x="586" y="136"/>
                    </a:lnTo>
                    <a:lnTo>
                      <a:pt x="586" y="134"/>
                    </a:lnTo>
                    <a:lnTo>
                      <a:pt x="586" y="132"/>
                    </a:lnTo>
                    <a:lnTo>
                      <a:pt x="582" y="132"/>
                    </a:lnTo>
                    <a:lnTo>
                      <a:pt x="576" y="134"/>
                    </a:lnTo>
                    <a:lnTo>
                      <a:pt x="570" y="136"/>
                    </a:lnTo>
                    <a:lnTo>
                      <a:pt x="566" y="138"/>
                    </a:lnTo>
                    <a:lnTo>
                      <a:pt x="562" y="140"/>
                    </a:lnTo>
                    <a:lnTo>
                      <a:pt x="558" y="140"/>
                    </a:lnTo>
                    <a:lnTo>
                      <a:pt x="556" y="142"/>
                    </a:lnTo>
                    <a:lnTo>
                      <a:pt x="554" y="142"/>
                    </a:lnTo>
                    <a:lnTo>
                      <a:pt x="552" y="142"/>
                    </a:lnTo>
                    <a:lnTo>
                      <a:pt x="550" y="144"/>
                    </a:lnTo>
                    <a:lnTo>
                      <a:pt x="548" y="144"/>
                    </a:lnTo>
                    <a:lnTo>
                      <a:pt x="542" y="144"/>
                    </a:lnTo>
                    <a:lnTo>
                      <a:pt x="538" y="146"/>
                    </a:lnTo>
                    <a:lnTo>
                      <a:pt x="536" y="146"/>
                    </a:lnTo>
                    <a:lnTo>
                      <a:pt x="534" y="148"/>
                    </a:lnTo>
                    <a:lnTo>
                      <a:pt x="530" y="148"/>
                    </a:lnTo>
                    <a:lnTo>
                      <a:pt x="528" y="148"/>
                    </a:lnTo>
                    <a:lnTo>
                      <a:pt x="526" y="150"/>
                    </a:lnTo>
                    <a:lnTo>
                      <a:pt x="524" y="150"/>
                    </a:lnTo>
                    <a:lnTo>
                      <a:pt x="522" y="150"/>
                    </a:lnTo>
                    <a:lnTo>
                      <a:pt x="522" y="152"/>
                    </a:lnTo>
                    <a:lnTo>
                      <a:pt x="520" y="154"/>
                    </a:lnTo>
                    <a:lnTo>
                      <a:pt x="518" y="154"/>
                    </a:lnTo>
                    <a:lnTo>
                      <a:pt x="516" y="156"/>
                    </a:lnTo>
                    <a:lnTo>
                      <a:pt x="514" y="156"/>
                    </a:lnTo>
                    <a:lnTo>
                      <a:pt x="512" y="158"/>
                    </a:lnTo>
                    <a:lnTo>
                      <a:pt x="510" y="158"/>
                    </a:lnTo>
                    <a:lnTo>
                      <a:pt x="508" y="158"/>
                    </a:lnTo>
                    <a:lnTo>
                      <a:pt x="508" y="160"/>
                    </a:lnTo>
                    <a:lnTo>
                      <a:pt x="506" y="160"/>
                    </a:lnTo>
                    <a:lnTo>
                      <a:pt x="506" y="162"/>
                    </a:lnTo>
                    <a:lnTo>
                      <a:pt x="508" y="164"/>
                    </a:lnTo>
                    <a:lnTo>
                      <a:pt x="510" y="164"/>
                    </a:lnTo>
                    <a:lnTo>
                      <a:pt x="512" y="164"/>
                    </a:lnTo>
                    <a:lnTo>
                      <a:pt x="512" y="166"/>
                    </a:lnTo>
                    <a:lnTo>
                      <a:pt x="514" y="164"/>
                    </a:lnTo>
                    <a:lnTo>
                      <a:pt x="516" y="164"/>
                    </a:lnTo>
                    <a:lnTo>
                      <a:pt x="518" y="162"/>
                    </a:lnTo>
                    <a:lnTo>
                      <a:pt x="520" y="162"/>
                    </a:lnTo>
                    <a:lnTo>
                      <a:pt x="522" y="164"/>
                    </a:lnTo>
                    <a:lnTo>
                      <a:pt x="522" y="166"/>
                    </a:lnTo>
                    <a:lnTo>
                      <a:pt x="520" y="166"/>
                    </a:lnTo>
                    <a:lnTo>
                      <a:pt x="518" y="168"/>
                    </a:lnTo>
                    <a:lnTo>
                      <a:pt x="514" y="168"/>
                    </a:lnTo>
                    <a:lnTo>
                      <a:pt x="512" y="168"/>
                    </a:lnTo>
                    <a:lnTo>
                      <a:pt x="508" y="170"/>
                    </a:lnTo>
                    <a:lnTo>
                      <a:pt x="504" y="172"/>
                    </a:lnTo>
                    <a:lnTo>
                      <a:pt x="502" y="174"/>
                    </a:lnTo>
                    <a:lnTo>
                      <a:pt x="504" y="176"/>
                    </a:lnTo>
                    <a:lnTo>
                      <a:pt x="510" y="176"/>
                    </a:lnTo>
                    <a:lnTo>
                      <a:pt x="514" y="176"/>
                    </a:lnTo>
                    <a:lnTo>
                      <a:pt x="544" y="176"/>
                    </a:lnTo>
                    <a:lnTo>
                      <a:pt x="546" y="178"/>
                    </a:lnTo>
                    <a:lnTo>
                      <a:pt x="548" y="178"/>
                    </a:lnTo>
                    <a:lnTo>
                      <a:pt x="548" y="180"/>
                    </a:lnTo>
                    <a:lnTo>
                      <a:pt x="546" y="180"/>
                    </a:lnTo>
                    <a:lnTo>
                      <a:pt x="544" y="182"/>
                    </a:lnTo>
                    <a:lnTo>
                      <a:pt x="540" y="182"/>
                    </a:lnTo>
                    <a:lnTo>
                      <a:pt x="536" y="182"/>
                    </a:lnTo>
                    <a:lnTo>
                      <a:pt x="532" y="184"/>
                    </a:lnTo>
                    <a:lnTo>
                      <a:pt x="518" y="184"/>
                    </a:lnTo>
                    <a:lnTo>
                      <a:pt x="514" y="184"/>
                    </a:lnTo>
                    <a:lnTo>
                      <a:pt x="504" y="184"/>
                    </a:lnTo>
                    <a:lnTo>
                      <a:pt x="500" y="186"/>
                    </a:lnTo>
                    <a:lnTo>
                      <a:pt x="496" y="186"/>
                    </a:lnTo>
                    <a:lnTo>
                      <a:pt x="494" y="186"/>
                    </a:lnTo>
                    <a:lnTo>
                      <a:pt x="492" y="188"/>
                    </a:lnTo>
                    <a:lnTo>
                      <a:pt x="490" y="190"/>
                    </a:lnTo>
                    <a:lnTo>
                      <a:pt x="490" y="192"/>
                    </a:lnTo>
                    <a:lnTo>
                      <a:pt x="492" y="192"/>
                    </a:lnTo>
                    <a:lnTo>
                      <a:pt x="494" y="194"/>
                    </a:lnTo>
                    <a:lnTo>
                      <a:pt x="496" y="194"/>
                    </a:lnTo>
                    <a:lnTo>
                      <a:pt x="500" y="196"/>
                    </a:lnTo>
                    <a:lnTo>
                      <a:pt x="504" y="196"/>
                    </a:lnTo>
                    <a:lnTo>
                      <a:pt x="506" y="198"/>
                    </a:lnTo>
                    <a:lnTo>
                      <a:pt x="508" y="198"/>
                    </a:lnTo>
                    <a:lnTo>
                      <a:pt x="510" y="200"/>
                    </a:lnTo>
                    <a:lnTo>
                      <a:pt x="508" y="200"/>
                    </a:lnTo>
                    <a:lnTo>
                      <a:pt x="506" y="202"/>
                    </a:lnTo>
                    <a:lnTo>
                      <a:pt x="504" y="202"/>
                    </a:lnTo>
                    <a:lnTo>
                      <a:pt x="502" y="204"/>
                    </a:lnTo>
                    <a:lnTo>
                      <a:pt x="500" y="204"/>
                    </a:lnTo>
                    <a:lnTo>
                      <a:pt x="500" y="206"/>
                    </a:lnTo>
                    <a:lnTo>
                      <a:pt x="502" y="208"/>
                    </a:lnTo>
                    <a:lnTo>
                      <a:pt x="504" y="208"/>
                    </a:lnTo>
                    <a:lnTo>
                      <a:pt x="506" y="208"/>
                    </a:lnTo>
                    <a:lnTo>
                      <a:pt x="512" y="208"/>
                    </a:lnTo>
                    <a:lnTo>
                      <a:pt x="518" y="210"/>
                    </a:lnTo>
                    <a:lnTo>
                      <a:pt x="524" y="210"/>
                    </a:lnTo>
                    <a:lnTo>
                      <a:pt x="528" y="208"/>
                    </a:lnTo>
                    <a:lnTo>
                      <a:pt x="540" y="208"/>
                    </a:lnTo>
                    <a:lnTo>
                      <a:pt x="546" y="208"/>
                    </a:lnTo>
                    <a:lnTo>
                      <a:pt x="550" y="206"/>
                    </a:lnTo>
                    <a:lnTo>
                      <a:pt x="556" y="206"/>
                    </a:lnTo>
                    <a:lnTo>
                      <a:pt x="562" y="206"/>
                    </a:lnTo>
                    <a:lnTo>
                      <a:pt x="568" y="204"/>
                    </a:lnTo>
                    <a:lnTo>
                      <a:pt x="580" y="204"/>
                    </a:lnTo>
                    <a:lnTo>
                      <a:pt x="588" y="202"/>
                    </a:lnTo>
                    <a:lnTo>
                      <a:pt x="592" y="202"/>
                    </a:lnTo>
                    <a:lnTo>
                      <a:pt x="598" y="200"/>
                    </a:lnTo>
                    <a:lnTo>
                      <a:pt x="604" y="200"/>
                    </a:lnTo>
                    <a:lnTo>
                      <a:pt x="608" y="198"/>
                    </a:lnTo>
                    <a:lnTo>
                      <a:pt x="610" y="198"/>
                    </a:lnTo>
                    <a:lnTo>
                      <a:pt x="612" y="198"/>
                    </a:lnTo>
                    <a:lnTo>
                      <a:pt x="616" y="198"/>
                    </a:lnTo>
                    <a:lnTo>
                      <a:pt x="618" y="198"/>
                    </a:lnTo>
                    <a:lnTo>
                      <a:pt x="624" y="200"/>
                    </a:lnTo>
                    <a:lnTo>
                      <a:pt x="630" y="202"/>
                    </a:lnTo>
                    <a:lnTo>
                      <a:pt x="636" y="204"/>
                    </a:lnTo>
                    <a:lnTo>
                      <a:pt x="640" y="208"/>
                    </a:lnTo>
                    <a:lnTo>
                      <a:pt x="644" y="208"/>
                    </a:lnTo>
                    <a:lnTo>
                      <a:pt x="648" y="210"/>
                    </a:lnTo>
                    <a:lnTo>
                      <a:pt x="654" y="210"/>
                    </a:lnTo>
                    <a:lnTo>
                      <a:pt x="656" y="208"/>
                    </a:lnTo>
                    <a:lnTo>
                      <a:pt x="658" y="208"/>
                    </a:lnTo>
                    <a:lnTo>
                      <a:pt x="660" y="206"/>
                    </a:lnTo>
                    <a:lnTo>
                      <a:pt x="662" y="204"/>
                    </a:lnTo>
                    <a:lnTo>
                      <a:pt x="664" y="202"/>
                    </a:lnTo>
                    <a:lnTo>
                      <a:pt x="664" y="200"/>
                    </a:lnTo>
                    <a:lnTo>
                      <a:pt x="664" y="198"/>
                    </a:lnTo>
                    <a:lnTo>
                      <a:pt x="646" y="198"/>
                    </a:lnTo>
                    <a:lnTo>
                      <a:pt x="650" y="196"/>
                    </a:lnTo>
                    <a:lnTo>
                      <a:pt x="652" y="194"/>
                    </a:lnTo>
                    <a:close/>
                    <a:moveTo>
                      <a:pt x="736" y="126"/>
                    </a:moveTo>
                    <a:lnTo>
                      <a:pt x="734" y="126"/>
                    </a:lnTo>
                    <a:lnTo>
                      <a:pt x="734" y="128"/>
                    </a:lnTo>
                    <a:lnTo>
                      <a:pt x="732" y="128"/>
                    </a:lnTo>
                    <a:lnTo>
                      <a:pt x="732" y="130"/>
                    </a:lnTo>
                    <a:lnTo>
                      <a:pt x="734" y="130"/>
                    </a:lnTo>
                    <a:lnTo>
                      <a:pt x="734" y="132"/>
                    </a:lnTo>
                    <a:lnTo>
                      <a:pt x="736" y="132"/>
                    </a:lnTo>
                    <a:lnTo>
                      <a:pt x="738" y="134"/>
                    </a:lnTo>
                    <a:lnTo>
                      <a:pt x="738" y="136"/>
                    </a:lnTo>
                    <a:lnTo>
                      <a:pt x="740" y="136"/>
                    </a:lnTo>
                    <a:lnTo>
                      <a:pt x="738" y="138"/>
                    </a:lnTo>
                    <a:lnTo>
                      <a:pt x="736" y="140"/>
                    </a:lnTo>
                    <a:lnTo>
                      <a:pt x="734" y="138"/>
                    </a:lnTo>
                    <a:lnTo>
                      <a:pt x="730" y="136"/>
                    </a:lnTo>
                    <a:lnTo>
                      <a:pt x="726" y="136"/>
                    </a:lnTo>
                    <a:lnTo>
                      <a:pt x="722" y="134"/>
                    </a:lnTo>
                    <a:lnTo>
                      <a:pt x="718" y="134"/>
                    </a:lnTo>
                    <a:lnTo>
                      <a:pt x="716" y="136"/>
                    </a:lnTo>
                    <a:lnTo>
                      <a:pt x="714" y="136"/>
                    </a:lnTo>
                    <a:lnTo>
                      <a:pt x="714" y="140"/>
                    </a:lnTo>
                    <a:lnTo>
                      <a:pt x="716" y="142"/>
                    </a:lnTo>
                    <a:lnTo>
                      <a:pt x="716" y="144"/>
                    </a:lnTo>
                    <a:lnTo>
                      <a:pt x="718" y="144"/>
                    </a:lnTo>
                    <a:lnTo>
                      <a:pt x="718" y="146"/>
                    </a:lnTo>
                    <a:lnTo>
                      <a:pt x="720" y="148"/>
                    </a:lnTo>
                    <a:lnTo>
                      <a:pt x="722" y="150"/>
                    </a:lnTo>
                    <a:lnTo>
                      <a:pt x="724" y="150"/>
                    </a:lnTo>
                    <a:lnTo>
                      <a:pt x="726" y="150"/>
                    </a:lnTo>
                    <a:lnTo>
                      <a:pt x="728" y="150"/>
                    </a:lnTo>
                    <a:lnTo>
                      <a:pt x="730" y="152"/>
                    </a:lnTo>
                    <a:lnTo>
                      <a:pt x="732" y="154"/>
                    </a:lnTo>
                    <a:lnTo>
                      <a:pt x="732" y="156"/>
                    </a:lnTo>
                    <a:lnTo>
                      <a:pt x="732" y="160"/>
                    </a:lnTo>
                    <a:lnTo>
                      <a:pt x="732" y="164"/>
                    </a:lnTo>
                    <a:lnTo>
                      <a:pt x="734" y="164"/>
                    </a:lnTo>
                    <a:lnTo>
                      <a:pt x="736" y="162"/>
                    </a:lnTo>
                    <a:lnTo>
                      <a:pt x="740" y="162"/>
                    </a:lnTo>
                    <a:lnTo>
                      <a:pt x="746" y="162"/>
                    </a:lnTo>
                    <a:lnTo>
                      <a:pt x="752" y="160"/>
                    </a:lnTo>
                    <a:lnTo>
                      <a:pt x="756" y="160"/>
                    </a:lnTo>
                    <a:lnTo>
                      <a:pt x="758" y="160"/>
                    </a:lnTo>
                    <a:lnTo>
                      <a:pt x="760" y="158"/>
                    </a:lnTo>
                    <a:lnTo>
                      <a:pt x="764" y="158"/>
                    </a:lnTo>
                    <a:lnTo>
                      <a:pt x="766" y="158"/>
                    </a:lnTo>
                    <a:lnTo>
                      <a:pt x="770" y="154"/>
                    </a:lnTo>
                    <a:lnTo>
                      <a:pt x="770" y="152"/>
                    </a:lnTo>
                    <a:lnTo>
                      <a:pt x="772" y="150"/>
                    </a:lnTo>
                    <a:lnTo>
                      <a:pt x="772" y="146"/>
                    </a:lnTo>
                    <a:lnTo>
                      <a:pt x="772" y="142"/>
                    </a:lnTo>
                    <a:lnTo>
                      <a:pt x="770" y="140"/>
                    </a:lnTo>
                    <a:lnTo>
                      <a:pt x="768" y="140"/>
                    </a:lnTo>
                    <a:lnTo>
                      <a:pt x="766" y="140"/>
                    </a:lnTo>
                    <a:lnTo>
                      <a:pt x="762" y="140"/>
                    </a:lnTo>
                    <a:lnTo>
                      <a:pt x="760" y="138"/>
                    </a:lnTo>
                    <a:lnTo>
                      <a:pt x="758" y="138"/>
                    </a:lnTo>
                    <a:lnTo>
                      <a:pt x="760" y="136"/>
                    </a:lnTo>
                    <a:lnTo>
                      <a:pt x="762" y="136"/>
                    </a:lnTo>
                    <a:lnTo>
                      <a:pt x="764" y="136"/>
                    </a:lnTo>
                    <a:lnTo>
                      <a:pt x="768" y="134"/>
                    </a:lnTo>
                    <a:lnTo>
                      <a:pt x="772" y="132"/>
                    </a:lnTo>
                    <a:lnTo>
                      <a:pt x="778" y="130"/>
                    </a:lnTo>
                    <a:lnTo>
                      <a:pt x="782" y="130"/>
                    </a:lnTo>
                    <a:lnTo>
                      <a:pt x="786" y="128"/>
                    </a:lnTo>
                    <a:lnTo>
                      <a:pt x="788" y="126"/>
                    </a:lnTo>
                    <a:lnTo>
                      <a:pt x="786" y="126"/>
                    </a:lnTo>
                    <a:lnTo>
                      <a:pt x="784" y="124"/>
                    </a:lnTo>
                    <a:lnTo>
                      <a:pt x="782" y="124"/>
                    </a:lnTo>
                    <a:lnTo>
                      <a:pt x="778" y="124"/>
                    </a:lnTo>
                    <a:lnTo>
                      <a:pt x="774" y="122"/>
                    </a:lnTo>
                    <a:lnTo>
                      <a:pt x="772" y="122"/>
                    </a:lnTo>
                    <a:lnTo>
                      <a:pt x="770" y="122"/>
                    </a:lnTo>
                    <a:lnTo>
                      <a:pt x="766" y="122"/>
                    </a:lnTo>
                    <a:lnTo>
                      <a:pt x="764" y="122"/>
                    </a:lnTo>
                    <a:lnTo>
                      <a:pt x="758" y="122"/>
                    </a:lnTo>
                    <a:lnTo>
                      <a:pt x="752" y="124"/>
                    </a:lnTo>
                    <a:lnTo>
                      <a:pt x="746" y="124"/>
                    </a:lnTo>
                    <a:lnTo>
                      <a:pt x="740" y="126"/>
                    </a:lnTo>
                    <a:lnTo>
                      <a:pt x="736" y="126"/>
                    </a:lnTo>
                    <a:close/>
                    <a:moveTo>
                      <a:pt x="762" y="100"/>
                    </a:moveTo>
                    <a:lnTo>
                      <a:pt x="762" y="100"/>
                    </a:lnTo>
                    <a:lnTo>
                      <a:pt x="764" y="100"/>
                    </a:lnTo>
                    <a:lnTo>
                      <a:pt x="764" y="102"/>
                    </a:lnTo>
                    <a:lnTo>
                      <a:pt x="772" y="102"/>
                    </a:lnTo>
                    <a:lnTo>
                      <a:pt x="776" y="102"/>
                    </a:lnTo>
                    <a:lnTo>
                      <a:pt x="778" y="102"/>
                    </a:lnTo>
                    <a:lnTo>
                      <a:pt x="782" y="102"/>
                    </a:lnTo>
                    <a:lnTo>
                      <a:pt x="782" y="104"/>
                    </a:lnTo>
                    <a:lnTo>
                      <a:pt x="782" y="106"/>
                    </a:lnTo>
                    <a:lnTo>
                      <a:pt x="780" y="106"/>
                    </a:lnTo>
                    <a:lnTo>
                      <a:pt x="780" y="108"/>
                    </a:lnTo>
                    <a:lnTo>
                      <a:pt x="778" y="108"/>
                    </a:lnTo>
                    <a:lnTo>
                      <a:pt x="778" y="110"/>
                    </a:lnTo>
                    <a:lnTo>
                      <a:pt x="780" y="110"/>
                    </a:lnTo>
                    <a:lnTo>
                      <a:pt x="802" y="110"/>
                    </a:lnTo>
                    <a:lnTo>
                      <a:pt x="804" y="110"/>
                    </a:lnTo>
                    <a:lnTo>
                      <a:pt x="806" y="110"/>
                    </a:lnTo>
                    <a:lnTo>
                      <a:pt x="808" y="108"/>
                    </a:lnTo>
                    <a:lnTo>
                      <a:pt x="810" y="108"/>
                    </a:lnTo>
                    <a:lnTo>
                      <a:pt x="810" y="106"/>
                    </a:lnTo>
                    <a:lnTo>
                      <a:pt x="812" y="106"/>
                    </a:lnTo>
                    <a:lnTo>
                      <a:pt x="812" y="104"/>
                    </a:lnTo>
                    <a:lnTo>
                      <a:pt x="812" y="102"/>
                    </a:lnTo>
                    <a:lnTo>
                      <a:pt x="814" y="102"/>
                    </a:lnTo>
                    <a:lnTo>
                      <a:pt x="818" y="102"/>
                    </a:lnTo>
                    <a:lnTo>
                      <a:pt x="820" y="102"/>
                    </a:lnTo>
                    <a:lnTo>
                      <a:pt x="822" y="100"/>
                    </a:lnTo>
                    <a:lnTo>
                      <a:pt x="824" y="100"/>
                    </a:lnTo>
                    <a:lnTo>
                      <a:pt x="824" y="98"/>
                    </a:lnTo>
                    <a:lnTo>
                      <a:pt x="826" y="96"/>
                    </a:lnTo>
                    <a:lnTo>
                      <a:pt x="828" y="94"/>
                    </a:lnTo>
                    <a:lnTo>
                      <a:pt x="830" y="94"/>
                    </a:lnTo>
                    <a:lnTo>
                      <a:pt x="832" y="92"/>
                    </a:lnTo>
                    <a:lnTo>
                      <a:pt x="832" y="90"/>
                    </a:lnTo>
                    <a:lnTo>
                      <a:pt x="832" y="88"/>
                    </a:lnTo>
                    <a:lnTo>
                      <a:pt x="830" y="88"/>
                    </a:lnTo>
                    <a:lnTo>
                      <a:pt x="828" y="86"/>
                    </a:lnTo>
                    <a:lnTo>
                      <a:pt x="822" y="86"/>
                    </a:lnTo>
                    <a:lnTo>
                      <a:pt x="820" y="88"/>
                    </a:lnTo>
                    <a:lnTo>
                      <a:pt x="818" y="86"/>
                    </a:lnTo>
                    <a:lnTo>
                      <a:pt x="812" y="84"/>
                    </a:lnTo>
                    <a:lnTo>
                      <a:pt x="808" y="84"/>
                    </a:lnTo>
                    <a:lnTo>
                      <a:pt x="806" y="84"/>
                    </a:lnTo>
                    <a:lnTo>
                      <a:pt x="804" y="84"/>
                    </a:lnTo>
                    <a:lnTo>
                      <a:pt x="802" y="86"/>
                    </a:lnTo>
                    <a:lnTo>
                      <a:pt x="802" y="88"/>
                    </a:lnTo>
                    <a:lnTo>
                      <a:pt x="802" y="92"/>
                    </a:lnTo>
                    <a:lnTo>
                      <a:pt x="802" y="96"/>
                    </a:lnTo>
                    <a:lnTo>
                      <a:pt x="800" y="94"/>
                    </a:lnTo>
                    <a:lnTo>
                      <a:pt x="798" y="94"/>
                    </a:lnTo>
                    <a:lnTo>
                      <a:pt x="798" y="92"/>
                    </a:lnTo>
                    <a:lnTo>
                      <a:pt x="796" y="90"/>
                    </a:lnTo>
                    <a:lnTo>
                      <a:pt x="794" y="90"/>
                    </a:lnTo>
                    <a:lnTo>
                      <a:pt x="790" y="90"/>
                    </a:lnTo>
                    <a:lnTo>
                      <a:pt x="788" y="92"/>
                    </a:lnTo>
                    <a:lnTo>
                      <a:pt x="786" y="92"/>
                    </a:lnTo>
                    <a:lnTo>
                      <a:pt x="784" y="94"/>
                    </a:lnTo>
                    <a:lnTo>
                      <a:pt x="784" y="96"/>
                    </a:lnTo>
                    <a:lnTo>
                      <a:pt x="782" y="98"/>
                    </a:lnTo>
                    <a:lnTo>
                      <a:pt x="782" y="100"/>
                    </a:lnTo>
                    <a:lnTo>
                      <a:pt x="780" y="100"/>
                    </a:lnTo>
                    <a:lnTo>
                      <a:pt x="778" y="98"/>
                    </a:lnTo>
                    <a:lnTo>
                      <a:pt x="778" y="96"/>
                    </a:lnTo>
                    <a:lnTo>
                      <a:pt x="776" y="92"/>
                    </a:lnTo>
                    <a:lnTo>
                      <a:pt x="774" y="90"/>
                    </a:lnTo>
                    <a:lnTo>
                      <a:pt x="774" y="88"/>
                    </a:lnTo>
                    <a:lnTo>
                      <a:pt x="772" y="88"/>
                    </a:lnTo>
                    <a:lnTo>
                      <a:pt x="772" y="86"/>
                    </a:lnTo>
                    <a:lnTo>
                      <a:pt x="766" y="86"/>
                    </a:lnTo>
                    <a:lnTo>
                      <a:pt x="762" y="88"/>
                    </a:lnTo>
                    <a:lnTo>
                      <a:pt x="760" y="88"/>
                    </a:lnTo>
                    <a:lnTo>
                      <a:pt x="758" y="90"/>
                    </a:lnTo>
                    <a:lnTo>
                      <a:pt x="758" y="96"/>
                    </a:lnTo>
                    <a:lnTo>
                      <a:pt x="760" y="98"/>
                    </a:lnTo>
                    <a:lnTo>
                      <a:pt x="762" y="100"/>
                    </a:lnTo>
                    <a:close/>
                    <a:moveTo>
                      <a:pt x="852" y="82"/>
                    </a:moveTo>
                    <a:lnTo>
                      <a:pt x="852" y="82"/>
                    </a:lnTo>
                    <a:lnTo>
                      <a:pt x="852" y="84"/>
                    </a:lnTo>
                    <a:lnTo>
                      <a:pt x="854" y="84"/>
                    </a:lnTo>
                    <a:lnTo>
                      <a:pt x="854" y="86"/>
                    </a:lnTo>
                    <a:lnTo>
                      <a:pt x="856" y="86"/>
                    </a:lnTo>
                    <a:lnTo>
                      <a:pt x="858" y="86"/>
                    </a:lnTo>
                    <a:lnTo>
                      <a:pt x="858" y="90"/>
                    </a:lnTo>
                    <a:lnTo>
                      <a:pt x="860" y="90"/>
                    </a:lnTo>
                    <a:lnTo>
                      <a:pt x="864" y="92"/>
                    </a:lnTo>
                    <a:lnTo>
                      <a:pt x="886" y="92"/>
                    </a:lnTo>
                    <a:lnTo>
                      <a:pt x="884" y="94"/>
                    </a:lnTo>
                    <a:lnTo>
                      <a:pt x="884" y="98"/>
                    </a:lnTo>
                    <a:lnTo>
                      <a:pt x="882" y="100"/>
                    </a:lnTo>
                    <a:lnTo>
                      <a:pt x="880" y="102"/>
                    </a:lnTo>
                    <a:lnTo>
                      <a:pt x="878" y="102"/>
                    </a:lnTo>
                    <a:lnTo>
                      <a:pt x="876" y="104"/>
                    </a:lnTo>
                    <a:lnTo>
                      <a:pt x="874" y="106"/>
                    </a:lnTo>
                    <a:lnTo>
                      <a:pt x="872" y="106"/>
                    </a:lnTo>
                    <a:lnTo>
                      <a:pt x="872" y="108"/>
                    </a:lnTo>
                    <a:lnTo>
                      <a:pt x="874" y="108"/>
                    </a:lnTo>
                    <a:lnTo>
                      <a:pt x="876" y="110"/>
                    </a:lnTo>
                    <a:lnTo>
                      <a:pt x="874" y="110"/>
                    </a:lnTo>
                    <a:lnTo>
                      <a:pt x="870" y="114"/>
                    </a:lnTo>
                    <a:lnTo>
                      <a:pt x="870" y="116"/>
                    </a:lnTo>
                    <a:lnTo>
                      <a:pt x="874" y="116"/>
                    </a:lnTo>
                    <a:lnTo>
                      <a:pt x="876" y="114"/>
                    </a:lnTo>
                    <a:lnTo>
                      <a:pt x="878" y="114"/>
                    </a:lnTo>
                    <a:lnTo>
                      <a:pt x="880" y="112"/>
                    </a:lnTo>
                    <a:lnTo>
                      <a:pt x="882" y="112"/>
                    </a:lnTo>
                    <a:lnTo>
                      <a:pt x="882" y="114"/>
                    </a:lnTo>
                    <a:lnTo>
                      <a:pt x="882" y="116"/>
                    </a:lnTo>
                    <a:lnTo>
                      <a:pt x="884" y="116"/>
                    </a:lnTo>
                    <a:lnTo>
                      <a:pt x="886" y="116"/>
                    </a:lnTo>
                    <a:lnTo>
                      <a:pt x="888" y="116"/>
                    </a:lnTo>
                    <a:lnTo>
                      <a:pt x="892" y="116"/>
                    </a:lnTo>
                    <a:lnTo>
                      <a:pt x="896" y="114"/>
                    </a:lnTo>
                    <a:lnTo>
                      <a:pt x="898" y="114"/>
                    </a:lnTo>
                    <a:lnTo>
                      <a:pt x="902" y="112"/>
                    </a:lnTo>
                    <a:lnTo>
                      <a:pt x="906" y="112"/>
                    </a:lnTo>
                    <a:lnTo>
                      <a:pt x="906" y="116"/>
                    </a:lnTo>
                    <a:lnTo>
                      <a:pt x="912" y="116"/>
                    </a:lnTo>
                    <a:lnTo>
                      <a:pt x="914" y="116"/>
                    </a:lnTo>
                    <a:lnTo>
                      <a:pt x="922" y="116"/>
                    </a:lnTo>
                    <a:lnTo>
                      <a:pt x="926" y="116"/>
                    </a:lnTo>
                    <a:lnTo>
                      <a:pt x="928" y="116"/>
                    </a:lnTo>
                    <a:lnTo>
                      <a:pt x="930" y="118"/>
                    </a:lnTo>
                    <a:lnTo>
                      <a:pt x="934" y="118"/>
                    </a:lnTo>
                    <a:lnTo>
                      <a:pt x="936" y="118"/>
                    </a:lnTo>
                    <a:lnTo>
                      <a:pt x="940" y="118"/>
                    </a:lnTo>
                    <a:lnTo>
                      <a:pt x="940" y="120"/>
                    </a:lnTo>
                    <a:lnTo>
                      <a:pt x="942" y="120"/>
                    </a:lnTo>
                    <a:lnTo>
                      <a:pt x="946" y="118"/>
                    </a:lnTo>
                    <a:lnTo>
                      <a:pt x="954" y="118"/>
                    </a:lnTo>
                    <a:lnTo>
                      <a:pt x="956" y="118"/>
                    </a:lnTo>
                    <a:lnTo>
                      <a:pt x="964" y="118"/>
                    </a:lnTo>
                    <a:lnTo>
                      <a:pt x="966" y="116"/>
                    </a:lnTo>
                    <a:lnTo>
                      <a:pt x="968" y="114"/>
                    </a:lnTo>
                    <a:lnTo>
                      <a:pt x="970" y="112"/>
                    </a:lnTo>
                    <a:lnTo>
                      <a:pt x="970" y="114"/>
                    </a:lnTo>
                    <a:lnTo>
                      <a:pt x="968" y="114"/>
                    </a:lnTo>
                    <a:lnTo>
                      <a:pt x="968" y="116"/>
                    </a:lnTo>
                    <a:lnTo>
                      <a:pt x="970" y="116"/>
                    </a:lnTo>
                    <a:lnTo>
                      <a:pt x="972" y="118"/>
                    </a:lnTo>
                    <a:lnTo>
                      <a:pt x="998" y="118"/>
                    </a:lnTo>
                    <a:lnTo>
                      <a:pt x="1000" y="116"/>
                    </a:lnTo>
                    <a:lnTo>
                      <a:pt x="1002" y="116"/>
                    </a:lnTo>
                    <a:lnTo>
                      <a:pt x="1004" y="114"/>
                    </a:lnTo>
                    <a:lnTo>
                      <a:pt x="1004" y="112"/>
                    </a:lnTo>
                    <a:lnTo>
                      <a:pt x="1008" y="110"/>
                    </a:lnTo>
                    <a:lnTo>
                      <a:pt x="1010" y="110"/>
                    </a:lnTo>
                    <a:lnTo>
                      <a:pt x="1012" y="108"/>
                    </a:lnTo>
                    <a:lnTo>
                      <a:pt x="1014" y="108"/>
                    </a:lnTo>
                    <a:lnTo>
                      <a:pt x="1016" y="108"/>
                    </a:lnTo>
                    <a:lnTo>
                      <a:pt x="1016" y="106"/>
                    </a:lnTo>
                    <a:lnTo>
                      <a:pt x="1018" y="106"/>
                    </a:lnTo>
                    <a:lnTo>
                      <a:pt x="1020" y="106"/>
                    </a:lnTo>
                    <a:lnTo>
                      <a:pt x="1020" y="104"/>
                    </a:lnTo>
                    <a:lnTo>
                      <a:pt x="1018" y="104"/>
                    </a:lnTo>
                    <a:lnTo>
                      <a:pt x="1016" y="104"/>
                    </a:lnTo>
                    <a:lnTo>
                      <a:pt x="1016" y="100"/>
                    </a:lnTo>
                    <a:lnTo>
                      <a:pt x="1014" y="100"/>
                    </a:lnTo>
                    <a:lnTo>
                      <a:pt x="1012" y="100"/>
                    </a:lnTo>
                    <a:lnTo>
                      <a:pt x="1008" y="100"/>
                    </a:lnTo>
                    <a:lnTo>
                      <a:pt x="1004" y="98"/>
                    </a:lnTo>
                    <a:lnTo>
                      <a:pt x="1000" y="98"/>
                    </a:lnTo>
                    <a:lnTo>
                      <a:pt x="988" y="98"/>
                    </a:lnTo>
                    <a:lnTo>
                      <a:pt x="984" y="98"/>
                    </a:lnTo>
                    <a:lnTo>
                      <a:pt x="980" y="100"/>
                    </a:lnTo>
                    <a:lnTo>
                      <a:pt x="976" y="100"/>
                    </a:lnTo>
                    <a:lnTo>
                      <a:pt x="968" y="102"/>
                    </a:lnTo>
                    <a:lnTo>
                      <a:pt x="964" y="102"/>
                    </a:lnTo>
                    <a:lnTo>
                      <a:pt x="960" y="102"/>
                    </a:lnTo>
                    <a:lnTo>
                      <a:pt x="956" y="102"/>
                    </a:lnTo>
                    <a:lnTo>
                      <a:pt x="952" y="104"/>
                    </a:lnTo>
                    <a:lnTo>
                      <a:pt x="950" y="104"/>
                    </a:lnTo>
                    <a:lnTo>
                      <a:pt x="946" y="104"/>
                    </a:lnTo>
                    <a:lnTo>
                      <a:pt x="944" y="102"/>
                    </a:lnTo>
                    <a:lnTo>
                      <a:pt x="940" y="102"/>
                    </a:lnTo>
                    <a:lnTo>
                      <a:pt x="938" y="102"/>
                    </a:lnTo>
                    <a:lnTo>
                      <a:pt x="934" y="102"/>
                    </a:lnTo>
                    <a:lnTo>
                      <a:pt x="932" y="102"/>
                    </a:lnTo>
                    <a:lnTo>
                      <a:pt x="930" y="102"/>
                    </a:lnTo>
                    <a:lnTo>
                      <a:pt x="928" y="104"/>
                    </a:lnTo>
                    <a:lnTo>
                      <a:pt x="926" y="104"/>
                    </a:lnTo>
                    <a:lnTo>
                      <a:pt x="924" y="104"/>
                    </a:lnTo>
                    <a:lnTo>
                      <a:pt x="922" y="102"/>
                    </a:lnTo>
                    <a:lnTo>
                      <a:pt x="920" y="102"/>
                    </a:lnTo>
                    <a:lnTo>
                      <a:pt x="920" y="100"/>
                    </a:lnTo>
                    <a:lnTo>
                      <a:pt x="918" y="102"/>
                    </a:lnTo>
                    <a:lnTo>
                      <a:pt x="916" y="102"/>
                    </a:lnTo>
                    <a:lnTo>
                      <a:pt x="910" y="102"/>
                    </a:lnTo>
                    <a:lnTo>
                      <a:pt x="908" y="102"/>
                    </a:lnTo>
                    <a:lnTo>
                      <a:pt x="910" y="100"/>
                    </a:lnTo>
                    <a:lnTo>
                      <a:pt x="912" y="100"/>
                    </a:lnTo>
                    <a:lnTo>
                      <a:pt x="914" y="100"/>
                    </a:lnTo>
                    <a:lnTo>
                      <a:pt x="914" y="98"/>
                    </a:lnTo>
                    <a:lnTo>
                      <a:pt x="916" y="98"/>
                    </a:lnTo>
                    <a:lnTo>
                      <a:pt x="914" y="98"/>
                    </a:lnTo>
                    <a:lnTo>
                      <a:pt x="912" y="98"/>
                    </a:lnTo>
                    <a:lnTo>
                      <a:pt x="912" y="96"/>
                    </a:lnTo>
                    <a:lnTo>
                      <a:pt x="904" y="96"/>
                    </a:lnTo>
                    <a:lnTo>
                      <a:pt x="902" y="98"/>
                    </a:lnTo>
                    <a:lnTo>
                      <a:pt x="898" y="98"/>
                    </a:lnTo>
                    <a:lnTo>
                      <a:pt x="900" y="96"/>
                    </a:lnTo>
                    <a:lnTo>
                      <a:pt x="902" y="96"/>
                    </a:lnTo>
                    <a:lnTo>
                      <a:pt x="904" y="96"/>
                    </a:lnTo>
                    <a:lnTo>
                      <a:pt x="906" y="96"/>
                    </a:lnTo>
                    <a:lnTo>
                      <a:pt x="906" y="94"/>
                    </a:lnTo>
                    <a:lnTo>
                      <a:pt x="918" y="94"/>
                    </a:lnTo>
                    <a:lnTo>
                      <a:pt x="918" y="92"/>
                    </a:lnTo>
                    <a:lnTo>
                      <a:pt x="922" y="92"/>
                    </a:lnTo>
                    <a:lnTo>
                      <a:pt x="920" y="92"/>
                    </a:lnTo>
                    <a:lnTo>
                      <a:pt x="918" y="92"/>
                    </a:lnTo>
                    <a:lnTo>
                      <a:pt x="916" y="90"/>
                    </a:lnTo>
                    <a:lnTo>
                      <a:pt x="914" y="90"/>
                    </a:lnTo>
                    <a:lnTo>
                      <a:pt x="908" y="90"/>
                    </a:lnTo>
                    <a:lnTo>
                      <a:pt x="910" y="88"/>
                    </a:lnTo>
                    <a:lnTo>
                      <a:pt x="910" y="86"/>
                    </a:lnTo>
                    <a:lnTo>
                      <a:pt x="908" y="86"/>
                    </a:lnTo>
                    <a:lnTo>
                      <a:pt x="900" y="86"/>
                    </a:lnTo>
                    <a:lnTo>
                      <a:pt x="894" y="86"/>
                    </a:lnTo>
                    <a:lnTo>
                      <a:pt x="892" y="86"/>
                    </a:lnTo>
                    <a:lnTo>
                      <a:pt x="890" y="88"/>
                    </a:lnTo>
                    <a:lnTo>
                      <a:pt x="886" y="84"/>
                    </a:lnTo>
                    <a:lnTo>
                      <a:pt x="884" y="82"/>
                    </a:lnTo>
                    <a:lnTo>
                      <a:pt x="880" y="82"/>
                    </a:lnTo>
                    <a:lnTo>
                      <a:pt x="878" y="82"/>
                    </a:lnTo>
                    <a:lnTo>
                      <a:pt x="878" y="80"/>
                    </a:lnTo>
                    <a:lnTo>
                      <a:pt x="876" y="80"/>
                    </a:lnTo>
                    <a:lnTo>
                      <a:pt x="874" y="80"/>
                    </a:lnTo>
                    <a:lnTo>
                      <a:pt x="856" y="80"/>
                    </a:lnTo>
                    <a:lnTo>
                      <a:pt x="854" y="80"/>
                    </a:lnTo>
                    <a:lnTo>
                      <a:pt x="852" y="82"/>
                    </a:lnTo>
                    <a:close/>
                    <a:moveTo>
                      <a:pt x="916" y="44"/>
                    </a:moveTo>
                    <a:lnTo>
                      <a:pt x="918" y="44"/>
                    </a:lnTo>
                    <a:lnTo>
                      <a:pt x="926" y="44"/>
                    </a:lnTo>
                    <a:lnTo>
                      <a:pt x="926" y="46"/>
                    </a:lnTo>
                    <a:lnTo>
                      <a:pt x="922" y="46"/>
                    </a:lnTo>
                    <a:lnTo>
                      <a:pt x="920" y="46"/>
                    </a:lnTo>
                    <a:lnTo>
                      <a:pt x="916" y="46"/>
                    </a:lnTo>
                    <a:lnTo>
                      <a:pt x="916" y="48"/>
                    </a:lnTo>
                    <a:lnTo>
                      <a:pt x="920" y="48"/>
                    </a:lnTo>
                    <a:lnTo>
                      <a:pt x="922" y="50"/>
                    </a:lnTo>
                    <a:lnTo>
                      <a:pt x="924" y="50"/>
                    </a:lnTo>
                    <a:lnTo>
                      <a:pt x="926" y="50"/>
                    </a:lnTo>
                    <a:lnTo>
                      <a:pt x="926" y="52"/>
                    </a:lnTo>
                    <a:lnTo>
                      <a:pt x="924" y="52"/>
                    </a:lnTo>
                    <a:lnTo>
                      <a:pt x="922" y="54"/>
                    </a:lnTo>
                    <a:lnTo>
                      <a:pt x="922" y="56"/>
                    </a:lnTo>
                    <a:lnTo>
                      <a:pt x="924" y="58"/>
                    </a:lnTo>
                    <a:lnTo>
                      <a:pt x="930" y="58"/>
                    </a:lnTo>
                    <a:lnTo>
                      <a:pt x="928" y="60"/>
                    </a:lnTo>
                    <a:lnTo>
                      <a:pt x="926" y="60"/>
                    </a:lnTo>
                    <a:lnTo>
                      <a:pt x="926" y="62"/>
                    </a:lnTo>
                    <a:lnTo>
                      <a:pt x="928" y="62"/>
                    </a:lnTo>
                    <a:lnTo>
                      <a:pt x="930" y="62"/>
                    </a:lnTo>
                    <a:lnTo>
                      <a:pt x="934" y="64"/>
                    </a:lnTo>
                    <a:lnTo>
                      <a:pt x="938" y="66"/>
                    </a:lnTo>
                    <a:lnTo>
                      <a:pt x="940" y="66"/>
                    </a:lnTo>
                    <a:lnTo>
                      <a:pt x="942" y="66"/>
                    </a:lnTo>
                    <a:lnTo>
                      <a:pt x="944" y="66"/>
                    </a:lnTo>
                    <a:lnTo>
                      <a:pt x="948" y="64"/>
                    </a:lnTo>
                    <a:lnTo>
                      <a:pt x="950" y="64"/>
                    </a:lnTo>
                    <a:lnTo>
                      <a:pt x="950" y="62"/>
                    </a:lnTo>
                    <a:lnTo>
                      <a:pt x="952" y="62"/>
                    </a:lnTo>
                    <a:lnTo>
                      <a:pt x="954" y="60"/>
                    </a:lnTo>
                    <a:lnTo>
                      <a:pt x="956" y="60"/>
                    </a:lnTo>
                    <a:lnTo>
                      <a:pt x="956" y="58"/>
                    </a:lnTo>
                    <a:lnTo>
                      <a:pt x="958" y="58"/>
                    </a:lnTo>
                    <a:lnTo>
                      <a:pt x="958" y="60"/>
                    </a:lnTo>
                    <a:lnTo>
                      <a:pt x="960" y="62"/>
                    </a:lnTo>
                    <a:lnTo>
                      <a:pt x="962" y="64"/>
                    </a:lnTo>
                    <a:lnTo>
                      <a:pt x="962" y="66"/>
                    </a:lnTo>
                    <a:lnTo>
                      <a:pt x="966" y="66"/>
                    </a:lnTo>
                    <a:lnTo>
                      <a:pt x="968" y="64"/>
                    </a:lnTo>
                    <a:lnTo>
                      <a:pt x="974" y="62"/>
                    </a:lnTo>
                    <a:lnTo>
                      <a:pt x="976" y="62"/>
                    </a:lnTo>
                    <a:lnTo>
                      <a:pt x="976" y="60"/>
                    </a:lnTo>
                    <a:lnTo>
                      <a:pt x="978" y="60"/>
                    </a:lnTo>
                    <a:lnTo>
                      <a:pt x="982" y="56"/>
                    </a:lnTo>
                    <a:lnTo>
                      <a:pt x="984" y="56"/>
                    </a:lnTo>
                    <a:lnTo>
                      <a:pt x="986" y="56"/>
                    </a:lnTo>
                    <a:lnTo>
                      <a:pt x="986" y="58"/>
                    </a:lnTo>
                    <a:lnTo>
                      <a:pt x="988" y="58"/>
                    </a:lnTo>
                    <a:lnTo>
                      <a:pt x="990" y="56"/>
                    </a:lnTo>
                    <a:lnTo>
                      <a:pt x="990" y="54"/>
                    </a:lnTo>
                    <a:lnTo>
                      <a:pt x="992" y="54"/>
                    </a:lnTo>
                    <a:lnTo>
                      <a:pt x="992" y="52"/>
                    </a:lnTo>
                    <a:lnTo>
                      <a:pt x="994" y="52"/>
                    </a:lnTo>
                    <a:lnTo>
                      <a:pt x="1018" y="52"/>
                    </a:lnTo>
                    <a:lnTo>
                      <a:pt x="1018" y="50"/>
                    </a:lnTo>
                    <a:lnTo>
                      <a:pt x="1020" y="50"/>
                    </a:lnTo>
                    <a:lnTo>
                      <a:pt x="1020" y="46"/>
                    </a:lnTo>
                    <a:lnTo>
                      <a:pt x="1008" y="46"/>
                    </a:lnTo>
                    <a:lnTo>
                      <a:pt x="1004" y="46"/>
                    </a:lnTo>
                    <a:lnTo>
                      <a:pt x="1006" y="44"/>
                    </a:lnTo>
                    <a:lnTo>
                      <a:pt x="1008" y="44"/>
                    </a:lnTo>
                    <a:lnTo>
                      <a:pt x="1010" y="42"/>
                    </a:lnTo>
                    <a:lnTo>
                      <a:pt x="1012" y="42"/>
                    </a:lnTo>
                    <a:lnTo>
                      <a:pt x="1012" y="40"/>
                    </a:lnTo>
                    <a:lnTo>
                      <a:pt x="1012" y="38"/>
                    </a:lnTo>
                    <a:lnTo>
                      <a:pt x="1012" y="32"/>
                    </a:lnTo>
                    <a:lnTo>
                      <a:pt x="1010" y="32"/>
                    </a:lnTo>
                    <a:lnTo>
                      <a:pt x="1008" y="32"/>
                    </a:lnTo>
                    <a:lnTo>
                      <a:pt x="1004" y="34"/>
                    </a:lnTo>
                    <a:lnTo>
                      <a:pt x="1002" y="34"/>
                    </a:lnTo>
                    <a:lnTo>
                      <a:pt x="1000" y="36"/>
                    </a:lnTo>
                    <a:lnTo>
                      <a:pt x="998" y="36"/>
                    </a:lnTo>
                    <a:lnTo>
                      <a:pt x="998" y="34"/>
                    </a:lnTo>
                    <a:lnTo>
                      <a:pt x="998" y="30"/>
                    </a:lnTo>
                    <a:lnTo>
                      <a:pt x="996" y="30"/>
                    </a:lnTo>
                    <a:lnTo>
                      <a:pt x="994" y="30"/>
                    </a:lnTo>
                    <a:lnTo>
                      <a:pt x="992" y="32"/>
                    </a:lnTo>
                    <a:lnTo>
                      <a:pt x="988" y="32"/>
                    </a:lnTo>
                    <a:lnTo>
                      <a:pt x="986" y="32"/>
                    </a:lnTo>
                    <a:lnTo>
                      <a:pt x="986" y="30"/>
                    </a:lnTo>
                    <a:lnTo>
                      <a:pt x="986" y="28"/>
                    </a:lnTo>
                    <a:lnTo>
                      <a:pt x="984" y="26"/>
                    </a:lnTo>
                    <a:lnTo>
                      <a:pt x="982" y="24"/>
                    </a:lnTo>
                    <a:lnTo>
                      <a:pt x="982" y="22"/>
                    </a:lnTo>
                    <a:lnTo>
                      <a:pt x="980" y="20"/>
                    </a:lnTo>
                    <a:lnTo>
                      <a:pt x="978" y="20"/>
                    </a:lnTo>
                    <a:lnTo>
                      <a:pt x="974" y="22"/>
                    </a:lnTo>
                    <a:lnTo>
                      <a:pt x="968" y="24"/>
                    </a:lnTo>
                    <a:lnTo>
                      <a:pt x="966" y="24"/>
                    </a:lnTo>
                    <a:lnTo>
                      <a:pt x="964" y="26"/>
                    </a:lnTo>
                    <a:lnTo>
                      <a:pt x="948" y="26"/>
                    </a:lnTo>
                    <a:lnTo>
                      <a:pt x="948" y="28"/>
                    </a:lnTo>
                    <a:lnTo>
                      <a:pt x="946" y="28"/>
                    </a:lnTo>
                    <a:lnTo>
                      <a:pt x="948" y="28"/>
                    </a:lnTo>
                    <a:lnTo>
                      <a:pt x="950" y="30"/>
                    </a:lnTo>
                    <a:lnTo>
                      <a:pt x="950" y="32"/>
                    </a:lnTo>
                    <a:lnTo>
                      <a:pt x="950" y="30"/>
                    </a:lnTo>
                    <a:lnTo>
                      <a:pt x="934" y="30"/>
                    </a:lnTo>
                    <a:lnTo>
                      <a:pt x="932" y="32"/>
                    </a:lnTo>
                    <a:lnTo>
                      <a:pt x="932" y="34"/>
                    </a:lnTo>
                    <a:lnTo>
                      <a:pt x="932" y="36"/>
                    </a:lnTo>
                    <a:lnTo>
                      <a:pt x="934" y="36"/>
                    </a:lnTo>
                    <a:lnTo>
                      <a:pt x="936" y="38"/>
                    </a:lnTo>
                    <a:lnTo>
                      <a:pt x="922" y="38"/>
                    </a:lnTo>
                    <a:lnTo>
                      <a:pt x="918" y="38"/>
                    </a:lnTo>
                    <a:lnTo>
                      <a:pt x="916" y="38"/>
                    </a:lnTo>
                    <a:lnTo>
                      <a:pt x="916" y="40"/>
                    </a:lnTo>
                    <a:lnTo>
                      <a:pt x="914" y="40"/>
                    </a:lnTo>
                    <a:lnTo>
                      <a:pt x="914" y="42"/>
                    </a:lnTo>
                    <a:lnTo>
                      <a:pt x="916" y="44"/>
                    </a:lnTo>
                    <a:close/>
                    <a:moveTo>
                      <a:pt x="868" y="64"/>
                    </a:moveTo>
                    <a:lnTo>
                      <a:pt x="870" y="66"/>
                    </a:lnTo>
                    <a:lnTo>
                      <a:pt x="870" y="68"/>
                    </a:lnTo>
                    <a:lnTo>
                      <a:pt x="872" y="68"/>
                    </a:lnTo>
                    <a:lnTo>
                      <a:pt x="874" y="68"/>
                    </a:lnTo>
                    <a:lnTo>
                      <a:pt x="876" y="70"/>
                    </a:lnTo>
                    <a:lnTo>
                      <a:pt x="878" y="72"/>
                    </a:lnTo>
                    <a:lnTo>
                      <a:pt x="878" y="74"/>
                    </a:lnTo>
                    <a:lnTo>
                      <a:pt x="886" y="74"/>
                    </a:lnTo>
                    <a:lnTo>
                      <a:pt x="890" y="72"/>
                    </a:lnTo>
                    <a:lnTo>
                      <a:pt x="902" y="72"/>
                    </a:lnTo>
                    <a:lnTo>
                      <a:pt x="902" y="70"/>
                    </a:lnTo>
                    <a:lnTo>
                      <a:pt x="900" y="70"/>
                    </a:lnTo>
                    <a:lnTo>
                      <a:pt x="898" y="70"/>
                    </a:lnTo>
                    <a:lnTo>
                      <a:pt x="896" y="70"/>
                    </a:lnTo>
                    <a:lnTo>
                      <a:pt x="894" y="68"/>
                    </a:lnTo>
                    <a:lnTo>
                      <a:pt x="892" y="68"/>
                    </a:lnTo>
                    <a:lnTo>
                      <a:pt x="894" y="66"/>
                    </a:lnTo>
                    <a:lnTo>
                      <a:pt x="896" y="64"/>
                    </a:lnTo>
                    <a:lnTo>
                      <a:pt x="898" y="64"/>
                    </a:lnTo>
                    <a:lnTo>
                      <a:pt x="900" y="62"/>
                    </a:lnTo>
                    <a:lnTo>
                      <a:pt x="898" y="62"/>
                    </a:lnTo>
                    <a:lnTo>
                      <a:pt x="896" y="62"/>
                    </a:lnTo>
                    <a:lnTo>
                      <a:pt x="894" y="60"/>
                    </a:lnTo>
                    <a:lnTo>
                      <a:pt x="890" y="58"/>
                    </a:lnTo>
                    <a:lnTo>
                      <a:pt x="886" y="58"/>
                    </a:lnTo>
                    <a:lnTo>
                      <a:pt x="880" y="56"/>
                    </a:lnTo>
                    <a:lnTo>
                      <a:pt x="878" y="56"/>
                    </a:lnTo>
                    <a:lnTo>
                      <a:pt x="874" y="56"/>
                    </a:lnTo>
                    <a:lnTo>
                      <a:pt x="872" y="56"/>
                    </a:lnTo>
                    <a:lnTo>
                      <a:pt x="870" y="56"/>
                    </a:lnTo>
                    <a:lnTo>
                      <a:pt x="870" y="58"/>
                    </a:lnTo>
                    <a:lnTo>
                      <a:pt x="868" y="58"/>
                    </a:lnTo>
                    <a:lnTo>
                      <a:pt x="866" y="60"/>
                    </a:lnTo>
                    <a:lnTo>
                      <a:pt x="868" y="62"/>
                    </a:lnTo>
                    <a:lnTo>
                      <a:pt x="868" y="64"/>
                    </a:lnTo>
                    <a:close/>
                    <a:moveTo>
                      <a:pt x="824" y="112"/>
                    </a:moveTo>
                    <a:lnTo>
                      <a:pt x="826" y="112"/>
                    </a:lnTo>
                    <a:lnTo>
                      <a:pt x="828" y="112"/>
                    </a:lnTo>
                    <a:lnTo>
                      <a:pt x="832" y="114"/>
                    </a:lnTo>
                    <a:lnTo>
                      <a:pt x="836" y="114"/>
                    </a:lnTo>
                    <a:lnTo>
                      <a:pt x="840" y="116"/>
                    </a:lnTo>
                    <a:lnTo>
                      <a:pt x="846" y="116"/>
                    </a:lnTo>
                    <a:lnTo>
                      <a:pt x="848" y="116"/>
                    </a:lnTo>
                    <a:lnTo>
                      <a:pt x="850" y="114"/>
                    </a:lnTo>
                    <a:lnTo>
                      <a:pt x="852" y="114"/>
                    </a:lnTo>
                    <a:lnTo>
                      <a:pt x="854" y="112"/>
                    </a:lnTo>
                    <a:lnTo>
                      <a:pt x="854" y="110"/>
                    </a:lnTo>
                    <a:lnTo>
                      <a:pt x="856" y="108"/>
                    </a:lnTo>
                    <a:lnTo>
                      <a:pt x="858" y="106"/>
                    </a:lnTo>
                    <a:lnTo>
                      <a:pt x="858" y="102"/>
                    </a:lnTo>
                    <a:lnTo>
                      <a:pt x="856" y="102"/>
                    </a:lnTo>
                    <a:lnTo>
                      <a:pt x="854" y="102"/>
                    </a:lnTo>
                    <a:lnTo>
                      <a:pt x="852" y="102"/>
                    </a:lnTo>
                    <a:lnTo>
                      <a:pt x="844" y="102"/>
                    </a:lnTo>
                    <a:lnTo>
                      <a:pt x="842" y="102"/>
                    </a:lnTo>
                    <a:lnTo>
                      <a:pt x="838" y="102"/>
                    </a:lnTo>
                    <a:lnTo>
                      <a:pt x="830" y="104"/>
                    </a:lnTo>
                    <a:lnTo>
                      <a:pt x="828" y="104"/>
                    </a:lnTo>
                    <a:lnTo>
                      <a:pt x="824" y="106"/>
                    </a:lnTo>
                    <a:lnTo>
                      <a:pt x="824" y="108"/>
                    </a:lnTo>
                    <a:lnTo>
                      <a:pt x="822" y="108"/>
                    </a:lnTo>
                    <a:lnTo>
                      <a:pt x="822" y="110"/>
                    </a:lnTo>
                    <a:lnTo>
                      <a:pt x="824" y="112"/>
                    </a:lnTo>
                    <a:close/>
                    <a:moveTo>
                      <a:pt x="846" y="138"/>
                    </a:moveTo>
                    <a:lnTo>
                      <a:pt x="848" y="136"/>
                    </a:lnTo>
                    <a:lnTo>
                      <a:pt x="854" y="136"/>
                    </a:lnTo>
                    <a:lnTo>
                      <a:pt x="858" y="136"/>
                    </a:lnTo>
                    <a:lnTo>
                      <a:pt x="864" y="134"/>
                    </a:lnTo>
                    <a:lnTo>
                      <a:pt x="866" y="132"/>
                    </a:lnTo>
                    <a:lnTo>
                      <a:pt x="868" y="128"/>
                    </a:lnTo>
                    <a:lnTo>
                      <a:pt x="870" y="128"/>
                    </a:lnTo>
                    <a:lnTo>
                      <a:pt x="872" y="126"/>
                    </a:lnTo>
                    <a:lnTo>
                      <a:pt x="872" y="124"/>
                    </a:lnTo>
                    <a:lnTo>
                      <a:pt x="864" y="124"/>
                    </a:lnTo>
                    <a:lnTo>
                      <a:pt x="860" y="124"/>
                    </a:lnTo>
                    <a:lnTo>
                      <a:pt x="858" y="124"/>
                    </a:lnTo>
                    <a:lnTo>
                      <a:pt x="852" y="122"/>
                    </a:lnTo>
                    <a:lnTo>
                      <a:pt x="844" y="122"/>
                    </a:lnTo>
                    <a:lnTo>
                      <a:pt x="836" y="122"/>
                    </a:lnTo>
                    <a:lnTo>
                      <a:pt x="816" y="122"/>
                    </a:lnTo>
                    <a:lnTo>
                      <a:pt x="814" y="122"/>
                    </a:lnTo>
                    <a:lnTo>
                      <a:pt x="814" y="124"/>
                    </a:lnTo>
                    <a:lnTo>
                      <a:pt x="812" y="126"/>
                    </a:lnTo>
                    <a:lnTo>
                      <a:pt x="810" y="126"/>
                    </a:lnTo>
                    <a:lnTo>
                      <a:pt x="808" y="128"/>
                    </a:lnTo>
                    <a:lnTo>
                      <a:pt x="806" y="128"/>
                    </a:lnTo>
                    <a:lnTo>
                      <a:pt x="804" y="130"/>
                    </a:lnTo>
                    <a:lnTo>
                      <a:pt x="800" y="130"/>
                    </a:lnTo>
                    <a:lnTo>
                      <a:pt x="796" y="132"/>
                    </a:lnTo>
                    <a:lnTo>
                      <a:pt x="794" y="132"/>
                    </a:lnTo>
                    <a:lnTo>
                      <a:pt x="792" y="132"/>
                    </a:lnTo>
                    <a:lnTo>
                      <a:pt x="790" y="132"/>
                    </a:lnTo>
                    <a:lnTo>
                      <a:pt x="790" y="134"/>
                    </a:lnTo>
                    <a:lnTo>
                      <a:pt x="794" y="138"/>
                    </a:lnTo>
                    <a:lnTo>
                      <a:pt x="794" y="140"/>
                    </a:lnTo>
                    <a:lnTo>
                      <a:pt x="794" y="142"/>
                    </a:lnTo>
                    <a:lnTo>
                      <a:pt x="794" y="144"/>
                    </a:lnTo>
                    <a:lnTo>
                      <a:pt x="792" y="146"/>
                    </a:lnTo>
                    <a:lnTo>
                      <a:pt x="792" y="148"/>
                    </a:lnTo>
                    <a:lnTo>
                      <a:pt x="790" y="148"/>
                    </a:lnTo>
                    <a:lnTo>
                      <a:pt x="792" y="150"/>
                    </a:lnTo>
                    <a:lnTo>
                      <a:pt x="794" y="150"/>
                    </a:lnTo>
                    <a:lnTo>
                      <a:pt x="796" y="152"/>
                    </a:lnTo>
                    <a:lnTo>
                      <a:pt x="798" y="152"/>
                    </a:lnTo>
                    <a:lnTo>
                      <a:pt x="800" y="150"/>
                    </a:lnTo>
                    <a:lnTo>
                      <a:pt x="804" y="150"/>
                    </a:lnTo>
                    <a:lnTo>
                      <a:pt x="806" y="150"/>
                    </a:lnTo>
                    <a:lnTo>
                      <a:pt x="808" y="148"/>
                    </a:lnTo>
                    <a:lnTo>
                      <a:pt x="810" y="148"/>
                    </a:lnTo>
                    <a:lnTo>
                      <a:pt x="812" y="148"/>
                    </a:lnTo>
                    <a:lnTo>
                      <a:pt x="812" y="146"/>
                    </a:lnTo>
                    <a:lnTo>
                      <a:pt x="814" y="146"/>
                    </a:lnTo>
                    <a:lnTo>
                      <a:pt x="816" y="146"/>
                    </a:lnTo>
                    <a:lnTo>
                      <a:pt x="816" y="144"/>
                    </a:lnTo>
                    <a:lnTo>
                      <a:pt x="814" y="144"/>
                    </a:lnTo>
                    <a:lnTo>
                      <a:pt x="814" y="142"/>
                    </a:lnTo>
                    <a:lnTo>
                      <a:pt x="816" y="140"/>
                    </a:lnTo>
                    <a:lnTo>
                      <a:pt x="818" y="140"/>
                    </a:lnTo>
                    <a:lnTo>
                      <a:pt x="824" y="140"/>
                    </a:lnTo>
                    <a:lnTo>
                      <a:pt x="828" y="140"/>
                    </a:lnTo>
                    <a:lnTo>
                      <a:pt x="830" y="142"/>
                    </a:lnTo>
                    <a:lnTo>
                      <a:pt x="832" y="144"/>
                    </a:lnTo>
                    <a:lnTo>
                      <a:pt x="838" y="144"/>
                    </a:lnTo>
                    <a:lnTo>
                      <a:pt x="840" y="144"/>
                    </a:lnTo>
                    <a:lnTo>
                      <a:pt x="846" y="144"/>
                    </a:lnTo>
                    <a:lnTo>
                      <a:pt x="846" y="142"/>
                    </a:lnTo>
                    <a:lnTo>
                      <a:pt x="846" y="140"/>
                    </a:lnTo>
                    <a:lnTo>
                      <a:pt x="846" y="138"/>
                    </a:lnTo>
                    <a:close/>
                    <a:moveTo>
                      <a:pt x="694" y="204"/>
                    </a:moveTo>
                    <a:lnTo>
                      <a:pt x="698" y="206"/>
                    </a:lnTo>
                    <a:lnTo>
                      <a:pt x="700" y="206"/>
                    </a:lnTo>
                    <a:lnTo>
                      <a:pt x="704" y="206"/>
                    </a:lnTo>
                    <a:lnTo>
                      <a:pt x="708" y="208"/>
                    </a:lnTo>
                    <a:lnTo>
                      <a:pt x="710" y="210"/>
                    </a:lnTo>
                    <a:lnTo>
                      <a:pt x="712" y="212"/>
                    </a:lnTo>
                    <a:lnTo>
                      <a:pt x="730" y="212"/>
                    </a:lnTo>
                    <a:lnTo>
                      <a:pt x="732" y="210"/>
                    </a:lnTo>
                    <a:lnTo>
                      <a:pt x="736" y="210"/>
                    </a:lnTo>
                    <a:lnTo>
                      <a:pt x="734" y="204"/>
                    </a:lnTo>
                    <a:lnTo>
                      <a:pt x="734" y="202"/>
                    </a:lnTo>
                    <a:lnTo>
                      <a:pt x="734" y="200"/>
                    </a:lnTo>
                    <a:lnTo>
                      <a:pt x="732" y="198"/>
                    </a:lnTo>
                    <a:lnTo>
                      <a:pt x="732" y="196"/>
                    </a:lnTo>
                    <a:lnTo>
                      <a:pt x="732" y="194"/>
                    </a:lnTo>
                    <a:lnTo>
                      <a:pt x="726" y="194"/>
                    </a:lnTo>
                    <a:lnTo>
                      <a:pt x="722" y="192"/>
                    </a:lnTo>
                    <a:lnTo>
                      <a:pt x="720" y="192"/>
                    </a:lnTo>
                    <a:lnTo>
                      <a:pt x="716" y="192"/>
                    </a:lnTo>
                    <a:lnTo>
                      <a:pt x="714" y="190"/>
                    </a:lnTo>
                    <a:lnTo>
                      <a:pt x="710" y="190"/>
                    </a:lnTo>
                    <a:lnTo>
                      <a:pt x="708" y="190"/>
                    </a:lnTo>
                    <a:lnTo>
                      <a:pt x="704" y="192"/>
                    </a:lnTo>
                    <a:lnTo>
                      <a:pt x="702" y="194"/>
                    </a:lnTo>
                    <a:lnTo>
                      <a:pt x="702" y="196"/>
                    </a:lnTo>
                    <a:lnTo>
                      <a:pt x="700" y="198"/>
                    </a:lnTo>
                    <a:lnTo>
                      <a:pt x="696" y="198"/>
                    </a:lnTo>
                    <a:lnTo>
                      <a:pt x="694" y="198"/>
                    </a:lnTo>
                    <a:lnTo>
                      <a:pt x="690" y="198"/>
                    </a:lnTo>
                    <a:lnTo>
                      <a:pt x="690" y="202"/>
                    </a:lnTo>
                    <a:lnTo>
                      <a:pt x="692" y="204"/>
                    </a:lnTo>
                    <a:lnTo>
                      <a:pt x="694" y="204"/>
                    </a:lnTo>
                    <a:close/>
                    <a:moveTo>
                      <a:pt x="806" y="54"/>
                    </a:moveTo>
                    <a:lnTo>
                      <a:pt x="808" y="54"/>
                    </a:lnTo>
                    <a:lnTo>
                      <a:pt x="810" y="56"/>
                    </a:lnTo>
                    <a:lnTo>
                      <a:pt x="812" y="56"/>
                    </a:lnTo>
                    <a:lnTo>
                      <a:pt x="810" y="58"/>
                    </a:lnTo>
                    <a:lnTo>
                      <a:pt x="808" y="60"/>
                    </a:lnTo>
                    <a:lnTo>
                      <a:pt x="810" y="62"/>
                    </a:lnTo>
                    <a:lnTo>
                      <a:pt x="812" y="62"/>
                    </a:lnTo>
                    <a:lnTo>
                      <a:pt x="816" y="62"/>
                    </a:lnTo>
                    <a:lnTo>
                      <a:pt x="828" y="62"/>
                    </a:lnTo>
                    <a:lnTo>
                      <a:pt x="828" y="64"/>
                    </a:lnTo>
                    <a:lnTo>
                      <a:pt x="830" y="64"/>
                    </a:lnTo>
                    <a:lnTo>
                      <a:pt x="830" y="66"/>
                    </a:lnTo>
                    <a:lnTo>
                      <a:pt x="832" y="66"/>
                    </a:lnTo>
                    <a:lnTo>
                      <a:pt x="834" y="68"/>
                    </a:lnTo>
                    <a:lnTo>
                      <a:pt x="836" y="68"/>
                    </a:lnTo>
                    <a:lnTo>
                      <a:pt x="840" y="68"/>
                    </a:lnTo>
                    <a:lnTo>
                      <a:pt x="842" y="68"/>
                    </a:lnTo>
                    <a:lnTo>
                      <a:pt x="844" y="66"/>
                    </a:lnTo>
                    <a:lnTo>
                      <a:pt x="846" y="66"/>
                    </a:lnTo>
                    <a:lnTo>
                      <a:pt x="848" y="64"/>
                    </a:lnTo>
                    <a:lnTo>
                      <a:pt x="850" y="64"/>
                    </a:lnTo>
                    <a:lnTo>
                      <a:pt x="848" y="62"/>
                    </a:lnTo>
                    <a:lnTo>
                      <a:pt x="846" y="60"/>
                    </a:lnTo>
                    <a:lnTo>
                      <a:pt x="848" y="60"/>
                    </a:lnTo>
                    <a:lnTo>
                      <a:pt x="852" y="60"/>
                    </a:lnTo>
                    <a:lnTo>
                      <a:pt x="854" y="58"/>
                    </a:lnTo>
                    <a:lnTo>
                      <a:pt x="852" y="58"/>
                    </a:lnTo>
                    <a:lnTo>
                      <a:pt x="850" y="56"/>
                    </a:lnTo>
                    <a:lnTo>
                      <a:pt x="848" y="54"/>
                    </a:lnTo>
                    <a:lnTo>
                      <a:pt x="846" y="54"/>
                    </a:lnTo>
                    <a:lnTo>
                      <a:pt x="844" y="52"/>
                    </a:lnTo>
                    <a:lnTo>
                      <a:pt x="840" y="52"/>
                    </a:lnTo>
                    <a:lnTo>
                      <a:pt x="832" y="52"/>
                    </a:lnTo>
                    <a:lnTo>
                      <a:pt x="832" y="54"/>
                    </a:lnTo>
                    <a:lnTo>
                      <a:pt x="830" y="50"/>
                    </a:lnTo>
                    <a:lnTo>
                      <a:pt x="830" y="48"/>
                    </a:lnTo>
                    <a:lnTo>
                      <a:pt x="810" y="48"/>
                    </a:lnTo>
                    <a:lnTo>
                      <a:pt x="804" y="50"/>
                    </a:lnTo>
                    <a:lnTo>
                      <a:pt x="802" y="52"/>
                    </a:lnTo>
                    <a:lnTo>
                      <a:pt x="802" y="54"/>
                    </a:lnTo>
                    <a:lnTo>
                      <a:pt x="804" y="54"/>
                    </a:lnTo>
                    <a:lnTo>
                      <a:pt x="806" y="54"/>
                    </a:lnTo>
                    <a:close/>
                    <a:moveTo>
                      <a:pt x="716" y="60"/>
                    </a:moveTo>
                    <a:lnTo>
                      <a:pt x="720" y="60"/>
                    </a:lnTo>
                    <a:lnTo>
                      <a:pt x="734" y="60"/>
                    </a:lnTo>
                    <a:lnTo>
                      <a:pt x="734" y="62"/>
                    </a:lnTo>
                    <a:lnTo>
                      <a:pt x="744" y="62"/>
                    </a:lnTo>
                    <a:lnTo>
                      <a:pt x="744" y="58"/>
                    </a:lnTo>
                    <a:lnTo>
                      <a:pt x="742" y="58"/>
                    </a:lnTo>
                    <a:lnTo>
                      <a:pt x="740" y="56"/>
                    </a:lnTo>
                    <a:lnTo>
                      <a:pt x="738" y="56"/>
                    </a:lnTo>
                    <a:lnTo>
                      <a:pt x="736" y="54"/>
                    </a:lnTo>
                    <a:lnTo>
                      <a:pt x="732" y="54"/>
                    </a:lnTo>
                    <a:lnTo>
                      <a:pt x="730" y="56"/>
                    </a:lnTo>
                    <a:lnTo>
                      <a:pt x="724" y="56"/>
                    </a:lnTo>
                    <a:lnTo>
                      <a:pt x="718" y="56"/>
                    </a:lnTo>
                    <a:lnTo>
                      <a:pt x="714" y="58"/>
                    </a:lnTo>
                    <a:lnTo>
                      <a:pt x="712" y="58"/>
                    </a:lnTo>
                    <a:lnTo>
                      <a:pt x="710" y="58"/>
                    </a:lnTo>
                    <a:lnTo>
                      <a:pt x="708" y="58"/>
                    </a:lnTo>
                    <a:lnTo>
                      <a:pt x="710" y="60"/>
                    </a:lnTo>
                    <a:lnTo>
                      <a:pt x="716" y="60"/>
                    </a:lnTo>
                    <a:close/>
                    <a:moveTo>
                      <a:pt x="824" y="302"/>
                    </a:moveTo>
                    <a:lnTo>
                      <a:pt x="822" y="302"/>
                    </a:lnTo>
                    <a:lnTo>
                      <a:pt x="820" y="302"/>
                    </a:lnTo>
                    <a:lnTo>
                      <a:pt x="816" y="304"/>
                    </a:lnTo>
                    <a:lnTo>
                      <a:pt x="814" y="304"/>
                    </a:lnTo>
                    <a:lnTo>
                      <a:pt x="810" y="306"/>
                    </a:lnTo>
                    <a:lnTo>
                      <a:pt x="808" y="310"/>
                    </a:lnTo>
                    <a:lnTo>
                      <a:pt x="804" y="312"/>
                    </a:lnTo>
                    <a:lnTo>
                      <a:pt x="804" y="314"/>
                    </a:lnTo>
                    <a:lnTo>
                      <a:pt x="802" y="316"/>
                    </a:lnTo>
                    <a:lnTo>
                      <a:pt x="800" y="316"/>
                    </a:lnTo>
                    <a:lnTo>
                      <a:pt x="798" y="318"/>
                    </a:lnTo>
                    <a:lnTo>
                      <a:pt x="798" y="322"/>
                    </a:lnTo>
                    <a:lnTo>
                      <a:pt x="804" y="322"/>
                    </a:lnTo>
                    <a:lnTo>
                      <a:pt x="808" y="320"/>
                    </a:lnTo>
                    <a:lnTo>
                      <a:pt x="810" y="320"/>
                    </a:lnTo>
                    <a:lnTo>
                      <a:pt x="812" y="318"/>
                    </a:lnTo>
                    <a:lnTo>
                      <a:pt x="814" y="318"/>
                    </a:lnTo>
                    <a:lnTo>
                      <a:pt x="816" y="318"/>
                    </a:lnTo>
                    <a:lnTo>
                      <a:pt x="816" y="316"/>
                    </a:lnTo>
                    <a:lnTo>
                      <a:pt x="820" y="314"/>
                    </a:lnTo>
                    <a:lnTo>
                      <a:pt x="822" y="312"/>
                    </a:lnTo>
                    <a:lnTo>
                      <a:pt x="824" y="310"/>
                    </a:lnTo>
                    <a:lnTo>
                      <a:pt x="824" y="308"/>
                    </a:lnTo>
                    <a:lnTo>
                      <a:pt x="826" y="306"/>
                    </a:lnTo>
                    <a:lnTo>
                      <a:pt x="826" y="302"/>
                    </a:lnTo>
                    <a:lnTo>
                      <a:pt x="824" y="302"/>
                    </a:lnTo>
                    <a:close/>
                    <a:moveTo>
                      <a:pt x="944" y="230"/>
                    </a:moveTo>
                    <a:lnTo>
                      <a:pt x="946" y="230"/>
                    </a:lnTo>
                    <a:lnTo>
                      <a:pt x="948" y="230"/>
                    </a:lnTo>
                    <a:lnTo>
                      <a:pt x="952" y="232"/>
                    </a:lnTo>
                    <a:lnTo>
                      <a:pt x="958" y="232"/>
                    </a:lnTo>
                    <a:lnTo>
                      <a:pt x="962" y="230"/>
                    </a:lnTo>
                    <a:lnTo>
                      <a:pt x="964" y="230"/>
                    </a:lnTo>
                    <a:lnTo>
                      <a:pt x="966" y="230"/>
                    </a:lnTo>
                    <a:lnTo>
                      <a:pt x="970" y="226"/>
                    </a:lnTo>
                    <a:lnTo>
                      <a:pt x="972" y="226"/>
                    </a:lnTo>
                    <a:lnTo>
                      <a:pt x="972" y="224"/>
                    </a:lnTo>
                    <a:lnTo>
                      <a:pt x="974" y="222"/>
                    </a:lnTo>
                    <a:lnTo>
                      <a:pt x="974" y="220"/>
                    </a:lnTo>
                    <a:lnTo>
                      <a:pt x="972" y="218"/>
                    </a:lnTo>
                    <a:lnTo>
                      <a:pt x="970" y="218"/>
                    </a:lnTo>
                    <a:lnTo>
                      <a:pt x="970" y="216"/>
                    </a:lnTo>
                    <a:lnTo>
                      <a:pt x="964" y="216"/>
                    </a:lnTo>
                    <a:lnTo>
                      <a:pt x="958" y="218"/>
                    </a:lnTo>
                    <a:lnTo>
                      <a:pt x="956" y="218"/>
                    </a:lnTo>
                    <a:lnTo>
                      <a:pt x="954" y="218"/>
                    </a:lnTo>
                    <a:lnTo>
                      <a:pt x="952" y="218"/>
                    </a:lnTo>
                    <a:lnTo>
                      <a:pt x="950" y="220"/>
                    </a:lnTo>
                    <a:lnTo>
                      <a:pt x="948" y="220"/>
                    </a:lnTo>
                    <a:lnTo>
                      <a:pt x="946" y="222"/>
                    </a:lnTo>
                    <a:lnTo>
                      <a:pt x="944" y="224"/>
                    </a:lnTo>
                    <a:lnTo>
                      <a:pt x="942" y="224"/>
                    </a:lnTo>
                    <a:lnTo>
                      <a:pt x="942" y="226"/>
                    </a:lnTo>
                    <a:lnTo>
                      <a:pt x="940" y="226"/>
                    </a:lnTo>
                    <a:lnTo>
                      <a:pt x="940" y="228"/>
                    </a:lnTo>
                    <a:lnTo>
                      <a:pt x="942" y="230"/>
                    </a:lnTo>
                    <a:lnTo>
                      <a:pt x="944" y="230"/>
                    </a:lnTo>
                    <a:close/>
                    <a:moveTo>
                      <a:pt x="864" y="300"/>
                    </a:moveTo>
                    <a:lnTo>
                      <a:pt x="866" y="296"/>
                    </a:lnTo>
                    <a:lnTo>
                      <a:pt x="864" y="294"/>
                    </a:lnTo>
                    <a:lnTo>
                      <a:pt x="860" y="294"/>
                    </a:lnTo>
                    <a:lnTo>
                      <a:pt x="856" y="292"/>
                    </a:lnTo>
                    <a:lnTo>
                      <a:pt x="854" y="292"/>
                    </a:lnTo>
                    <a:lnTo>
                      <a:pt x="854" y="290"/>
                    </a:lnTo>
                    <a:lnTo>
                      <a:pt x="852" y="290"/>
                    </a:lnTo>
                    <a:lnTo>
                      <a:pt x="852" y="288"/>
                    </a:lnTo>
                    <a:lnTo>
                      <a:pt x="852" y="286"/>
                    </a:lnTo>
                    <a:lnTo>
                      <a:pt x="852" y="284"/>
                    </a:lnTo>
                    <a:lnTo>
                      <a:pt x="852" y="282"/>
                    </a:lnTo>
                    <a:lnTo>
                      <a:pt x="850" y="280"/>
                    </a:lnTo>
                    <a:lnTo>
                      <a:pt x="846" y="276"/>
                    </a:lnTo>
                    <a:lnTo>
                      <a:pt x="844" y="276"/>
                    </a:lnTo>
                    <a:lnTo>
                      <a:pt x="838" y="276"/>
                    </a:lnTo>
                    <a:lnTo>
                      <a:pt x="836" y="276"/>
                    </a:lnTo>
                    <a:lnTo>
                      <a:pt x="834" y="276"/>
                    </a:lnTo>
                    <a:lnTo>
                      <a:pt x="834" y="274"/>
                    </a:lnTo>
                    <a:lnTo>
                      <a:pt x="832" y="270"/>
                    </a:lnTo>
                    <a:lnTo>
                      <a:pt x="830" y="268"/>
                    </a:lnTo>
                    <a:lnTo>
                      <a:pt x="830" y="266"/>
                    </a:lnTo>
                    <a:lnTo>
                      <a:pt x="826" y="266"/>
                    </a:lnTo>
                    <a:lnTo>
                      <a:pt x="822" y="266"/>
                    </a:lnTo>
                    <a:lnTo>
                      <a:pt x="822" y="268"/>
                    </a:lnTo>
                    <a:lnTo>
                      <a:pt x="820" y="268"/>
                    </a:lnTo>
                    <a:lnTo>
                      <a:pt x="820" y="266"/>
                    </a:lnTo>
                    <a:lnTo>
                      <a:pt x="818" y="266"/>
                    </a:lnTo>
                    <a:lnTo>
                      <a:pt x="816" y="264"/>
                    </a:lnTo>
                    <a:lnTo>
                      <a:pt x="818" y="264"/>
                    </a:lnTo>
                    <a:lnTo>
                      <a:pt x="820" y="260"/>
                    </a:lnTo>
                    <a:lnTo>
                      <a:pt x="820" y="258"/>
                    </a:lnTo>
                    <a:lnTo>
                      <a:pt x="820" y="256"/>
                    </a:lnTo>
                    <a:lnTo>
                      <a:pt x="820" y="254"/>
                    </a:lnTo>
                    <a:lnTo>
                      <a:pt x="818" y="256"/>
                    </a:lnTo>
                    <a:lnTo>
                      <a:pt x="816" y="256"/>
                    </a:lnTo>
                    <a:lnTo>
                      <a:pt x="814" y="258"/>
                    </a:lnTo>
                    <a:lnTo>
                      <a:pt x="812" y="258"/>
                    </a:lnTo>
                    <a:lnTo>
                      <a:pt x="810" y="260"/>
                    </a:lnTo>
                    <a:lnTo>
                      <a:pt x="808" y="260"/>
                    </a:lnTo>
                    <a:lnTo>
                      <a:pt x="806" y="260"/>
                    </a:lnTo>
                    <a:lnTo>
                      <a:pt x="806" y="262"/>
                    </a:lnTo>
                    <a:lnTo>
                      <a:pt x="804" y="264"/>
                    </a:lnTo>
                    <a:lnTo>
                      <a:pt x="802" y="264"/>
                    </a:lnTo>
                    <a:lnTo>
                      <a:pt x="800" y="268"/>
                    </a:lnTo>
                    <a:lnTo>
                      <a:pt x="798" y="268"/>
                    </a:lnTo>
                    <a:lnTo>
                      <a:pt x="796" y="272"/>
                    </a:lnTo>
                    <a:lnTo>
                      <a:pt x="794" y="272"/>
                    </a:lnTo>
                    <a:lnTo>
                      <a:pt x="794" y="274"/>
                    </a:lnTo>
                    <a:lnTo>
                      <a:pt x="792" y="274"/>
                    </a:lnTo>
                    <a:lnTo>
                      <a:pt x="790" y="274"/>
                    </a:lnTo>
                    <a:lnTo>
                      <a:pt x="788" y="274"/>
                    </a:lnTo>
                    <a:lnTo>
                      <a:pt x="786" y="276"/>
                    </a:lnTo>
                    <a:lnTo>
                      <a:pt x="784" y="276"/>
                    </a:lnTo>
                    <a:lnTo>
                      <a:pt x="784" y="278"/>
                    </a:lnTo>
                    <a:lnTo>
                      <a:pt x="782" y="278"/>
                    </a:lnTo>
                    <a:lnTo>
                      <a:pt x="782" y="280"/>
                    </a:lnTo>
                    <a:lnTo>
                      <a:pt x="784" y="282"/>
                    </a:lnTo>
                    <a:lnTo>
                      <a:pt x="784" y="284"/>
                    </a:lnTo>
                    <a:lnTo>
                      <a:pt x="782" y="284"/>
                    </a:lnTo>
                    <a:lnTo>
                      <a:pt x="780" y="286"/>
                    </a:lnTo>
                    <a:lnTo>
                      <a:pt x="778" y="286"/>
                    </a:lnTo>
                    <a:lnTo>
                      <a:pt x="774" y="288"/>
                    </a:lnTo>
                    <a:lnTo>
                      <a:pt x="772" y="288"/>
                    </a:lnTo>
                    <a:lnTo>
                      <a:pt x="770" y="288"/>
                    </a:lnTo>
                    <a:lnTo>
                      <a:pt x="770" y="290"/>
                    </a:lnTo>
                    <a:lnTo>
                      <a:pt x="772" y="290"/>
                    </a:lnTo>
                    <a:lnTo>
                      <a:pt x="772" y="292"/>
                    </a:lnTo>
                    <a:lnTo>
                      <a:pt x="774" y="292"/>
                    </a:lnTo>
                    <a:lnTo>
                      <a:pt x="776" y="292"/>
                    </a:lnTo>
                    <a:lnTo>
                      <a:pt x="778" y="292"/>
                    </a:lnTo>
                    <a:lnTo>
                      <a:pt x="784" y="292"/>
                    </a:lnTo>
                    <a:lnTo>
                      <a:pt x="784" y="294"/>
                    </a:lnTo>
                    <a:lnTo>
                      <a:pt x="782" y="296"/>
                    </a:lnTo>
                    <a:lnTo>
                      <a:pt x="782" y="298"/>
                    </a:lnTo>
                    <a:lnTo>
                      <a:pt x="784" y="300"/>
                    </a:lnTo>
                    <a:lnTo>
                      <a:pt x="786" y="300"/>
                    </a:lnTo>
                    <a:lnTo>
                      <a:pt x="788" y="302"/>
                    </a:lnTo>
                    <a:lnTo>
                      <a:pt x="796" y="302"/>
                    </a:lnTo>
                    <a:lnTo>
                      <a:pt x="800" y="300"/>
                    </a:lnTo>
                    <a:lnTo>
                      <a:pt x="802" y="300"/>
                    </a:lnTo>
                    <a:lnTo>
                      <a:pt x="806" y="298"/>
                    </a:lnTo>
                    <a:lnTo>
                      <a:pt x="810" y="294"/>
                    </a:lnTo>
                    <a:lnTo>
                      <a:pt x="810" y="292"/>
                    </a:lnTo>
                    <a:lnTo>
                      <a:pt x="812" y="292"/>
                    </a:lnTo>
                    <a:lnTo>
                      <a:pt x="814" y="290"/>
                    </a:lnTo>
                    <a:lnTo>
                      <a:pt x="824" y="290"/>
                    </a:lnTo>
                    <a:lnTo>
                      <a:pt x="826" y="292"/>
                    </a:lnTo>
                    <a:lnTo>
                      <a:pt x="828" y="292"/>
                    </a:lnTo>
                    <a:lnTo>
                      <a:pt x="830" y="292"/>
                    </a:lnTo>
                    <a:lnTo>
                      <a:pt x="832" y="292"/>
                    </a:lnTo>
                    <a:lnTo>
                      <a:pt x="832" y="294"/>
                    </a:lnTo>
                    <a:lnTo>
                      <a:pt x="838" y="294"/>
                    </a:lnTo>
                    <a:lnTo>
                      <a:pt x="840" y="294"/>
                    </a:lnTo>
                    <a:lnTo>
                      <a:pt x="842" y="296"/>
                    </a:lnTo>
                    <a:lnTo>
                      <a:pt x="842" y="298"/>
                    </a:lnTo>
                    <a:lnTo>
                      <a:pt x="846" y="298"/>
                    </a:lnTo>
                    <a:lnTo>
                      <a:pt x="850" y="300"/>
                    </a:lnTo>
                    <a:lnTo>
                      <a:pt x="864" y="300"/>
                    </a:lnTo>
                    <a:close/>
                    <a:moveTo>
                      <a:pt x="1260" y="4"/>
                    </a:moveTo>
                    <a:lnTo>
                      <a:pt x="1260" y="4"/>
                    </a:lnTo>
                    <a:close/>
                    <a:moveTo>
                      <a:pt x="1304" y="8"/>
                    </a:moveTo>
                    <a:lnTo>
                      <a:pt x="1300" y="10"/>
                    </a:lnTo>
                    <a:lnTo>
                      <a:pt x="1294" y="10"/>
                    </a:lnTo>
                    <a:lnTo>
                      <a:pt x="1294" y="6"/>
                    </a:lnTo>
                    <a:lnTo>
                      <a:pt x="1296" y="6"/>
                    </a:lnTo>
                    <a:lnTo>
                      <a:pt x="1294" y="6"/>
                    </a:lnTo>
                    <a:lnTo>
                      <a:pt x="1290" y="6"/>
                    </a:lnTo>
                    <a:lnTo>
                      <a:pt x="1288" y="6"/>
                    </a:lnTo>
                    <a:lnTo>
                      <a:pt x="1286" y="4"/>
                    </a:lnTo>
                    <a:lnTo>
                      <a:pt x="1280" y="4"/>
                    </a:lnTo>
                    <a:lnTo>
                      <a:pt x="1278" y="4"/>
                    </a:lnTo>
                    <a:lnTo>
                      <a:pt x="1276" y="4"/>
                    </a:lnTo>
                    <a:lnTo>
                      <a:pt x="1272" y="4"/>
                    </a:lnTo>
                    <a:lnTo>
                      <a:pt x="1266" y="6"/>
                    </a:lnTo>
                    <a:lnTo>
                      <a:pt x="1260" y="6"/>
                    </a:lnTo>
                    <a:lnTo>
                      <a:pt x="1256" y="6"/>
                    </a:lnTo>
                    <a:lnTo>
                      <a:pt x="1254" y="8"/>
                    </a:lnTo>
                    <a:lnTo>
                      <a:pt x="1252" y="8"/>
                    </a:lnTo>
                    <a:lnTo>
                      <a:pt x="1250" y="8"/>
                    </a:lnTo>
                    <a:lnTo>
                      <a:pt x="1248" y="8"/>
                    </a:lnTo>
                    <a:lnTo>
                      <a:pt x="1250" y="8"/>
                    </a:lnTo>
                    <a:lnTo>
                      <a:pt x="1252" y="6"/>
                    </a:lnTo>
                    <a:lnTo>
                      <a:pt x="1254" y="6"/>
                    </a:lnTo>
                    <a:lnTo>
                      <a:pt x="1256" y="6"/>
                    </a:lnTo>
                    <a:lnTo>
                      <a:pt x="1258" y="4"/>
                    </a:lnTo>
                    <a:lnTo>
                      <a:pt x="1260" y="4"/>
                    </a:lnTo>
                    <a:lnTo>
                      <a:pt x="1258" y="4"/>
                    </a:lnTo>
                    <a:lnTo>
                      <a:pt x="1242" y="4"/>
                    </a:lnTo>
                    <a:lnTo>
                      <a:pt x="1238" y="4"/>
                    </a:lnTo>
                    <a:lnTo>
                      <a:pt x="1236" y="2"/>
                    </a:lnTo>
                    <a:lnTo>
                      <a:pt x="1234" y="2"/>
                    </a:lnTo>
                    <a:lnTo>
                      <a:pt x="1232" y="2"/>
                    </a:lnTo>
                    <a:lnTo>
                      <a:pt x="1228" y="0"/>
                    </a:lnTo>
                    <a:lnTo>
                      <a:pt x="1226" y="2"/>
                    </a:lnTo>
                    <a:lnTo>
                      <a:pt x="1224" y="2"/>
                    </a:lnTo>
                    <a:lnTo>
                      <a:pt x="1222" y="4"/>
                    </a:lnTo>
                    <a:lnTo>
                      <a:pt x="1222" y="6"/>
                    </a:lnTo>
                    <a:lnTo>
                      <a:pt x="1220" y="6"/>
                    </a:lnTo>
                    <a:lnTo>
                      <a:pt x="1218" y="4"/>
                    </a:lnTo>
                    <a:lnTo>
                      <a:pt x="1212" y="2"/>
                    </a:lnTo>
                    <a:lnTo>
                      <a:pt x="1208" y="2"/>
                    </a:lnTo>
                    <a:lnTo>
                      <a:pt x="1206" y="2"/>
                    </a:lnTo>
                    <a:lnTo>
                      <a:pt x="1204" y="4"/>
                    </a:lnTo>
                    <a:lnTo>
                      <a:pt x="1202" y="4"/>
                    </a:lnTo>
                    <a:lnTo>
                      <a:pt x="1200" y="6"/>
                    </a:lnTo>
                    <a:lnTo>
                      <a:pt x="1198" y="6"/>
                    </a:lnTo>
                    <a:lnTo>
                      <a:pt x="1196" y="6"/>
                    </a:lnTo>
                    <a:lnTo>
                      <a:pt x="1192" y="6"/>
                    </a:lnTo>
                    <a:lnTo>
                      <a:pt x="1192" y="4"/>
                    </a:lnTo>
                    <a:lnTo>
                      <a:pt x="1190" y="4"/>
                    </a:lnTo>
                    <a:lnTo>
                      <a:pt x="1170" y="4"/>
                    </a:lnTo>
                    <a:lnTo>
                      <a:pt x="1168" y="2"/>
                    </a:lnTo>
                    <a:lnTo>
                      <a:pt x="1164" y="2"/>
                    </a:lnTo>
                    <a:lnTo>
                      <a:pt x="1168" y="8"/>
                    </a:lnTo>
                    <a:lnTo>
                      <a:pt x="1170" y="8"/>
                    </a:lnTo>
                    <a:lnTo>
                      <a:pt x="1168" y="8"/>
                    </a:lnTo>
                    <a:lnTo>
                      <a:pt x="1166" y="8"/>
                    </a:lnTo>
                    <a:lnTo>
                      <a:pt x="1166" y="6"/>
                    </a:lnTo>
                    <a:lnTo>
                      <a:pt x="1164" y="6"/>
                    </a:lnTo>
                    <a:lnTo>
                      <a:pt x="1162" y="6"/>
                    </a:lnTo>
                    <a:lnTo>
                      <a:pt x="1160" y="6"/>
                    </a:lnTo>
                    <a:lnTo>
                      <a:pt x="1158" y="6"/>
                    </a:lnTo>
                    <a:lnTo>
                      <a:pt x="1156" y="4"/>
                    </a:lnTo>
                    <a:lnTo>
                      <a:pt x="1152" y="4"/>
                    </a:lnTo>
                    <a:lnTo>
                      <a:pt x="1150" y="6"/>
                    </a:lnTo>
                    <a:lnTo>
                      <a:pt x="1146" y="6"/>
                    </a:lnTo>
                    <a:lnTo>
                      <a:pt x="1144" y="6"/>
                    </a:lnTo>
                    <a:lnTo>
                      <a:pt x="1136" y="6"/>
                    </a:lnTo>
                    <a:lnTo>
                      <a:pt x="1134" y="6"/>
                    </a:lnTo>
                    <a:lnTo>
                      <a:pt x="1132" y="6"/>
                    </a:lnTo>
                    <a:lnTo>
                      <a:pt x="1128" y="4"/>
                    </a:lnTo>
                    <a:lnTo>
                      <a:pt x="1120" y="4"/>
                    </a:lnTo>
                    <a:lnTo>
                      <a:pt x="1118" y="6"/>
                    </a:lnTo>
                    <a:lnTo>
                      <a:pt x="1114" y="6"/>
                    </a:lnTo>
                    <a:lnTo>
                      <a:pt x="1110" y="6"/>
                    </a:lnTo>
                    <a:lnTo>
                      <a:pt x="1106" y="6"/>
                    </a:lnTo>
                    <a:lnTo>
                      <a:pt x="1104" y="8"/>
                    </a:lnTo>
                    <a:lnTo>
                      <a:pt x="1100" y="8"/>
                    </a:lnTo>
                    <a:lnTo>
                      <a:pt x="1104" y="10"/>
                    </a:lnTo>
                    <a:lnTo>
                      <a:pt x="1108" y="10"/>
                    </a:lnTo>
                    <a:lnTo>
                      <a:pt x="1110" y="12"/>
                    </a:lnTo>
                    <a:lnTo>
                      <a:pt x="1112" y="12"/>
                    </a:lnTo>
                    <a:lnTo>
                      <a:pt x="1114" y="12"/>
                    </a:lnTo>
                    <a:lnTo>
                      <a:pt x="1116" y="14"/>
                    </a:lnTo>
                    <a:lnTo>
                      <a:pt x="1118" y="14"/>
                    </a:lnTo>
                    <a:lnTo>
                      <a:pt x="1114" y="14"/>
                    </a:lnTo>
                    <a:lnTo>
                      <a:pt x="1110" y="14"/>
                    </a:lnTo>
                    <a:lnTo>
                      <a:pt x="1108" y="12"/>
                    </a:lnTo>
                    <a:lnTo>
                      <a:pt x="1102" y="12"/>
                    </a:lnTo>
                    <a:lnTo>
                      <a:pt x="1100" y="12"/>
                    </a:lnTo>
                    <a:lnTo>
                      <a:pt x="1096" y="12"/>
                    </a:lnTo>
                    <a:lnTo>
                      <a:pt x="1096" y="10"/>
                    </a:lnTo>
                    <a:lnTo>
                      <a:pt x="1094" y="10"/>
                    </a:lnTo>
                    <a:lnTo>
                      <a:pt x="1090" y="10"/>
                    </a:lnTo>
                    <a:lnTo>
                      <a:pt x="1084" y="10"/>
                    </a:lnTo>
                    <a:lnTo>
                      <a:pt x="1080" y="8"/>
                    </a:lnTo>
                    <a:lnTo>
                      <a:pt x="1070" y="8"/>
                    </a:lnTo>
                    <a:lnTo>
                      <a:pt x="1070" y="10"/>
                    </a:lnTo>
                    <a:lnTo>
                      <a:pt x="1068" y="10"/>
                    </a:lnTo>
                    <a:lnTo>
                      <a:pt x="1066" y="12"/>
                    </a:lnTo>
                    <a:lnTo>
                      <a:pt x="1066" y="14"/>
                    </a:lnTo>
                    <a:lnTo>
                      <a:pt x="1058" y="14"/>
                    </a:lnTo>
                    <a:lnTo>
                      <a:pt x="1054" y="14"/>
                    </a:lnTo>
                    <a:lnTo>
                      <a:pt x="1050" y="14"/>
                    </a:lnTo>
                    <a:lnTo>
                      <a:pt x="1046" y="12"/>
                    </a:lnTo>
                    <a:lnTo>
                      <a:pt x="1034" y="12"/>
                    </a:lnTo>
                    <a:lnTo>
                      <a:pt x="1030" y="14"/>
                    </a:lnTo>
                    <a:lnTo>
                      <a:pt x="1024" y="14"/>
                    </a:lnTo>
                    <a:lnTo>
                      <a:pt x="1018" y="14"/>
                    </a:lnTo>
                    <a:lnTo>
                      <a:pt x="1010" y="16"/>
                    </a:lnTo>
                    <a:lnTo>
                      <a:pt x="1006" y="16"/>
                    </a:lnTo>
                    <a:lnTo>
                      <a:pt x="1004" y="16"/>
                    </a:lnTo>
                    <a:lnTo>
                      <a:pt x="998" y="16"/>
                    </a:lnTo>
                    <a:lnTo>
                      <a:pt x="998" y="18"/>
                    </a:lnTo>
                    <a:lnTo>
                      <a:pt x="1000" y="18"/>
                    </a:lnTo>
                    <a:lnTo>
                      <a:pt x="1002" y="20"/>
                    </a:lnTo>
                    <a:lnTo>
                      <a:pt x="1006" y="20"/>
                    </a:lnTo>
                    <a:lnTo>
                      <a:pt x="1022" y="20"/>
                    </a:lnTo>
                    <a:lnTo>
                      <a:pt x="1022" y="22"/>
                    </a:lnTo>
                    <a:lnTo>
                      <a:pt x="1020" y="22"/>
                    </a:lnTo>
                    <a:lnTo>
                      <a:pt x="1014" y="22"/>
                    </a:lnTo>
                    <a:lnTo>
                      <a:pt x="1012" y="24"/>
                    </a:lnTo>
                    <a:lnTo>
                      <a:pt x="1008" y="24"/>
                    </a:lnTo>
                    <a:lnTo>
                      <a:pt x="1006" y="24"/>
                    </a:lnTo>
                    <a:lnTo>
                      <a:pt x="1008" y="24"/>
                    </a:lnTo>
                    <a:lnTo>
                      <a:pt x="1008" y="26"/>
                    </a:lnTo>
                    <a:lnTo>
                      <a:pt x="1010" y="26"/>
                    </a:lnTo>
                    <a:lnTo>
                      <a:pt x="1014" y="26"/>
                    </a:lnTo>
                    <a:lnTo>
                      <a:pt x="1016" y="28"/>
                    </a:lnTo>
                    <a:lnTo>
                      <a:pt x="1022" y="28"/>
                    </a:lnTo>
                    <a:lnTo>
                      <a:pt x="1026" y="26"/>
                    </a:lnTo>
                    <a:lnTo>
                      <a:pt x="1030" y="26"/>
                    </a:lnTo>
                    <a:lnTo>
                      <a:pt x="1032" y="26"/>
                    </a:lnTo>
                    <a:lnTo>
                      <a:pt x="1038" y="26"/>
                    </a:lnTo>
                    <a:lnTo>
                      <a:pt x="1038" y="24"/>
                    </a:lnTo>
                    <a:lnTo>
                      <a:pt x="1040" y="24"/>
                    </a:lnTo>
                    <a:lnTo>
                      <a:pt x="1042" y="24"/>
                    </a:lnTo>
                    <a:lnTo>
                      <a:pt x="1044" y="24"/>
                    </a:lnTo>
                    <a:lnTo>
                      <a:pt x="1046" y="22"/>
                    </a:lnTo>
                    <a:lnTo>
                      <a:pt x="1058" y="22"/>
                    </a:lnTo>
                    <a:lnTo>
                      <a:pt x="1062" y="24"/>
                    </a:lnTo>
                    <a:lnTo>
                      <a:pt x="1066" y="24"/>
                    </a:lnTo>
                    <a:lnTo>
                      <a:pt x="1070" y="24"/>
                    </a:lnTo>
                    <a:lnTo>
                      <a:pt x="1072" y="26"/>
                    </a:lnTo>
                    <a:lnTo>
                      <a:pt x="1060" y="26"/>
                    </a:lnTo>
                    <a:lnTo>
                      <a:pt x="1056" y="26"/>
                    </a:lnTo>
                    <a:lnTo>
                      <a:pt x="1050" y="26"/>
                    </a:lnTo>
                    <a:lnTo>
                      <a:pt x="1046" y="28"/>
                    </a:lnTo>
                    <a:lnTo>
                      <a:pt x="1042" y="30"/>
                    </a:lnTo>
                    <a:lnTo>
                      <a:pt x="1040" y="30"/>
                    </a:lnTo>
                    <a:lnTo>
                      <a:pt x="1036" y="30"/>
                    </a:lnTo>
                    <a:lnTo>
                      <a:pt x="1046" y="30"/>
                    </a:lnTo>
                    <a:lnTo>
                      <a:pt x="1052" y="32"/>
                    </a:lnTo>
                    <a:lnTo>
                      <a:pt x="1058" y="32"/>
                    </a:lnTo>
                    <a:lnTo>
                      <a:pt x="1060" y="30"/>
                    </a:lnTo>
                    <a:lnTo>
                      <a:pt x="1062" y="30"/>
                    </a:lnTo>
                    <a:lnTo>
                      <a:pt x="1092" y="30"/>
                    </a:lnTo>
                    <a:lnTo>
                      <a:pt x="1094" y="30"/>
                    </a:lnTo>
                    <a:lnTo>
                      <a:pt x="1098" y="30"/>
                    </a:lnTo>
                    <a:lnTo>
                      <a:pt x="1100" y="28"/>
                    </a:lnTo>
                    <a:lnTo>
                      <a:pt x="1104" y="28"/>
                    </a:lnTo>
                    <a:lnTo>
                      <a:pt x="1108" y="26"/>
                    </a:lnTo>
                    <a:lnTo>
                      <a:pt x="1110" y="26"/>
                    </a:lnTo>
                    <a:lnTo>
                      <a:pt x="1112" y="24"/>
                    </a:lnTo>
                    <a:lnTo>
                      <a:pt x="1114" y="24"/>
                    </a:lnTo>
                    <a:lnTo>
                      <a:pt x="1116" y="24"/>
                    </a:lnTo>
                    <a:lnTo>
                      <a:pt x="1118" y="24"/>
                    </a:lnTo>
                    <a:lnTo>
                      <a:pt x="1122" y="22"/>
                    </a:lnTo>
                    <a:lnTo>
                      <a:pt x="1124" y="22"/>
                    </a:lnTo>
                    <a:lnTo>
                      <a:pt x="1126" y="22"/>
                    </a:lnTo>
                    <a:lnTo>
                      <a:pt x="1128" y="20"/>
                    </a:lnTo>
                    <a:lnTo>
                      <a:pt x="1138" y="20"/>
                    </a:lnTo>
                    <a:lnTo>
                      <a:pt x="1138" y="22"/>
                    </a:lnTo>
                    <a:lnTo>
                      <a:pt x="1134" y="22"/>
                    </a:lnTo>
                    <a:lnTo>
                      <a:pt x="1132" y="24"/>
                    </a:lnTo>
                    <a:lnTo>
                      <a:pt x="1128" y="24"/>
                    </a:lnTo>
                    <a:lnTo>
                      <a:pt x="1126" y="24"/>
                    </a:lnTo>
                    <a:lnTo>
                      <a:pt x="1124" y="26"/>
                    </a:lnTo>
                    <a:lnTo>
                      <a:pt x="1122" y="26"/>
                    </a:lnTo>
                    <a:lnTo>
                      <a:pt x="1120" y="26"/>
                    </a:lnTo>
                    <a:lnTo>
                      <a:pt x="1118" y="26"/>
                    </a:lnTo>
                    <a:lnTo>
                      <a:pt x="1118" y="28"/>
                    </a:lnTo>
                    <a:lnTo>
                      <a:pt x="1126" y="28"/>
                    </a:lnTo>
                    <a:lnTo>
                      <a:pt x="1122" y="30"/>
                    </a:lnTo>
                    <a:lnTo>
                      <a:pt x="1118" y="30"/>
                    </a:lnTo>
                    <a:lnTo>
                      <a:pt x="1116" y="30"/>
                    </a:lnTo>
                    <a:lnTo>
                      <a:pt x="1108" y="30"/>
                    </a:lnTo>
                    <a:lnTo>
                      <a:pt x="1104" y="32"/>
                    </a:lnTo>
                    <a:lnTo>
                      <a:pt x="1086" y="32"/>
                    </a:lnTo>
                    <a:lnTo>
                      <a:pt x="1082" y="32"/>
                    </a:lnTo>
                    <a:lnTo>
                      <a:pt x="1068" y="32"/>
                    </a:lnTo>
                    <a:lnTo>
                      <a:pt x="1068" y="34"/>
                    </a:lnTo>
                    <a:lnTo>
                      <a:pt x="1066" y="34"/>
                    </a:lnTo>
                    <a:lnTo>
                      <a:pt x="1066" y="38"/>
                    </a:lnTo>
                    <a:lnTo>
                      <a:pt x="1068" y="38"/>
                    </a:lnTo>
                    <a:lnTo>
                      <a:pt x="1070" y="38"/>
                    </a:lnTo>
                    <a:lnTo>
                      <a:pt x="1072" y="40"/>
                    </a:lnTo>
                    <a:lnTo>
                      <a:pt x="1074" y="40"/>
                    </a:lnTo>
                    <a:lnTo>
                      <a:pt x="1076" y="40"/>
                    </a:lnTo>
                    <a:lnTo>
                      <a:pt x="1078" y="42"/>
                    </a:lnTo>
                    <a:lnTo>
                      <a:pt x="1080" y="42"/>
                    </a:lnTo>
                    <a:lnTo>
                      <a:pt x="1082" y="42"/>
                    </a:lnTo>
                    <a:lnTo>
                      <a:pt x="1080" y="44"/>
                    </a:lnTo>
                    <a:lnTo>
                      <a:pt x="1078" y="44"/>
                    </a:lnTo>
                    <a:lnTo>
                      <a:pt x="1074" y="44"/>
                    </a:lnTo>
                    <a:lnTo>
                      <a:pt x="1070" y="44"/>
                    </a:lnTo>
                    <a:lnTo>
                      <a:pt x="1066" y="44"/>
                    </a:lnTo>
                    <a:lnTo>
                      <a:pt x="1064" y="42"/>
                    </a:lnTo>
                    <a:lnTo>
                      <a:pt x="1060" y="40"/>
                    </a:lnTo>
                    <a:lnTo>
                      <a:pt x="1056" y="38"/>
                    </a:lnTo>
                    <a:lnTo>
                      <a:pt x="1052" y="36"/>
                    </a:lnTo>
                    <a:lnTo>
                      <a:pt x="1050" y="36"/>
                    </a:lnTo>
                    <a:lnTo>
                      <a:pt x="1026" y="36"/>
                    </a:lnTo>
                    <a:lnTo>
                      <a:pt x="1024" y="36"/>
                    </a:lnTo>
                    <a:lnTo>
                      <a:pt x="1024" y="38"/>
                    </a:lnTo>
                    <a:lnTo>
                      <a:pt x="1022" y="38"/>
                    </a:lnTo>
                    <a:lnTo>
                      <a:pt x="1022" y="40"/>
                    </a:lnTo>
                    <a:lnTo>
                      <a:pt x="1022" y="42"/>
                    </a:lnTo>
                    <a:lnTo>
                      <a:pt x="1024" y="44"/>
                    </a:lnTo>
                    <a:lnTo>
                      <a:pt x="1026" y="44"/>
                    </a:lnTo>
                    <a:lnTo>
                      <a:pt x="1028" y="44"/>
                    </a:lnTo>
                    <a:lnTo>
                      <a:pt x="1028" y="46"/>
                    </a:lnTo>
                    <a:lnTo>
                      <a:pt x="1030" y="48"/>
                    </a:lnTo>
                    <a:lnTo>
                      <a:pt x="1032" y="50"/>
                    </a:lnTo>
                    <a:lnTo>
                      <a:pt x="1034" y="50"/>
                    </a:lnTo>
                    <a:lnTo>
                      <a:pt x="1036" y="52"/>
                    </a:lnTo>
                    <a:lnTo>
                      <a:pt x="1038" y="52"/>
                    </a:lnTo>
                    <a:lnTo>
                      <a:pt x="1054" y="52"/>
                    </a:lnTo>
                    <a:lnTo>
                      <a:pt x="1056" y="52"/>
                    </a:lnTo>
                    <a:lnTo>
                      <a:pt x="1054" y="54"/>
                    </a:lnTo>
                    <a:lnTo>
                      <a:pt x="1052" y="54"/>
                    </a:lnTo>
                    <a:lnTo>
                      <a:pt x="1050" y="54"/>
                    </a:lnTo>
                    <a:lnTo>
                      <a:pt x="1048" y="54"/>
                    </a:lnTo>
                    <a:lnTo>
                      <a:pt x="1046" y="56"/>
                    </a:lnTo>
                    <a:lnTo>
                      <a:pt x="1042" y="56"/>
                    </a:lnTo>
                    <a:lnTo>
                      <a:pt x="1036" y="54"/>
                    </a:lnTo>
                    <a:lnTo>
                      <a:pt x="1034" y="54"/>
                    </a:lnTo>
                    <a:lnTo>
                      <a:pt x="1030" y="54"/>
                    </a:lnTo>
                    <a:lnTo>
                      <a:pt x="1028" y="54"/>
                    </a:lnTo>
                    <a:lnTo>
                      <a:pt x="1026" y="54"/>
                    </a:lnTo>
                    <a:lnTo>
                      <a:pt x="1022" y="54"/>
                    </a:lnTo>
                    <a:lnTo>
                      <a:pt x="1018" y="54"/>
                    </a:lnTo>
                    <a:lnTo>
                      <a:pt x="1014" y="54"/>
                    </a:lnTo>
                    <a:lnTo>
                      <a:pt x="1010" y="54"/>
                    </a:lnTo>
                    <a:lnTo>
                      <a:pt x="1004" y="56"/>
                    </a:lnTo>
                    <a:lnTo>
                      <a:pt x="998" y="56"/>
                    </a:lnTo>
                    <a:lnTo>
                      <a:pt x="992" y="58"/>
                    </a:lnTo>
                    <a:lnTo>
                      <a:pt x="990" y="58"/>
                    </a:lnTo>
                    <a:lnTo>
                      <a:pt x="986" y="60"/>
                    </a:lnTo>
                    <a:lnTo>
                      <a:pt x="984" y="62"/>
                    </a:lnTo>
                    <a:lnTo>
                      <a:pt x="980" y="64"/>
                    </a:lnTo>
                    <a:lnTo>
                      <a:pt x="978" y="66"/>
                    </a:lnTo>
                    <a:lnTo>
                      <a:pt x="982" y="64"/>
                    </a:lnTo>
                    <a:lnTo>
                      <a:pt x="984" y="64"/>
                    </a:lnTo>
                    <a:lnTo>
                      <a:pt x="988" y="64"/>
                    </a:lnTo>
                    <a:lnTo>
                      <a:pt x="992" y="64"/>
                    </a:lnTo>
                    <a:lnTo>
                      <a:pt x="992" y="62"/>
                    </a:lnTo>
                    <a:lnTo>
                      <a:pt x="996" y="62"/>
                    </a:lnTo>
                    <a:lnTo>
                      <a:pt x="996" y="66"/>
                    </a:lnTo>
                    <a:lnTo>
                      <a:pt x="998" y="66"/>
                    </a:lnTo>
                    <a:lnTo>
                      <a:pt x="1000" y="66"/>
                    </a:lnTo>
                    <a:lnTo>
                      <a:pt x="1002" y="64"/>
                    </a:lnTo>
                    <a:lnTo>
                      <a:pt x="1004" y="64"/>
                    </a:lnTo>
                    <a:lnTo>
                      <a:pt x="1006" y="64"/>
                    </a:lnTo>
                    <a:lnTo>
                      <a:pt x="1008" y="62"/>
                    </a:lnTo>
                    <a:lnTo>
                      <a:pt x="1010" y="62"/>
                    </a:lnTo>
                    <a:lnTo>
                      <a:pt x="1008" y="64"/>
                    </a:lnTo>
                    <a:lnTo>
                      <a:pt x="1006" y="64"/>
                    </a:lnTo>
                    <a:lnTo>
                      <a:pt x="1002" y="66"/>
                    </a:lnTo>
                    <a:lnTo>
                      <a:pt x="1000" y="66"/>
                    </a:lnTo>
                    <a:lnTo>
                      <a:pt x="998" y="68"/>
                    </a:lnTo>
                    <a:lnTo>
                      <a:pt x="996" y="68"/>
                    </a:lnTo>
                    <a:lnTo>
                      <a:pt x="994" y="68"/>
                    </a:lnTo>
                    <a:lnTo>
                      <a:pt x="994" y="70"/>
                    </a:lnTo>
                    <a:lnTo>
                      <a:pt x="996" y="70"/>
                    </a:lnTo>
                    <a:lnTo>
                      <a:pt x="998" y="72"/>
                    </a:lnTo>
                    <a:lnTo>
                      <a:pt x="1006" y="72"/>
                    </a:lnTo>
                    <a:lnTo>
                      <a:pt x="1008" y="72"/>
                    </a:lnTo>
                    <a:lnTo>
                      <a:pt x="1012" y="70"/>
                    </a:lnTo>
                    <a:lnTo>
                      <a:pt x="1016" y="70"/>
                    </a:lnTo>
                    <a:lnTo>
                      <a:pt x="1022" y="68"/>
                    </a:lnTo>
                    <a:lnTo>
                      <a:pt x="1024" y="68"/>
                    </a:lnTo>
                    <a:lnTo>
                      <a:pt x="1024" y="66"/>
                    </a:lnTo>
                    <a:lnTo>
                      <a:pt x="1024" y="68"/>
                    </a:lnTo>
                    <a:lnTo>
                      <a:pt x="1022" y="68"/>
                    </a:lnTo>
                    <a:lnTo>
                      <a:pt x="1020" y="68"/>
                    </a:lnTo>
                    <a:lnTo>
                      <a:pt x="1016" y="70"/>
                    </a:lnTo>
                    <a:lnTo>
                      <a:pt x="1014" y="72"/>
                    </a:lnTo>
                    <a:lnTo>
                      <a:pt x="1010" y="72"/>
                    </a:lnTo>
                    <a:lnTo>
                      <a:pt x="1008" y="74"/>
                    </a:lnTo>
                    <a:lnTo>
                      <a:pt x="1006" y="74"/>
                    </a:lnTo>
                    <a:lnTo>
                      <a:pt x="1004" y="74"/>
                    </a:lnTo>
                    <a:lnTo>
                      <a:pt x="1004" y="76"/>
                    </a:lnTo>
                    <a:lnTo>
                      <a:pt x="1002" y="76"/>
                    </a:lnTo>
                    <a:lnTo>
                      <a:pt x="1000" y="76"/>
                    </a:lnTo>
                    <a:lnTo>
                      <a:pt x="998" y="76"/>
                    </a:lnTo>
                    <a:lnTo>
                      <a:pt x="996" y="76"/>
                    </a:lnTo>
                    <a:lnTo>
                      <a:pt x="984" y="76"/>
                    </a:lnTo>
                    <a:lnTo>
                      <a:pt x="984" y="74"/>
                    </a:lnTo>
                    <a:lnTo>
                      <a:pt x="982" y="72"/>
                    </a:lnTo>
                    <a:lnTo>
                      <a:pt x="982" y="70"/>
                    </a:lnTo>
                    <a:lnTo>
                      <a:pt x="982" y="68"/>
                    </a:lnTo>
                    <a:lnTo>
                      <a:pt x="966" y="68"/>
                    </a:lnTo>
                    <a:lnTo>
                      <a:pt x="966" y="70"/>
                    </a:lnTo>
                    <a:lnTo>
                      <a:pt x="964" y="70"/>
                    </a:lnTo>
                    <a:lnTo>
                      <a:pt x="964" y="72"/>
                    </a:lnTo>
                    <a:lnTo>
                      <a:pt x="966" y="74"/>
                    </a:lnTo>
                    <a:lnTo>
                      <a:pt x="966" y="76"/>
                    </a:lnTo>
                    <a:lnTo>
                      <a:pt x="966" y="78"/>
                    </a:lnTo>
                    <a:lnTo>
                      <a:pt x="968" y="78"/>
                    </a:lnTo>
                    <a:lnTo>
                      <a:pt x="962" y="78"/>
                    </a:lnTo>
                    <a:lnTo>
                      <a:pt x="960" y="78"/>
                    </a:lnTo>
                    <a:lnTo>
                      <a:pt x="950" y="78"/>
                    </a:lnTo>
                    <a:lnTo>
                      <a:pt x="950" y="80"/>
                    </a:lnTo>
                    <a:lnTo>
                      <a:pt x="946" y="80"/>
                    </a:lnTo>
                    <a:lnTo>
                      <a:pt x="944" y="80"/>
                    </a:lnTo>
                    <a:lnTo>
                      <a:pt x="942" y="82"/>
                    </a:lnTo>
                    <a:lnTo>
                      <a:pt x="934" y="84"/>
                    </a:lnTo>
                    <a:lnTo>
                      <a:pt x="932" y="84"/>
                    </a:lnTo>
                    <a:lnTo>
                      <a:pt x="928" y="86"/>
                    </a:lnTo>
                    <a:lnTo>
                      <a:pt x="924" y="86"/>
                    </a:lnTo>
                    <a:lnTo>
                      <a:pt x="922" y="86"/>
                    </a:lnTo>
                    <a:lnTo>
                      <a:pt x="924" y="88"/>
                    </a:lnTo>
                    <a:lnTo>
                      <a:pt x="926" y="88"/>
                    </a:lnTo>
                    <a:lnTo>
                      <a:pt x="934" y="88"/>
                    </a:lnTo>
                    <a:lnTo>
                      <a:pt x="938" y="88"/>
                    </a:lnTo>
                    <a:lnTo>
                      <a:pt x="938" y="86"/>
                    </a:lnTo>
                    <a:lnTo>
                      <a:pt x="940" y="86"/>
                    </a:lnTo>
                    <a:lnTo>
                      <a:pt x="938" y="86"/>
                    </a:lnTo>
                    <a:lnTo>
                      <a:pt x="938" y="88"/>
                    </a:lnTo>
                    <a:lnTo>
                      <a:pt x="938" y="90"/>
                    </a:lnTo>
                    <a:lnTo>
                      <a:pt x="936" y="90"/>
                    </a:lnTo>
                    <a:lnTo>
                      <a:pt x="940" y="90"/>
                    </a:lnTo>
                    <a:lnTo>
                      <a:pt x="942" y="90"/>
                    </a:lnTo>
                    <a:lnTo>
                      <a:pt x="944" y="88"/>
                    </a:lnTo>
                    <a:lnTo>
                      <a:pt x="946" y="88"/>
                    </a:lnTo>
                    <a:lnTo>
                      <a:pt x="948" y="88"/>
                    </a:lnTo>
                    <a:lnTo>
                      <a:pt x="950" y="86"/>
                    </a:lnTo>
                    <a:lnTo>
                      <a:pt x="950" y="88"/>
                    </a:lnTo>
                    <a:lnTo>
                      <a:pt x="956" y="88"/>
                    </a:lnTo>
                    <a:lnTo>
                      <a:pt x="958" y="88"/>
                    </a:lnTo>
                    <a:lnTo>
                      <a:pt x="962" y="88"/>
                    </a:lnTo>
                    <a:lnTo>
                      <a:pt x="964" y="90"/>
                    </a:lnTo>
                    <a:lnTo>
                      <a:pt x="966" y="90"/>
                    </a:lnTo>
                    <a:lnTo>
                      <a:pt x="968" y="92"/>
                    </a:lnTo>
                    <a:lnTo>
                      <a:pt x="968" y="90"/>
                    </a:lnTo>
                    <a:lnTo>
                      <a:pt x="970" y="90"/>
                    </a:lnTo>
                    <a:lnTo>
                      <a:pt x="972" y="90"/>
                    </a:lnTo>
                    <a:lnTo>
                      <a:pt x="974" y="88"/>
                    </a:lnTo>
                    <a:lnTo>
                      <a:pt x="976" y="88"/>
                    </a:lnTo>
                    <a:lnTo>
                      <a:pt x="978" y="86"/>
                    </a:lnTo>
                    <a:lnTo>
                      <a:pt x="980" y="88"/>
                    </a:lnTo>
                    <a:lnTo>
                      <a:pt x="980" y="90"/>
                    </a:lnTo>
                    <a:lnTo>
                      <a:pt x="982" y="88"/>
                    </a:lnTo>
                    <a:lnTo>
                      <a:pt x="984" y="88"/>
                    </a:lnTo>
                    <a:lnTo>
                      <a:pt x="986" y="86"/>
                    </a:lnTo>
                    <a:lnTo>
                      <a:pt x="988" y="86"/>
                    </a:lnTo>
                    <a:lnTo>
                      <a:pt x="988" y="88"/>
                    </a:lnTo>
                    <a:lnTo>
                      <a:pt x="990" y="88"/>
                    </a:lnTo>
                    <a:lnTo>
                      <a:pt x="992" y="90"/>
                    </a:lnTo>
                    <a:lnTo>
                      <a:pt x="994" y="90"/>
                    </a:lnTo>
                    <a:lnTo>
                      <a:pt x="996" y="88"/>
                    </a:lnTo>
                    <a:lnTo>
                      <a:pt x="998" y="88"/>
                    </a:lnTo>
                    <a:lnTo>
                      <a:pt x="998" y="86"/>
                    </a:lnTo>
                    <a:lnTo>
                      <a:pt x="1000" y="88"/>
                    </a:lnTo>
                    <a:lnTo>
                      <a:pt x="1002" y="90"/>
                    </a:lnTo>
                    <a:lnTo>
                      <a:pt x="1008" y="90"/>
                    </a:lnTo>
                    <a:lnTo>
                      <a:pt x="1008" y="88"/>
                    </a:lnTo>
                    <a:lnTo>
                      <a:pt x="1008" y="86"/>
                    </a:lnTo>
                    <a:lnTo>
                      <a:pt x="1010" y="86"/>
                    </a:lnTo>
                    <a:lnTo>
                      <a:pt x="1012" y="86"/>
                    </a:lnTo>
                    <a:lnTo>
                      <a:pt x="1014" y="88"/>
                    </a:lnTo>
                    <a:lnTo>
                      <a:pt x="1016" y="88"/>
                    </a:lnTo>
                    <a:lnTo>
                      <a:pt x="1018" y="88"/>
                    </a:lnTo>
                    <a:lnTo>
                      <a:pt x="1020" y="90"/>
                    </a:lnTo>
                    <a:lnTo>
                      <a:pt x="1022" y="90"/>
                    </a:lnTo>
                    <a:lnTo>
                      <a:pt x="1022" y="92"/>
                    </a:lnTo>
                    <a:lnTo>
                      <a:pt x="1024" y="94"/>
                    </a:lnTo>
                    <a:lnTo>
                      <a:pt x="1026" y="94"/>
                    </a:lnTo>
                    <a:lnTo>
                      <a:pt x="1028" y="92"/>
                    </a:lnTo>
                    <a:lnTo>
                      <a:pt x="1032" y="92"/>
                    </a:lnTo>
                    <a:lnTo>
                      <a:pt x="1036" y="92"/>
                    </a:lnTo>
                    <a:lnTo>
                      <a:pt x="1042" y="90"/>
                    </a:lnTo>
                    <a:lnTo>
                      <a:pt x="1046" y="90"/>
                    </a:lnTo>
                    <a:lnTo>
                      <a:pt x="1048" y="88"/>
                    </a:lnTo>
                    <a:lnTo>
                      <a:pt x="1054" y="88"/>
                    </a:lnTo>
                    <a:lnTo>
                      <a:pt x="1058" y="86"/>
                    </a:lnTo>
                    <a:lnTo>
                      <a:pt x="1062" y="86"/>
                    </a:lnTo>
                    <a:lnTo>
                      <a:pt x="1064" y="84"/>
                    </a:lnTo>
                    <a:lnTo>
                      <a:pt x="1066" y="82"/>
                    </a:lnTo>
                    <a:lnTo>
                      <a:pt x="1050" y="82"/>
                    </a:lnTo>
                    <a:lnTo>
                      <a:pt x="1052" y="80"/>
                    </a:lnTo>
                    <a:lnTo>
                      <a:pt x="1052" y="78"/>
                    </a:lnTo>
                    <a:lnTo>
                      <a:pt x="1050" y="78"/>
                    </a:lnTo>
                    <a:lnTo>
                      <a:pt x="1048" y="78"/>
                    </a:lnTo>
                    <a:lnTo>
                      <a:pt x="1044" y="78"/>
                    </a:lnTo>
                    <a:lnTo>
                      <a:pt x="1042" y="78"/>
                    </a:lnTo>
                    <a:lnTo>
                      <a:pt x="1040" y="78"/>
                    </a:lnTo>
                    <a:lnTo>
                      <a:pt x="1038" y="78"/>
                    </a:lnTo>
                    <a:lnTo>
                      <a:pt x="1032" y="78"/>
                    </a:lnTo>
                    <a:lnTo>
                      <a:pt x="1026" y="78"/>
                    </a:lnTo>
                    <a:lnTo>
                      <a:pt x="1026" y="76"/>
                    </a:lnTo>
                    <a:lnTo>
                      <a:pt x="1028" y="74"/>
                    </a:lnTo>
                    <a:lnTo>
                      <a:pt x="1030" y="72"/>
                    </a:lnTo>
                    <a:lnTo>
                      <a:pt x="1032" y="74"/>
                    </a:lnTo>
                    <a:lnTo>
                      <a:pt x="1036" y="74"/>
                    </a:lnTo>
                    <a:lnTo>
                      <a:pt x="1038" y="74"/>
                    </a:lnTo>
                    <a:lnTo>
                      <a:pt x="1038" y="76"/>
                    </a:lnTo>
                    <a:lnTo>
                      <a:pt x="1040" y="76"/>
                    </a:lnTo>
                    <a:lnTo>
                      <a:pt x="1042" y="76"/>
                    </a:lnTo>
                    <a:lnTo>
                      <a:pt x="1044" y="76"/>
                    </a:lnTo>
                    <a:lnTo>
                      <a:pt x="1044" y="78"/>
                    </a:lnTo>
                    <a:lnTo>
                      <a:pt x="1052" y="78"/>
                    </a:lnTo>
                    <a:lnTo>
                      <a:pt x="1056" y="76"/>
                    </a:lnTo>
                    <a:lnTo>
                      <a:pt x="1070" y="76"/>
                    </a:lnTo>
                    <a:lnTo>
                      <a:pt x="1074" y="76"/>
                    </a:lnTo>
                    <a:lnTo>
                      <a:pt x="1076" y="74"/>
                    </a:lnTo>
                    <a:lnTo>
                      <a:pt x="1078" y="72"/>
                    </a:lnTo>
                    <a:lnTo>
                      <a:pt x="1078" y="68"/>
                    </a:lnTo>
                    <a:lnTo>
                      <a:pt x="1080" y="68"/>
                    </a:lnTo>
                    <a:lnTo>
                      <a:pt x="1082" y="68"/>
                    </a:lnTo>
                    <a:lnTo>
                      <a:pt x="1094" y="68"/>
                    </a:lnTo>
                    <a:lnTo>
                      <a:pt x="1096" y="66"/>
                    </a:lnTo>
                    <a:lnTo>
                      <a:pt x="1098" y="66"/>
                    </a:lnTo>
                    <a:lnTo>
                      <a:pt x="1102" y="66"/>
                    </a:lnTo>
                    <a:lnTo>
                      <a:pt x="1106" y="66"/>
                    </a:lnTo>
                    <a:lnTo>
                      <a:pt x="1108" y="64"/>
                    </a:lnTo>
                    <a:lnTo>
                      <a:pt x="1112" y="64"/>
                    </a:lnTo>
                    <a:lnTo>
                      <a:pt x="1114" y="64"/>
                    </a:lnTo>
                    <a:lnTo>
                      <a:pt x="1112" y="62"/>
                    </a:lnTo>
                    <a:lnTo>
                      <a:pt x="1110" y="62"/>
                    </a:lnTo>
                    <a:lnTo>
                      <a:pt x="1108" y="60"/>
                    </a:lnTo>
                    <a:lnTo>
                      <a:pt x="1112" y="60"/>
                    </a:lnTo>
                    <a:lnTo>
                      <a:pt x="1114" y="58"/>
                    </a:lnTo>
                    <a:lnTo>
                      <a:pt x="1120" y="58"/>
                    </a:lnTo>
                    <a:lnTo>
                      <a:pt x="1124" y="58"/>
                    </a:lnTo>
                    <a:lnTo>
                      <a:pt x="1126" y="56"/>
                    </a:lnTo>
                    <a:lnTo>
                      <a:pt x="1124" y="56"/>
                    </a:lnTo>
                    <a:lnTo>
                      <a:pt x="1124" y="54"/>
                    </a:lnTo>
                    <a:lnTo>
                      <a:pt x="1122" y="54"/>
                    </a:lnTo>
                    <a:lnTo>
                      <a:pt x="1118" y="54"/>
                    </a:lnTo>
                    <a:lnTo>
                      <a:pt x="1114" y="54"/>
                    </a:lnTo>
                    <a:lnTo>
                      <a:pt x="1114" y="52"/>
                    </a:lnTo>
                    <a:lnTo>
                      <a:pt x="1100" y="52"/>
                    </a:lnTo>
                    <a:lnTo>
                      <a:pt x="1098" y="52"/>
                    </a:lnTo>
                    <a:lnTo>
                      <a:pt x="1096" y="52"/>
                    </a:lnTo>
                    <a:lnTo>
                      <a:pt x="1098" y="50"/>
                    </a:lnTo>
                    <a:lnTo>
                      <a:pt x="1100" y="48"/>
                    </a:lnTo>
                    <a:lnTo>
                      <a:pt x="1104" y="48"/>
                    </a:lnTo>
                    <a:lnTo>
                      <a:pt x="1108" y="46"/>
                    </a:lnTo>
                    <a:lnTo>
                      <a:pt x="1112" y="46"/>
                    </a:lnTo>
                    <a:lnTo>
                      <a:pt x="1120" y="46"/>
                    </a:lnTo>
                    <a:lnTo>
                      <a:pt x="1124" y="46"/>
                    </a:lnTo>
                    <a:lnTo>
                      <a:pt x="1130" y="46"/>
                    </a:lnTo>
                    <a:lnTo>
                      <a:pt x="1130" y="48"/>
                    </a:lnTo>
                    <a:lnTo>
                      <a:pt x="1132" y="48"/>
                    </a:lnTo>
                    <a:lnTo>
                      <a:pt x="1132" y="46"/>
                    </a:lnTo>
                    <a:lnTo>
                      <a:pt x="1144" y="46"/>
                    </a:lnTo>
                    <a:lnTo>
                      <a:pt x="1148" y="46"/>
                    </a:lnTo>
                    <a:lnTo>
                      <a:pt x="1154" y="46"/>
                    </a:lnTo>
                    <a:lnTo>
                      <a:pt x="1154" y="44"/>
                    </a:lnTo>
                    <a:lnTo>
                      <a:pt x="1150" y="44"/>
                    </a:lnTo>
                    <a:lnTo>
                      <a:pt x="1148" y="42"/>
                    </a:lnTo>
                    <a:lnTo>
                      <a:pt x="1146" y="42"/>
                    </a:lnTo>
                    <a:lnTo>
                      <a:pt x="1146" y="40"/>
                    </a:lnTo>
                    <a:lnTo>
                      <a:pt x="1148" y="40"/>
                    </a:lnTo>
                    <a:lnTo>
                      <a:pt x="1150" y="40"/>
                    </a:lnTo>
                    <a:lnTo>
                      <a:pt x="1156" y="40"/>
                    </a:lnTo>
                    <a:lnTo>
                      <a:pt x="1160" y="40"/>
                    </a:lnTo>
                    <a:lnTo>
                      <a:pt x="1166" y="42"/>
                    </a:lnTo>
                    <a:lnTo>
                      <a:pt x="1170" y="42"/>
                    </a:lnTo>
                    <a:lnTo>
                      <a:pt x="1174" y="42"/>
                    </a:lnTo>
                    <a:lnTo>
                      <a:pt x="1176" y="42"/>
                    </a:lnTo>
                    <a:lnTo>
                      <a:pt x="1176" y="40"/>
                    </a:lnTo>
                    <a:lnTo>
                      <a:pt x="1178" y="40"/>
                    </a:lnTo>
                    <a:lnTo>
                      <a:pt x="1178" y="38"/>
                    </a:lnTo>
                    <a:lnTo>
                      <a:pt x="1176" y="36"/>
                    </a:lnTo>
                    <a:lnTo>
                      <a:pt x="1188" y="36"/>
                    </a:lnTo>
                    <a:lnTo>
                      <a:pt x="1188" y="38"/>
                    </a:lnTo>
                    <a:lnTo>
                      <a:pt x="1194" y="38"/>
                    </a:lnTo>
                    <a:lnTo>
                      <a:pt x="1194" y="36"/>
                    </a:lnTo>
                    <a:lnTo>
                      <a:pt x="1194" y="34"/>
                    </a:lnTo>
                    <a:lnTo>
                      <a:pt x="1194" y="32"/>
                    </a:lnTo>
                    <a:lnTo>
                      <a:pt x="1198" y="32"/>
                    </a:lnTo>
                    <a:lnTo>
                      <a:pt x="1200" y="34"/>
                    </a:lnTo>
                    <a:lnTo>
                      <a:pt x="1204" y="34"/>
                    </a:lnTo>
                    <a:lnTo>
                      <a:pt x="1206" y="32"/>
                    </a:lnTo>
                    <a:lnTo>
                      <a:pt x="1208" y="32"/>
                    </a:lnTo>
                    <a:lnTo>
                      <a:pt x="1212" y="32"/>
                    </a:lnTo>
                    <a:lnTo>
                      <a:pt x="1212" y="30"/>
                    </a:lnTo>
                    <a:lnTo>
                      <a:pt x="1214" y="30"/>
                    </a:lnTo>
                    <a:lnTo>
                      <a:pt x="1216" y="30"/>
                    </a:lnTo>
                    <a:lnTo>
                      <a:pt x="1218" y="30"/>
                    </a:lnTo>
                    <a:lnTo>
                      <a:pt x="1222" y="30"/>
                    </a:lnTo>
                    <a:lnTo>
                      <a:pt x="1224" y="28"/>
                    </a:lnTo>
                    <a:lnTo>
                      <a:pt x="1228" y="28"/>
                    </a:lnTo>
                    <a:lnTo>
                      <a:pt x="1234" y="28"/>
                    </a:lnTo>
                    <a:lnTo>
                      <a:pt x="1238" y="26"/>
                    </a:lnTo>
                    <a:lnTo>
                      <a:pt x="1244" y="26"/>
                    </a:lnTo>
                    <a:lnTo>
                      <a:pt x="1250" y="24"/>
                    </a:lnTo>
                    <a:lnTo>
                      <a:pt x="1252" y="24"/>
                    </a:lnTo>
                    <a:lnTo>
                      <a:pt x="1254" y="24"/>
                    </a:lnTo>
                    <a:lnTo>
                      <a:pt x="1256" y="22"/>
                    </a:lnTo>
                    <a:lnTo>
                      <a:pt x="1258" y="22"/>
                    </a:lnTo>
                    <a:lnTo>
                      <a:pt x="1260" y="22"/>
                    </a:lnTo>
                    <a:lnTo>
                      <a:pt x="1260" y="20"/>
                    </a:lnTo>
                    <a:lnTo>
                      <a:pt x="1246" y="20"/>
                    </a:lnTo>
                    <a:lnTo>
                      <a:pt x="1242" y="22"/>
                    </a:lnTo>
                    <a:lnTo>
                      <a:pt x="1236" y="22"/>
                    </a:lnTo>
                    <a:lnTo>
                      <a:pt x="1234" y="22"/>
                    </a:lnTo>
                    <a:lnTo>
                      <a:pt x="1232" y="24"/>
                    </a:lnTo>
                    <a:lnTo>
                      <a:pt x="1230" y="24"/>
                    </a:lnTo>
                    <a:lnTo>
                      <a:pt x="1226" y="24"/>
                    </a:lnTo>
                    <a:lnTo>
                      <a:pt x="1212" y="24"/>
                    </a:lnTo>
                    <a:lnTo>
                      <a:pt x="1216" y="22"/>
                    </a:lnTo>
                    <a:lnTo>
                      <a:pt x="1230" y="22"/>
                    </a:lnTo>
                    <a:lnTo>
                      <a:pt x="1232" y="22"/>
                    </a:lnTo>
                    <a:lnTo>
                      <a:pt x="1232" y="20"/>
                    </a:lnTo>
                    <a:lnTo>
                      <a:pt x="1230" y="18"/>
                    </a:lnTo>
                    <a:lnTo>
                      <a:pt x="1234" y="18"/>
                    </a:lnTo>
                    <a:lnTo>
                      <a:pt x="1234" y="20"/>
                    </a:lnTo>
                    <a:lnTo>
                      <a:pt x="1240" y="20"/>
                    </a:lnTo>
                    <a:lnTo>
                      <a:pt x="1242" y="20"/>
                    </a:lnTo>
                    <a:lnTo>
                      <a:pt x="1244" y="18"/>
                    </a:lnTo>
                    <a:lnTo>
                      <a:pt x="1246" y="18"/>
                    </a:lnTo>
                    <a:lnTo>
                      <a:pt x="1258" y="18"/>
                    </a:lnTo>
                    <a:lnTo>
                      <a:pt x="1260" y="16"/>
                    </a:lnTo>
                    <a:lnTo>
                      <a:pt x="1284" y="16"/>
                    </a:lnTo>
                    <a:lnTo>
                      <a:pt x="1286" y="16"/>
                    </a:lnTo>
                    <a:lnTo>
                      <a:pt x="1296" y="16"/>
                    </a:lnTo>
                    <a:lnTo>
                      <a:pt x="1300" y="14"/>
                    </a:lnTo>
                    <a:lnTo>
                      <a:pt x="1304" y="14"/>
                    </a:lnTo>
                    <a:lnTo>
                      <a:pt x="1306" y="12"/>
                    </a:lnTo>
                    <a:lnTo>
                      <a:pt x="1310" y="12"/>
                    </a:lnTo>
                    <a:lnTo>
                      <a:pt x="1312" y="12"/>
                    </a:lnTo>
                    <a:lnTo>
                      <a:pt x="1312" y="10"/>
                    </a:lnTo>
                    <a:lnTo>
                      <a:pt x="1314" y="10"/>
                    </a:lnTo>
                    <a:lnTo>
                      <a:pt x="1314" y="8"/>
                    </a:lnTo>
                    <a:lnTo>
                      <a:pt x="1304" y="8"/>
                    </a:lnTo>
                    <a:close/>
                    <a:moveTo>
                      <a:pt x="1128" y="240"/>
                    </a:moveTo>
                    <a:lnTo>
                      <a:pt x="1126" y="238"/>
                    </a:lnTo>
                    <a:lnTo>
                      <a:pt x="1118" y="238"/>
                    </a:lnTo>
                    <a:lnTo>
                      <a:pt x="1116" y="238"/>
                    </a:lnTo>
                    <a:lnTo>
                      <a:pt x="1116" y="236"/>
                    </a:lnTo>
                    <a:lnTo>
                      <a:pt x="1112" y="238"/>
                    </a:lnTo>
                    <a:lnTo>
                      <a:pt x="1110" y="240"/>
                    </a:lnTo>
                    <a:lnTo>
                      <a:pt x="1108" y="240"/>
                    </a:lnTo>
                    <a:lnTo>
                      <a:pt x="1108" y="242"/>
                    </a:lnTo>
                    <a:lnTo>
                      <a:pt x="1108" y="236"/>
                    </a:lnTo>
                    <a:lnTo>
                      <a:pt x="1098" y="236"/>
                    </a:lnTo>
                    <a:lnTo>
                      <a:pt x="1098" y="234"/>
                    </a:lnTo>
                    <a:lnTo>
                      <a:pt x="1100" y="234"/>
                    </a:lnTo>
                    <a:lnTo>
                      <a:pt x="1102" y="234"/>
                    </a:lnTo>
                    <a:lnTo>
                      <a:pt x="1104" y="232"/>
                    </a:lnTo>
                    <a:lnTo>
                      <a:pt x="1106" y="232"/>
                    </a:lnTo>
                    <a:lnTo>
                      <a:pt x="1108" y="230"/>
                    </a:lnTo>
                    <a:lnTo>
                      <a:pt x="1108" y="228"/>
                    </a:lnTo>
                    <a:lnTo>
                      <a:pt x="1106" y="226"/>
                    </a:lnTo>
                    <a:lnTo>
                      <a:pt x="1104" y="226"/>
                    </a:lnTo>
                    <a:lnTo>
                      <a:pt x="1100" y="224"/>
                    </a:lnTo>
                    <a:lnTo>
                      <a:pt x="1096" y="224"/>
                    </a:lnTo>
                    <a:lnTo>
                      <a:pt x="1088" y="224"/>
                    </a:lnTo>
                    <a:lnTo>
                      <a:pt x="1088" y="222"/>
                    </a:lnTo>
                    <a:lnTo>
                      <a:pt x="1086" y="220"/>
                    </a:lnTo>
                    <a:lnTo>
                      <a:pt x="1084" y="220"/>
                    </a:lnTo>
                    <a:lnTo>
                      <a:pt x="1074" y="220"/>
                    </a:lnTo>
                    <a:lnTo>
                      <a:pt x="1072" y="218"/>
                    </a:lnTo>
                    <a:lnTo>
                      <a:pt x="1070" y="216"/>
                    </a:lnTo>
                    <a:lnTo>
                      <a:pt x="1068" y="214"/>
                    </a:lnTo>
                    <a:lnTo>
                      <a:pt x="1066" y="212"/>
                    </a:lnTo>
                    <a:lnTo>
                      <a:pt x="1064" y="212"/>
                    </a:lnTo>
                    <a:lnTo>
                      <a:pt x="1062" y="210"/>
                    </a:lnTo>
                    <a:lnTo>
                      <a:pt x="1060" y="210"/>
                    </a:lnTo>
                    <a:lnTo>
                      <a:pt x="1060" y="208"/>
                    </a:lnTo>
                    <a:lnTo>
                      <a:pt x="1058" y="208"/>
                    </a:lnTo>
                    <a:lnTo>
                      <a:pt x="1062" y="208"/>
                    </a:lnTo>
                    <a:lnTo>
                      <a:pt x="1072" y="208"/>
                    </a:lnTo>
                    <a:lnTo>
                      <a:pt x="1074" y="206"/>
                    </a:lnTo>
                    <a:lnTo>
                      <a:pt x="1076" y="206"/>
                    </a:lnTo>
                    <a:lnTo>
                      <a:pt x="1072" y="206"/>
                    </a:lnTo>
                    <a:lnTo>
                      <a:pt x="1070" y="204"/>
                    </a:lnTo>
                    <a:lnTo>
                      <a:pt x="1068" y="202"/>
                    </a:lnTo>
                    <a:lnTo>
                      <a:pt x="1070" y="202"/>
                    </a:lnTo>
                    <a:lnTo>
                      <a:pt x="1072" y="200"/>
                    </a:lnTo>
                    <a:lnTo>
                      <a:pt x="1078" y="200"/>
                    </a:lnTo>
                    <a:lnTo>
                      <a:pt x="1082" y="202"/>
                    </a:lnTo>
                    <a:lnTo>
                      <a:pt x="1084" y="202"/>
                    </a:lnTo>
                    <a:lnTo>
                      <a:pt x="1088" y="202"/>
                    </a:lnTo>
                    <a:lnTo>
                      <a:pt x="1090" y="202"/>
                    </a:lnTo>
                    <a:lnTo>
                      <a:pt x="1092" y="202"/>
                    </a:lnTo>
                    <a:lnTo>
                      <a:pt x="1092" y="200"/>
                    </a:lnTo>
                    <a:lnTo>
                      <a:pt x="1092" y="198"/>
                    </a:lnTo>
                    <a:lnTo>
                      <a:pt x="1090" y="198"/>
                    </a:lnTo>
                    <a:lnTo>
                      <a:pt x="1088" y="198"/>
                    </a:lnTo>
                    <a:lnTo>
                      <a:pt x="1084" y="198"/>
                    </a:lnTo>
                    <a:lnTo>
                      <a:pt x="1080" y="196"/>
                    </a:lnTo>
                    <a:lnTo>
                      <a:pt x="1064" y="196"/>
                    </a:lnTo>
                    <a:lnTo>
                      <a:pt x="1066" y="196"/>
                    </a:lnTo>
                    <a:lnTo>
                      <a:pt x="1078" y="196"/>
                    </a:lnTo>
                    <a:lnTo>
                      <a:pt x="1082" y="194"/>
                    </a:lnTo>
                    <a:lnTo>
                      <a:pt x="1086" y="194"/>
                    </a:lnTo>
                    <a:lnTo>
                      <a:pt x="1088" y="194"/>
                    </a:lnTo>
                    <a:lnTo>
                      <a:pt x="1090" y="194"/>
                    </a:lnTo>
                    <a:lnTo>
                      <a:pt x="1092" y="192"/>
                    </a:lnTo>
                    <a:lnTo>
                      <a:pt x="1092" y="190"/>
                    </a:lnTo>
                    <a:lnTo>
                      <a:pt x="1090" y="188"/>
                    </a:lnTo>
                    <a:lnTo>
                      <a:pt x="1080" y="188"/>
                    </a:lnTo>
                    <a:lnTo>
                      <a:pt x="1076" y="190"/>
                    </a:lnTo>
                    <a:lnTo>
                      <a:pt x="1072" y="190"/>
                    </a:lnTo>
                    <a:lnTo>
                      <a:pt x="1068" y="190"/>
                    </a:lnTo>
                    <a:lnTo>
                      <a:pt x="1066" y="192"/>
                    </a:lnTo>
                    <a:lnTo>
                      <a:pt x="1062" y="192"/>
                    </a:lnTo>
                    <a:lnTo>
                      <a:pt x="1060" y="192"/>
                    </a:lnTo>
                    <a:lnTo>
                      <a:pt x="1062" y="190"/>
                    </a:lnTo>
                    <a:lnTo>
                      <a:pt x="1064" y="190"/>
                    </a:lnTo>
                    <a:lnTo>
                      <a:pt x="1066" y="188"/>
                    </a:lnTo>
                    <a:lnTo>
                      <a:pt x="1068" y="188"/>
                    </a:lnTo>
                    <a:lnTo>
                      <a:pt x="1070" y="186"/>
                    </a:lnTo>
                    <a:lnTo>
                      <a:pt x="1072" y="184"/>
                    </a:lnTo>
                    <a:lnTo>
                      <a:pt x="1086" y="184"/>
                    </a:lnTo>
                    <a:lnTo>
                      <a:pt x="1088" y="182"/>
                    </a:lnTo>
                    <a:lnTo>
                      <a:pt x="1088" y="180"/>
                    </a:lnTo>
                    <a:lnTo>
                      <a:pt x="1086" y="178"/>
                    </a:lnTo>
                    <a:lnTo>
                      <a:pt x="1080" y="176"/>
                    </a:lnTo>
                    <a:lnTo>
                      <a:pt x="1078" y="176"/>
                    </a:lnTo>
                    <a:lnTo>
                      <a:pt x="1076" y="176"/>
                    </a:lnTo>
                    <a:lnTo>
                      <a:pt x="1074" y="174"/>
                    </a:lnTo>
                    <a:lnTo>
                      <a:pt x="1072" y="174"/>
                    </a:lnTo>
                    <a:lnTo>
                      <a:pt x="1070" y="176"/>
                    </a:lnTo>
                    <a:lnTo>
                      <a:pt x="1068" y="178"/>
                    </a:lnTo>
                    <a:lnTo>
                      <a:pt x="1066" y="178"/>
                    </a:lnTo>
                    <a:lnTo>
                      <a:pt x="1064" y="180"/>
                    </a:lnTo>
                    <a:lnTo>
                      <a:pt x="1062" y="180"/>
                    </a:lnTo>
                    <a:lnTo>
                      <a:pt x="1060" y="180"/>
                    </a:lnTo>
                    <a:lnTo>
                      <a:pt x="1060" y="178"/>
                    </a:lnTo>
                    <a:lnTo>
                      <a:pt x="1056" y="182"/>
                    </a:lnTo>
                    <a:lnTo>
                      <a:pt x="1054" y="184"/>
                    </a:lnTo>
                    <a:lnTo>
                      <a:pt x="1052" y="184"/>
                    </a:lnTo>
                    <a:lnTo>
                      <a:pt x="1050" y="186"/>
                    </a:lnTo>
                    <a:lnTo>
                      <a:pt x="1050" y="180"/>
                    </a:lnTo>
                    <a:lnTo>
                      <a:pt x="1048" y="182"/>
                    </a:lnTo>
                    <a:lnTo>
                      <a:pt x="1046" y="184"/>
                    </a:lnTo>
                    <a:lnTo>
                      <a:pt x="1046" y="186"/>
                    </a:lnTo>
                    <a:lnTo>
                      <a:pt x="1046" y="182"/>
                    </a:lnTo>
                    <a:lnTo>
                      <a:pt x="1048" y="180"/>
                    </a:lnTo>
                    <a:lnTo>
                      <a:pt x="1050" y="178"/>
                    </a:lnTo>
                    <a:lnTo>
                      <a:pt x="1052" y="178"/>
                    </a:lnTo>
                    <a:lnTo>
                      <a:pt x="1056" y="178"/>
                    </a:lnTo>
                    <a:lnTo>
                      <a:pt x="1058" y="178"/>
                    </a:lnTo>
                    <a:lnTo>
                      <a:pt x="1060" y="178"/>
                    </a:lnTo>
                    <a:lnTo>
                      <a:pt x="1060" y="176"/>
                    </a:lnTo>
                    <a:lnTo>
                      <a:pt x="1062" y="174"/>
                    </a:lnTo>
                    <a:lnTo>
                      <a:pt x="1064" y="174"/>
                    </a:lnTo>
                    <a:lnTo>
                      <a:pt x="1064" y="170"/>
                    </a:lnTo>
                    <a:lnTo>
                      <a:pt x="1060" y="170"/>
                    </a:lnTo>
                    <a:lnTo>
                      <a:pt x="1058" y="172"/>
                    </a:lnTo>
                    <a:lnTo>
                      <a:pt x="1056" y="174"/>
                    </a:lnTo>
                    <a:lnTo>
                      <a:pt x="1048" y="174"/>
                    </a:lnTo>
                    <a:lnTo>
                      <a:pt x="1046" y="174"/>
                    </a:lnTo>
                    <a:lnTo>
                      <a:pt x="1046" y="176"/>
                    </a:lnTo>
                    <a:lnTo>
                      <a:pt x="1044" y="176"/>
                    </a:lnTo>
                    <a:lnTo>
                      <a:pt x="1042" y="176"/>
                    </a:lnTo>
                    <a:lnTo>
                      <a:pt x="1044" y="174"/>
                    </a:lnTo>
                    <a:lnTo>
                      <a:pt x="1046" y="174"/>
                    </a:lnTo>
                    <a:lnTo>
                      <a:pt x="1046" y="172"/>
                    </a:lnTo>
                    <a:lnTo>
                      <a:pt x="1048" y="172"/>
                    </a:lnTo>
                    <a:lnTo>
                      <a:pt x="1048" y="170"/>
                    </a:lnTo>
                    <a:lnTo>
                      <a:pt x="1056" y="170"/>
                    </a:lnTo>
                    <a:lnTo>
                      <a:pt x="1058" y="168"/>
                    </a:lnTo>
                    <a:lnTo>
                      <a:pt x="1060" y="168"/>
                    </a:lnTo>
                    <a:lnTo>
                      <a:pt x="1060" y="164"/>
                    </a:lnTo>
                    <a:lnTo>
                      <a:pt x="1050" y="164"/>
                    </a:lnTo>
                    <a:lnTo>
                      <a:pt x="1046" y="164"/>
                    </a:lnTo>
                    <a:lnTo>
                      <a:pt x="1044" y="166"/>
                    </a:lnTo>
                    <a:lnTo>
                      <a:pt x="1042" y="168"/>
                    </a:lnTo>
                    <a:lnTo>
                      <a:pt x="1040" y="168"/>
                    </a:lnTo>
                    <a:lnTo>
                      <a:pt x="1038" y="168"/>
                    </a:lnTo>
                    <a:lnTo>
                      <a:pt x="1038" y="166"/>
                    </a:lnTo>
                    <a:lnTo>
                      <a:pt x="1036" y="166"/>
                    </a:lnTo>
                    <a:lnTo>
                      <a:pt x="1036" y="164"/>
                    </a:lnTo>
                    <a:lnTo>
                      <a:pt x="1032" y="168"/>
                    </a:lnTo>
                    <a:lnTo>
                      <a:pt x="1030" y="168"/>
                    </a:lnTo>
                    <a:lnTo>
                      <a:pt x="1030" y="170"/>
                    </a:lnTo>
                    <a:lnTo>
                      <a:pt x="1032" y="166"/>
                    </a:lnTo>
                    <a:lnTo>
                      <a:pt x="1034" y="166"/>
                    </a:lnTo>
                    <a:lnTo>
                      <a:pt x="1034" y="164"/>
                    </a:lnTo>
                    <a:lnTo>
                      <a:pt x="1034" y="162"/>
                    </a:lnTo>
                    <a:lnTo>
                      <a:pt x="1036" y="162"/>
                    </a:lnTo>
                    <a:lnTo>
                      <a:pt x="1034" y="162"/>
                    </a:lnTo>
                    <a:lnTo>
                      <a:pt x="1030" y="164"/>
                    </a:lnTo>
                    <a:lnTo>
                      <a:pt x="1028" y="164"/>
                    </a:lnTo>
                    <a:lnTo>
                      <a:pt x="1026" y="166"/>
                    </a:lnTo>
                    <a:lnTo>
                      <a:pt x="1024" y="166"/>
                    </a:lnTo>
                    <a:lnTo>
                      <a:pt x="1022" y="166"/>
                    </a:lnTo>
                    <a:lnTo>
                      <a:pt x="1022" y="162"/>
                    </a:lnTo>
                    <a:lnTo>
                      <a:pt x="1022" y="160"/>
                    </a:lnTo>
                    <a:lnTo>
                      <a:pt x="1024" y="160"/>
                    </a:lnTo>
                    <a:lnTo>
                      <a:pt x="1026" y="160"/>
                    </a:lnTo>
                    <a:lnTo>
                      <a:pt x="1028" y="160"/>
                    </a:lnTo>
                    <a:lnTo>
                      <a:pt x="1030" y="158"/>
                    </a:lnTo>
                    <a:lnTo>
                      <a:pt x="1034" y="158"/>
                    </a:lnTo>
                    <a:lnTo>
                      <a:pt x="1034" y="156"/>
                    </a:lnTo>
                    <a:lnTo>
                      <a:pt x="1032" y="156"/>
                    </a:lnTo>
                    <a:lnTo>
                      <a:pt x="1030" y="156"/>
                    </a:lnTo>
                    <a:lnTo>
                      <a:pt x="1026" y="156"/>
                    </a:lnTo>
                    <a:lnTo>
                      <a:pt x="1022" y="158"/>
                    </a:lnTo>
                    <a:lnTo>
                      <a:pt x="1020" y="158"/>
                    </a:lnTo>
                    <a:lnTo>
                      <a:pt x="1018" y="158"/>
                    </a:lnTo>
                    <a:lnTo>
                      <a:pt x="1018" y="154"/>
                    </a:lnTo>
                    <a:lnTo>
                      <a:pt x="1020" y="154"/>
                    </a:lnTo>
                    <a:lnTo>
                      <a:pt x="1022" y="154"/>
                    </a:lnTo>
                    <a:lnTo>
                      <a:pt x="1024" y="152"/>
                    </a:lnTo>
                    <a:lnTo>
                      <a:pt x="1028" y="152"/>
                    </a:lnTo>
                    <a:lnTo>
                      <a:pt x="1030" y="150"/>
                    </a:lnTo>
                    <a:lnTo>
                      <a:pt x="1032" y="150"/>
                    </a:lnTo>
                    <a:lnTo>
                      <a:pt x="1030" y="150"/>
                    </a:lnTo>
                    <a:lnTo>
                      <a:pt x="1028" y="148"/>
                    </a:lnTo>
                    <a:lnTo>
                      <a:pt x="1024" y="148"/>
                    </a:lnTo>
                    <a:lnTo>
                      <a:pt x="1022" y="148"/>
                    </a:lnTo>
                    <a:lnTo>
                      <a:pt x="1018" y="148"/>
                    </a:lnTo>
                    <a:lnTo>
                      <a:pt x="1014" y="146"/>
                    </a:lnTo>
                    <a:lnTo>
                      <a:pt x="1006" y="146"/>
                    </a:lnTo>
                    <a:lnTo>
                      <a:pt x="1004" y="146"/>
                    </a:lnTo>
                    <a:lnTo>
                      <a:pt x="998" y="146"/>
                    </a:lnTo>
                    <a:lnTo>
                      <a:pt x="996" y="146"/>
                    </a:lnTo>
                    <a:lnTo>
                      <a:pt x="996" y="148"/>
                    </a:lnTo>
                    <a:lnTo>
                      <a:pt x="996" y="150"/>
                    </a:lnTo>
                    <a:lnTo>
                      <a:pt x="998" y="152"/>
                    </a:lnTo>
                    <a:lnTo>
                      <a:pt x="994" y="152"/>
                    </a:lnTo>
                    <a:lnTo>
                      <a:pt x="992" y="152"/>
                    </a:lnTo>
                    <a:lnTo>
                      <a:pt x="990" y="152"/>
                    </a:lnTo>
                    <a:lnTo>
                      <a:pt x="990" y="154"/>
                    </a:lnTo>
                    <a:lnTo>
                      <a:pt x="990" y="158"/>
                    </a:lnTo>
                    <a:lnTo>
                      <a:pt x="988" y="154"/>
                    </a:lnTo>
                    <a:lnTo>
                      <a:pt x="986" y="152"/>
                    </a:lnTo>
                    <a:lnTo>
                      <a:pt x="982" y="154"/>
                    </a:lnTo>
                    <a:lnTo>
                      <a:pt x="980" y="156"/>
                    </a:lnTo>
                    <a:lnTo>
                      <a:pt x="978" y="156"/>
                    </a:lnTo>
                    <a:lnTo>
                      <a:pt x="978" y="158"/>
                    </a:lnTo>
                    <a:lnTo>
                      <a:pt x="976" y="158"/>
                    </a:lnTo>
                    <a:lnTo>
                      <a:pt x="976" y="156"/>
                    </a:lnTo>
                    <a:lnTo>
                      <a:pt x="978" y="156"/>
                    </a:lnTo>
                    <a:lnTo>
                      <a:pt x="978" y="152"/>
                    </a:lnTo>
                    <a:lnTo>
                      <a:pt x="976" y="150"/>
                    </a:lnTo>
                    <a:lnTo>
                      <a:pt x="974" y="150"/>
                    </a:lnTo>
                    <a:lnTo>
                      <a:pt x="974" y="152"/>
                    </a:lnTo>
                    <a:lnTo>
                      <a:pt x="970" y="152"/>
                    </a:lnTo>
                    <a:lnTo>
                      <a:pt x="966" y="154"/>
                    </a:lnTo>
                    <a:lnTo>
                      <a:pt x="960" y="156"/>
                    </a:lnTo>
                    <a:lnTo>
                      <a:pt x="958" y="156"/>
                    </a:lnTo>
                    <a:lnTo>
                      <a:pt x="960" y="154"/>
                    </a:lnTo>
                    <a:lnTo>
                      <a:pt x="962" y="150"/>
                    </a:lnTo>
                    <a:lnTo>
                      <a:pt x="962" y="148"/>
                    </a:lnTo>
                    <a:lnTo>
                      <a:pt x="966" y="148"/>
                    </a:lnTo>
                    <a:lnTo>
                      <a:pt x="970" y="148"/>
                    </a:lnTo>
                    <a:lnTo>
                      <a:pt x="972" y="148"/>
                    </a:lnTo>
                    <a:lnTo>
                      <a:pt x="974" y="146"/>
                    </a:lnTo>
                    <a:lnTo>
                      <a:pt x="976" y="146"/>
                    </a:lnTo>
                    <a:lnTo>
                      <a:pt x="976" y="144"/>
                    </a:lnTo>
                    <a:lnTo>
                      <a:pt x="976" y="142"/>
                    </a:lnTo>
                    <a:lnTo>
                      <a:pt x="974" y="140"/>
                    </a:lnTo>
                    <a:lnTo>
                      <a:pt x="974" y="138"/>
                    </a:lnTo>
                    <a:lnTo>
                      <a:pt x="972" y="138"/>
                    </a:lnTo>
                    <a:lnTo>
                      <a:pt x="972" y="136"/>
                    </a:lnTo>
                    <a:lnTo>
                      <a:pt x="974" y="134"/>
                    </a:lnTo>
                    <a:lnTo>
                      <a:pt x="976" y="132"/>
                    </a:lnTo>
                    <a:lnTo>
                      <a:pt x="976" y="130"/>
                    </a:lnTo>
                    <a:lnTo>
                      <a:pt x="974" y="130"/>
                    </a:lnTo>
                    <a:lnTo>
                      <a:pt x="974" y="128"/>
                    </a:lnTo>
                    <a:lnTo>
                      <a:pt x="958" y="128"/>
                    </a:lnTo>
                    <a:lnTo>
                      <a:pt x="954" y="130"/>
                    </a:lnTo>
                    <a:lnTo>
                      <a:pt x="952" y="130"/>
                    </a:lnTo>
                    <a:lnTo>
                      <a:pt x="950" y="130"/>
                    </a:lnTo>
                    <a:lnTo>
                      <a:pt x="950" y="132"/>
                    </a:lnTo>
                    <a:lnTo>
                      <a:pt x="948" y="132"/>
                    </a:lnTo>
                    <a:lnTo>
                      <a:pt x="948" y="134"/>
                    </a:lnTo>
                    <a:lnTo>
                      <a:pt x="926" y="134"/>
                    </a:lnTo>
                    <a:lnTo>
                      <a:pt x="926" y="136"/>
                    </a:lnTo>
                    <a:lnTo>
                      <a:pt x="928" y="136"/>
                    </a:lnTo>
                    <a:lnTo>
                      <a:pt x="928" y="138"/>
                    </a:lnTo>
                    <a:lnTo>
                      <a:pt x="930" y="138"/>
                    </a:lnTo>
                    <a:lnTo>
                      <a:pt x="932" y="140"/>
                    </a:lnTo>
                    <a:lnTo>
                      <a:pt x="934" y="140"/>
                    </a:lnTo>
                    <a:lnTo>
                      <a:pt x="932" y="140"/>
                    </a:lnTo>
                    <a:lnTo>
                      <a:pt x="930" y="140"/>
                    </a:lnTo>
                    <a:lnTo>
                      <a:pt x="928" y="138"/>
                    </a:lnTo>
                    <a:lnTo>
                      <a:pt x="926" y="138"/>
                    </a:lnTo>
                    <a:lnTo>
                      <a:pt x="926" y="140"/>
                    </a:lnTo>
                    <a:lnTo>
                      <a:pt x="926" y="142"/>
                    </a:lnTo>
                    <a:lnTo>
                      <a:pt x="926" y="144"/>
                    </a:lnTo>
                    <a:lnTo>
                      <a:pt x="924" y="142"/>
                    </a:lnTo>
                    <a:lnTo>
                      <a:pt x="922" y="142"/>
                    </a:lnTo>
                    <a:lnTo>
                      <a:pt x="918" y="142"/>
                    </a:lnTo>
                    <a:lnTo>
                      <a:pt x="916" y="142"/>
                    </a:lnTo>
                    <a:lnTo>
                      <a:pt x="914" y="142"/>
                    </a:lnTo>
                    <a:lnTo>
                      <a:pt x="912" y="144"/>
                    </a:lnTo>
                    <a:lnTo>
                      <a:pt x="912" y="146"/>
                    </a:lnTo>
                    <a:lnTo>
                      <a:pt x="912" y="148"/>
                    </a:lnTo>
                    <a:lnTo>
                      <a:pt x="912" y="150"/>
                    </a:lnTo>
                    <a:lnTo>
                      <a:pt x="916" y="152"/>
                    </a:lnTo>
                    <a:lnTo>
                      <a:pt x="916" y="154"/>
                    </a:lnTo>
                    <a:lnTo>
                      <a:pt x="916" y="156"/>
                    </a:lnTo>
                    <a:lnTo>
                      <a:pt x="916" y="158"/>
                    </a:lnTo>
                    <a:lnTo>
                      <a:pt x="914" y="156"/>
                    </a:lnTo>
                    <a:lnTo>
                      <a:pt x="912" y="156"/>
                    </a:lnTo>
                    <a:lnTo>
                      <a:pt x="910" y="154"/>
                    </a:lnTo>
                    <a:lnTo>
                      <a:pt x="904" y="154"/>
                    </a:lnTo>
                    <a:lnTo>
                      <a:pt x="902" y="156"/>
                    </a:lnTo>
                    <a:lnTo>
                      <a:pt x="902" y="158"/>
                    </a:lnTo>
                    <a:lnTo>
                      <a:pt x="900" y="158"/>
                    </a:lnTo>
                    <a:lnTo>
                      <a:pt x="900" y="160"/>
                    </a:lnTo>
                    <a:lnTo>
                      <a:pt x="900" y="162"/>
                    </a:lnTo>
                    <a:lnTo>
                      <a:pt x="902" y="162"/>
                    </a:lnTo>
                    <a:lnTo>
                      <a:pt x="904" y="164"/>
                    </a:lnTo>
                    <a:lnTo>
                      <a:pt x="906" y="166"/>
                    </a:lnTo>
                    <a:lnTo>
                      <a:pt x="902" y="168"/>
                    </a:lnTo>
                    <a:lnTo>
                      <a:pt x="900" y="168"/>
                    </a:lnTo>
                    <a:lnTo>
                      <a:pt x="898" y="170"/>
                    </a:lnTo>
                    <a:lnTo>
                      <a:pt x="896" y="170"/>
                    </a:lnTo>
                    <a:lnTo>
                      <a:pt x="896" y="172"/>
                    </a:lnTo>
                    <a:lnTo>
                      <a:pt x="888" y="172"/>
                    </a:lnTo>
                    <a:lnTo>
                      <a:pt x="884" y="172"/>
                    </a:lnTo>
                    <a:lnTo>
                      <a:pt x="886" y="172"/>
                    </a:lnTo>
                    <a:lnTo>
                      <a:pt x="888" y="170"/>
                    </a:lnTo>
                    <a:lnTo>
                      <a:pt x="890" y="170"/>
                    </a:lnTo>
                    <a:lnTo>
                      <a:pt x="894" y="168"/>
                    </a:lnTo>
                    <a:lnTo>
                      <a:pt x="896" y="168"/>
                    </a:lnTo>
                    <a:lnTo>
                      <a:pt x="896" y="166"/>
                    </a:lnTo>
                    <a:lnTo>
                      <a:pt x="894" y="164"/>
                    </a:lnTo>
                    <a:lnTo>
                      <a:pt x="892" y="164"/>
                    </a:lnTo>
                    <a:lnTo>
                      <a:pt x="892" y="162"/>
                    </a:lnTo>
                    <a:lnTo>
                      <a:pt x="890" y="160"/>
                    </a:lnTo>
                    <a:lnTo>
                      <a:pt x="890" y="158"/>
                    </a:lnTo>
                    <a:lnTo>
                      <a:pt x="892" y="156"/>
                    </a:lnTo>
                    <a:lnTo>
                      <a:pt x="894" y="154"/>
                    </a:lnTo>
                    <a:lnTo>
                      <a:pt x="896" y="152"/>
                    </a:lnTo>
                    <a:lnTo>
                      <a:pt x="898" y="152"/>
                    </a:lnTo>
                    <a:lnTo>
                      <a:pt x="900" y="152"/>
                    </a:lnTo>
                    <a:lnTo>
                      <a:pt x="900" y="146"/>
                    </a:lnTo>
                    <a:lnTo>
                      <a:pt x="902" y="144"/>
                    </a:lnTo>
                    <a:lnTo>
                      <a:pt x="906" y="142"/>
                    </a:lnTo>
                    <a:lnTo>
                      <a:pt x="908" y="140"/>
                    </a:lnTo>
                    <a:lnTo>
                      <a:pt x="910" y="138"/>
                    </a:lnTo>
                    <a:lnTo>
                      <a:pt x="914" y="136"/>
                    </a:lnTo>
                    <a:lnTo>
                      <a:pt x="916" y="136"/>
                    </a:lnTo>
                    <a:lnTo>
                      <a:pt x="916" y="134"/>
                    </a:lnTo>
                    <a:lnTo>
                      <a:pt x="918" y="134"/>
                    </a:lnTo>
                    <a:lnTo>
                      <a:pt x="920" y="134"/>
                    </a:lnTo>
                    <a:lnTo>
                      <a:pt x="924" y="132"/>
                    </a:lnTo>
                    <a:lnTo>
                      <a:pt x="926" y="132"/>
                    </a:lnTo>
                    <a:lnTo>
                      <a:pt x="930" y="132"/>
                    </a:lnTo>
                    <a:lnTo>
                      <a:pt x="930" y="130"/>
                    </a:lnTo>
                    <a:lnTo>
                      <a:pt x="932" y="130"/>
                    </a:lnTo>
                    <a:lnTo>
                      <a:pt x="934" y="130"/>
                    </a:lnTo>
                    <a:lnTo>
                      <a:pt x="932" y="130"/>
                    </a:lnTo>
                    <a:lnTo>
                      <a:pt x="932" y="128"/>
                    </a:lnTo>
                    <a:lnTo>
                      <a:pt x="926" y="128"/>
                    </a:lnTo>
                    <a:lnTo>
                      <a:pt x="922" y="128"/>
                    </a:lnTo>
                    <a:lnTo>
                      <a:pt x="904" y="128"/>
                    </a:lnTo>
                    <a:lnTo>
                      <a:pt x="902" y="128"/>
                    </a:lnTo>
                    <a:lnTo>
                      <a:pt x="900" y="128"/>
                    </a:lnTo>
                    <a:lnTo>
                      <a:pt x="898" y="130"/>
                    </a:lnTo>
                    <a:lnTo>
                      <a:pt x="896" y="130"/>
                    </a:lnTo>
                    <a:lnTo>
                      <a:pt x="890" y="134"/>
                    </a:lnTo>
                    <a:lnTo>
                      <a:pt x="884" y="136"/>
                    </a:lnTo>
                    <a:lnTo>
                      <a:pt x="878" y="138"/>
                    </a:lnTo>
                    <a:lnTo>
                      <a:pt x="878" y="140"/>
                    </a:lnTo>
                    <a:lnTo>
                      <a:pt x="876" y="142"/>
                    </a:lnTo>
                    <a:lnTo>
                      <a:pt x="874" y="142"/>
                    </a:lnTo>
                    <a:lnTo>
                      <a:pt x="872" y="144"/>
                    </a:lnTo>
                    <a:lnTo>
                      <a:pt x="870" y="144"/>
                    </a:lnTo>
                    <a:lnTo>
                      <a:pt x="868" y="146"/>
                    </a:lnTo>
                    <a:lnTo>
                      <a:pt x="866" y="146"/>
                    </a:lnTo>
                    <a:lnTo>
                      <a:pt x="864" y="148"/>
                    </a:lnTo>
                    <a:lnTo>
                      <a:pt x="860" y="148"/>
                    </a:lnTo>
                    <a:lnTo>
                      <a:pt x="858" y="150"/>
                    </a:lnTo>
                    <a:lnTo>
                      <a:pt x="856" y="150"/>
                    </a:lnTo>
                    <a:lnTo>
                      <a:pt x="854" y="150"/>
                    </a:lnTo>
                    <a:lnTo>
                      <a:pt x="854" y="152"/>
                    </a:lnTo>
                    <a:lnTo>
                      <a:pt x="852" y="154"/>
                    </a:lnTo>
                    <a:lnTo>
                      <a:pt x="850" y="154"/>
                    </a:lnTo>
                    <a:lnTo>
                      <a:pt x="848" y="156"/>
                    </a:lnTo>
                    <a:lnTo>
                      <a:pt x="846" y="158"/>
                    </a:lnTo>
                    <a:lnTo>
                      <a:pt x="842" y="160"/>
                    </a:lnTo>
                    <a:lnTo>
                      <a:pt x="842" y="162"/>
                    </a:lnTo>
                    <a:lnTo>
                      <a:pt x="840" y="164"/>
                    </a:lnTo>
                    <a:lnTo>
                      <a:pt x="842" y="164"/>
                    </a:lnTo>
                    <a:lnTo>
                      <a:pt x="842" y="166"/>
                    </a:lnTo>
                    <a:lnTo>
                      <a:pt x="844" y="166"/>
                    </a:lnTo>
                    <a:lnTo>
                      <a:pt x="846" y="166"/>
                    </a:lnTo>
                    <a:lnTo>
                      <a:pt x="854" y="166"/>
                    </a:lnTo>
                    <a:lnTo>
                      <a:pt x="856" y="168"/>
                    </a:lnTo>
                    <a:lnTo>
                      <a:pt x="862" y="168"/>
                    </a:lnTo>
                    <a:lnTo>
                      <a:pt x="864" y="168"/>
                    </a:lnTo>
                    <a:lnTo>
                      <a:pt x="864" y="170"/>
                    </a:lnTo>
                    <a:lnTo>
                      <a:pt x="862" y="170"/>
                    </a:lnTo>
                    <a:lnTo>
                      <a:pt x="860" y="172"/>
                    </a:lnTo>
                    <a:lnTo>
                      <a:pt x="858" y="172"/>
                    </a:lnTo>
                    <a:lnTo>
                      <a:pt x="856" y="172"/>
                    </a:lnTo>
                    <a:lnTo>
                      <a:pt x="854" y="172"/>
                    </a:lnTo>
                    <a:lnTo>
                      <a:pt x="848" y="174"/>
                    </a:lnTo>
                    <a:lnTo>
                      <a:pt x="846" y="174"/>
                    </a:lnTo>
                    <a:lnTo>
                      <a:pt x="844" y="174"/>
                    </a:lnTo>
                    <a:lnTo>
                      <a:pt x="840" y="174"/>
                    </a:lnTo>
                    <a:lnTo>
                      <a:pt x="838" y="174"/>
                    </a:lnTo>
                    <a:lnTo>
                      <a:pt x="838" y="176"/>
                    </a:lnTo>
                    <a:lnTo>
                      <a:pt x="838" y="178"/>
                    </a:lnTo>
                    <a:lnTo>
                      <a:pt x="842" y="180"/>
                    </a:lnTo>
                    <a:lnTo>
                      <a:pt x="844" y="180"/>
                    </a:lnTo>
                    <a:lnTo>
                      <a:pt x="848" y="182"/>
                    </a:lnTo>
                    <a:lnTo>
                      <a:pt x="850" y="182"/>
                    </a:lnTo>
                    <a:lnTo>
                      <a:pt x="854" y="184"/>
                    </a:lnTo>
                    <a:lnTo>
                      <a:pt x="856" y="184"/>
                    </a:lnTo>
                    <a:lnTo>
                      <a:pt x="858" y="182"/>
                    </a:lnTo>
                    <a:lnTo>
                      <a:pt x="860" y="182"/>
                    </a:lnTo>
                    <a:lnTo>
                      <a:pt x="862" y="182"/>
                    </a:lnTo>
                    <a:lnTo>
                      <a:pt x="864" y="180"/>
                    </a:lnTo>
                    <a:lnTo>
                      <a:pt x="866" y="180"/>
                    </a:lnTo>
                    <a:lnTo>
                      <a:pt x="866" y="184"/>
                    </a:lnTo>
                    <a:lnTo>
                      <a:pt x="868" y="184"/>
                    </a:lnTo>
                    <a:lnTo>
                      <a:pt x="870" y="184"/>
                    </a:lnTo>
                    <a:lnTo>
                      <a:pt x="870" y="186"/>
                    </a:lnTo>
                    <a:lnTo>
                      <a:pt x="878" y="186"/>
                    </a:lnTo>
                    <a:lnTo>
                      <a:pt x="880" y="186"/>
                    </a:lnTo>
                    <a:lnTo>
                      <a:pt x="884" y="186"/>
                    </a:lnTo>
                    <a:lnTo>
                      <a:pt x="888" y="188"/>
                    </a:lnTo>
                    <a:lnTo>
                      <a:pt x="896" y="188"/>
                    </a:lnTo>
                    <a:lnTo>
                      <a:pt x="902" y="190"/>
                    </a:lnTo>
                    <a:lnTo>
                      <a:pt x="904" y="190"/>
                    </a:lnTo>
                    <a:lnTo>
                      <a:pt x="908" y="190"/>
                    </a:lnTo>
                    <a:lnTo>
                      <a:pt x="916" y="190"/>
                    </a:lnTo>
                    <a:lnTo>
                      <a:pt x="916" y="188"/>
                    </a:lnTo>
                    <a:lnTo>
                      <a:pt x="914" y="186"/>
                    </a:lnTo>
                    <a:lnTo>
                      <a:pt x="912" y="186"/>
                    </a:lnTo>
                    <a:lnTo>
                      <a:pt x="910" y="184"/>
                    </a:lnTo>
                    <a:lnTo>
                      <a:pt x="912" y="184"/>
                    </a:lnTo>
                    <a:lnTo>
                      <a:pt x="914" y="184"/>
                    </a:lnTo>
                    <a:lnTo>
                      <a:pt x="918" y="184"/>
                    </a:lnTo>
                    <a:lnTo>
                      <a:pt x="922" y="186"/>
                    </a:lnTo>
                    <a:lnTo>
                      <a:pt x="928" y="186"/>
                    </a:lnTo>
                    <a:lnTo>
                      <a:pt x="932" y="186"/>
                    </a:lnTo>
                    <a:lnTo>
                      <a:pt x="940" y="186"/>
                    </a:lnTo>
                    <a:lnTo>
                      <a:pt x="942" y="188"/>
                    </a:lnTo>
                    <a:lnTo>
                      <a:pt x="944" y="188"/>
                    </a:lnTo>
                    <a:lnTo>
                      <a:pt x="946" y="188"/>
                    </a:lnTo>
                    <a:lnTo>
                      <a:pt x="950" y="190"/>
                    </a:lnTo>
                    <a:lnTo>
                      <a:pt x="954" y="190"/>
                    </a:lnTo>
                    <a:lnTo>
                      <a:pt x="956" y="188"/>
                    </a:lnTo>
                    <a:lnTo>
                      <a:pt x="956" y="186"/>
                    </a:lnTo>
                    <a:lnTo>
                      <a:pt x="954" y="186"/>
                    </a:lnTo>
                    <a:lnTo>
                      <a:pt x="954" y="184"/>
                    </a:lnTo>
                    <a:lnTo>
                      <a:pt x="952" y="182"/>
                    </a:lnTo>
                    <a:lnTo>
                      <a:pt x="952" y="180"/>
                    </a:lnTo>
                    <a:lnTo>
                      <a:pt x="954" y="178"/>
                    </a:lnTo>
                    <a:lnTo>
                      <a:pt x="958" y="178"/>
                    </a:lnTo>
                    <a:lnTo>
                      <a:pt x="960" y="178"/>
                    </a:lnTo>
                    <a:lnTo>
                      <a:pt x="962" y="178"/>
                    </a:lnTo>
                    <a:lnTo>
                      <a:pt x="964" y="180"/>
                    </a:lnTo>
                    <a:lnTo>
                      <a:pt x="964" y="182"/>
                    </a:lnTo>
                    <a:lnTo>
                      <a:pt x="966" y="184"/>
                    </a:lnTo>
                    <a:lnTo>
                      <a:pt x="966" y="186"/>
                    </a:lnTo>
                    <a:lnTo>
                      <a:pt x="968" y="186"/>
                    </a:lnTo>
                    <a:lnTo>
                      <a:pt x="970" y="188"/>
                    </a:lnTo>
                    <a:lnTo>
                      <a:pt x="972" y="188"/>
                    </a:lnTo>
                    <a:lnTo>
                      <a:pt x="972" y="190"/>
                    </a:lnTo>
                    <a:lnTo>
                      <a:pt x="974" y="190"/>
                    </a:lnTo>
                    <a:lnTo>
                      <a:pt x="976" y="190"/>
                    </a:lnTo>
                    <a:lnTo>
                      <a:pt x="978" y="188"/>
                    </a:lnTo>
                    <a:lnTo>
                      <a:pt x="980" y="188"/>
                    </a:lnTo>
                    <a:lnTo>
                      <a:pt x="980" y="190"/>
                    </a:lnTo>
                    <a:lnTo>
                      <a:pt x="978" y="192"/>
                    </a:lnTo>
                    <a:lnTo>
                      <a:pt x="978" y="194"/>
                    </a:lnTo>
                    <a:lnTo>
                      <a:pt x="978" y="196"/>
                    </a:lnTo>
                    <a:lnTo>
                      <a:pt x="982" y="196"/>
                    </a:lnTo>
                    <a:lnTo>
                      <a:pt x="984" y="198"/>
                    </a:lnTo>
                    <a:lnTo>
                      <a:pt x="986" y="198"/>
                    </a:lnTo>
                    <a:lnTo>
                      <a:pt x="988" y="198"/>
                    </a:lnTo>
                    <a:lnTo>
                      <a:pt x="990" y="198"/>
                    </a:lnTo>
                    <a:lnTo>
                      <a:pt x="992" y="198"/>
                    </a:lnTo>
                    <a:lnTo>
                      <a:pt x="990" y="198"/>
                    </a:lnTo>
                    <a:lnTo>
                      <a:pt x="986" y="202"/>
                    </a:lnTo>
                    <a:lnTo>
                      <a:pt x="986" y="204"/>
                    </a:lnTo>
                    <a:lnTo>
                      <a:pt x="986" y="206"/>
                    </a:lnTo>
                    <a:lnTo>
                      <a:pt x="996" y="206"/>
                    </a:lnTo>
                    <a:lnTo>
                      <a:pt x="996" y="208"/>
                    </a:lnTo>
                    <a:lnTo>
                      <a:pt x="994" y="210"/>
                    </a:lnTo>
                    <a:lnTo>
                      <a:pt x="994" y="212"/>
                    </a:lnTo>
                    <a:lnTo>
                      <a:pt x="996" y="212"/>
                    </a:lnTo>
                    <a:lnTo>
                      <a:pt x="998" y="212"/>
                    </a:lnTo>
                    <a:lnTo>
                      <a:pt x="1000" y="212"/>
                    </a:lnTo>
                    <a:lnTo>
                      <a:pt x="1002" y="214"/>
                    </a:lnTo>
                    <a:lnTo>
                      <a:pt x="1004" y="216"/>
                    </a:lnTo>
                    <a:lnTo>
                      <a:pt x="1006" y="216"/>
                    </a:lnTo>
                    <a:lnTo>
                      <a:pt x="1006" y="220"/>
                    </a:lnTo>
                    <a:lnTo>
                      <a:pt x="1004" y="224"/>
                    </a:lnTo>
                    <a:lnTo>
                      <a:pt x="1002" y="226"/>
                    </a:lnTo>
                    <a:lnTo>
                      <a:pt x="1002" y="230"/>
                    </a:lnTo>
                    <a:lnTo>
                      <a:pt x="1000" y="232"/>
                    </a:lnTo>
                    <a:lnTo>
                      <a:pt x="998" y="234"/>
                    </a:lnTo>
                    <a:lnTo>
                      <a:pt x="998" y="236"/>
                    </a:lnTo>
                    <a:lnTo>
                      <a:pt x="996" y="236"/>
                    </a:lnTo>
                    <a:lnTo>
                      <a:pt x="996" y="238"/>
                    </a:lnTo>
                    <a:lnTo>
                      <a:pt x="994" y="238"/>
                    </a:lnTo>
                    <a:lnTo>
                      <a:pt x="992" y="238"/>
                    </a:lnTo>
                    <a:lnTo>
                      <a:pt x="990" y="240"/>
                    </a:lnTo>
                    <a:lnTo>
                      <a:pt x="988" y="240"/>
                    </a:lnTo>
                    <a:lnTo>
                      <a:pt x="984" y="242"/>
                    </a:lnTo>
                    <a:lnTo>
                      <a:pt x="978" y="244"/>
                    </a:lnTo>
                    <a:lnTo>
                      <a:pt x="974" y="246"/>
                    </a:lnTo>
                    <a:lnTo>
                      <a:pt x="968" y="248"/>
                    </a:lnTo>
                    <a:lnTo>
                      <a:pt x="966" y="250"/>
                    </a:lnTo>
                    <a:lnTo>
                      <a:pt x="964" y="250"/>
                    </a:lnTo>
                    <a:lnTo>
                      <a:pt x="962" y="250"/>
                    </a:lnTo>
                    <a:lnTo>
                      <a:pt x="964" y="252"/>
                    </a:lnTo>
                    <a:lnTo>
                      <a:pt x="966" y="254"/>
                    </a:lnTo>
                    <a:lnTo>
                      <a:pt x="968" y="254"/>
                    </a:lnTo>
                    <a:lnTo>
                      <a:pt x="968" y="256"/>
                    </a:lnTo>
                    <a:lnTo>
                      <a:pt x="970" y="258"/>
                    </a:lnTo>
                    <a:lnTo>
                      <a:pt x="968" y="260"/>
                    </a:lnTo>
                    <a:lnTo>
                      <a:pt x="964" y="262"/>
                    </a:lnTo>
                    <a:lnTo>
                      <a:pt x="960" y="262"/>
                    </a:lnTo>
                    <a:lnTo>
                      <a:pt x="958" y="262"/>
                    </a:lnTo>
                    <a:lnTo>
                      <a:pt x="956" y="264"/>
                    </a:lnTo>
                    <a:lnTo>
                      <a:pt x="952" y="264"/>
                    </a:lnTo>
                    <a:lnTo>
                      <a:pt x="950" y="264"/>
                    </a:lnTo>
                    <a:lnTo>
                      <a:pt x="942" y="264"/>
                    </a:lnTo>
                    <a:lnTo>
                      <a:pt x="942" y="266"/>
                    </a:lnTo>
                    <a:lnTo>
                      <a:pt x="936" y="266"/>
                    </a:lnTo>
                    <a:lnTo>
                      <a:pt x="936" y="268"/>
                    </a:lnTo>
                    <a:lnTo>
                      <a:pt x="934" y="270"/>
                    </a:lnTo>
                    <a:lnTo>
                      <a:pt x="934" y="268"/>
                    </a:lnTo>
                    <a:lnTo>
                      <a:pt x="932" y="268"/>
                    </a:lnTo>
                    <a:lnTo>
                      <a:pt x="932" y="266"/>
                    </a:lnTo>
                    <a:lnTo>
                      <a:pt x="930" y="266"/>
                    </a:lnTo>
                    <a:lnTo>
                      <a:pt x="928" y="266"/>
                    </a:lnTo>
                    <a:lnTo>
                      <a:pt x="926" y="264"/>
                    </a:lnTo>
                    <a:lnTo>
                      <a:pt x="922" y="264"/>
                    </a:lnTo>
                    <a:lnTo>
                      <a:pt x="918" y="264"/>
                    </a:lnTo>
                    <a:lnTo>
                      <a:pt x="916" y="264"/>
                    </a:lnTo>
                    <a:lnTo>
                      <a:pt x="914" y="266"/>
                    </a:lnTo>
                    <a:lnTo>
                      <a:pt x="912" y="268"/>
                    </a:lnTo>
                    <a:lnTo>
                      <a:pt x="910" y="268"/>
                    </a:lnTo>
                    <a:lnTo>
                      <a:pt x="908" y="270"/>
                    </a:lnTo>
                    <a:lnTo>
                      <a:pt x="904" y="270"/>
                    </a:lnTo>
                    <a:lnTo>
                      <a:pt x="902" y="272"/>
                    </a:lnTo>
                    <a:lnTo>
                      <a:pt x="900" y="274"/>
                    </a:lnTo>
                    <a:lnTo>
                      <a:pt x="898" y="274"/>
                    </a:lnTo>
                    <a:lnTo>
                      <a:pt x="898" y="276"/>
                    </a:lnTo>
                    <a:lnTo>
                      <a:pt x="896" y="278"/>
                    </a:lnTo>
                    <a:lnTo>
                      <a:pt x="898" y="280"/>
                    </a:lnTo>
                    <a:lnTo>
                      <a:pt x="898" y="282"/>
                    </a:lnTo>
                    <a:lnTo>
                      <a:pt x="900" y="282"/>
                    </a:lnTo>
                    <a:lnTo>
                      <a:pt x="902" y="284"/>
                    </a:lnTo>
                    <a:lnTo>
                      <a:pt x="904" y="284"/>
                    </a:lnTo>
                    <a:lnTo>
                      <a:pt x="906" y="284"/>
                    </a:lnTo>
                    <a:lnTo>
                      <a:pt x="910" y="284"/>
                    </a:lnTo>
                    <a:lnTo>
                      <a:pt x="918" y="282"/>
                    </a:lnTo>
                    <a:lnTo>
                      <a:pt x="922" y="280"/>
                    </a:lnTo>
                    <a:lnTo>
                      <a:pt x="924" y="280"/>
                    </a:lnTo>
                    <a:lnTo>
                      <a:pt x="926" y="278"/>
                    </a:lnTo>
                    <a:lnTo>
                      <a:pt x="930" y="278"/>
                    </a:lnTo>
                    <a:lnTo>
                      <a:pt x="930" y="280"/>
                    </a:lnTo>
                    <a:lnTo>
                      <a:pt x="932" y="280"/>
                    </a:lnTo>
                    <a:lnTo>
                      <a:pt x="934" y="280"/>
                    </a:lnTo>
                    <a:lnTo>
                      <a:pt x="936" y="282"/>
                    </a:lnTo>
                    <a:lnTo>
                      <a:pt x="940" y="282"/>
                    </a:lnTo>
                    <a:lnTo>
                      <a:pt x="940" y="280"/>
                    </a:lnTo>
                    <a:lnTo>
                      <a:pt x="940" y="276"/>
                    </a:lnTo>
                    <a:lnTo>
                      <a:pt x="944" y="272"/>
                    </a:lnTo>
                    <a:lnTo>
                      <a:pt x="946" y="270"/>
                    </a:lnTo>
                    <a:lnTo>
                      <a:pt x="944" y="272"/>
                    </a:lnTo>
                    <a:lnTo>
                      <a:pt x="944" y="274"/>
                    </a:lnTo>
                    <a:lnTo>
                      <a:pt x="944" y="276"/>
                    </a:lnTo>
                    <a:lnTo>
                      <a:pt x="948" y="276"/>
                    </a:lnTo>
                    <a:lnTo>
                      <a:pt x="950" y="276"/>
                    </a:lnTo>
                    <a:lnTo>
                      <a:pt x="960" y="276"/>
                    </a:lnTo>
                    <a:lnTo>
                      <a:pt x="958" y="278"/>
                    </a:lnTo>
                    <a:lnTo>
                      <a:pt x="956" y="278"/>
                    </a:lnTo>
                    <a:lnTo>
                      <a:pt x="956" y="280"/>
                    </a:lnTo>
                    <a:lnTo>
                      <a:pt x="956" y="282"/>
                    </a:lnTo>
                    <a:lnTo>
                      <a:pt x="956" y="284"/>
                    </a:lnTo>
                    <a:lnTo>
                      <a:pt x="958" y="284"/>
                    </a:lnTo>
                    <a:lnTo>
                      <a:pt x="960" y="284"/>
                    </a:lnTo>
                    <a:lnTo>
                      <a:pt x="962" y="284"/>
                    </a:lnTo>
                    <a:lnTo>
                      <a:pt x="962" y="286"/>
                    </a:lnTo>
                    <a:lnTo>
                      <a:pt x="964" y="286"/>
                    </a:lnTo>
                    <a:lnTo>
                      <a:pt x="962" y="288"/>
                    </a:lnTo>
                    <a:lnTo>
                      <a:pt x="962" y="290"/>
                    </a:lnTo>
                    <a:lnTo>
                      <a:pt x="962" y="292"/>
                    </a:lnTo>
                    <a:lnTo>
                      <a:pt x="964" y="292"/>
                    </a:lnTo>
                    <a:lnTo>
                      <a:pt x="966" y="292"/>
                    </a:lnTo>
                    <a:lnTo>
                      <a:pt x="970" y="292"/>
                    </a:lnTo>
                    <a:lnTo>
                      <a:pt x="974" y="292"/>
                    </a:lnTo>
                    <a:lnTo>
                      <a:pt x="974" y="294"/>
                    </a:lnTo>
                    <a:lnTo>
                      <a:pt x="972" y="294"/>
                    </a:lnTo>
                    <a:lnTo>
                      <a:pt x="968" y="294"/>
                    </a:lnTo>
                    <a:lnTo>
                      <a:pt x="966" y="296"/>
                    </a:lnTo>
                    <a:lnTo>
                      <a:pt x="964" y="296"/>
                    </a:lnTo>
                    <a:lnTo>
                      <a:pt x="964" y="300"/>
                    </a:lnTo>
                    <a:lnTo>
                      <a:pt x="966" y="300"/>
                    </a:lnTo>
                    <a:lnTo>
                      <a:pt x="966" y="302"/>
                    </a:lnTo>
                    <a:lnTo>
                      <a:pt x="966" y="304"/>
                    </a:lnTo>
                    <a:lnTo>
                      <a:pt x="968" y="304"/>
                    </a:lnTo>
                    <a:lnTo>
                      <a:pt x="970" y="304"/>
                    </a:lnTo>
                    <a:lnTo>
                      <a:pt x="972" y="302"/>
                    </a:lnTo>
                    <a:lnTo>
                      <a:pt x="974" y="302"/>
                    </a:lnTo>
                    <a:lnTo>
                      <a:pt x="974" y="304"/>
                    </a:lnTo>
                    <a:lnTo>
                      <a:pt x="976" y="306"/>
                    </a:lnTo>
                    <a:lnTo>
                      <a:pt x="978" y="308"/>
                    </a:lnTo>
                    <a:lnTo>
                      <a:pt x="980" y="308"/>
                    </a:lnTo>
                    <a:lnTo>
                      <a:pt x="984" y="308"/>
                    </a:lnTo>
                    <a:lnTo>
                      <a:pt x="988" y="308"/>
                    </a:lnTo>
                    <a:lnTo>
                      <a:pt x="988" y="310"/>
                    </a:lnTo>
                    <a:lnTo>
                      <a:pt x="990" y="312"/>
                    </a:lnTo>
                    <a:lnTo>
                      <a:pt x="990" y="314"/>
                    </a:lnTo>
                    <a:lnTo>
                      <a:pt x="992" y="316"/>
                    </a:lnTo>
                    <a:lnTo>
                      <a:pt x="994" y="316"/>
                    </a:lnTo>
                    <a:lnTo>
                      <a:pt x="1004" y="316"/>
                    </a:lnTo>
                    <a:lnTo>
                      <a:pt x="1006" y="316"/>
                    </a:lnTo>
                    <a:lnTo>
                      <a:pt x="1008" y="316"/>
                    </a:lnTo>
                    <a:lnTo>
                      <a:pt x="1012" y="318"/>
                    </a:lnTo>
                    <a:lnTo>
                      <a:pt x="1014" y="320"/>
                    </a:lnTo>
                    <a:lnTo>
                      <a:pt x="1018" y="320"/>
                    </a:lnTo>
                    <a:lnTo>
                      <a:pt x="1020" y="322"/>
                    </a:lnTo>
                    <a:lnTo>
                      <a:pt x="1022" y="324"/>
                    </a:lnTo>
                    <a:lnTo>
                      <a:pt x="1024" y="324"/>
                    </a:lnTo>
                    <a:lnTo>
                      <a:pt x="1026" y="324"/>
                    </a:lnTo>
                    <a:lnTo>
                      <a:pt x="1026" y="326"/>
                    </a:lnTo>
                    <a:lnTo>
                      <a:pt x="1028" y="324"/>
                    </a:lnTo>
                    <a:lnTo>
                      <a:pt x="1028" y="322"/>
                    </a:lnTo>
                    <a:lnTo>
                      <a:pt x="1028" y="318"/>
                    </a:lnTo>
                    <a:lnTo>
                      <a:pt x="1028" y="316"/>
                    </a:lnTo>
                    <a:lnTo>
                      <a:pt x="1026" y="314"/>
                    </a:lnTo>
                    <a:lnTo>
                      <a:pt x="1024" y="312"/>
                    </a:lnTo>
                    <a:lnTo>
                      <a:pt x="1022" y="310"/>
                    </a:lnTo>
                    <a:lnTo>
                      <a:pt x="1020" y="308"/>
                    </a:lnTo>
                    <a:lnTo>
                      <a:pt x="1018" y="306"/>
                    </a:lnTo>
                    <a:lnTo>
                      <a:pt x="1016" y="304"/>
                    </a:lnTo>
                    <a:lnTo>
                      <a:pt x="1014" y="304"/>
                    </a:lnTo>
                    <a:lnTo>
                      <a:pt x="1014" y="302"/>
                    </a:lnTo>
                    <a:lnTo>
                      <a:pt x="1012" y="300"/>
                    </a:lnTo>
                    <a:lnTo>
                      <a:pt x="1010" y="298"/>
                    </a:lnTo>
                    <a:lnTo>
                      <a:pt x="1010" y="296"/>
                    </a:lnTo>
                    <a:lnTo>
                      <a:pt x="1010" y="292"/>
                    </a:lnTo>
                    <a:lnTo>
                      <a:pt x="1012" y="292"/>
                    </a:lnTo>
                    <a:lnTo>
                      <a:pt x="1014" y="292"/>
                    </a:lnTo>
                    <a:lnTo>
                      <a:pt x="1016" y="294"/>
                    </a:lnTo>
                    <a:lnTo>
                      <a:pt x="1018" y="296"/>
                    </a:lnTo>
                    <a:lnTo>
                      <a:pt x="1020" y="298"/>
                    </a:lnTo>
                    <a:lnTo>
                      <a:pt x="1020" y="292"/>
                    </a:lnTo>
                    <a:lnTo>
                      <a:pt x="1022" y="294"/>
                    </a:lnTo>
                    <a:lnTo>
                      <a:pt x="1024" y="298"/>
                    </a:lnTo>
                    <a:lnTo>
                      <a:pt x="1024" y="300"/>
                    </a:lnTo>
                    <a:lnTo>
                      <a:pt x="1028" y="300"/>
                    </a:lnTo>
                    <a:lnTo>
                      <a:pt x="1032" y="298"/>
                    </a:lnTo>
                    <a:lnTo>
                      <a:pt x="1036" y="298"/>
                    </a:lnTo>
                    <a:lnTo>
                      <a:pt x="1034" y="300"/>
                    </a:lnTo>
                    <a:lnTo>
                      <a:pt x="1034" y="302"/>
                    </a:lnTo>
                    <a:lnTo>
                      <a:pt x="1036" y="304"/>
                    </a:lnTo>
                    <a:lnTo>
                      <a:pt x="1036" y="306"/>
                    </a:lnTo>
                    <a:lnTo>
                      <a:pt x="1038" y="306"/>
                    </a:lnTo>
                    <a:lnTo>
                      <a:pt x="1040" y="306"/>
                    </a:lnTo>
                    <a:lnTo>
                      <a:pt x="1042" y="308"/>
                    </a:lnTo>
                    <a:lnTo>
                      <a:pt x="1042" y="310"/>
                    </a:lnTo>
                    <a:lnTo>
                      <a:pt x="1044" y="308"/>
                    </a:lnTo>
                    <a:lnTo>
                      <a:pt x="1046" y="306"/>
                    </a:lnTo>
                    <a:lnTo>
                      <a:pt x="1046" y="304"/>
                    </a:lnTo>
                    <a:lnTo>
                      <a:pt x="1048" y="304"/>
                    </a:lnTo>
                    <a:lnTo>
                      <a:pt x="1048" y="306"/>
                    </a:lnTo>
                    <a:lnTo>
                      <a:pt x="1050" y="306"/>
                    </a:lnTo>
                    <a:lnTo>
                      <a:pt x="1050" y="308"/>
                    </a:lnTo>
                    <a:lnTo>
                      <a:pt x="1052" y="308"/>
                    </a:lnTo>
                    <a:lnTo>
                      <a:pt x="1054" y="306"/>
                    </a:lnTo>
                    <a:lnTo>
                      <a:pt x="1052" y="304"/>
                    </a:lnTo>
                    <a:lnTo>
                      <a:pt x="1052" y="302"/>
                    </a:lnTo>
                    <a:lnTo>
                      <a:pt x="1052" y="300"/>
                    </a:lnTo>
                    <a:lnTo>
                      <a:pt x="1052" y="298"/>
                    </a:lnTo>
                    <a:lnTo>
                      <a:pt x="1054" y="294"/>
                    </a:lnTo>
                    <a:lnTo>
                      <a:pt x="1054" y="292"/>
                    </a:lnTo>
                    <a:lnTo>
                      <a:pt x="1056" y="292"/>
                    </a:lnTo>
                    <a:lnTo>
                      <a:pt x="1056" y="294"/>
                    </a:lnTo>
                    <a:lnTo>
                      <a:pt x="1056" y="298"/>
                    </a:lnTo>
                    <a:lnTo>
                      <a:pt x="1058" y="298"/>
                    </a:lnTo>
                    <a:lnTo>
                      <a:pt x="1058" y="300"/>
                    </a:lnTo>
                    <a:lnTo>
                      <a:pt x="1060" y="298"/>
                    </a:lnTo>
                    <a:lnTo>
                      <a:pt x="1062" y="296"/>
                    </a:lnTo>
                    <a:lnTo>
                      <a:pt x="1062" y="294"/>
                    </a:lnTo>
                    <a:lnTo>
                      <a:pt x="1062" y="292"/>
                    </a:lnTo>
                    <a:lnTo>
                      <a:pt x="1064" y="290"/>
                    </a:lnTo>
                    <a:lnTo>
                      <a:pt x="1062" y="288"/>
                    </a:lnTo>
                    <a:lnTo>
                      <a:pt x="1060" y="286"/>
                    </a:lnTo>
                    <a:lnTo>
                      <a:pt x="1058" y="284"/>
                    </a:lnTo>
                    <a:lnTo>
                      <a:pt x="1060" y="284"/>
                    </a:lnTo>
                    <a:lnTo>
                      <a:pt x="1062" y="282"/>
                    </a:lnTo>
                    <a:lnTo>
                      <a:pt x="1064" y="282"/>
                    </a:lnTo>
                    <a:lnTo>
                      <a:pt x="1062" y="282"/>
                    </a:lnTo>
                    <a:lnTo>
                      <a:pt x="1060" y="280"/>
                    </a:lnTo>
                    <a:lnTo>
                      <a:pt x="1058" y="278"/>
                    </a:lnTo>
                    <a:lnTo>
                      <a:pt x="1060" y="276"/>
                    </a:lnTo>
                    <a:lnTo>
                      <a:pt x="1060" y="274"/>
                    </a:lnTo>
                    <a:lnTo>
                      <a:pt x="1056" y="274"/>
                    </a:lnTo>
                    <a:lnTo>
                      <a:pt x="1052" y="274"/>
                    </a:lnTo>
                    <a:lnTo>
                      <a:pt x="1052" y="270"/>
                    </a:lnTo>
                    <a:lnTo>
                      <a:pt x="1046" y="270"/>
                    </a:lnTo>
                    <a:lnTo>
                      <a:pt x="1046" y="260"/>
                    </a:lnTo>
                    <a:lnTo>
                      <a:pt x="1038" y="260"/>
                    </a:lnTo>
                    <a:lnTo>
                      <a:pt x="1038" y="258"/>
                    </a:lnTo>
                    <a:lnTo>
                      <a:pt x="1038" y="256"/>
                    </a:lnTo>
                    <a:lnTo>
                      <a:pt x="1036" y="254"/>
                    </a:lnTo>
                    <a:lnTo>
                      <a:pt x="1038" y="252"/>
                    </a:lnTo>
                    <a:lnTo>
                      <a:pt x="1042" y="252"/>
                    </a:lnTo>
                    <a:lnTo>
                      <a:pt x="1044" y="252"/>
                    </a:lnTo>
                    <a:lnTo>
                      <a:pt x="1046" y="256"/>
                    </a:lnTo>
                    <a:lnTo>
                      <a:pt x="1050" y="256"/>
                    </a:lnTo>
                    <a:lnTo>
                      <a:pt x="1050" y="254"/>
                    </a:lnTo>
                    <a:lnTo>
                      <a:pt x="1050" y="252"/>
                    </a:lnTo>
                    <a:lnTo>
                      <a:pt x="1050" y="246"/>
                    </a:lnTo>
                    <a:lnTo>
                      <a:pt x="1052" y="246"/>
                    </a:lnTo>
                    <a:lnTo>
                      <a:pt x="1054" y="246"/>
                    </a:lnTo>
                    <a:lnTo>
                      <a:pt x="1056" y="246"/>
                    </a:lnTo>
                    <a:lnTo>
                      <a:pt x="1060" y="246"/>
                    </a:lnTo>
                    <a:lnTo>
                      <a:pt x="1064" y="244"/>
                    </a:lnTo>
                    <a:lnTo>
                      <a:pt x="1066" y="244"/>
                    </a:lnTo>
                    <a:lnTo>
                      <a:pt x="1066" y="246"/>
                    </a:lnTo>
                    <a:lnTo>
                      <a:pt x="1066" y="250"/>
                    </a:lnTo>
                    <a:lnTo>
                      <a:pt x="1068" y="252"/>
                    </a:lnTo>
                    <a:lnTo>
                      <a:pt x="1070" y="250"/>
                    </a:lnTo>
                    <a:lnTo>
                      <a:pt x="1072" y="250"/>
                    </a:lnTo>
                    <a:lnTo>
                      <a:pt x="1076" y="250"/>
                    </a:lnTo>
                    <a:lnTo>
                      <a:pt x="1072" y="252"/>
                    </a:lnTo>
                    <a:lnTo>
                      <a:pt x="1072" y="254"/>
                    </a:lnTo>
                    <a:lnTo>
                      <a:pt x="1074" y="254"/>
                    </a:lnTo>
                    <a:lnTo>
                      <a:pt x="1078" y="254"/>
                    </a:lnTo>
                    <a:lnTo>
                      <a:pt x="1076" y="256"/>
                    </a:lnTo>
                    <a:lnTo>
                      <a:pt x="1076" y="258"/>
                    </a:lnTo>
                    <a:lnTo>
                      <a:pt x="1076" y="260"/>
                    </a:lnTo>
                    <a:lnTo>
                      <a:pt x="1076" y="262"/>
                    </a:lnTo>
                    <a:lnTo>
                      <a:pt x="1078" y="266"/>
                    </a:lnTo>
                    <a:lnTo>
                      <a:pt x="1080" y="268"/>
                    </a:lnTo>
                    <a:lnTo>
                      <a:pt x="1082" y="270"/>
                    </a:lnTo>
                    <a:lnTo>
                      <a:pt x="1084" y="272"/>
                    </a:lnTo>
                    <a:lnTo>
                      <a:pt x="1086" y="272"/>
                    </a:lnTo>
                    <a:lnTo>
                      <a:pt x="1088" y="272"/>
                    </a:lnTo>
                    <a:lnTo>
                      <a:pt x="1090" y="272"/>
                    </a:lnTo>
                    <a:lnTo>
                      <a:pt x="1092" y="270"/>
                    </a:lnTo>
                    <a:lnTo>
                      <a:pt x="1094" y="268"/>
                    </a:lnTo>
                    <a:lnTo>
                      <a:pt x="1094" y="266"/>
                    </a:lnTo>
                    <a:lnTo>
                      <a:pt x="1094" y="264"/>
                    </a:lnTo>
                    <a:lnTo>
                      <a:pt x="1094" y="262"/>
                    </a:lnTo>
                    <a:lnTo>
                      <a:pt x="1096" y="260"/>
                    </a:lnTo>
                    <a:lnTo>
                      <a:pt x="1096" y="258"/>
                    </a:lnTo>
                    <a:lnTo>
                      <a:pt x="1098" y="256"/>
                    </a:lnTo>
                    <a:lnTo>
                      <a:pt x="1100" y="256"/>
                    </a:lnTo>
                    <a:lnTo>
                      <a:pt x="1100" y="258"/>
                    </a:lnTo>
                    <a:lnTo>
                      <a:pt x="1102" y="258"/>
                    </a:lnTo>
                    <a:lnTo>
                      <a:pt x="1104" y="258"/>
                    </a:lnTo>
                    <a:lnTo>
                      <a:pt x="1106" y="260"/>
                    </a:lnTo>
                    <a:lnTo>
                      <a:pt x="1108" y="260"/>
                    </a:lnTo>
                    <a:lnTo>
                      <a:pt x="1110" y="258"/>
                    </a:lnTo>
                    <a:lnTo>
                      <a:pt x="1112" y="256"/>
                    </a:lnTo>
                    <a:lnTo>
                      <a:pt x="1114" y="254"/>
                    </a:lnTo>
                    <a:lnTo>
                      <a:pt x="1114" y="252"/>
                    </a:lnTo>
                    <a:lnTo>
                      <a:pt x="1114" y="250"/>
                    </a:lnTo>
                    <a:lnTo>
                      <a:pt x="1114" y="248"/>
                    </a:lnTo>
                    <a:lnTo>
                      <a:pt x="1116" y="248"/>
                    </a:lnTo>
                    <a:lnTo>
                      <a:pt x="1118" y="250"/>
                    </a:lnTo>
                    <a:lnTo>
                      <a:pt x="1124" y="250"/>
                    </a:lnTo>
                    <a:lnTo>
                      <a:pt x="1126" y="248"/>
                    </a:lnTo>
                    <a:lnTo>
                      <a:pt x="1130" y="248"/>
                    </a:lnTo>
                    <a:lnTo>
                      <a:pt x="1132" y="246"/>
                    </a:lnTo>
                    <a:lnTo>
                      <a:pt x="1132" y="244"/>
                    </a:lnTo>
                    <a:lnTo>
                      <a:pt x="1132" y="242"/>
                    </a:lnTo>
                    <a:lnTo>
                      <a:pt x="1128" y="240"/>
                    </a:lnTo>
                    <a:close/>
                    <a:moveTo>
                      <a:pt x="624" y="94"/>
                    </a:moveTo>
                    <a:lnTo>
                      <a:pt x="622" y="94"/>
                    </a:lnTo>
                    <a:lnTo>
                      <a:pt x="620" y="96"/>
                    </a:lnTo>
                    <a:lnTo>
                      <a:pt x="618" y="96"/>
                    </a:lnTo>
                    <a:lnTo>
                      <a:pt x="616" y="98"/>
                    </a:lnTo>
                    <a:lnTo>
                      <a:pt x="614" y="98"/>
                    </a:lnTo>
                    <a:lnTo>
                      <a:pt x="616" y="100"/>
                    </a:lnTo>
                    <a:lnTo>
                      <a:pt x="618" y="100"/>
                    </a:lnTo>
                    <a:lnTo>
                      <a:pt x="620" y="100"/>
                    </a:lnTo>
                    <a:lnTo>
                      <a:pt x="622" y="102"/>
                    </a:lnTo>
                    <a:lnTo>
                      <a:pt x="620" y="102"/>
                    </a:lnTo>
                    <a:lnTo>
                      <a:pt x="616" y="102"/>
                    </a:lnTo>
                    <a:lnTo>
                      <a:pt x="614" y="102"/>
                    </a:lnTo>
                    <a:lnTo>
                      <a:pt x="610" y="102"/>
                    </a:lnTo>
                    <a:lnTo>
                      <a:pt x="604" y="104"/>
                    </a:lnTo>
                    <a:lnTo>
                      <a:pt x="596" y="104"/>
                    </a:lnTo>
                    <a:lnTo>
                      <a:pt x="594" y="104"/>
                    </a:lnTo>
                    <a:lnTo>
                      <a:pt x="592" y="106"/>
                    </a:lnTo>
                    <a:lnTo>
                      <a:pt x="592" y="108"/>
                    </a:lnTo>
                    <a:lnTo>
                      <a:pt x="590" y="108"/>
                    </a:lnTo>
                    <a:lnTo>
                      <a:pt x="590" y="110"/>
                    </a:lnTo>
                    <a:lnTo>
                      <a:pt x="592" y="110"/>
                    </a:lnTo>
                    <a:lnTo>
                      <a:pt x="596" y="110"/>
                    </a:lnTo>
                    <a:lnTo>
                      <a:pt x="598" y="108"/>
                    </a:lnTo>
                    <a:lnTo>
                      <a:pt x="604" y="108"/>
                    </a:lnTo>
                    <a:lnTo>
                      <a:pt x="606" y="110"/>
                    </a:lnTo>
                    <a:lnTo>
                      <a:pt x="608" y="110"/>
                    </a:lnTo>
                    <a:lnTo>
                      <a:pt x="610" y="110"/>
                    </a:lnTo>
                    <a:lnTo>
                      <a:pt x="614" y="112"/>
                    </a:lnTo>
                    <a:lnTo>
                      <a:pt x="616" y="112"/>
                    </a:lnTo>
                    <a:lnTo>
                      <a:pt x="620" y="110"/>
                    </a:lnTo>
                    <a:lnTo>
                      <a:pt x="626" y="110"/>
                    </a:lnTo>
                    <a:lnTo>
                      <a:pt x="630" y="108"/>
                    </a:lnTo>
                    <a:lnTo>
                      <a:pt x="634" y="108"/>
                    </a:lnTo>
                    <a:lnTo>
                      <a:pt x="636" y="106"/>
                    </a:lnTo>
                    <a:lnTo>
                      <a:pt x="638" y="106"/>
                    </a:lnTo>
                    <a:lnTo>
                      <a:pt x="640" y="106"/>
                    </a:lnTo>
                    <a:lnTo>
                      <a:pt x="640" y="108"/>
                    </a:lnTo>
                    <a:lnTo>
                      <a:pt x="644" y="108"/>
                    </a:lnTo>
                    <a:lnTo>
                      <a:pt x="648" y="108"/>
                    </a:lnTo>
                    <a:lnTo>
                      <a:pt x="652" y="108"/>
                    </a:lnTo>
                    <a:lnTo>
                      <a:pt x="656" y="106"/>
                    </a:lnTo>
                    <a:lnTo>
                      <a:pt x="664" y="106"/>
                    </a:lnTo>
                    <a:lnTo>
                      <a:pt x="666" y="106"/>
                    </a:lnTo>
                    <a:lnTo>
                      <a:pt x="668" y="106"/>
                    </a:lnTo>
                    <a:lnTo>
                      <a:pt x="666" y="108"/>
                    </a:lnTo>
                    <a:lnTo>
                      <a:pt x="664" y="108"/>
                    </a:lnTo>
                    <a:lnTo>
                      <a:pt x="660" y="108"/>
                    </a:lnTo>
                    <a:lnTo>
                      <a:pt x="658" y="110"/>
                    </a:lnTo>
                    <a:lnTo>
                      <a:pt x="652" y="110"/>
                    </a:lnTo>
                    <a:lnTo>
                      <a:pt x="648" y="110"/>
                    </a:lnTo>
                    <a:lnTo>
                      <a:pt x="644" y="110"/>
                    </a:lnTo>
                    <a:lnTo>
                      <a:pt x="640" y="112"/>
                    </a:lnTo>
                    <a:lnTo>
                      <a:pt x="638" y="112"/>
                    </a:lnTo>
                    <a:lnTo>
                      <a:pt x="634" y="112"/>
                    </a:lnTo>
                    <a:lnTo>
                      <a:pt x="630" y="112"/>
                    </a:lnTo>
                    <a:lnTo>
                      <a:pt x="626" y="114"/>
                    </a:lnTo>
                    <a:lnTo>
                      <a:pt x="620" y="116"/>
                    </a:lnTo>
                    <a:lnTo>
                      <a:pt x="618" y="116"/>
                    </a:lnTo>
                    <a:lnTo>
                      <a:pt x="618" y="118"/>
                    </a:lnTo>
                    <a:lnTo>
                      <a:pt x="624" y="118"/>
                    </a:lnTo>
                    <a:lnTo>
                      <a:pt x="628" y="118"/>
                    </a:lnTo>
                    <a:lnTo>
                      <a:pt x="634" y="118"/>
                    </a:lnTo>
                    <a:lnTo>
                      <a:pt x="640" y="120"/>
                    </a:lnTo>
                    <a:lnTo>
                      <a:pt x="652" y="120"/>
                    </a:lnTo>
                    <a:lnTo>
                      <a:pt x="658" y="118"/>
                    </a:lnTo>
                    <a:lnTo>
                      <a:pt x="662" y="118"/>
                    </a:lnTo>
                    <a:lnTo>
                      <a:pt x="666" y="116"/>
                    </a:lnTo>
                    <a:lnTo>
                      <a:pt x="670" y="114"/>
                    </a:lnTo>
                    <a:lnTo>
                      <a:pt x="672" y="114"/>
                    </a:lnTo>
                    <a:lnTo>
                      <a:pt x="672" y="112"/>
                    </a:lnTo>
                    <a:lnTo>
                      <a:pt x="674" y="112"/>
                    </a:lnTo>
                    <a:lnTo>
                      <a:pt x="678" y="112"/>
                    </a:lnTo>
                    <a:lnTo>
                      <a:pt x="680" y="110"/>
                    </a:lnTo>
                    <a:lnTo>
                      <a:pt x="682" y="110"/>
                    </a:lnTo>
                    <a:lnTo>
                      <a:pt x="684" y="110"/>
                    </a:lnTo>
                    <a:lnTo>
                      <a:pt x="686" y="108"/>
                    </a:lnTo>
                    <a:lnTo>
                      <a:pt x="688" y="108"/>
                    </a:lnTo>
                    <a:lnTo>
                      <a:pt x="690" y="108"/>
                    </a:lnTo>
                    <a:lnTo>
                      <a:pt x="698" y="108"/>
                    </a:lnTo>
                    <a:lnTo>
                      <a:pt x="700" y="108"/>
                    </a:lnTo>
                    <a:lnTo>
                      <a:pt x="704" y="108"/>
                    </a:lnTo>
                    <a:lnTo>
                      <a:pt x="708" y="108"/>
                    </a:lnTo>
                    <a:lnTo>
                      <a:pt x="716" y="108"/>
                    </a:lnTo>
                    <a:lnTo>
                      <a:pt x="718" y="106"/>
                    </a:lnTo>
                    <a:lnTo>
                      <a:pt x="720" y="106"/>
                    </a:lnTo>
                    <a:lnTo>
                      <a:pt x="724" y="106"/>
                    </a:lnTo>
                    <a:lnTo>
                      <a:pt x="726" y="106"/>
                    </a:lnTo>
                    <a:lnTo>
                      <a:pt x="728" y="104"/>
                    </a:lnTo>
                    <a:lnTo>
                      <a:pt x="732" y="104"/>
                    </a:lnTo>
                    <a:lnTo>
                      <a:pt x="734" y="102"/>
                    </a:lnTo>
                    <a:lnTo>
                      <a:pt x="736" y="102"/>
                    </a:lnTo>
                    <a:lnTo>
                      <a:pt x="740" y="100"/>
                    </a:lnTo>
                    <a:lnTo>
                      <a:pt x="742" y="100"/>
                    </a:lnTo>
                    <a:lnTo>
                      <a:pt x="742" y="98"/>
                    </a:lnTo>
                    <a:lnTo>
                      <a:pt x="742" y="96"/>
                    </a:lnTo>
                    <a:lnTo>
                      <a:pt x="742" y="94"/>
                    </a:lnTo>
                    <a:lnTo>
                      <a:pt x="740" y="94"/>
                    </a:lnTo>
                    <a:lnTo>
                      <a:pt x="738" y="92"/>
                    </a:lnTo>
                    <a:lnTo>
                      <a:pt x="736" y="92"/>
                    </a:lnTo>
                    <a:lnTo>
                      <a:pt x="730" y="92"/>
                    </a:lnTo>
                    <a:lnTo>
                      <a:pt x="728" y="94"/>
                    </a:lnTo>
                    <a:lnTo>
                      <a:pt x="728" y="96"/>
                    </a:lnTo>
                    <a:lnTo>
                      <a:pt x="722" y="96"/>
                    </a:lnTo>
                    <a:lnTo>
                      <a:pt x="720" y="96"/>
                    </a:lnTo>
                    <a:lnTo>
                      <a:pt x="720" y="94"/>
                    </a:lnTo>
                    <a:lnTo>
                      <a:pt x="722" y="92"/>
                    </a:lnTo>
                    <a:lnTo>
                      <a:pt x="722" y="90"/>
                    </a:lnTo>
                    <a:lnTo>
                      <a:pt x="724" y="90"/>
                    </a:lnTo>
                    <a:lnTo>
                      <a:pt x="724" y="88"/>
                    </a:lnTo>
                    <a:lnTo>
                      <a:pt x="726" y="86"/>
                    </a:lnTo>
                    <a:lnTo>
                      <a:pt x="726" y="84"/>
                    </a:lnTo>
                    <a:lnTo>
                      <a:pt x="726" y="82"/>
                    </a:lnTo>
                    <a:lnTo>
                      <a:pt x="722" y="82"/>
                    </a:lnTo>
                    <a:lnTo>
                      <a:pt x="720" y="82"/>
                    </a:lnTo>
                    <a:lnTo>
                      <a:pt x="718" y="82"/>
                    </a:lnTo>
                    <a:lnTo>
                      <a:pt x="714" y="84"/>
                    </a:lnTo>
                    <a:lnTo>
                      <a:pt x="712" y="86"/>
                    </a:lnTo>
                    <a:lnTo>
                      <a:pt x="708" y="86"/>
                    </a:lnTo>
                    <a:lnTo>
                      <a:pt x="704" y="88"/>
                    </a:lnTo>
                    <a:lnTo>
                      <a:pt x="700" y="90"/>
                    </a:lnTo>
                    <a:lnTo>
                      <a:pt x="698" y="90"/>
                    </a:lnTo>
                    <a:lnTo>
                      <a:pt x="696" y="90"/>
                    </a:lnTo>
                    <a:lnTo>
                      <a:pt x="696" y="92"/>
                    </a:lnTo>
                    <a:lnTo>
                      <a:pt x="708" y="92"/>
                    </a:lnTo>
                    <a:lnTo>
                      <a:pt x="708" y="94"/>
                    </a:lnTo>
                    <a:lnTo>
                      <a:pt x="706" y="96"/>
                    </a:lnTo>
                    <a:lnTo>
                      <a:pt x="706" y="98"/>
                    </a:lnTo>
                    <a:lnTo>
                      <a:pt x="702" y="98"/>
                    </a:lnTo>
                    <a:lnTo>
                      <a:pt x="696" y="98"/>
                    </a:lnTo>
                    <a:lnTo>
                      <a:pt x="692" y="100"/>
                    </a:lnTo>
                    <a:lnTo>
                      <a:pt x="690" y="100"/>
                    </a:lnTo>
                    <a:lnTo>
                      <a:pt x="686" y="100"/>
                    </a:lnTo>
                    <a:lnTo>
                      <a:pt x="682" y="100"/>
                    </a:lnTo>
                    <a:lnTo>
                      <a:pt x="680" y="102"/>
                    </a:lnTo>
                    <a:lnTo>
                      <a:pt x="678" y="102"/>
                    </a:lnTo>
                    <a:lnTo>
                      <a:pt x="678" y="98"/>
                    </a:lnTo>
                    <a:lnTo>
                      <a:pt x="676" y="98"/>
                    </a:lnTo>
                    <a:lnTo>
                      <a:pt x="676" y="92"/>
                    </a:lnTo>
                    <a:lnTo>
                      <a:pt x="678" y="90"/>
                    </a:lnTo>
                    <a:lnTo>
                      <a:pt x="676" y="88"/>
                    </a:lnTo>
                    <a:lnTo>
                      <a:pt x="674" y="88"/>
                    </a:lnTo>
                    <a:lnTo>
                      <a:pt x="672" y="88"/>
                    </a:lnTo>
                    <a:lnTo>
                      <a:pt x="668" y="86"/>
                    </a:lnTo>
                    <a:lnTo>
                      <a:pt x="662" y="86"/>
                    </a:lnTo>
                    <a:lnTo>
                      <a:pt x="660" y="86"/>
                    </a:lnTo>
                    <a:lnTo>
                      <a:pt x="658" y="86"/>
                    </a:lnTo>
                    <a:lnTo>
                      <a:pt x="626" y="92"/>
                    </a:lnTo>
                    <a:lnTo>
                      <a:pt x="624" y="94"/>
                    </a:lnTo>
                    <a:close/>
                    <a:moveTo>
                      <a:pt x="1092" y="474"/>
                    </a:moveTo>
                    <a:lnTo>
                      <a:pt x="1090" y="472"/>
                    </a:lnTo>
                    <a:lnTo>
                      <a:pt x="1088" y="470"/>
                    </a:lnTo>
                    <a:lnTo>
                      <a:pt x="1086" y="470"/>
                    </a:lnTo>
                    <a:lnTo>
                      <a:pt x="1082" y="470"/>
                    </a:lnTo>
                    <a:lnTo>
                      <a:pt x="1080" y="470"/>
                    </a:lnTo>
                    <a:lnTo>
                      <a:pt x="1080" y="472"/>
                    </a:lnTo>
                    <a:lnTo>
                      <a:pt x="1078" y="472"/>
                    </a:lnTo>
                    <a:lnTo>
                      <a:pt x="1078" y="474"/>
                    </a:lnTo>
                    <a:lnTo>
                      <a:pt x="1076" y="476"/>
                    </a:lnTo>
                    <a:lnTo>
                      <a:pt x="1074" y="476"/>
                    </a:lnTo>
                    <a:lnTo>
                      <a:pt x="1072" y="474"/>
                    </a:lnTo>
                    <a:lnTo>
                      <a:pt x="1070" y="472"/>
                    </a:lnTo>
                    <a:lnTo>
                      <a:pt x="1074" y="468"/>
                    </a:lnTo>
                    <a:lnTo>
                      <a:pt x="1076" y="468"/>
                    </a:lnTo>
                    <a:lnTo>
                      <a:pt x="1076" y="462"/>
                    </a:lnTo>
                    <a:lnTo>
                      <a:pt x="1074" y="462"/>
                    </a:lnTo>
                    <a:lnTo>
                      <a:pt x="1066" y="462"/>
                    </a:lnTo>
                    <a:lnTo>
                      <a:pt x="1062" y="464"/>
                    </a:lnTo>
                    <a:lnTo>
                      <a:pt x="1060" y="464"/>
                    </a:lnTo>
                    <a:lnTo>
                      <a:pt x="1056" y="466"/>
                    </a:lnTo>
                    <a:lnTo>
                      <a:pt x="1054" y="468"/>
                    </a:lnTo>
                    <a:lnTo>
                      <a:pt x="1052" y="470"/>
                    </a:lnTo>
                    <a:lnTo>
                      <a:pt x="1050" y="470"/>
                    </a:lnTo>
                    <a:lnTo>
                      <a:pt x="1048" y="472"/>
                    </a:lnTo>
                    <a:lnTo>
                      <a:pt x="1046" y="472"/>
                    </a:lnTo>
                    <a:lnTo>
                      <a:pt x="1044" y="472"/>
                    </a:lnTo>
                    <a:lnTo>
                      <a:pt x="1038" y="472"/>
                    </a:lnTo>
                    <a:lnTo>
                      <a:pt x="1036" y="474"/>
                    </a:lnTo>
                    <a:lnTo>
                      <a:pt x="1034" y="474"/>
                    </a:lnTo>
                    <a:lnTo>
                      <a:pt x="1032" y="476"/>
                    </a:lnTo>
                    <a:lnTo>
                      <a:pt x="1030" y="476"/>
                    </a:lnTo>
                    <a:lnTo>
                      <a:pt x="1030" y="478"/>
                    </a:lnTo>
                    <a:lnTo>
                      <a:pt x="1028" y="478"/>
                    </a:lnTo>
                    <a:lnTo>
                      <a:pt x="1030" y="474"/>
                    </a:lnTo>
                    <a:lnTo>
                      <a:pt x="1032" y="474"/>
                    </a:lnTo>
                    <a:lnTo>
                      <a:pt x="1032" y="472"/>
                    </a:lnTo>
                    <a:lnTo>
                      <a:pt x="1030" y="472"/>
                    </a:lnTo>
                    <a:lnTo>
                      <a:pt x="1028" y="470"/>
                    </a:lnTo>
                    <a:lnTo>
                      <a:pt x="1026" y="470"/>
                    </a:lnTo>
                    <a:lnTo>
                      <a:pt x="1026" y="468"/>
                    </a:lnTo>
                    <a:lnTo>
                      <a:pt x="1028" y="470"/>
                    </a:lnTo>
                    <a:lnTo>
                      <a:pt x="1032" y="470"/>
                    </a:lnTo>
                    <a:lnTo>
                      <a:pt x="1034" y="470"/>
                    </a:lnTo>
                    <a:lnTo>
                      <a:pt x="1036" y="470"/>
                    </a:lnTo>
                    <a:lnTo>
                      <a:pt x="1036" y="468"/>
                    </a:lnTo>
                    <a:lnTo>
                      <a:pt x="1038" y="468"/>
                    </a:lnTo>
                    <a:lnTo>
                      <a:pt x="1046" y="468"/>
                    </a:lnTo>
                    <a:lnTo>
                      <a:pt x="1046" y="462"/>
                    </a:lnTo>
                    <a:lnTo>
                      <a:pt x="1054" y="462"/>
                    </a:lnTo>
                    <a:lnTo>
                      <a:pt x="1056" y="462"/>
                    </a:lnTo>
                    <a:lnTo>
                      <a:pt x="1058" y="462"/>
                    </a:lnTo>
                    <a:lnTo>
                      <a:pt x="1060" y="460"/>
                    </a:lnTo>
                    <a:lnTo>
                      <a:pt x="1064" y="458"/>
                    </a:lnTo>
                    <a:lnTo>
                      <a:pt x="1066" y="458"/>
                    </a:lnTo>
                    <a:lnTo>
                      <a:pt x="1084" y="458"/>
                    </a:lnTo>
                    <a:lnTo>
                      <a:pt x="1084" y="456"/>
                    </a:lnTo>
                    <a:lnTo>
                      <a:pt x="1082" y="454"/>
                    </a:lnTo>
                    <a:lnTo>
                      <a:pt x="1080" y="454"/>
                    </a:lnTo>
                    <a:lnTo>
                      <a:pt x="1078" y="452"/>
                    </a:lnTo>
                    <a:lnTo>
                      <a:pt x="1078" y="446"/>
                    </a:lnTo>
                    <a:lnTo>
                      <a:pt x="1076" y="446"/>
                    </a:lnTo>
                    <a:lnTo>
                      <a:pt x="1074" y="448"/>
                    </a:lnTo>
                    <a:lnTo>
                      <a:pt x="1072" y="448"/>
                    </a:lnTo>
                    <a:lnTo>
                      <a:pt x="1070" y="448"/>
                    </a:lnTo>
                    <a:lnTo>
                      <a:pt x="1068" y="448"/>
                    </a:lnTo>
                    <a:lnTo>
                      <a:pt x="1066" y="450"/>
                    </a:lnTo>
                    <a:lnTo>
                      <a:pt x="1064" y="448"/>
                    </a:lnTo>
                    <a:lnTo>
                      <a:pt x="1064" y="446"/>
                    </a:lnTo>
                    <a:lnTo>
                      <a:pt x="1062" y="446"/>
                    </a:lnTo>
                    <a:lnTo>
                      <a:pt x="1062" y="444"/>
                    </a:lnTo>
                    <a:lnTo>
                      <a:pt x="1060" y="446"/>
                    </a:lnTo>
                    <a:lnTo>
                      <a:pt x="1058" y="446"/>
                    </a:lnTo>
                    <a:lnTo>
                      <a:pt x="1056" y="446"/>
                    </a:lnTo>
                    <a:lnTo>
                      <a:pt x="1054" y="448"/>
                    </a:lnTo>
                    <a:lnTo>
                      <a:pt x="1052" y="448"/>
                    </a:lnTo>
                    <a:lnTo>
                      <a:pt x="1050" y="448"/>
                    </a:lnTo>
                    <a:lnTo>
                      <a:pt x="1048" y="448"/>
                    </a:lnTo>
                    <a:lnTo>
                      <a:pt x="1048" y="444"/>
                    </a:lnTo>
                    <a:lnTo>
                      <a:pt x="1048" y="442"/>
                    </a:lnTo>
                    <a:lnTo>
                      <a:pt x="1046" y="442"/>
                    </a:lnTo>
                    <a:lnTo>
                      <a:pt x="1042" y="444"/>
                    </a:lnTo>
                    <a:lnTo>
                      <a:pt x="1040" y="444"/>
                    </a:lnTo>
                    <a:lnTo>
                      <a:pt x="1038" y="446"/>
                    </a:lnTo>
                    <a:lnTo>
                      <a:pt x="1038" y="444"/>
                    </a:lnTo>
                    <a:lnTo>
                      <a:pt x="1040" y="444"/>
                    </a:lnTo>
                    <a:lnTo>
                      <a:pt x="1042" y="442"/>
                    </a:lnTo>
                    <a:lnTo>
                      <a:pt x="1044" y="438"/>
                    </a:lnTo>
                    <a:lnTo>
                      <a:pt x="1046" y="436"/>
                    </a:lnTo>
                    <a:lnTo>
                      <a:pt x="1046" y="434"/>
                    </a:lnTo>
                    <a:lnTo>
                      <a:pt x="1046" y="432"/>
                    </a:lnTo>
                    <a:lnTo>
                      <a:pt x="1044" y="430"/>
                    </a:lnTo>
                    <a:lnTo>
                      <a:pt x="1034" y="430"/>
                    </a:lnTo>
                    <a:lnTo>
                      <a:pt x="1036" y="428"/>
                    </a:lnTo>
                    <a:lnTo>
                      <a:pt x="1036" y="424"/>
                    </a:lnTo>
                    <a:lnTo>
                      <a:pt x="1028" y="424"/>
                    </a:lnTo>
                    <a:lnTo>
                      <a:pt x="1028" y="422"/>
                    </a:lnTo>
                    <a:lnTo>
                      <a:pt x="1030" y="420"/>
                    </a:lnTo>
                    <a:lnTo>
                      <a:pt x="1032" y="420"/>
                    </a:lnTo>
                    <a:lnTo>
                      <a:pt x="1028" y="418"/>
                    </a:lnTo>
                    <a:lnTo>
                      <a:pt x="1028" y="416"/>
                    </a:lnTo>
                    <a:lnTo>
                      <a:pt x="1026" y="414"/>
                    </a:lnTo>
                    <a:lnTo>
                      <a:pt x="1028" y="414"/>
                    </a:lnTo>
                    <a:lnTo>
                      <a:pt x="1030" y="414"/>
                    </a:lnTo>
                    <a:lnTo>
                      <a:pt x="1036" y="414"/>
                    </a:lnTo>
                    <a:lnTo>
                      <a:pt x="1038" y="414"/>
                    </a:lnTo>
                    <a:lnTo>
                      <a:pt x="1040" y="412"/>
                    </a:lnTo>
                    <a:lnTo>
                      <a:pt x="1044" y="412"/>
                    </a:lnTo>
                    <a:lnTo>
                      <a:pt x="1044" y="410"/>
                    </a:lnTo>
                    <a:lnTo>
                      <a:pt x="1046" y="410"/>
                    </a:lnTo>
                    <a:lnTo>
                      <a:pt x="1044" y="410"/>
                    </a:lnTo>
                    <a:lnTo>
                      <a:pt x="1042" y="408"/>
                    </a:lnTo>
                    <a:lnTo>
                      <a:pt x="1040" y="406"/>
                    </a:lnTo>
                    <a:lnTo>
                      <a:pt x="1038" y="406"/>
                    </a:lnTo>
                    <a:lnTo>
                      <a:pt x="1036" y="404"/>
                    </a:lnTo>
                    <a:lnTo>
                      <a:pt x="1034" y="404"/>
                    </a:lnTo>
                    <a:lnTo>
                      <a:pt x="1036" y="402"/>
                    </a:lnTo>
                    <a:lnTo>
                      <a:pt x="1038" y="402"/>
                    </a:lnTo>
                    <a:lnTo>
                      <a:pt x="1040" y="400"/>
                    </a:lnTo>
                    <a:lnTo>
                      <a:pt x="1042" y="400"/>
                    </a:lnTo>
                    <a:lnTo>
                      <a:pt x="1044" y="398"/>
                    </a:lnTo>
                    <a:lnTo>
                      <a:pt x="1046" y="398"/>
                    </a:lnTo>
                    <a:lnTo>
                      <a:pt x="1046" y="396"/>
                    </a:lnTo>
                    <a:lnTo>
                      <a:pt x="1044" y="396"/>
                    </a:lnTo>
                    <a:lnTo>
                      <a:pt x="1042" y="394"/>
                    </a:lnTo>
                    <a:lnTo>
                      <a:pt x="1040" y="394"/>
                    </a:lnTo>
                    <a:lnTo>
                      <a:pt x="1038" y="392"/>
                    </a:lnTo>
                    <a:lnTo>
                      <a:pt x="1036" y="392"/>
                    </a:lnTo>
                    <a:lnTo>
                      <a:pt x="1034" y="390"/>
                    </a:lnTo>
                    <a:lnTo>
                      <a:pt x="1032" y="390"/>
                    </a:lnTo>
                    <a:lnTo>
                      <a:pt x="1030" y="392"/>
                    </a:lnTo>
                    <a:lnTo>
                      <a:pt x="1024" y="392"/>
                    </a:lnTo>
                    <a:lnTo>
                      <a:pt x="1026" y="390"/>
                    </a:lnTo>
                    <a:lnTo>
                      <a:pt x="1028" y="390"/>
                    </a:lnTo>
                    <a:lnTo>
                      <a:pt x="1030" y="390"/>
                    </a:lnTo>
                    <a:lnTo>
                      <a:pt x="1032" y="388"/>
                    </a:lnTo>
                    <a:lnTo>
                      <a:pt x="1034" y="388"/>
                    </a:lnTo>
                    <a:lnTo>
                      <a:pt x="1036" y="388"/>
                    </a:lnTo>
                    <a:lnTo>
                      <a:pt x="1034" y="386"/>
                    </a:lnTo>
                    <a:lnTo>
                      <a:pt x="1032" y="386"/>
                    </a:lnTo>
                    <a:lnTo>
                      <a:pt x="1030" y="386"/>
                    </a:lnTo>
                    <a:lnTo>
                      <a:pt x="1028" y="386"/>
                    </a:lnTo>
                    <a:lnTo>
                      <a:pt x="1030" y="384"/>
                    </a:lnTo>
                    <a:lnTo>
                      <a:pt x="1034" y="382"/>
                    </a:lnTo>
                    <a:lnTo>
                      <a:pt x="1036" y="382"/>
                    </a:lnTo>
                    <a:lnTo>
                      <a:pt x="1038" y="380"/>
                    </a:lnTo>
                    <a:lnTo>
                      <a:pt x="1038" y="378"/>
                    </a:lnTo>
                    <a:lnTo>
                      <a:pt x="1038" y="376"/>
                    </a:lnTo>
                    <a:lnTo>
                      <a:pt x="1036" y="374"/>
                    </a:lnTo>
                    <a:lnTo>
                      <a:pt x="1028" y="374"/>
                    </a:lnTo>
                    <a:lnTo>
                      <a:pt x="1028" y="372"/>
                    </a:lnTo>
                    <a:lnTo>
                      <a:pt x="1030" y="372"/>
                    </a:lnTo>
                    <a:lnTo>
                      <a:pt x="1032" y="370"/>
                    </a:lnTo>
                    <a:lnTo>
                      <a:pt x="1032" y="368"/>
                    </a:lnTo>
                    <a:lnTo>
                      <a:pt x="1032" y="364"/>
                    </a:lnTo>
                    <a:lnTo>
                      <a:pt x="1032" y="362"/>
                    </a:lnTo>
                    <a:lnTo>
                      <a:pt x="1030" y="360"/>
                    </a:lnTo>
                    <a:lnTo>
                      <a:pt x="1028" y="358"/>
                    </a:lnTo>
                    <a:lnTo>
                      <a:pt x="1026" y="358"/>
                    </a:lnTo>
                    <a:lnTo>
                      <a:pt x="1028" y="356"/>
                    </a:lnTo>
                    <a:lnTo>
                      <a:pt x="1028" y="354"/>
                    </a:lnTo>
                    <a:lnTo>
                      <a:pt x="1030" y="352"/>
                    </a:lnTo>
                    <a:lnTo>
                      <a:pt x="1028" y="352"/>
                    </a:lnTo>
                    <a:lnTo>
                      <a:pt x="1026" y="354"/>
                    </a:lnTo>
                    <a:lnTo>
                      <a:pt x="1024" y="354"/>
                    </a:lnTo>
                    <a:lnTo>
                      <a:pt x="1022" y="356"/>
                    </a:lnTo>
                    <a:lnTo>
                      <a:pt x="1020" y="358"/>
                    </a:lnTo>
                    <a:lnTo>
                      <a:pt x="1020" y="360"/>
                    </a:lnTo>
                    <a:lnTo>
                      <a:pt x="1018" y="360"/>
                    </a:lnTo>
                    <a:lnTo>
                      <a:pt x="1018" y="362"/>
                    </a:lnTo>
                    <a:lnTo>
                      <a:pt x="1020" y="364"/>
                    </a:lnTo>
                    <a:lnTo>
                      <a:pt x="1018" y="364"/>
                    </a:lnTo>
                    <a:lnTo>
                      <a:pt x="1016" y="362"/>
                    </a:lnTo>
                    <a:lnTo>
                      <a:pt x="1014" y="362"/>
                    </a:lnTo>
                    <a:lnTo>
                      <a:pt x="1012" y="362"/>
                    </a:lnTo>
                    <a:lnTo>
                      <a:pt x="1012" y="364"/>
                    </a:lnTo>
                    <a:lnTo>
                      <a:pt x="1014" y="366"/>
                    </a:lnTo>
                    <a:lnTo>
                      <a:pt x="1014" y="368"/>
                    </a:lnTo>
                    <a:lnTo>
                      <a:pt x="1008" y="368"/>
                    </a:lnTo>
                    <a:lnTo>
                      <a:pt x="1006" y="370"/>
                    </a:lnTo>
                    <a:lnTo>
                      <a:pt x="1006" y="372"/>
                    </a:lnTo>
                    <a:lnTo>
                      <a:pt x="1004" y="372"/>
                    </a:lnTo>
                    <a:lnTo>
                      <a:pt x="1004" y="374"/>
                    </a:lnTo>
                    <a:lnTo>
                      <a:pt x="1006" y="374"/>
                    </a:lnTo>
                    <a:lnTo>
                      <a:pt x="1006" y="376"/>
                    </a:lnTo>
                    <a:lnTo>
                      <a:pt x="1002" y="376"/>
                    </a:lnTo>
                    <a:lnTo>
                      <a:pt x="1000" y="376"/>
                    </a:lnTo>
                    <a:lnTo>
                      <a:pt x="1000" y="378"/>
                    </a:lnTo>
                    <a:lnTo>
                      <a:pt x="998" y="380"/>
                    </a:lnTo>
                    <a:lnTo>
                      <a:pt x="998" y="382"/>
                    </a:lnTo>
                    <a:lnTo>
                      <a:pt x="996" y="384"/>
                    </a:lnTo>
                    <a:lnTo>
                      <a:pt x="996" y="386"/>
                    </a:lnTo>
                    <a:lnTo>
                      <a:pt x="996" y="388"/>
                    </a:lnTo>
                    <a:lnTo>
                      <a:pt x="992" y="388"/>
                    </a:lnTo>
                    <a:lnTo>
                      <a:pt x="994" y="384"/>
                    </a:lnTo>
                    <a:lnTo>
                      <a:pt x="994" y="382"/>
                    </a:lnTo>
                    <a:lnTo>
                      <a:pt x="996" y="380"/>
                    </a:lnTo>
                    <a:lnTo>
                      <a:pt x="996" y="378"/>
                    </a:lnTo>
                    <a:lnTo>
                      <a:pt x="994" y="376"/>
                    </a:lnTo>
                    <a:lnTo>
                      <a:pt x="992" y="374"/>
                    </a:lnTo>
                    <a:lnTo>
                      <a:pt x="990" y="374"/>
                    </a:lnTo>
                    <a:lnTo>
                      <a:pt x="990" y="376"/>
                    </a:lnTo>
                    <a:lnTo>
                      <a:pt x="986" y="378"/>
                    </a:lnTo>
                    <a:lnTo>
                      <a:pt x="984" y="382"/>
                    </a:lnTo>
                    <a:lnTo>
                      <a:pt x="982" y="382"/>
                    </a:lnTo>
                    <a:lnTo>
                      <a:pt x="982" y="384"/>
                    </a:lnTo>
                    <a:lnTo>
                      <a:pt x="980" y="384"/>
                    </a:lnTo>
                    <a:lnTo>
                      <a:pt x="978" y="384"/>
                    </a:lnTo>
                    <a:lnTo>
                      <a:pt x="976" y="386"/>
                    </a:lnTo>
                    <a:lnTo>
                      <a:pt x="974" y="388"/>
                    </a:lnTo>
                    <a:lnTo>
                      <a:pt x="972" y="388"/>
                    </a:lnTo>
                    <a:lnTo>
                      <a:pt x="970" y="390"/>
                    </a:lnTo>
                    <a:lnTo>
                      <a:pt x="968" y="390"/>
                    </a:lnTo>
                    <a:lnTo>
                      <a:pt x="968" y="392"/>
                    </a:lnTo>
                    <a:lnTo>
                      <a:pt x="966" y="392"/>
                    </a:lnTo>
                    <a:lnTo>
                      <a:pt x="968" y="390"/>
                    </a:lnTo>
                    <a:lnTo>
                      <a:pt x="968" y="388"/>
                    </a:lnTo>
                    <a:lnTo>
                      <a:pt x="968" y="382"/>
                    </a:lnTo>
                    <a:lnTo>
                      <a:pt x="966" y="386"/>
                    </a:lnTo>
                    <a:lnTo>
                      <a:pt x="962" y="388"/>
                    </a:lnTo>
                    <a:lnTo>
                      <a:pt x="960" y="388"/>
                    </a:lnTo>
                    <a:lnTo>
                      <a:pt x="960" y="390"/>
                    </a:lnTo>
                    <a:lnTo>
                      <a:pt x="958" y="390"/>
                    </a:lnTo>
                    <a:lnTo>
                      <a:pt x="956" y="390"/>
                    </a:lnTo>
                    <a:lnTo>
                      <a:pt x="954" y="392"/>
                    </a:lnTo>
                    <a:lnTo>
                      <a:pt x="950" y="392"/>
                    </a:lnTo>
                    <a:lnTo>
                      <a:pt x="948" y="392"/>
                    </a:lnTo>
                    <a:lnTo>
                      <a:pt x="946" y="394"/>
                    </a:lnTo>
                    <a:lnTo>
                      <a:pt x="944" y="394"/>
                    </a:lnTo>
                    <a:lnTo>
                      <a:pt x="946" y="392"/>
                    </a:lnTo>
                    <a:lnTo>
                      <a:pt x="948" y="392"/>
                    </a:lnTo>
                    <a:lnTo>
                      <a:pt x="950" y="392"/>
                    </a:lnTo>
                    <a:lnTo>
                      <a:pt x="952" y="390"/>
                    </a:lnTo>
                    <a:lnTo>
                      <a:pt x="954" y="390"/>
                    </a:lnTo>
                    <a:lnTo>
                      <a:pt x="956" y="388"/>
                    </a:lnTo>
                    <a:lnTo>
                      <a:pt x="958" y="388"/>
                    </a:lnTo>
                    <a:lnTo>
                      <a:pt x="960" y="388"/>
                    </a:lnTo>
                    <a:lnTo>
                      <a:pt x="960" y="386"/>
                    </a:lnTo>
                    <a:lnTo>
                      <a:pt x="962" y="384"/>
                    </a:lnTo>
                    <a:lnTo>
                      <a:pt x="962" y="382"/>
                    </a:lnTo>
                    <a:lnTo>
                      <a:pt x="964" y="380"/>
                    </a:lnTo>
                    <a:lnTo>
                      <a:pt x="964" y="378"/>
                    </a:lnTo>
                    <a:lnTo>
                      <a:pt x="962" y="376"/>
                    </a:lnTo>
                    <a:lnTo>
                      <a:pt x="960" y="376"/>
                    </a:lnTo>
                    <a:lnTo>
                      <a:pt x="958" y="376"/>
                    </a:lnTo>
                    <a:lnTo>
                      <a:pt x="956" y="376"/>
                    </a:lnTo>
                    <a:lnTo>
                      <a:pt x="954" y="376"/>
                    </a:lnTo>
                    <a:lnTo>
                      <a:pt x="952" y="376"/>
                    </a:lnTo>
                    <a:lnTo>
                      <a:pt x="950" y="378"/>
                    </a:lnTo>
                    <a:lnTo>
                      <a:pt x="948" y="378"/>
                    </a:lnTo>
                    <a:lnTo>
                      <a:pt x="946" y="380"/>
                    </a:lnTo>
                    <a:lnTo>
                      <a:pt x="942" y="380"/>
                    </a:lnTo>
                    <a:lnTo>
                      <a:pt x="942" y="376"/>
                    </a:lnTo>
                    <a:lnTo>
                      <a:pt x="944" y="374"/>
                    </a:lnTo>
                    <a:lnTo>
                      <a:pt x="946" y="374"/>
                    </a:lnTo>
                    <a:lnTo>
                      <a:pt x="948" y="374"/>
                    </a:lnTo>
                    <a:lnTo>
                      <a:pt x="948" y="376"/>
                    </a:lnTo>
                    <a:lnTo>
                      <a:pt x="950" y="376"/>
                    </a:lnTo>
                    <a:lnTo>
                      <a:pt x="950" y="374"/>
                    </a:lnTo>
                    <a:lnTo>
                      <a:pt x="952" y="374"/>
                    </a:lnTo>
                    <a:lnTo>
                      <a:pt x="952" y="368"/>
                    </a:lnTo>
                    <a:lnTo>
                      <a:pt x="950" y="368"/>
                    </a:lnTo>
                    <a:lnTo>
                      <a:pt x="950" y="366"/>
                    </a:lnTo>
                    <a:lnTo>
                      <a:pt x="952" y="366"/>
                    </a:lnTo>
                    <a:lnTo>
                      <a:pt x="954" y="366"/>
                    </a:lnTo>
                    <a:lnTo>
                      <a:pt x="954" y="364"/>
                    </a:lnTo>
                    <a:lnTo>
                      <a:pt x="956" y="364"/>
                    </a:lnTo>
                    <a:lnTo>
                      <a:pt x="958" y="362"/>
                    </a:lnTo>
                    <a:lnTo>
                      <a:pt x="958" y="360"/>
                    </a:lnTo>
                    <a:lnTo>
                      <a:pt x="956" y="360"/>
                    </a:lnTo>
                    <a:lnTo>
                      <a:pt x="954" y="358"/>
                    </a:lnTo>
                    <a:lnTo>
                      <a:pt x="950" y="356"/>
                    </a:lnTo>
                    <a:lnTo>
                      <a:pt x="946" y="356"/>
                    </a:lnTo>
                    <a:lnTo>
                      <a:pt x="944" y="356"/>
                    </a:lnTo>
                    <a:lnTo>
                      <a:pt x="954" y="356"/>
                    </a:lnTo>
                    <a:lnTo>
                      <a:pt x="958" y="354"/>
                    </a:lnTo>
                    <a:lnTo>
                      <a:pt x="960" y="354"/>
                    </a:lnTo>
                    <a:lnTo>
                      <a:pt x="960" y="352"/>
                    </a:lnTo>
                    <a:lnTo>
                      <a:pt x="962" y="352"/>
                    </a:lnTo>
                    <a:lnTo>
                      <a:pt x="962" y="350"/>
                    </a:lnTo>
                    <a:lnTo>
                      <a:pt x="962" y="348"/>
                    </a:lnTo>
                    <a:lnTo>
                      <a:pt x="964" y="346"/>
                    </a:lnTo>
                    <a:lnTo>
                      <a:pt x="966" y="346"/>
                    </a:lnTo>
                    <a:lnTo>
                      <a:pt x="966" y="344"/>
                    </a:lnTo>
                    <a:lnTo>
                      <a:pt x="968" y="344"/>
                    </a:lnTo>
                    <a:lnTo>
                      <a:pt x="970" y="344"/>
                    </a:lnTo>
                    <a:lnTo>
                      <a:pt x="972" y="342"/>
                    </a:lnTo>
                    <a:lnTo>
                      <a:pt x="972" y="340"/>
                    </a:lnTo>
                    <a:lnTo>
                      <a:pt x="970" y="340"/>
                    </a:lnTo>
                    <a:lnTo>
                      <a:pt x="968" y="340"/>
                    </a:lnTo>
                    <a:lnTo>
                      <a:pt x="966" y="340"/>
                    </a:lnTo>
                    <a:lnTo>
                      <a:pt x="964" y="342"/>
                    </a:lnTo>
                    <a:lnTo>
                      <a:pt x="964" y="340"/>
                    </a:lnTo>
                    <a:lnTo>
                      <a:pt x="962" y="340"/>
                    </a:lnTo>
                    <a:lnTo>
                      <a:pt x="962" y="338"/>
                    </a:lnTo>
                    <a:lnTo>
                      <a:pt x="946" y="338"/>
                    </a:lnTo>
                    <a:lnTo>
                      <a:pt x="946" y="336"/>
                    </a:lnTo>
                    <a:lnTo>
                      <a:pt x="946" y="332"/>
                    </a:lnTo>
                    <a:lnTo>
                      <a:pt x="946" y="330"/>
                    </a:lnTo>
                    <a:lnTo>
                      <a:pt x="948" y="330"/>
                    </a:lnTo>
                    <a:lnTo>
                      <a:pt x="950" y="330"/>
                    </a:lnTo>
                    <a:lnTo>
                      <a:pt x="950" y="328"/>
                    </a:lnTo>
                    <a:lnTo>
                      <a:pt x="948" y="326"/>
                    </a:lnTo>
                    <a:lnTo>
                      <a:pt x="944" y="326"/>
                    </a:lnTo>
                    <a:lnTo>
                      <a:pt x="944" y="328"/>
                    </a:lnTo>
                    <a:lnTo>
                      <a:pt x="942" y="328"/>
                    </a:lnTo>
                    <a:lnTo>
                      <a:pt x="944" y="326"/>
                    </a:lnTo>
                    <a:lnTo>
                      <a:pt x="944" y="324"/>
                    </a:lnTo>
                    <a:lnTo>
                      <a:pt x="944" y="322"/>
                    </a:lnTo>
                    <a:lnTo>
                      <a:pt x="942" y="322"/>
                    </a:lnTo>
                    <a:lnTo>
                      <a:pt x="940" y="324"/>
                    </a:lnTo>
                    <a:lnTo>
                      <a:pt x="936" y="324"/>
                    </a:lnTo>
                    <a:lnTo>
                      <a:pt x="936" y="316"/>
                    </a:lnTo>
                    <a:lnTo>
                      <a:pt x="934" y="316"/>
                    </a:lnTo>
                    <a:lnTo>
                      <a:pt x="932" y="314"/>
                    </a:lnTo>
                    <a:lnTo>
                      <a:pt x="930" y="314"/>
                    </a:lnTo>
                    <a:lnTo>
                      <a:pt x="928" y="314"/>
                    </a:lnTo>
                    <a:lnTo>
                      <a:pt x="926" y="314"/>
                    </a:lnTo>
                    <a:lnTo>
                      <a:pt x="924" y="316"/>
                    </a:lnTo>
                    <a:lnTo>
                      <a:pt x="922" y="316"/>
                    </a:lnTo>
                    <a:lnTo>
                      <a:pt x="918" y="318"/>
                    </a:lnTo>
                    <a:lnTo>
                      <a:pt x="916" y="318"/>
                    </a:lnTo>
                    <a:lnTo>
                      <a:pt x="914" y="318"/>
                    </a:lnTo>
                    <a:lnTo>
                      <a:pt x="912" y="316"/>
                    </a:lnTo>
                    <a:lnTo>
                      <a:pt x="906" y="316"/>
                    </a:lnTo>
                    <a:lnTo>
                      <a:pt x="904" y="316"/>
                    </a:lnTo>
                    <a:lnTo>
                      <a:pt x="902" y="318"/>
                    </a:lnTo>
                    <a:lnTo>
                      <a:pt x="900" y="318"/>
                    </a:lnTo>
                    <a:lnTo>
                      <a:pt x="898" y="318"/>
                    </a:lnTo>
                    <a:lnTo>
                      <a:pt x="896" y="316"/>
                    </a:lnTo>
                    <a:lnTo>
                      <a:pt x="892" y="316"/>
                    </a:lnTo>
                    <a:lnTo>
                      <a:pt x="888" y="314"/>
                    </a:lnTo>
                    <a:lnTo>
                      <a:pt x="884" y="314"/>
                    </a:lnTo>
                    <a:lnTo>
                      <a:pt x="880" y="312"/>
                    </a:lnTo>
                    <a:lnTo>
                      <a:pt x="876" y="312"/>
                    </a:lnTo>
                    <a:lnTo>
                      <a:pt x="876" y="314"/>
                    </a:lnTo>
                    <a:lnTo>
                      <a:pt x="874" y="314"/>
                    </a:lnTo>
                    <a:lnTo>
                      <a:pt x="872" y="316"/>
                    </a:lnTo>
                    <a:lnTo>
                      <a:pt x="870" y="316"/>
                    </a:lnTo>
                    <a:lnTo>
                      <a:pt x="870" y="318"/>
                    </a:lnTo>
                    <a:lnTo>
                      <a:pt x="868" y="318"/>
                    </a:lnTo>
                    <a:lnTo>
                      <a:pt x="868" y="320"/>
                    </a:lnTo>
                    <a:lnTo>
                      <a:pt x="866" y="320"/>
                    </a:lnTo>
                    <a:lnTo>
                      <a:pt x="866" y="322"/>
                    </a:lnTo>
                    <a:lnTo>
                      <a:pt x="864" y="322"/>
                    </a:lnTo>
                    <a:lnTo>
                      <a:pt x="866" y="324"/>
                    </a:lnTo>
                    <a:lnTo>
                      <a:pt x="868" y="326"/>
                    </a:lnTo>
                    <a:lnTo>
                      <a:pt x="870" y="326"/>
                    </a:lnTo>
                    <a:lnTo>
                      <a:pt x="870" y="328"/>
                    </a:lnTo>
                    <a:lnTo>
                      <a:pt x="872" y="328"/>
                    </a:lnTo>
                    <a:lnTo>
                      <a:pt x="872" y="330"/>
                    </a:lnTo>
                    <a:lnTo>
                      <a:pt x="870" y="330"/>
                    </a:lnTo>
                    <a:lnTo>
                      <a:pt x="866" y="334"/>
                    </a:lnTo>
                    <a:lnTo>
                      <a:pt x="864" y="336"/>
                    </a:lnTo>
                    <a:lnTo>
                      <a:pt x="862" y="336"/>
                    </a:lnTo>
                    <a:lnTo>
                      <a:pt x="860" y="338"/>
                    </a:lnTo>
                    <a:lnTo>
                      <a:pt x="860" y="340"/>
                    </a:lnTo>
                    <a:lnTo>
                      <a:pt x="856" y="340"/>
                    </a:lnTo>
                    <a:lnTo>
                      <a:pt x="854" y="340"/>
                    </a:lnTo>
                    <a:lnTo>
                      <a:pt x="854" y="342"/>
                    </a:lnTo>
                    <a:lnTo>
                      <a:pt x="856" y="342"/>
                    </a:lnTo>
                    <a:lnTo>
                      <a:pt x="858" y="344"/>
                    </a:lnTo>
                    <a:lnTo>
                      <a:pt x="856" y="346"/>
                    </a:lnTo>
                    <a:lnTo>
                      <a:pt x="854" y="348"/>
                    </a:lnTo>
                    <a:lnTo>
                      <a:pt x="854" y="350"/>
                    </a:lnTo>
                    <a:lnTo>
                      <a:pt x="854" y="352"/>
                    </a:lnTo>
                    <a:lnTo>
                      <a:pt x="854" y="358"/>
                    </a:lnTo>
                    <a:lnTo>
                      <a:pt x="854" y="360"/>
                    </a:lnTo>
                    <a:lnTo>
                      <a:pt x="852" y="362"/>
                    </a:lnTo>
                    <a:lnTo>
                      <a:pt x="848" y="362"/>
                    </a:lnTo>
                    <a:lnTo>
                      <a:pt x="846" y="362"/>
                    </a:lnTo>
                    <a:lnTo>
                      <a:pt x="844" y="362"/>
                    </a:lnTo>
                    <a:lnTo>
                      <a:pt x="844" y="364"/>
                    </a:lnTo>
                    <a:lnTo>
                      <a:pt x="842" y="364"/>
                    </a:lnTo>
                    <a:lnTo>
                      <a:pt x="840" y="364"/>
                    </a:lnTo>
                    <a:lnTo>
                      <a:pt x="840" y="366"/>
                    </a:lnTo>
                    <a:lnTo>
                      <a:pt x="840" y="368"/>
                    </a:lnTo>
                    <a:lnTo>
                      <a:pt x="838" y="370"/>
                    </a:lnTo>
                    <a:lnTo>
                      <a:pt x="840" y="370"/>
                    </a:lnTo>
                    <a:lnTo>
                      <a:pt x="836" y="370"/>
                    </a:lnTo>
                    <a:lnTo>
                      <a:pt x="834" y="372"/>
                    </a:lnTo>
                    <a:lnTo>
                      <a:pt x="832" y="372"/>
                    </a:lnTo>
                    <a:lnTo>
                      <a:pt x="830" y="374"/>
                    </a:lnTo>
                    <a:lnTo>
                      <a:pt x="830" y="376"/>
                    </a:lnTo>
                    <a:lnTo>
                      <a:pt x="826" y="376"/>
                    </a:lnTo>
                    <a:lnTo>
                      <a:pt x="824" y="378"/>
                    </a:lnTo>
                    <a:lnTo>
                      <a:pt x="822" y="380"/>
                    </a:lnTo>
                    <a:lnTo>
                      <a:pt x="824" y="382"/>
                    </a:lnTo>
                    <a:lnTo>
                      <a:pt x="826" y="384"/>
                    </a:lnTo>
                    <a:lnTo>
                      <a:pt x="828" y="384"/>
                    </a:lnTo>
                    <a:lnTo>
                      <a:pt x="830" y="386"/>
                    </a:lnTo>
                    <a:lnTo>
                      <a:pt x="832" y="388"/>
                    </a:lnTo>
                    <a:lnTo>
                      <a:pt x="836" y="390"/>
                    </a:lnTo>
                    <a:lnTo>
                      <a:pt x="836" y="398"/>
                    </a:lnTo>
                    <a:lnTo>
                      <a:pt x="836" y="400"/>
                    </a:lnTo>
                    <a:lnTo>
                      <a:pt x="836" y="402"/>
                    </a:lnTo>
                    <a:lnTo>
                      <a:pt x="834" y="408"/>
                    </a:lnTo>
                    <a:lnTo>
                      <a:pt x="832" y="412"/>
                    </a:lnTo>
                    <a:lnTo>
                      <a:pt x="830" y="418"/>
                    </a:lnTo>
                    <a:lnTo>
                      <a:pt x="830" y="420"/>
                    </a:lnTo>
                    <a:lnTo>
                      <a:pt x="826" y="424"/>
                    </a:lnTo>
                    <a:lnTo>
                      <a:pt x="824" y="426"/>
                    </a:lnTo>
                    <a:lnTo>
                      <a:pt x="818" y="428"/>
                    </a:lnTo>
                    <a:lnTo>
                      <a:pt x="814" y="432"/>
                    </a:lnTo>
                    <a:lnTo>
                      <a:pt x="808" y="434"/>
                    </a:lnTo>
                    <a:lnTo>
                      <a:pt x="800" y="440"/>
                    </a:lnTo>
                    <a:lnTo>
                      <a:pt x="796" y="442"/>
                    </a:lnTo>
                    <a:lnTo>
                      <a:pt x="792" y="444"/>
                    </a:lnTo>
                    <a:lnTo>
                      <a:pt x="790" y="446"/>
                    </a:lnTo>
                    <a:lnTo>
                      <a:pt x="782" y="446"/>
                    </a:lnTo>
                    <a:lnTo>
                      <a:pt x="778" y="446"/>
                    </a:lnTo>
                    <a:lnTo>
                      <a:pt x="774" y="446"/>
                    </a:lnTo>
                    <a:lnTo>
                      <a:pt x="770" y="448"/>
                    </a:lnTo>
                    <a:lnTo>
                      <a:pt x="768" y="448"/>
                    </a:lnTo>
                    <a:lnTo>
                      <a:pt x="766" y="448"/>
                    </a:lnTo>
                    <a:lnTo>
                      <a:pt x="764" y="448"/>
                    </a:lnTo>
                    <a:lnTo>
                      <a:pt x="764" y="450"/>
                    </a:lnTo>
                    <a:lnTo>
                      <a:pt x="764" y="454"/>
                    </a:lnTo>
                    <a:lnTo>
                      <a:pt x="764" y="456"/>
                    </a:lnTo>
                    <a:lnTo>
                      <a:pt x="764" y="458"/>
                    </a:lnTo>
                    <a:lnTo>
                      <a:pt x="766" y="460"/>
                    </a:lnTo>
                    <a:lnTo>
                      <a:pt x="766" y="462"/>
                    </a:lnTo>
                    <a:lnTo>
                      <a:pt x="766" y="466"/>
                    </a:lnTo>
                    <a:lnTo>
                      <a:pt x="766" y="468"/>
                    </a:lnTo>
                    <a:lnTo>
                      <a:pt x="764" y="468"/>
                    </a:lnTo>
                    <a:lnTo>
                      <a:pt x="762" y="472"/>
                    </a:lnTo>
                    <a:lnTo>
                      <a:pt x="762" y="474"/>
                    </a:lnTo>
                    <a:lnTo>
                      <a:pt x="760" y="476"/>
                    </a:lnTo>
                    <a:lnTo>
                      <a:pt x="758" y="478"/>
                    </a:lnTo>
                    <a:lnTo>
                      <a:pt x="758" y="480"/>
                    </a:lnTo>
                    <a:lnTo>
                      <a:pt x="758" y="482"/>
                    </a:lnTo>
                    <a:lnTo>
                      <a:pt x="758" y="484"/>
                    </a:lnTo>
                    <a:lnTo>
                      <a:pt x="758" y="492"/>
                    </a:lnTo>
                    <a:lnTo>
                      <a:pt x="758" y="494"/>
                    </a:lnTo>
                    <a:lnTo>
                      <a:pt x="758" y="498"/>
                    </a:lnTo>
                    <a:lnTo>
                      <a:pt x="756" y="498"/>
                    </a:lnTo>
                    <a:lnTo>
                      <a:pt x="754" y="500"/>
                    </a:lnTo>
                    <a:lnTo>
                      <a:pt x="752" y="500"/>
                    </a:lnTo>
                    <a:lnTo>
                      <a:pt x="750" y="502"/>
                    </a:lnTo>
                    <a:lnTo>
                      <a:pt x="748" y="504"/>
                    </a:lnTo>
                    <a:lnTo>
                      <a:pt x="746" y="504"/>
                    </a:lnTo>
                    <a:lnTo>
                      <a:pt x="746" y="506"/>
                    </a:lnTo>
                    <a:lnTo>
                      <a:pt x="744" y="506"/>
                    </a:lnTo>
                    <a:lnTo>
                      <a:pt x="744" y="512"/>
                    </a:lnTo>
                    <a:lnTo>
                      <a:pt x="742" y="514"/>
                    </a:lnTo>
                    <a:lnTo>
                      <a:pt x="742" y="516"/>
                    </a:lnTo>
                    <a:lnTo>
                      <a:pt x="740" y="516"/>
                    </a:lnTo>
                    <a:lnTo>
                      <a:pt x="740" y="518"/>
                    </a:lnTo>
                    <a:lnTo>
                      <a:pt x="740" y="516"/>
                    </a:lnTo>
                    <a:lnTo>
                      <a:pt x="740" y="510"/>
                    </a:lnTo>
                    <a:lnTo>
                      <a:pt x="734" y="510"/>
                    </a:lnTo>
                    <a:lnTo>
                      <a:pt x="732" y="512"/>
                    </a:lnTo>
                    <a:lnTo>
                      <a:pt x="730" y="514"/>
                    </a:lnTo>
                    <a:lnTo>
                      <a:pt x="728" y="516"/>
                    </a:lnTo>
                    <a:lnTo>
                      <a:pt x="728" y="518"/>
                    </a:lnTo>
                    <a:lnTo>
                      <a:pt x="730" y="520"/>
                    </a:lnTo>
                    <a:lnTo>
                      <a:pt x="730" y="524"/>
                    </a:lnTo>
                    <a:lnTo>
                      <a:pt x="728" y="524"/>
                    </a:lnTo>
                    <a:lnTo>
                      <a:pt x="728" y="522"/>
                    </a:lnTo>
                    <a:lnTo>
                      <a:pt x="726" y="518"/>
                    </a:lnTo>
                    <a:lnTo>
                      <a:pt x="726" y="516"/>
                    </a:lnTo>
                    <a:lnTo>
                      <a:pt x="724" y="516"/>
                    </a:lnTo>
                    <a:lnTo>
                      <a:pt x="722" y="516"/>
                    </a:lnTo>
                    <a:lnTo>
                      <a:pt x="720" y="516"/>
                    </a:lnTo>
                    <a:lnTo>
                      <a:pt x="716" y="516"/>
                    </a:lnTo>
                    <a:lnTo>
                      <a:pt x="714" y="518"/>
                    </a:lnTo>
                    <a:lnTo>
                      <a:pt x="712" y="518"/>
                    </a:lnTo>
                    <a:lnTo>
                      <a:pt x="710" y="518"/>
                    </a:lnTo>
                    <a:lnTo>
                      <a:pt x="712" y="518"/>
                    </a:lnTo>
                    <a:lnTo>
                      <a:pt x="716" y="514"/>
                    </a:lnTo>
                    <a:lnTo>
                      <a:pt x="718" y="512"/>
                    </a:lnTo>
                    <a:lnTo>
                      <a:pt x="720" y="510"/>
                    </a:lnTo>
                    <a:lnTo>
                      <a:pt x="720" y="508"/>
                    </a:lnTo>
                    <a:lnTo>
                      <a:pt x="722" y="506"/>
                    </a:lnTo>
                    <a:lnTo>
                      <a:pt x="720" y="506"/>
                    </a:lnTo>
                    <a:lnTo>
                      <a:pt x="720" y="504"/>
                    </a:lnTo>
                    <a:lnTo>
                      <a:pt x="718" y="504"/>
                    </a:lnTo>
                    <a:lnTo>
                      <a:pt x="716" y="502"/>
                    </a:lnTo>
                    <a:lnTo>
                      <a:pt x="712" y="500"/>
                    </a:lnTo>
                    <a:lnTo>
                      <a:pt x="710" y="500"/>
                    </a:lnTo>
                    <a:lnTo>
                      <a:pt x="710" y="498"/>
                    </a:lnTo>
                    <a:lnTo>
                      <a:pt x="708" y="498"/>
                    </a:lnTo>
                    <a:lnTo>
                      <a:pt x="710" y="498"/>
                    </a:lnTo>
                    <a:lnTo>
                      <a:pt x="710" y="496"/>
                    </a:lnTo>
                    <a:lnTo>
                      <a:pt x="712" y="496"/>
                    </a:lnTo>
                    <a:lnTo>
                      <a:pt x="712" y="494"/>
                    </a:lnTo>
                    <a:lnTo>
                      <a:pt x="712" y="492"/>
                    </a:lnTo>
                    <a:lnTo>
                      <a:pt x="712" y="490"/>
                    </a:lnTo>
                    <a:lnTo>
                      <a:pt x="710" y="488"/>
                    </a:lnTo>
                    <a:lnTo>
                      <a:pt x="710" y="486"/>
                    </a:lnTo>
                    <a:lnTo>
                      <a:pt x="710" y="484"/>
                    </a:lnTo>
                    <a:lnTo>
                      <a:pt x="710" y="482"/>
                    </a:lnTo>
                    <a:lnTo>
                      <a:pt x="708" y="482"/>
                    </a:lnTo>
                    <a:lnTo>
                      <a:pt x="710" y="480"/>
                    </a:lnTo>
                    <a:lnTo>
                      <a:pt x="712" y="480"/>
                    </a:lnTo>
                    <a:lnTo>
                      <a:pt x="714" y="478"/>
                    </a:lnTo>
                    <a:lnTo>
                      <a:pt x="716" y="478"/>
                    </a:lnTo>
                    <a:lnTo>
                      <a:pt x="716" y="476"/>
                    </a:lnTo>
                    <a:lnTo>
                      <a:pt x="716" y="474"/>
                    </a:lnTo>
                    <a:lnTo>
                      <a:pt x="716" y="472"/>
                    </a:lnTo>
                    <a:lnTo>
                      <a:pt x="718" y="470"/>
                    </a:lnTo>
                    <a:lnTo>
                      <a:pt x="720" y="470"/>
                    </a:lnTo>
                    <a:lnTo>
                      <a:pt x="720" y="468"/>
                    </a:lnTo>
                    <a:lnTo>
                      <a:pt x="722" y="468"/>
                    </a:lnTo>
                    <a:lnTo>
                      <a:pt x="722" y="464"/>
                    </a:lnTo>
                    <a:lnTo>
                      <a:pt x="722" y="458"/>
                    </a:lnTo>
                    <a:lnTo>
                      <a:pt x="724" y="458"/>
                    </a:lnTo>
                    <a:lnTo>
                      <a:pt x="726" y="456"/>
                    </a:lnTo>
                    <a:lnTo>
                      <a:pt x="730" y="454"/>
                    </a:lnTo>
                    <a:lnTo>
                      <a:pt x="732" y="452"/>
                    </a:lnTo>
                    <a:lnTo>
                      <a:pt x="732" y="450"/>
                    </a:lnTo>
                    <a:lnTo>
                      <a:pt x="734" y="448"/>
                    </a:lnTo>
                    <a:lnTo>
                      <a:pt x="734" y="446"/>
                    </a:lnTo>
                    <a:lnTo>
                      <a:pt x="732" y="444"/>
                    </a:lnTo>
                    <a:lnTo>
                      <a:pt x="730" y="444"/>
                    </a:lnTo>
                    <a:lnTo>
                      <a:pt x="726" y="444"/>
                    </a:lnTo>
                    <a:lnTo>
                      <a:pt x="724" y="442"/>
                    </a:lnTo>
                    <a:lnTo>
                      <a:pt x="722" y="442"/>
                    </a:lnTo>
                    <a:lnTo>
                      <a:pt x="716" y="442"/>
                    </a:lnTo>
                    <a:lnTo>
                      <a:pt x="696" y="442"/>
                    </a:lnTo>
                    <a:lnTo>
                      <a:pt x="694" y="442"/>
                    </a:lnTo>
                    <a:lnTo>
                      <a:pt x="692" y="444"/>
                    </a:lnTo>
                    <a:lnTo>
                      <a:pt x="690" y="444"/>
                    </a:lnTo>
                    <a:lnTo>
                      <a:pt x="688" y="444"/>
                    </a:lnTo>
                    <a:lnTo>
                      <a:pt x="690" y="442"/>
                    </a:lnTo>
                    <a:lnTo>
                      <a:pt x="690" y="440"/>
                    </a:lnTo>
                    <a:lnTo>
                      <a:pt x="692" y="438"/>
                    </a:lnTo>
                    <a:lnTo>
                      <a:pt x="692" y="436"/>
                    </a:lnTo>
                    <a:lnTo>
                      <a:pt x="690" y="434"/>
                    </a:lnTo>
                    <a:lnTo>
                      <a:pt x="688" y="434"/>
                    </a:lnTo>
                    <a:lnTo>
                      <a:pt x="686" y="434"/>
                    </a:lnTo>
                    <a:lnTo>
                      <a:pt x="682" y="434"/>
                    </a:lnTo>
                    <a:lnTo>
                      <a:pt x="680" y="432"/>
                    </a:lnTo>
                    <a:lnTo>
                      <a:pt x="676" y="432"/>
                    </a:lnTo>
                    <a:lnTo>
                      <a:pt x="672" y="430"/>
                    </a:lnTo>
                    <a:lnTo>
                      <a:pt x="670" y="430"/>
                    </a:lnTo>
                    <a:lnTo>
                      <a:pt x="670" y="424"/>
                    </a:lnTo>
                    <a:lnTo>
                      <a:pt x="668" y="422"/>
                    </a:lnTo>
                    <a:lnTo>
                      <a:pt x="666" y="418"/>
                    </a:lnTo>
                    <a:lnTo>
                      <a:pt x="664" y="416"/>
                    </a:lnTo>
                    <a:lnTo>
                      <a:pt x="662" y="416"/>
                    </a:lnTo>
                    <a:lnTo>
                      <a:pt x="660" y="414"/>
                    </a:lnTo>
                    <a:lnTo>
                      <a:pt x="658" y="412"/>
                    </a:lnTo>
                    <a:lnTo>
                      <a:pt x="654" y="412"/>
                    </a:lnTo>
                    <a:lnTo>
                      <a:pt x="650" y="412"/>
                    </a:lnTo>
                    <a:lnTo>
                      <a:pt x="648" y="410"/>
                    </a:lnTo>
                    <a:lnTo>
                      <a:pt x="646" y="408"/>
                    </a:lnTo>
                    <a:lnTo>
                      <a:pt x="642" y="408"/>
                    </a:lnTo>
                    <a:lnTo>
                      <a:pt x="630" y="408"/>
                    </a:lnTo>
                    <a:lnTo>
                      <a:pt x="624" y="408"/>
                    </a:lnTo>
                    <a:lnTo>
                      <a:pt x="618" y="410"/>
                    </a:lnTo>
                    <a:lnTo>
                      <a:pt x="614" y="410"/>
                    </a:lnTo>
                    <a:lnTo>
                      <a:pt x="612" y="410"/>
                    </a:lnTo>
                    <a:lnTo>
                      <a:pt x="608" y="410"/>
                    </a:lnTo>
                    <a:lnTo>
                      <a:pt x="606" y="412"/>
                    </a:lnTo>
                    <a:lnTo>
                      <a:pt x="608" y="410"/>
                    </a:lnTo>
                    <a:lnTo>
                      <a:pt x="612" y="408"/>
                    </a:lnTo>
                    <a:lnTo>
                      <a:pt x="614" y="408"/>
                    </a:lnTo>
                    <a:lnTo>
                      <a:pt x="616" y="406"/>
                    </a:lnTo>
                    <a:lnTo>
                      <a:pt x="616" y="404"/>
                    </a:lnTo>
                    <a:lnTo>
                      <a:pt x="616" y="402"/>
                    </a:lnTo>
                    <a:lnTo>
                      <a:pt x="618" y="400"/>
                    </a:lnTo>
                    <a:lnTo>
                      <a:pt x="618" y="398"/>
                    </a:lnTo>
                    <a:lnTo>
                      <a:pt x="620" y="394"/>
                    </a:lnTo>
                    <a:lnTo>
                      <a:pt x="620" y="390"/>
                    </a:lnTo>
                    <a:lnTo>
                      <a:pt x="622" y="386"/>
                    </a:lnTo>
                    <a:lnTo>
                      <a:pt x="622" y="384"/>
                    </a:lnTo>
                    <a:lnTo>
                      <a:pt x="624" y="382"/>
                    </a:lnTo>
                    <a:lnTo>
                      <a:pt x="624" y="380"/>
                    </a:lnTo>
                    <a:lnTo>
                      <a:pt x="622" y="380"/>
                    </a:lnTo>
                    <a:lnTo>
                      <a:pt x="618" y="380"/>
                    </a:lnTo>
                    <a:lnTo>
                      <a:pt x="616" y="378"/>
                    </a:lnTo>
                    <a:lnTo>
                      <a:pt x="612" y="378"/>
                    </a:lnTo>
                    <a:lnTo>
                      <a:pt x="612" y="380"/>
                    </a:lnTo>
                    <a:lnTo>
                      <a:pt x="610" y="380"/>
                    </a:lnTo>
                    <a:lnTo>
                      <a:pt x="608" y="382"/>
                    </a:lnTo>
                    <a:lnTo>
                      <a:pt x="606" y="384"/>
                    </a:lnTo>
                    <a:lnTo>
                      <a:pt x="604" y="386"/>
                    </a:lnTo>
                    <a:lnTo>
                      <a:pt x="602" y="386"/>
                    </a:lnTo>
                    <a:lnTo>
                      <a:pt x="604" y="384"/>
                    </a:lnTo>
                    <a:lnTo>
                      <a:pt x="606" y="382"/>
                    </a:lnTo>
                    <a:lnTo>
                      <a:pt x="606" y="380"/>
                    </a:lnTo>
                    <a:lnTo>
                      <a:pt x="606" y="376"/>
                    </a:lnTo>
                    <a:lnTo>
                      <a:pt x="606" y="372"/>
                    </a:lnTo>
                    <a:lnTo>
                      <a:pt x="616" y="364"/>
                    </a:lnTo>
                    <a:lnTo>
                      <a:pt x="616" y="360"/>
                    </a:lnTo>
                    <a:lnTo>
                      <a:pt x="618" y="358"/>
                    </a:lnTo>
                    <a:lnTo>
                      <a:pt x="620" y="356"/>
                    </a:lnTo>
                    <a:lnTo>
                      <a:pt x="620" y="354"/>
                    </a:lnTo>
                    <a:lnTo>
                      <a:pt x="622" y="352"/>
                    </a:lnTo>
                    <a:lnTo>
                      <a:pt x="624" y="352"/>
                    </a:lnTo>
                    <a:lnTo>
                      <a:pt x="630" y="348"/>
                    </a:lnTo>
                    <a:lnTo>
                      <a:pt x="634" y="344"/>
                    </a:lnTo>
                    <a:lnTo>
                      <a:pt x="640" y="340"/>
                    </a:lnTo>
                    <a:lnTo>
                      <a:pt x="642" y="340"/>
                    </a:lnTo>
                    <a:lnTo>
                      <a:pt x="644" y="338"/>
                    </a:lnTo>
                    <a:lnTo>
                      <a:pt x="646" y="338"/>
                    </a:lnTo>
                    <a:lnTo>
                      <a:pt x="648" y="338"/>
                    </a:lnTo>
                    <a:lnTo>
                      <a:pt x="646" y="336"/>
                    </a:lnTo>
                    <a:lnTo>
                      <a:pt x="646" y="334"/>
                    </a:lnTo>
                    <a:lnTo>
                      <a:pt x="644" y="334"/>
                    </a:lnTo>
                    <a:lnTo>
                      <a:pt x="648" y="332"/>
                    </a:lnTo>
                    <a:lnTo>
                      <a:pt x="650" y="332"/>
                    </a:lnTo>
                    <a:lnTo>
                      <a:pt x="652" y="330"/>
                    </a:lnTo>
                    <a:lnTo>
                      <a:pt x="654" y="330"/>
                    </a:lnTo>
                    <a:lnTo>
                      <a:pt x="656" y="330"/>
                    </a:lnTo>
                    <a:lnTo>
                      <a:pt x="658" y="328"/>
                    </a:lnTo>
                    <a:lnTo>
                      <a:pt x="660" y="328"/>
                    </a:lnTo>
                    <a:lnTo>
                      <a:pt x="660" y="326"/>
                    </a:lnTo>
                    <a:lnTo>
                      <a:pt x="662" y="324"/>
                    </a:lnTo>
                    <a:lnTo>
                      <a:pt x="664" y="324"/>
                    </a:lnTo>
                    <a:lnTo>
                      <a:pt x="666" y="322"/>
                    </a:lnTo>
                    <a:lnTo>
                      <a:pt x="670" y="322"/>
                    </a:lnTo>
                    <a:lnTo>
                      <a:pt x="670" y="318"/>
                    </a:lnTo>
                    <a:lnTo>
                      <a:pt x="674" y="316"/>
                    </a:lnTo>
                    <a:lnTo>
                      <a:pt x="678" y="316"/>
                    </a:lnTo>
                    <a:lnTo>
                      <a:pt x="680" y="316"/>
                    </a:lnTo>
                    <a:lnTo>
                      <a:pt x="682" y="314"/>
                    </a:lnTo>
                    <a:lnTo>
                      <a:pt x="684" y="312"/>
                    </a:lnTo>
                    <a:lnTo>
                      <a:pt x="686" y="312"/>
                    </a:lnTo>
                    <a:lnTo>
                      <a:pt x="690" y="308"/>
                    </a:lnTo>
                    <a:lnTo>
                      <a:pt x="704" y="308"/>
                    </a:lnTo>
                    <a:lnTo>
                      <a:pt x="710" y="306"/>
                    </a:lnTo>
                    <a:lnTo>
                      <a:pt x="712" y="306"/>
                    </a:lnTo>
                    <a:lnTo>
                      <a:pt x="714" y="306"/>
                    </a:lnTo>
                    <a:lnTo>
                      <a:pt x="716" y="304"/>
                    </a:lnTo>
                    <a:lnTo>
                      <a:pt x="716" y="302"/>
                    </a:lnTo>
                    <a:lnTo>
                      <a:pt x="716" y="300"/>
                    </a:lnTo>
                    <a:lnTo>
                      <a:pt x="714" y="298"/>
                    </a:lnTo>
                    <a:lnTo>
                      <a:pt x="714" y="296"/>
                    </a:lnTo>
                    <a:lnTo>
                      <a:pt x="712" y="294"/>
                    </a:lnTo>
                    <a:lnTo>
                      <a:pt x="710" y="294"/>
                    </a:lnTo>
                    <a:lnTo>
                      <a:pt x="710" y="292"/>
                    </a:lnTo>
                    <a:lnTo>
                      <a:pt x="708" y="294"/>
                    </a:lnTo>
                    <a:lnTo>
                      <a:pt x="702" y="294"/>
                    </a:lnTo>
                    <a:lnTo>
                      <a:pt x="700" y="294"/>
                    </a:lnTo>
                    <a:lnTo>
                      <a:pt x="696" y="294"/>
                    </a:lnTo>
                    <a:lnTo>
                      <a:pt x="696" y="292"/>
                    </a:lnTo>
                    <a:lnTo>
                      <a:pt x="698" y="292"/>
                    </a:lnTo>
                    <a:lnTo>
                      <a:pt x="696" y="292"/>
                    </a:lnTo>
                    <a:lnTo>
                      <a:pt x="694" y="290"/>
                    </a:lnTo>
                    <a:lnTo>
                      <a:pt x="692" y="290"/>
                    </a:lnTo>
                    <a:lnTo>
                      <a:pt x="690" y="288"/>
                    </a:lnTo>
                    <a:lnTo>
                      <a:pt x="688" y="288"/>
                    </a:lnTo>
                    <a:lnTo>
                      <a:pt x="686" y="288"/>
                    </a:lnTo>
                    <a:lnTo>
                      <a:pt x="686" y="286"/>
                    </a:lnTo>
                    <a:lnTo>
                      <a:pt x="688" y="286"/>
                    </a:lnTo>
                    <a:lnTo>
                      <a:pt x="690" y="286"/>
                    </a:lnTo>
                    <a:lnTo>
                      <a:pt x="694" y="286"/>
                    </a:lnTo>
                    <a:lnTo>
                      <a:pt x="698" y="286"/>
                    </a:lnTo>
                    <a:lnTo>
                      <a:pt x="700" y="288"/>
                    </a:lnTo>
                    <a:lnTo>
                      <a:pt x="702" y="288"/>
                    </a:lnTo>
                    <a:lnTo>
                      <a:pt x="704" y="288"/>
                    </a:lnTo>
                    <a:lnTo>
                      <a:pt x="706" y="290"/>
                    </a:lnTo>
                    <a:lnTo>
                      <a:pt x="708" y="290"/>
                    </a:lnTo>
                    <a:lnTo>
                      <a:pt x="710" y="290"/>
                    </a:lnTo>
                    <a:lnTo>
                      <a:pt x="710" y="292"/>
                    </a:lnTo>
                    <a:lnTo>
                      <a:pt x="712" y="292"/>
                    </a:lnTo>
                    <a:lnTo>
                      <a:pt x="714" y="294"/>
                    </a:lnTo>
                    <a:lnTo>
                      <a:pt x="716" y="294"/>
                    </a:lnTo>
                    <a:lnTo>
                      <a:pt x="720" y="296"/>
                    </a:lnTo>
                    <a:lnTo>
                      <a:pt x="724" y="296"/>
                    </a:lnTo>
                    <a:lnTo>
                      <a:pt x="728" y="294"/>
                    </a:lnTo>
                    <a:lnTo>
                      <a:pt x="730" y="292"/>
                    </a:lnTo>
                    <a:lnTo>
                      <a:pt x="732" y="290"/>
                    </a:lnTo>
                    <a:lnTo>
                      <a:pt x="734" y="288"/>
                    </a:lnTo>
                    <a:lnTo>
                      <a:pt x="736" y="286"/>
                    </a:lnTo>
                    <a:lnTo>
                      <a:pt x="736" y="284"/>
                    </a:lnTo>
                    <a:lnTo>
                      <a:pt x="738" y="284"/>
                    </a:lnTo>
                    <a:lnTo>
                      <a:pt x="738" y="282"/>
                    </a:lnTo>
                    <a:lnTo>
                      <a:pt x="740" y="282"/>
                    </a:lnTo>
                    <a:lnTo>
                      <a:pt x="740" y="284"/>
                    </a:lnTo>
                    <a:lnTo>
                      <a:pt x="742" y="284"/>
                    </a:lnTo>
                    <a:lnTo>
                      <a:pt x="744" y="286"/>
                    </a:lnTo>
                    <a:lnTo>
                      <a:pt x="746" y="286"/>
                    </a:lnTo>
                    <a:lnTo>
                      <a:pt x="748" y="286"/>
                    </a:lnTo>
                    <a:lnTo>
                      <a:pt x="750" y="288"/>
                    </a:lnTo>
                    <a:lnTo>
                      <a:pt x="754" y="288"/>
                    </a:lnTo>
                    <a:lnTo>
                      <a:pt x="754" y="286"/>
                    </a:lnTo>
                    <a:lnTo>
                      <a:pt x="756" y="286"/>
                    </a:lnTo>
                    <a:lnTo>
                      <a:pt x="758" y="286"/>
                    </a:lnTo>
                    <a:lnTo>
                      <a:pt x="762" y="284"/>
                    </a:lnTo>
                    <a:lnTo>
                      <a:pt x="766" y="282"/>
                    </a:lnTo>
                    <a:lnTo>
                      <a:pt x="768" y="280"/>
                    </a:lnTo>
                    <a:lnTo>
                      <a:pt x="772" y="280"/>
                    </a:lnTo>
                    <a:lnTo>
                      <a:pt x="776" y="278"/>
                    </a:lnTo>
                    <a:lnTo>
                      <a:pt x="778" y="276"/>
                    </a:lnTo>
                    <a:lnTo>
                      <a:pt x="782" y="276"/>
                    </a:lnTo>
                    <a:lnTo>
                      <a:pt x="786" y="272"/>
                    </a:lnTo>
                    <a:lnTo>
                      <a:pt x="788" y="270"/>
                    </a:lnTo>
                    <a:lnTo>
                      <a:pt x="790" y="270"/>
                    </a:lnTo>
                    <a:lnTo>
                      <a:pt x="790" y="268"/>
                    </a:lnTo>
                    <a:lnTo>
                      <a:pt x="788" y="268"/>
                    </a:lnTo>
                    <a:lnTo>
                      <a:pt x="776" y="268"/>
                    </a:lnTo>
                    <a:lnTo>
                      <a:pt x="772" y="266"/>
                    </a:lnTo>
                    <a:lnTo>
                      <a:pt x="766" y="266"/>
                    </a:lnTo>
                    <a:lnTo>
                      <a:pt x="764" y="264"/>
                    </a:lnTo>
                    <a:lnTo>
                      <a:pt x="764" y="262"/>
                    </a:lnTo>
                    <a:lnTo>
                      <a:pt x="764" y="260"/>
                    </a:lnTo>
                    <a:lnTo>
                      <a:pt x="760" y="260"/>
                    </a:lnTo>
                    <a:lnTo>
                      <a:pt x="758" y="258"/>
                    </a:lnTo>
                    <a:lnTo>
                      <a:pt x="754" y="258"/>
                    </a:lnTo>
                    <a:lnTo>
                      <a:pt x="752" y="256"/>
                    </a:lnTo>
                    <a:lnTo>
                      <a:pt x="750" y="256"/>
                    </a:lnTo>
                    <a:lnTo>
                      <a:pt x="748" y="256"/>
                    </a:lnTo>
                    <a:lnTo>
                      <a:pt x="748" y="254"/>
                    </a:lnTo>
                    <a:lnTo>
                      <a:pt x="746" y="254"/>
                    </a:lnTo>
                    <a:lnTo>
                      <a:pt x="744" y="254"/>
                    </a:lnTo>
                    <a:lnTo>
                      <a:pt x="748" y="254"/>
                    </a:lnTo>
                    <a:lnTo>
                      <a:pt x="748" y="252"/>
                    </a:lnTo>
                    <a:lnTo>
                      <a:pt x="758" y="252"/>
                    </a:lnTo>
                    <a:lnTo>
                      <a:pt x="762" y="252"/>
                    </a:lnTo>
                    <a:lnTo>
                      <a:pt x="766" y="252"/>
                    </a:lnTo>
                    <a:lnTo>
                      <a:pt x="770" y="252"/>
                    </a:lnTo>
                    <a:lnTo>
                      <a:pt x="772" y="254"/>
                    </a:lnTo>
                    <a:lnTo>
                      <a:pt x="774" y="256"/>
                    </a:lnTo>
                    <a:lnTo>
                      <a:pt x="776" y="258"/>
                    </a:lnTo>
                    <a:lnTo>
                      <a:pt x="778" y="260"/>
                    </a:lnTo>
                    <a:lnTo>
                      <a:pt x="782" y="264"/>
                    </a:lnTo>
                    <a:lnTo>
                      <a:pt x="788" y="264"/>
                    </a:lnTo>
                    <a:lnTo>
                      <a:pt x="790" y="264"/>
                    </a:lnTo>
                    <a:lnTo>
                      <a:pt x="792" y="262"/>
                    </a:lnTo>
                    <a:lnTo>
                      <a:pt x="798" y="260"/>
                    </a:lnTo>
                    <a:lnTo>
                      <a:pt x="804" y="258"/>
                    </a:lnTo>
                    <a:lnTo>
                      <a:pt x="808" y="254"/>
                    </a:lnTo>
                    <a:lnTo>
                      <a:pt x="812" y="254"/>
                    </a:lnTo>
                    <a:lnTo>
                      <a:pt x="814" y="252"/>
                    </a:lnTo>
                    <a:lnTo>
                      <a:pt x="816" y="252"/>
                    </a:lnTo>
                    <a:lnTo>
                      <a:pt x="818" y="252"/>
                    </a:lnTo>
                    <a:lnTo>
                      <a:pt x="818" y="250"/>
                    </a:lnTo>
                    <a:lnTo>
                      <a:pt x="816" y="250"/>
                    </a:lnTo>
                    <a:lnTo>
                      <a:pt x="814" y="248"/>
                    </a:lnTo>
                    <a:lnTo>
                      <a:pt x="812" y="248"/>
                    </a:lnTo>
                    <a:lnTo>
                      <a:pt x="812" y="246"/>
                    </a:lnTo>
                    <a:lnTo>
                      <a:pt x="814" y="246"/>
                    </a:lnTo>
                    <a:lnTo>
                      <a:pt x="816" y="244"/>
                    </a:lnTo>
                    <a:lnTo>
                      <a:pt x="818" y="244"/>
                    </a:lnTo>
                    <a:lnTo>
                      <a:pt x="828" y="244"/>
                    </a:lnTo>
                    <a:lnTo>
                      <a:pt x="830" y="246"/>
                    </a:lnTo>
                    <a:lnTo>
                      <a:pt x="830" y="248"/>
                    </a:lnTo>
                    <a:lnTo>
                      <a:pt x="834" y="250"/>
                    </a:lnTo>
                    <a:lnTo>
                      <a:pt x="836" y="250"/>
                    </a:lnTo>
                    <a:lnTo>
                      <a:pt x="838" y="250"/>
                    </a:lnTo>
                    <a:lnTo>
                      <a:pt x="838" y="246"/>
                    </a:lnTo>
                    <a:lnTo>
                      <a:pt x="840" y="246"/>
                    </a:lnTo>
                    <a:lnTo>
                      <a:pt x="840" y="248"/>
                    </a:lnTo>
                    <a:lnTo>
                      <a:pt x="842" y="248"/>
                    </a:lnTo>
                    <a:lnTo>
                      <a:pt x="842" y="250"/>
                    </a:lnTo>
                    <a:lnTo>
                      <a:pt x="846" y="250"/>
                    </a:lnTo>
                    <a:lnTo>
                      <a:pt x="846" y="244"/>
                    </a:lnTo>
                    <a:lnTo>
                      <a:pt x="844" y="244"/>
                    </a:lnTo>
                    <a:lnTo>
                      <a:pt x="844" y="242"/>
                    </a:lnTo>
                    <a:lnTo>
                      <a:pt x="842" y="242"/>
                    </a:lnTo>
                    <a:lnTo>
                      <a:pt x="842" y="240"/>
                    </a:lnTo>
                    <a:lnTo>
                      <a:pt x="840" y="240"/>
                    </a:lnTo>
                    <a:lnTo>
                      <a:pt x="838" y="238"/>
                    </a:lnTo>
                    <a:lnTo>
                      <a:pt x="836" y="238"/>
                    </a:lnTo>
                    <a:lnTo>
                      <a:pt x="840" y="238"/>
                    </a:lnTo>
                    <a:lnTo>
                      <a:pt x="842" y="236"/>
                    </a:lnTo>
                    <a:lnTo>
                      <a:pt x="844" y="236"/>
                    </a:lnTo>
                    <a:lnTo>
                      <a:pt x="846" y="236"/>
                    </a:lnTo>
                    <a:lnTo>
                      <a:pt x="846" y="238"/>
                    </a:lnTo>
                    <a:lnTo>
                      <a:pt x="848" y="240"/>
                    </a:lnTo>
                    <a:lnTo>
                      <a:pt x="850" y="242"/>
                    </a:lnTo>
                    <a:lnTo>
                      <a:pt x="850" y="244"/>
                    </a:lnTo>
                    <a:lnTo>
                      <a:pt x="852" y="246"/>
                    </a:lnTo>
                    <a:lnTo>
                      <a:pt x="854" y="248"/>
                    </a:lnTo>
                    <a:lnTo>
                      <a:pt x="856" y="248"/>
                    </a:lnTo>
                    <a:lnTo>
                      <a:pt x="860" y="248"/>
                    </a:lnTo>
                    <a:lnTo>
                      <a:pt x="862" y="246"/>
                    </a:lnTo>
                    <a:lnTo>
                      <a:pt x="866" y="246"/>
                    </a:lnTo>
                    <a:lnTo>
                      <a:pt x="870" y="244"/>
                    </a:lnTo>
                    <a:lnTo>
                      <a:pt x="876" y="242"/>
                    </a:lnTo>
                    <a:lnTo>
                      <a:pt x="880" y="240"/>
                    </a:lnTo>
                    <a:lnTo>
                      <a:pt x="884" y="238"/>
                    </a:lnTo>
                    <a:lnTo>
                      <a:pt x="886" y="238"/>
                    </a:lnTo>
                    <a:lnTo>
                      <a:pt x="890" y="236"/>
                    </a:lnTo>
                    <a:lnTo>
                      <a:pt x="892" y="234"/>
                    </a:lnTo>
                    <a:lnTo>
                      <a:pt x="892" y="232"/>
                    </a:lnTo>
                    <a:lnTo>
                      <a:pt x="894" y="230"/>
                    </a:lnTo>
                    <a:lnTo>
                      <a:pt x="892" y="230"/>
                    </a:lnTo>
                    <a:lnTo>
                      <a:pt x="890" y="226"/>
                    </a:lnTo>
                    <a:lnTo>
                      <a:pt x="890" y="224"/>
                    </a:lnTo>
                    <a:lnTo>
                      <a:pt x="888" y="222"/>
                    </a:lnTo>
                    <a:lnTo>
                      <a:pt x="886" y="220"/>
                    </a:lnTo>
                    <a:lnTo>
                      <a:pt x="886" y="218"/>
                    </a:lnTo>
                    <a:lnTo>
                      <a:pt x="888" y="216"/>
                    </a:lnTo>
                    <a:lnTo>
                      <a:pt x="888" y="214"/>
                    </a:lnTo>
                    <a:lnTo>
                      <a:pt x="890" y="214"/>
                    </a:lnTo>
                    <a:lnTo>
                      <a:pt x="892" y="214"/>
                    </a:lnTo>
                    <a:lnTo>
                      <a:pt x="896" y="212"/>
                    </a:lnTo>
                    <a:lnTo>
                      <a:pt x="900" y="212"/>
                    </a:lnTo>
                    <a:lnTo>
                      <a:pt x="904" y="212"/>
                    </a:lnTo>
                    <a:lnTo>
                      <a:pt x="906" y="210"/>
                    </a:lnTo>
                    <a:lnTo>
                      <a:pt x="908" y="210"/>
                    </a:lnTo>
                    <a:lnTo>
                      <a:pt x="910" y="210"/>
                    </a:lnTo>
                    <a:lnTo>
                      <a:pt x="910" y="206"/>
                    </a:lnTo>
                    <a:lnTo>
                      <a:pt x="908" y="202"/>
                    </a:lnTo>
                    <a:lnTo>
                      <a:pt x="908" y="200"/>
                    </a:lnTo>
                    <a:lnTo>
                      <a:pt x="906" y="200"/>
                    </a:lnTo>
                    <a:lnTo>
                      <a:pt x="906" y="198"/>
                    </a:lnTo>
                    <a:lnTo>
                      <a:pt x="904" y="196"/>
                    </a:lnTo>
                    <a:lnTo>
                      <a:pt x="902" y="194"/>
                    </a:lnTo>
                    <a:lnTo>
                      <a:pt x="902" y="192"/>
                    </a:lnTo>
                    <a:lnTo>
                      <a:pt x="898" y="192"/>
                    </a:lnTo>
                    <a:lnTo>
                      <a:pt x="896" y="192"/>
                    </a:lnTo>
                    <a:lnTo>
                      <a:pt x="894" y="192"/>
                    </a:lnTo>
                    <a:lnTo>
                      <a:pt x="890" y="190"/>
                    </a:lnTo>
                    <a:lnTo>
                      <a:pt x="878" y="190"/>
                    </a:lnTo>
                    <a:lnTo>
                      <a:pt x="874" y="192"/>
                    </a:lnTo>
                    <a:lnTo>
                      <a:pt x="872" y="192"/>
                    </a:lnTo>
                    <a:lnTo>
                      <a:pt x="870" y="194"/>
                    </a:lnTo>
                    <a:lnTo>
                      <a:pt x="868" y="196"/>
                    </a:lnTo>
                    <a:lnTo>
                      <a:pt x="866" y="198"/>
                    </a:lnTo>
                    <a:lnTo>
                      <a:pt x="866" y="200"/>
                    </a:lnTo>
                    <a:lnTo>
                      <a:pt x="868" y="202"/>
                    </a:lnTo>
                    <a:lnTo>
                      <a:pt x="868" y="204"/>
                    </a:lnTo>
                    <a:lnTo>
                      <a:pt x="870" y="204"/>
                    </a:lnTo>
                    <a:lnTo>
                      <a:pt x="866" y="206"/>
                    </a:lnTo>
                    <a:lnTo>
                      <a:pt x="864" y="206"/>
                    </a:lnTo>
                    <a:lnTo>
                      <a:pt x="862" y="208"/>
                    </a:lnTo>
                    <a:lnTo>
                      <a:pt x="856" y="208"/>
                    </a:lnTo>
                    <a:lnTo>
                      <a:pt x="850" y="212"/>
                    </a:lnTo>
                    <a:lnTo>
                      <a:pt x="848" y="214"/>
                    </a:lnTo>
                    <a:lnTo>
                      <a:pt x="846" y="216"/>
                    </a:lnTo>
                    <a:lnTo>
                      <a:pt x="844" y="216"/>
                    </a:lnTo>
                    <a:lnTo>
                      <a:pt x="844" y="218"/>
                    </a:lnTo>
                    <a:lnTo>
                      <a:pt x="842" y="218"/>
                    </a:lnTo>
                    <a:lnTo>
                      <a:pt x="840" y="220"/>
                    </a:lnTo>
                    <a:lnTo>
                      <a:pt x="838" y="220"/>
                    </a:lnTo>
                    <a:lnTo>
                      <a:pt x="836" y="220"/>
                    </a:lnTo>
                    <a:lnTo>
                      <a:pt x="834" y="222"/>
                    </a:lnTo>
                    <a:lnTo>
                      <a:pt x="832" y="222"/>
                    </a:lnTo>
                    <a:lnTo>
                      <a:pt x="832" y="224"/>
                    </a:lnTo>
                    <a:lnTo>
                      <a:pt x="830" y="226"/>
                    </a:lnTo>
                    <a:lnTo>
                      <a:pt x="830" y="228"/>
                    </a:lnTo>
                    <a:lnTo>
                      <a:pt x="828" y="230"/>
                    </a:lnTo>
                    <a:lnTo>
                      <a:pt x="826" y="230"/>
                    </a:lnTo>
                    <a:lnTo>
                      <a:pt x="824" y="232"/>
                    </a:lnTo>
                    <a:lnTo>
                      <a:pt x="820" y="232"/>
                    </a:lnTo>
                    <a:lnTo>
                      <a:pt x="816" y="232"/>
                    </a:lnTo>
                    <a:lnTo>
                      <a:pt x="814" y="234"/>
                    </a:lnTo>
                    <a:lnTo>
                      <a:pt x="812" y="236"/>
                    </a:lnTo>
                    <a:lnTo>
                      <a:pt x="810" y="236"/>
                    </a:lnTo>
                    <a:lnTo>
                      <a:pt x="810" y="234"/>
                    </a:lnTo>
                    <a:lnTo>
                      <a:pt x="810" y="232"/>
                    </a:lnTo>
                    <a:lnTo>
                      <a:pt x="810" y="228"/>
                    </a:lnTo>
                    <a:lnTo>
                      <a:pt x="808" y="226"/>
                    </a:lnTo>
                    <a:lnTo>
                      <a:pt x="808" y="220"/>
                    </a:lnTo>
                    <a:lnTo>
                      <a:pt x="810" y="220"/>
                    </a:lnTo>
                    <a:lnTo>
                      <a:pt x="810" y="218"/>
                    </a:lnTo>
                    <a:lnTo>
                      <a:pt x="812" y="218"/>
                    </a:lnTo>
                    <a:lnTo>
                      <a:pt x="814" y="218"/>
                    </a:lnTo>
                    <a:lnTo>
                      <a:pt x="818" y="216"/>
                    </a:lnTo>
                    <a:lnTo>
                      <a:pt x="820" y="216"/>
                    </a:lnTo>
                    <a:lnTo>
                      <a:pt x="822" y="216"/>
                    </a:lnTo>
                    <a:lnTo>
                      <a:pt x="824" y="214"/>
                    </a:lnTo>
                    <a:lnTo>
                      <a:pt x="824" y="212"/>
                    </a:lnTo>
                    <a:lnTo>
                      <a:pt x="826" y="210"/>
                    </a:lnTo>
                    <a:lnTo>
                      <a:pt x="824" y="208"/>
                    </a:lnTo>
                    <a:lnTo>
                      <a:pt x="824" y="206"/>
                    </a:lnTo>
                    <a:lnTo>
                      <a:pt x="824" y="204"/>
                    </a:lnTo>
                    <a:lnTo>
                      <a:pt x="822" y="202"/>
                    </a:lnTo>
                    <a:lnTo>
                      <a:pt x="820" y="200"/>
                    </a:lnTo>
                    <a:lnTo>
                      <a:pt x="818" y="200"/>
                    </a:lnTo>
                    <a:lnTo>
                      <a:pt x="816" y="200"/>
                    </a:lnTo>
                    <a:lnTo>
                      <a:pt x="812" y="202"/>
                    </a:lnTo>
                    <a:lnTo>
                      <a:pt x="808" y="204"/>
                    </a:lnTo>
                    <a:lnTo>
                      <a:pt x="806" y="206"/>
                    </a:lnTo>
                    <a:lnTo>
                      <a:pt x="802" y="208"/>
                    </a:lnTo>
                    <a:lnTo>
                      <a:pt x="800" y="208"/>
                    </a:lnTo>
                    <a:lnTo>
                      <a:pt x="798" y="210"/>
                    </a:lnTo>
                    <a:lnTo>
                      <a:pt x="796" y="212"/>
                    </a:lnTo>
                    <a:lnTo>
                      <a:pt x="794" y="214"/>
                    </a:lnTo>
                    <a:lnTo>
                      <a:pt x="794" y="216"/>
                    </a:lnTo>
                    <a:lnTo>
                      <a:pt x="792" y="216"/>
                    </a:lnTo>
                    <a:lnTo>
                      <a:pt x="792" y="214"/>
                    </a:lnTo>
                    <a:lnTo>
                      <a:pt x="790" y="214"/>
                    </a:lnTo>
                    <a:lnTo>
                      <a:pt x="790" y="212"/>
                    </a:lnTo>
                    <a:lnTo>
                      <a:pt x="792" y="210"/>
                    </a:lnTo>
                    <a:lnTo>
                      <a:pt x="794" y="208"/>
                    </a:lnTo>
                    <a:lnTo>
                      <a:pt x="796" y="208"/>
                    </a:lnTo>
                    <a:lnTo>
                      <a:pt x="796" y="206"/>
                    </a:lnTo>
                    <a:lnTo>
                      <a:pt x="798" y="206"/>
                    </a:lnTo>
                    <a:lnTo>
                      <a:pt x="796" y="204"/>
                    </a:lnTo>
                    <a:lnTo>
                      <a:pt x="796" y="202"/>
                    </a:lnTo>
                    <a:lnTo>
                      <a:pt x="798" y="200"/>
                    </a:lnTo>
                    <a:lnTo>
                      <a:pt x="800" y="200"/>
                    </a:lnTo>
                    <a:lnTo>
                      <a:pt x="802" y="200"/>
                    </a:lnTo>
                    <a:lnTo>
                      <a:pt x="804" y="198"/>
                    </a:lnTo>
                    <a:lnTo>
                      <a:pt x="806" y="198"/>
                    </a:lnTo>
                    <a:lnTo>
                      <a:pt x="804" y="198"/>
                    </a:lnTo>
                    <a:lnTo>
                      <a:pt x="802" y="198"/>
                    </a:lnTo>
                    <a:lnTo>
                      <a:pt x="800" y="196"/>
                    </a:lnTo>
                    <a:lnTo>
                      <a:pt x="798" y="196"/>
                    </a:lnTo>
                    <a:lnTo>
                      <a:pt x="798" y="194"/>
                    </a:lnTo>
                    <a:lnTo>
                      <a:pt x="800" y="194"/>
                    </a:lnTo>
                    <a:lnTo>
                      <a:pt x="800" y="192"/>
                    </a:lnTo>
                    <a:lnTo>
                      <a:pt x="798" y="194"/>
                    </a:lnTo>
                    <a:lnTo>
                      <a:pt x="796" y="194"/>
                    </a:lnTo>
                    <a:lnTo>
                      <a:pt x="792" y="194"/>
                    </a:lnTo>
                    <a:lnTo>
                      <a:pt x="790" y="196"/>
                    </a:lnTo>
                    <a:lnTo>
                      <a:pt x="788" y="196"/>
                    </a:lnTo>
                    <a:lnTo>
                      <a:pt x="786" y="196"/>
                    </a:lnTo>
                    <a:lnTo>
                      <a:pt x="784" y="194"/>
                    </a:lnTo>
                    <a:lnTo>
                      <a:pt x="782" y="194"/>
                    </a:lnTo>
                    <a:lnTo>
                      <a:pt x="786" y="192"/>
                    </a:lnTo>
                    <a:lnTo>
                      <a:pt x="788" y="192"/>
                    </a:lnTo>
                    <a:lnTo>
                      <a:pt x="790" y="190"/>
                    </a:lnTo>
                    <a:lnTo>
                      <a:pt x="792" y="190"/>
                    </a:lnTo>
                    <a:lnTo>
                      <a:pt x="792" y="186"/>
                    </a:lnTo>
                    <a:lnTo>
                      <a:pt x="796" y="186"/>
                    </a:lnTo>
                    <a:lnTo>
                      <a:pt x="798" y="188"/>
                    </a:lnTo>
                    <a:lnTo>
                      <a:pt x="800" y="188"/>
                    </a:lnTo>
                    <a:lnTo>
                      <a:pt x="802" y="186"/>
                    </a:lnTo>
                    <a:lnTo>
                      <a:pt x="804" y="186"/>
                    </a:lnTo>
                    <a:lnTo>
                      <a:pt x="804" y="184"/>
                    </a:lnTo>
                    <a:lnTo>
                      <a:pt x="804" y="182"/>
                    </a:lnTo>
                    <a:lnTo>
                      <a:pt x="802" y="182"/>
                    </a:lnTo>
                    <a:lnTo>
                      <a:pt x="800" y="180"/>
                    </a:lnTo>
                    <a:lnTo>
                      <a:pt x="798" y="180"/>
                    </a:lnTo>
                    <a:lnTo>
                      <a:pt x="796" y="178"/>
                    </a:lnTo>
                    <a:lnTo>
                      <a:pt x="796" y="176"/>
                    </a:lnTo>
                    <a:lnTo>
                      <a:pt x="798" y="176"/>
                    </a:lnTo>
                    <a:lnTo>
                      <a:pt x="798" y="174"/>
                    </a:lnTo>
                    <a:lnTo>
                      <a:pt x="800" y="172"/>
                    </a:lnTo>
                    <a:lnTo>
                      <a:pt x="802" y="170"/>
                    </a:lnTo>
                    <a:lnTo>
                      <a:pt x="802" y="168"/>
                    </a:lnTo>
                    <a:lnTo>
                      <a:pt x="804" y="166"/>
                    </a:lnTo>
                    <a:lnTo>
                      <a:pt x="804" y="162"/>
                    </a:lnTo>
                    <a:lnTo>
                      <a:pt x="802" y="160"/>
                    </a:lnTo>
                    <a:lnTo>
                      <a:pt x="800" y="160"/>
                    </a:lnTo>
                    <a:lnTo>
                      <a:pt x="798" y="158"/>
                    </a:lnTo>
                    <a:lnTo>
                      <a:pt x="796" y="158"/>
                    </a:lnTo>
                    <a:lnTo>
                      <a:pt x="794" y="156"/>
                    </a:lnTo>
                    <a:lnTo>
                      <a:pt x="792" y="156"/>
                    </a:lnTo>
                    <a:lnTo>
                      <a:pt x="788" y="156"/>
                    </a:lnTo>
                    <a:lnTo>
                      <a:pt x="788" y="158"/>
                    </a:lnTo>
                    <a:lnTo>
                      <a:pt x="786" y="158"/>
                    </a:lnTo>
                    <a:lnTo>
                      <a:pt x="782" y="158"/>
                    </a:lnTo>
                    <a:lnTo>
                      <a:pt x="780" y="160"/>
                    </a:lnTo>
                    <a:lnTo>
                      <a:pt x="776" y="160"/>
                    </a:lnTo>
                    <a:lnTo>
                      <a:pt x="774" y="160"/>
                    </a:lnTo>
                    <a:lnTo>
                      <a:pt x="774" y="162"/>
                    </a:lnTo>
                    <a:lnTo>
                      <a:pt x="776" y="164"/>
                    </a:lnTo>
                    <a:lnTo>
                      <a:pt x="776" y="166"/>
                    </a:lnTo>
                    <a:lnTo>
                      <a:pt x="774" y="166"/>
                    </a:lnTo>
                    <a:lnTo>
                      <a:pt x="772" y="166"/>
                    </a:lnTo>
                    <a:lnTo>
                      <a:pt x="760" y="166"/>
                    </a:lnTo>
                    <a:lnTo>
                      <a:pt x="758" y="168"/>
                    </a:lnTo>
                    <a:lnTo>
                      <a:pt x="756" y="168"/>
                    </a:lnTo>
                    <a:lnTo>
                      <a:pt x="754" y="170"/>
                    </a:lnTo>
                    <a:lnTo>
                      <a:pt x="752" y="172"/>
                    </a:lnTo>
                    <a:lnTo>
                      <a:pt x="752" y="174"/>
                    </a:lnTo>
                    <a:lnTo>
                      <a:pt x="750" y="174"/>
                    </a:lnTo>
                    <a:lnTo>
                      <a:pt x="752" y="174"/>
                    </a:lnTo>
                    <a:lnTo>
                      <a:pt x="754" y="176"/>
                    </a:lnTo>
                    <a:lnTo>
                      <a:pt x="756" y="176"/>
                    </a:lnTo>
                    <a:lnTo>
                      <a:pt x="758" y="176"/>
                    </a:lnTo>
                    <a:lnTo>
                      <a:pt x="758" y="178"/>
                    </a:lnTo>
                    <a:lnTo>
                      <a:pt x="756" y="178"/>
                    </a:lnTo>
                    <a:lnTo>
                      <a:pt x="754" y="178"/>
                    </a:lnTo>
                    <a:lnTo>
                      <a:pt x="750" y="180"/>
                    </a:lnTo>
                    <a:lnTo>
                      <a:pt x="746" y="182"/>
                    </a:lnTo>
                    <a:lnTo>
                      <a:pt x="744" y="182"/>
                    </a:lnTo>
                    <a:lnTo>
                      <a:pt x="742" y="184"/>
                    </a:lnTo>
                    <a:lnTo>
                      <a:pt x="742" y="186"/>
                    </a:lnTo>
                    <a:lnTo>
                      <a:pt x="742" y="188"/>
                    </a:lnTo>
                    <a:lnTo>
                      <a:pt x="744" y="190"/>
                    </a:lnTo>
                    <a:lnTo>
                      <a:pt x="746" y="192"/>
                    </a:lnTo>
                    <a:lnTo>
                      <a:pt x="748" y="192"/>
                    </a:lnTo>
                    <a:lnTo>
                      <a:pt x="750" y="194"/>
                    </a:lnTo>
                    <a:lnTo>
                      <a:pt x="754" y="194"/>
                    </a:lnTo>
                    <a:lnTo>
                      <a:pt x="756" y="194"/>
                    </a:lnTo>
                    <a:lnTo>
                      <a:pt x="756" y="192"/>
                    </a:lnTo>
                    <a:lnTo>
                      <a:pt x="758" y="192"/>
                    </a:lnTo>
                    <a:lnTo>
                      <a:pt x="758" y="198"/>
                    </a:lnTo>
                    <a:lnTo>
                      <a:pt x="760" y="198"/>
                    </a:lnTo>
                    <a:lnTo>
                      <a:pt x="762" y="198"/>
                    </a:lnTo>
                    <a:lnTo>
                      <a:pt x="764" y="198"/>
                    </a:lnTo>
                    <a:lnTo>
                      <a:pt x="768" y="198"/>
                    </a:lnTo>
                    <a:lnTo>
                      <a:pt x="766" y="198"/>
                    </a:lnTo>
                    <a:lnTo>
                      <a:pt x="766" y="200"/>
                    </a:lnTo>
                    <a:lnTo>
                      <a:pt x="762" y="200"/>
                    </a:lnTo>
                    <a:lnTo>
                      <a:pt x="758" y="200"/>
                    </a:lnTo>
                    <a:lnTo>
                      <a:pt x="756" y="198"/>
                    </a:lnTo>
                    <a:lnTo>
                      <a:pt x="756" y="202"/>
                    </a:lnTo>
                    <a:lnTo>
                      <a:pt x="752" y="202"/>
                    </a:lnTo>
                    <a:lnTo>
                      <a:pt x="750" y="204"/>
                    </a:lnTo>
                    <a:lnTo>
                      <a:pt x="748" y="204"/>
                    </a:lnTo>
                    <a:lnTo>
                      <a:pt x="746" y="204"/>
                    </a:lnTo>
                    <a:lnTo>
                      <a:pt x="746" y="206"/>
                    </a:lnTo>
                    <a:lnTo>
                      <a:pt x="752" y="206"/>
                    </a:lnTo>
                    <a:lnTo>
                      <a:pt x="754" y="204"/>
                    </a:lnTo>
                    <a:lnTo>
                      <a:pt x="756" y="204"/>
                    </a:lnTo>
                    <a:lnTo>
                      <a:pt x="758" y="204"/>
                    </a:lnTo>
                    <a:lnTo>
                      <a:pt x="758" y="206"/>
                    </a:lnTo>
                    <a:lnTo>
                      <a:pt x="756" y="208"/>
                    </a:lnTo>
                    <a:lnTo>
                      <a:pt x="756" y="210"/>
                    </a:lnTo>
                    <a:lnTo>
                      <a:pt x="754" y="210"/>
                    </a:lnTo>
                    <a:lnTo>
                      <a:pt x="750" y="212"/>
                    </a:lnTo>
                    <a:lnTo>
                      <a:pt x="746" y="214"/>
                    </a:lnTo>
                    <a:lnTo>
                      <a:pt x="744" y="216"/>
                    </a:lnTo>
                    <a:lnTo>
                      <a:pt x="742" y="216"/>
                    </a:lnTo>
                    <a:lnTo>
                      <a:pt x="738" y="218"/>
                    </a:lnTo>
                    <a:lnTo>
                      <a:pt x="736" y="220"/>
                    </a:lnTo>
                    <a:lnTo>
                      <a:pt x="734" y="220"/>
                    </a:lnTo>
                    <a:lnTo>
                      <a:pt x="732" y="220"/>
                    </a:lnTo>
                    <a:lnTo>
                      <a:pt x="730" y="220"/>
                    </a:lnTo>
                    <a:lnTo>
                      <a:pt x="728" y="220"/>
                    </a:lnTo>
                    <a:lnTo>
                      <a:pt x="726" y="218"/>
                    </a:lnTo>
                    <a:lnTo>
                      <a:pt x="724" y="220"/>
                    </a:lnTo>
                    <a:lnTo>
                      <a:pt x="722" y="220"/>
                    </a:lnTo>
                    <a:lnTo>
                      <a:pt x="720" y="222"/>
                    </a:lnTo>
                    <a:lnTo>
                      <a:pt x="718" y="224"/>
                    </a:lnTo>
                    <a:lnTo>
                      <a:pt x="716" y="226"/>
                    </a:lnTo>
                    <a:lnTo>
                      <a:pt x="716" y="230"/>
                    </a:lnTo>
                    <a:lnTo>
                      <a:pt x="714" y="232"/>
                    </a:lnTo>
                    <a:lnTo>
                      <a:pt x="714" y="234"/>
                    </a:lnTo>
                    <a:lnTo>
                      <a:pt x="712" y="234"/>
                    </a:lnTo>
                    <a:lnTo>
                      <a:pt x="712" y="232"/>
                    </a:lnTo>
                    <a:lnTo>
                      <a:pt x="710" y="230"/>
                    </a:lnTo>
                    <a:lnTo>
                      <a:pt x="706" y="230"/>
                    </a:lnTo>
                    <a:lnTo>
                      <a:pt x="704" y="230"/>
                    </a:lnTo>
                    <a:lnTo>
                      <a:pt x="704" y="228"/>
                    </a:lnTo>
                    <a:lnTo>
                      <a:pt x="706" y="228"/>
                    </a:lnTo>
                    <a:lnTo>
                      <a:pt x="706" y="226"/>
                    </a:lnTo>
                    <a:lnTo>
                      <a:pt x="708" y="226"/>
                    </a:lnTo>
                    <a:lnTo>
                      <a:pt x="710" y="224"/>
                    </a:lnTo>
                    <a:lnTo>
                      <a:pt x="712" y="222"/>
                    </a:lnTo>
                    <a:lnTo>
                      <a:pt x="714" y="220"/>
                    </a:lnTo>
                    <a:lnTo>
                      <a:pt x="716" y="218"/>
                    </a:lnTo>
                    <a:lnTo>
                      <a:pt x="718" y="218"/>
                    </a:lnTo>
                    <a:lnTo>
                      <a:pt x="720" y="216"/>
                    </a:lnTo>
                    <a:lnTo>
                      <a:pt x="710" y="216"/>
                    </a:lnTo>
                    <a:lnTo>
                      <a:pt x="710" y="214"/>
                    </a:lnTo>
                    <a:lnTo>
                      <a:pt x="708" y="212"/>
                    </a:lnTo>
                    <a:lnTo>
                      <a:pt x="706" y="212"/>
                    </a:lnTo>
                    <a:lnTo>
                      <a:pt x="704" y="212"/>
                    </a:lnTo>
                    <a:lnTo>
                      <a:pt x="700" y="212"/>
                    </a:lnTo>
                    <a:lnTo>
                      <a:pt x="698" y="214"/>
                    </a:lnTo>
                    <a:lnTo>
                      <a:pt x="696" y="214"/>
                    </a:lnTo>
                    <a:lnTo>
                      <a:pt x="694" y="212"/>
                    </a:lnTo>
                    <a:lnTo>
                      <a:pt x="690" y="212"/>
                    </a:lnTo>
                    <a:lnTo>
                      <a:pt x="688" y="214"/>
                    </a:lnTo>
                    <a:lnTo>
                      <a:pt x="688" y="216"/>
                    </a:lnTo>
                    <a:lnTo>
                      <a:pt x="688" y="220"/>
                    </a:lnTo>
                    <a:lnTo>
                      <a:pt x="690" y="220"/>
                    </a:lnTo>
                    <a:lnTo>
                      <a:pt x="692" y="220"/>
                    </a:lnTo>
                    <a:lnTo>
                      <a:pt x="694" y="222"/>
                    </a:lnTo>
                    <a:lnTo>
                      <a:pt x="696" y="222"/>
                    </a:lnTo>
                    <a:lnTo>
                      <a:pt x="698" y="224"/>
                    </a:lnTo>
                    <a:lnTo>
                      <a:pt x="698" y="226"/>
                    </a:lnTo>
                    <a:lnTo>
                      <a:pt x="694" y="226"/>
                    </a:lnTo>
                    <a:lnTo>
                      <a:pt x="692" y="224"/>
                    </a:lnTo>
                    <a:lnTo>
                      <a:pt x="690" y="224"/>
                    </a:lnTo>
                    <a:lnTo>
                      <a:pt x="688" y="222"/>
                    </a:lnTo>
                    <a:lnTo>
                      <a:pt x="686" y="222"/>
                    </a:lnTo>
                    <a:lnTo>
                      <a:pt x="686" y="220"/>
                    </a:lnTo>
                    <a:lnTo>
                      <a:pt x="684" y="220"/>
                    </a:lnTo>
                    <a:lnTo>
                      <a:pt x="682" y="218"/>
                    </a:lnTo>
                    <a:lnTo>
                      <a:pt x="682" y="220"/>
                    </a:lnTo>
                    <a:lnTo>
                      <a:pt x="682" y="226"/>
                    </a:lnTo>
                    <a:lnTo>
                      <a:pt x="680" y="226"/>
                    </a:lnTo>
                    <a:lnTo>
                      <a:pt x="678" y="226"/>
                    </a:lnTo>
                    <a:lnTo>
                      <a:pt x="676" y="228"/>
                    </a:lnTo>
                    <a:lnTo>
                      <a:pt x="672" y="228"/>
                    </a:lnTo>
                    <a:lnTo>
                      <a:pt x="668" y="226"/>
                    </a:lnTo>
                    <a:lnTo>
                      <a:pt x="666" y="226"/>
                    </a:lnTo>
                    <a:lnTo>
                      <a:pt x="664" y="226"/>
                    </a:lnTo>
                    <a:lnTo>
                      <a:pt x="662" y="224"/>
                    </a:lnTo>
                    <a:lnTo>
                      <a:pt x="658" y="224"/>
                    </a:lnTo>
                    <a:lnTo>
                      <a:pt x="656" y="224"/>
                    </a:lnTo>
                    <a:lnTo>
                      <a:pt x="650" y="224"/>
                    </a:lnTo>
                    <a:lnTo>
                      <a:pt x="646" y="224"/>
                    </a:lnTo>
                    <a:lnTo>
                      <a:pt x="638" y="224"/>
                    </a:lnTo>
                    <a:lnTo>
                      <a:pt x="636" y="224"/>
                    </a:lnTo>
                    <a:lnTo>
                      <a:pt x="634" y="222"/>
                    </a:lnTo>
                    <a:lnTo>
                      <a:pt x="632" y="222"/>
                    </a:lnTo>
                    <a:lnTo>
                      <a:pt x="630" y="220"/>
                    </a:lnTo>
                    <a:lnTo>
                      <a:pt x="628" y="220"/>
                    </a:lnTo>
                    <a:lnTo>
                      <a:pt x="628" y="218"/>
                    </a:lnTo>
                    <a:lnTo>
                      <a:pt x="626" y="220"/>
                    </a:lnTo>
                    <a:lnTo>
                      <a:pt x="616" y="220"/>
                    </a:lnTo>
                    <a:lnTo>
                      <a:pt x="614" y="220"/>
                    </a:lnTo>
                    <a:lnTo>
                      <a:pt x="612" y="218"/>
                    </a:lnTo>
                    <a:lnTo>
                      <a:pt x="608" y="216"/>
                    </a:lnTo>
                    <a:lnTo>
                      <a:pt x="608" y="214"/>
                    </a:lnTo>
                    <a:lnTo>
                      <a:pt x="606" y="214"/>
                    </a:lnTo>
                    <a:lnTo>
                      <a:pt x="604" y="214"/>
                    </a:lnTo>
                    <a:lnTo>
                      <a:pt x="600" y="214"/>
                    </a:lnTo>
                    <a:lnTo>
                      <a:pt x="596" y="214"/>
                    </a:lnTo>
                    <a:lnTo>
                      <a:pt x="592" y="216"/>
                    </a:lnTo>
                    <a:lnTo>
                      <a:pt x="590" y="218"/>
                    </a:lnTo>
                    <a:lnTo>
                      <a:pt x="582" y="218"/>
                    </a:lnTo>
                    <a:lnTo>
                      <a:pt x="576" y="218"/>
                    </a:lnTo>
                    <a:lnTo>
                      <a:pt x="572" y="218"/>
                    </a:lnTo>
                    <a:lnTo>
                      <a:pt x="570" y="218"/>
                    </a:lnTo>
                    <a:lnTo>
                      <a:pt x="568" y="220"/>
                    </a:lnTo>
                    <a:lnTo>
                      <a:pt x="566" y="222"/>
                    </a:lnTo>
                    <a:lnTo>
                      <a:pt x="564" y="226"/>
                    </a:lnTo>
                    <a:lnTo>
                      <a:pt x="564" y="228"/>
                    </a:lnTo>
                    <a:lnTo>
                      <a:pt x="562" y="230"/>
                    </a:lnTo>
                    <a:lnTo>
                      <a:pt x="562" y="232"/>
                    </a:lnTo>
                    <a:lnTo>
                      <a:pt x="560" y="236"/>
                    </a:lnTo>
                    <a:lnTo>
                      <a:pt x="560" y="238"/>
                    </a:lnTo>
                    <a:lnTo>
                      <a:pt x="556" y="240"/>
                    </a:lnTo>
                    <a:lnTo>
                      <a:pt x="552" y="240"/>
                    </a:lnTo>
                    <a:lnTo>
                      <a:pt x="550" y="242"/>
                    </a:lnTo>
                    <a:lnTo>
                      <a:pt x="550" y="244"/>
                    </a:lnTo>
                    <a:lnTo>
                      <a:pt x="550" y="246"/>
                    </a:lnTo>
                    <a:lnTo>
                      <a:pt x="548" y="244"/>
                    </a:lnTo>
                    <a:lnTo>
                      <a:pt x="548" y="242"/>
                    </a:lnTo>
                    <a:lnTo>
                      <a:pt x="546" y="240"/>
                    </a:lnTo>
                    <a:lnTo>
                      <a:pt x="546" y="238"/>
                    </a:lnTo>
                    <a:lnTo>
                      <a:pt x="544" y="236"/>
                    </a:lnTo>
                    <a:lnTo>
                      <a:pt x="544" y="234"/>
                    </a:lnTo>
                    <a:lnTo>
                      <a:pt x="546" y="234"/>
                    </a:lnTo>
                    <a:lnTo>
                      <a:pt x="548" y="236"/>
                    </a:lnTo>
                    <a:lnTo>
                      <a:pt x="554" y="236"/>
                    </a:lnTo>
                    <a:lnTo>
                      <a:pt x="556" y="234"/>
                    </a:lnTo>
                    <a:lnTo>
                      <a:pt x="556" y="232"/>
                    </a:lnTo>
                    <a:lnTo>
                      <a:pt x="554" y="230"/>
                    </a:lnTo>
                    <a:lnTo>
                      <a:pt x="552" y="228"/>
                    </a:lnTo>
                    <a:lnTo>
                      <a:pt x="548" y="226"/>
                    </a:lnTo>
                    <a:lnTo>
                      <a:pt x="546" y="224"/>
                    </a:lnTo>
                    <a:lnTo>
                      <a:pt x="544" y="224"/>
                    </a:lnTo>
                    <a:lnTo>
                      <a:pt x="542" y="224"/>
                    </a:lnTo>
                    <a:lnTo>
                      <a:pt x="540" y="224"/>
                    </a:lnTo>
                    <a:lnTo>
                      <a:pt x="540" y="222"/>
                    </a:lnTo>
                    <a:lnTo>
                      <a:pt x="542" y="220"/>
                    </a:lnTo>
                    <a:lnTo>
                      <a:pt x="536" y="220"/>
                    </a:lnTo>
                    <a:lnTo>
                      <a:pt x="534" y="222"/>
                    </a:lnTo>
                    <a:lnTo>
                      <a:pt x="532" y="222"/>
                    </a:lnTo>
                    <a:lnTo>
                      <a:pt x="530" y="222"/>
                    </a:lnTo>
                    <a:lnTo>
                      <a:pt x="526" y="222"/>
                    </a:lnTo>
                    <a:lnTo>
                      <a:pt x="520" y="224"/>
                    </a:lnTo>
                    <a:lnTo>
                      <a:pt x="514" y="224"/>
                    </a:lnTo>
                    <a:lnTo>
                      <a:pt x="506" y="224"/>
                    </a:lnTo>
                    <a:lnTo>
                      <a:pt x="502" y="226"/>
                    </a:lnTo>
                    <a:lnTo>
                      <a:pt x="500" y="226"/>
                    </a:lnTo>
                    <a:lnTo>
                      <a:pt x="498" y="224"/>
                    </a:lnTo>
                    <a:lnTo>
                      <a:pt x="486" y="224"/>
                    </a:lnTo>
                    <a:lnTo>
                      <a:pt x="480" y="224"/>
                    </a:lnTo>
                    <a:lnTo>
                      <a:pt x="474" y="224"/>
                    </a:lnTo>
                    <a:lnTo>
                      <a:pt x="472" y="222"/>
                    </a:lnTo>
                    <a:lnTo>
                      <a:pt x="470" y="222"/>
                    </a:lnTo>
                    <a:lnTo>
                      <a:pt x="472" y="222"/>
                    </a:lnTo>
                    <a:lnTo>
                      <a:pt x="472" y="220"/>
                    </a:lnTo>
                    <a:lnTo>
                      <a:pt x="478" y="220"/>
                    </a:lnTo>
                    <a:lnTo>
                      <a:pt x="484" y="220"/>
                    </a:lnTo>
                    <a:lnTo>
                      <a:pt x="490" y="220"/>
                    </a:lnTo>
                    <a:lnTo>
                      <a:pt x="492" y="220"/>
                    </a:lnTo>
                    <a:lnTo>
                      <a:pt x="494" y="218"/>
                    </a:lnTo>
                    <a:lnTo>
                      <a:pt x="496" y="218"/>
                    </a:lnTo>
                    <a:lnTo>
                      <a:pt x="498" y="218"/>
                    </a:lnTo>
                    <a:lnTo>
                      <a:pt x="498" y="216"/>
                    </a:lnTo>
                    <a:lnTo>
                      <a:pt x="500" y="216"/>
                    </a:lnTo>
                    <a:lnTo>
                      <a:pt x="498" y="214"/>
                    </a:lnTo>
                    <a:lnTo>
                      <a:pt x="498" y="212"/>
                    </a:lnTo>
                    <a:lnTo>
                      <a:pt x="496" y="210"/>
                    </a:lnTo>
                    <a:lnTo>
                      <a:pt x="494" y="208"/>
                    </a:lnTo>
                    <a:lnTo>
                      <a:pt x="490" y="206"/>
                    </a:lnTo>
                    <a:lnTo>
                      <a:pt x="488" y="206"/>
                    </a:lnTo>
                    <a:lnTo>
                      <a:pt x="484" y="204"/>
                    </a:lnTo>
                    <a:lnTo>
                      <a:pt x="470" y="204"/>
                    </a:lnTo>
                    <a:lnTo>
                      <a:pt x="466" y="204"/>
                    </a:lnTo>
                    <a:lnTo>
                      <a:pt x="462" y="202"/>
                    </a:lnTo>
                    <a:lnTo>
                      <a:pt x="458" y="202"/>
                    </a:lnTo>
                    <a:lnTo>
                      <a:pt x="454" y="200"/>
                    </a:lnTo>
                    <a:lnTo>
                      <a:pt x="452" y="200"/>
                    </a:lnTo>
                    <a:lnTo>
                      <a:pt x="450" y="200"/>
                    </a:lnTo>
                    <a:lnTo>
                      <a:pt x="450" y="198"/>
                    </a:lnTo>
                    <a:lnTo>
                      <a:pt x="442" y="198"/>
                    </a:lnTo>
                    <a:lnTo>
                      <a:pt x="440" y="198"/>
                    </a:lnTo>
                    <a:lnTo>
                      <a:pt x="436" y="196"/>
                    </a:lnTo>
                    <a:lnTo>
                      <a:pt x="434" y="194"/>
                    </a:lnTo>
                    <a:lnTo>
                      <a:pt x="426" y="190"/>
                    </a:lnTo>
                    <a:lnTo>
                      <a:pt x="422" y="190"/>
                    </a:lnTo>
                    <a:lnTo>
                      <a:pt x="416" y="190"/>
                    </a:lnTo>
                    <a:lnTo>
                      <a:pt x="414" y="190"/>
                    </a:lnTo>
                    <a:lnTo>
                      <a:pt x="408" y="194"/>
                    </a:lnTo>
                    <a:lnTo>
                      <a:pt x="404" y="196"/>
                    </a:lnTo>
                    <a:lnTo>
                      <a:pt x="402" y="198"/>
                    </a:lnTo>
                    <a:lnTo>
                      <a:pt x="400" y="198"/>
                    </a:lnTo>
                    <a:lnTo>
                      <a:pt x="388" y="198"/>
                    </a:lnTo>
                    <a:lnTo>
                      <a:pt x="390" y="198"/>
                    </a:lnTo>
                    <a:lnTo>
                      <a:pt x="392" y="196"/>
                    </a:lnTo>
                    <a:lnTo>
                      <a:pt x="394" y="196"/>
                    </a:lnTo>
                    <a:lnTo>
                      <a:pt x="396" y="194"/>
                    </a:lnTo>
                    <a:lnTo>
                      <a:pt x="396" y="192"/>
                    </a:lnTo>
                    <a:lnTo>
                      <a:pt x="398" y="190"/>
                    </a:lnTo>
                    <a:lnTo>
                      <a:pt x="400" y="188"/>
                    </a:lnTo>
                    <a:lnTo>
                      <a:pt x="400" y="186"/>
                    </a:lnTo>
                    <a:lnTo>
                      <a:pt x="400" y="184"/>
                    </a:lnTo>
                    <a:lnTo>
                      <a:pt x="400" y="186"/>
                    </a:lnTo>
                    <a:lnTo>
                      <a:pt x="398" y="186"/>
                    </a:lnTo>
                    <a:lnTo>
                      <a:pt x="394" y="188"/>
                    </a:lnTo>
                    <a:lnTo>
                      <a:pt x="392" y="190"/>
                    </a:lnTo>
                    <a:lnTo>
                      <a:pt x="388" y="190"/>
                    </a:lnTo>
                    <a:lnTo>
                      <a:pt x="386" y="192"/>
                    </a:lnTo>
                    <a:lnTo>
                      <a:pt x="386" y="194"/>
                    </a:lnTo>
                    <a:lnTo>
                      <a:pt x="382" y="196"/>
                    </a:lnTo>
                    <a:lnTo>
                      <a:pt x="380" y="198"/>
                    </a:lnTo>
                    <a:lnTo>
                      <a:pt x="378" y="200"/>
                    </a:lnTo>
                    <a:lnTo>
                      <a:pt x="374" y="200"/>
                    </a:lnTo>
                    <a:lnTo>
                      <a:pt x="374" y="198"/>
                    </a:lnTo>
                    <a:lnTo>
                      <a:pt x="370" y="196"/>
                    </a:lnTo>
                    <a:lnTo>
                      <a:pt x="370" y="194"/>
                    </a:lnTo>
                    <a:lnTo>
                      <a:pt x="370" y="192"/>
                    </a:lnTo>
                    <a:lnTo>
                      <a:pt x="370" y="190"/>
                    </a:lnTo>
                    <a:lnTo>
                      <a:pt x="372" y="188"/>
                    </a:lnTo>
                    <a:lnTo>
                      <a:pt x="372" y="186"/>
                    </a:lnTo>
                    <a:lnTo>
                      <a:pt x="374" y="184"/>
                    </a:lnTo>
                    <a:lnTo>
                      <a:pt x="374" y="182"/>
                    </a:lnTo>
                    <a:lnTo>
                      <a:pt x="372" y="182"/>
                    </a:lnTo>
                    <a:lnTo>
                      <a:pt x="372" y="180"/>
                    </a:lnTo>
                    <a:lnTo>
                      <a:pt x="370" y="178"/>
                    </a:lnTo>
                    <a:lnTo>
                      <a:pt x="368" y="178"/>
                    </a:lnTo>
                    <a:lnTo>
                      <a:pt x="366" y="178"/>
                    </a:lnTo>
                    <a:lnTo>
                      <a:pt x="364" y="176"/>
                    </a:lnTo>
                    <a:lnTo>
                      <a:pt x="364" y="178"/>
                    </a:lnTo>
                    <a:lnTo>
                      <a:pt x="362" y="178"/>
                    </a:lnTo>
                    <a:lnTo>
                      <a:pt x="362" y="182"/>
                    </a:lnTo>
                    <a:lnTo>
                      <a:pt x="364" y="182"/>
                    </a:lnTo>
                    <a:lnTo>
                      <a:pt x="366" y="184"/>
                    </a:lnTo>
                    <a:lnTo>
                      <a:pt x="356" y="184"/>
                    </a:lnTo>
                    <a:lnTo>
                      <a:pt x="354" y="184"/>
                    </a:lnTo>
                    <a:lnTo>
                      <a:pt x="352" y="186"/>
                    </a:lnTo>
                    <a:lnTo>
                      <a:pt x="348" y="188"/>
                    </a:lnTo>
                    <a:lnTo>
                      <a:pt x="348" y="190"/>
                    </a:lnTo>
                    <a:lnTo>
                      <a:pt x="346" y="190"/>
                    </a:lnTo>
                    <a:lnTo>
                      <a:pt x="344" y="190"/>
                    </a:lnTo>
                    <a:lnTo>
                      <a:pt x="344" y="192"/>
                    </a:lnTo>
                    <a:lnTo>
                      <a:pt x="342" y="192"/>
                    </a:lnTo>
                    <a:lnTo>
                      <a:pt x="338" y="192"/>
                    </a:lnTo>
                    <a:lnTo>
                      <a:pt x="332" y="192"/>
                    </a:lnTo>
                    <a:lnTo>
                      <a:pt x="330" y="192"/>
                    </a:lnTo>
                    <a:lnTo>
                      <a:pt x="328" y="194"/>
                    </a:lnTo>
                    <a:lnTo>
                      <a:pt x="324" y="194"/>
                    </a:lnTo>
                    <a:lnTo>
                      <a:pt x="320" y="194"/>
                    </a:lnTo>
                    <a:lnTo>
                      <a:pt x="318" y="194"/>
                    </a:lnTo>
                    <a:lnTo>
                      <a:pt x="318" y="196"/>
                    </a:lnTo>
                    <a:lnTo>
                      <a:pt x="316" y="196"/>
                    </a:lnTo>
                    <a:lnTo>
                      <a:pt x="314" y="196"/>
                    </a:lnTo>
                    <a:lnTo>
                      <a:pt x="314" y="198"/>
                    </a:lnTo>
                    <a:lnTo>
                      <a:pt x="312" y="198"/>
                    </a:lnTo>
                    <a:lnTo>
                      <a:pt x="310" y="198"/>
                    </a:lnTo>
                    <a:lnTo>
                      <a:pt x="308" y="200"/>
                    </a:lnTo>
                    <a:lnTo>
                      <a:pt x="306" y="200"/>
                    </a:lnTo>
                    <a:lnTo>
                      <a:pt x="304" y="198"/>
                    </a:lnTo>
                    <a:lnTo>
                      <a:pt x="302" y="198"/>
                    </a:lnTo>
                    <a:lnTo>
                      <a:pt x="302" y="196"/>
                    </a:lnTo>
                    <a:lnTo>
                      <a:pt x="300" y="198"/>
                    </a:lnTo>
                    <a:lnTo>
                      <a:pt x="298" y="198"/>
                    </a:lnTo>
                    <a:lnTo>
                      <a:pt x="296" y="198"/>
                    </a:lnTo>
                    <a:lnTo>
                      <a:pt x="292" y="200"/>
                    </a:lnTo>
                    <a:lnTo>
                      <a:pt x="290" y="200"/>
                    </a:lnTo>
                    <a:lnTo>
                      <a:pt x="288" y="202"/>
                    </a:lnTo>
                    <a:lnTo>
                      <a:pt x="286" y="202"/>
                    </a:lnTo>
                    <a:lnTo>
                      <a:pt x="284" y="202"/>
                    </a:lnTo>
                    <a:lnTo>
                      <a:pt x="282" y="204"/>
                    </a:lnTo>
                    <a:lnTo>
                      <a:pt x="280" y="204"/>
                    </a:lnTo>
                    <a:lnTo>
                      <a:pt x="278" y="206"/>
                    </a:lnTo>
                    <a:lnTo>
                      <a:pt x="276" y="206"/>
                    </a:lnTo>
                    <a:lnTo>
                      <a:pt x="274" y="208"/>
                    </a:lnTo>
                    <a:lnTo>
                      <a:pt x="268" y="208"/>
                    </a:lnTo>
                    <a:lnTo>
                      <a:pt x="270" y="206"/>
                    </a:lnTo>
                    <a:lnTo>
                      <a:pt x="272" y="204"/>
                    </a:lnTo>
                    <a:lnTo>
                      <a:pt x="274" y="202"/>
                    </a:lnTo>
                    <a:lnTo>
                      <a:pt x="276" y="202"/>
                    </a:lnTo>
                    <a:lnTo>
                      <a:pt x="278" y="200"/>
                    </a:lnTo>
                    <a:lnTo>
                      <a:pt x="280" y="200"/>
                    </a:lnTo>
                    <a:lnTo>
                      <a:pt x="282" y="200"/>
                    </a:lnTo>
                    <a:lnTo>
                      <a:pt x="284" y="198"/>
                    </a:lnTo>
                    <a:lnTo>
                      <a:pt x="288" y="198"/>
                    </a:lnTo>
                    <a:lnTo>
                      <a:pt x="290" y="198"/>
                    </a:lnTo>
                    <a:lnTo>
                      <a:pt x="294" y="196"/>
                    </a:lnTo>
                    <a:lnTo>
                      <a:pt x="296" y="196"/>
                    </a:lnTo>
                    <a:lnTo>
                      <a:pt x="298" y="196"/>
                    </a:lnTo>
                    <a:lnTo>
                      <a:pt x="298" y="194"/>
                    </a:lnTo>
                    <a:lnTo>
                      <a:pt x="300" y="196"/>
                    </a:lnTo>
                    <a:lnTo>
                      <a:pt x="308" y="196"/>
                    </a:lnTo>
                    <a:lnTo>
                      <a:pt x="310" y="194"/>
                    </a:lnTo>
                    <a:lnTo>
                      <a:pt x="312" y="194"/>
                    </a:lnTo>
                    <a:lnTo>
                      <a:pt x="314" y="194"/>
                    </a:lnTo>
                    <a:lnTo>
                      <a:pt x="316" y="192"/>
                    </a:lnTo>
                    <a:lnTo>
                      <a:pt x="318" y="192"/>
                    </a:lnTo>
                    <a:lnTo>
                      <a:pt x="322" y="192"/>
                    </a:lnTo>
                    <a:lnTo>
                      <a:pt x="328" y="190"/>
                    </a:lnTo>
                    <a:lnTo>
                      <a:pt x="330" y="188"/>
                    </a:lnTo>
                    <a:lnTo>
                      <a:pt x="332" y="188"/>
                    </a:lnTo>
                    <a:lnTo>
                      <a:pt x="334" y="188"/>
                    </a:lnTo>
                    <a:lnTo>
                      <a:pt x="338" y="188"/>
                    </a:lnTo>
                    <a:lnTo>
                      <a:pt x="338" y="186"/>
                    </a:lnTo>
                    <a:lnTo>
                      <a:pt x="340" y="186"/>
                    </a:lnTo>
                    <a:lnTo>
                      <a:pt x="340" y="184"/>
                    </a:lnTo>
                    <a:lnTo>
                      <a:pt x="338" y="184"/>
                    </a:lnTo>
                    <a:lnTo>
                      <a:pt x="334" y="184"/>
                    </a:lnTo>
                    <a:lnTo>
                      <a:pt x="332" y="184"/>
                    </a:lnTo>
                    <a:lnTo>
                      <a:pt x="322" y="184"/>
                    </a:lnTo>
                    <a:lnTo>
                      <a:pt x="322" y="186"/>
                    </a:lnTo>
                    <a:lnTo>
                      <a:pt x="320" y="186"/>
                    </a:lnTo>
                    <a:lnTo>
                      <a:pt x="318" y="188"/>
                    </a:lnTo>
                    <a:lnTo>
                      <a:pt x="316" y="188"/>
                    </a:lnTo>
                    <a:lnTo>
                      <a:pt x="314" y="190"/>
                    </a:lnTo>
                    <a:lnTo>
                      <a:pt x="306" y="190"/>
                    </a:lnTo>
                    <a:lnTo>
                      <a:pt x="304" y="190"/>
                    </a:lnTo>
                    <a:lnTo>
                      <a:pt x="296" y="190"/>
                    </a:lnTo>
                    <a:lnTo>
                      <a:pt x="294" y="192"/>
                    </a:lnTo>
                    <a:lnTo>
                      <a:pt x="290" y="192"/>
                    </a:lnTo>
                    <a:lnTo>
                      <a:pt x="288" y="192"/>
                    </a:lnTo>
                    <a:lnTo>
                      <a:pt x="286" y="194"/>
                    </a:lnTo>
                    <a:lnTo>
                      <a:pt x="284" y="196"/>
                    </a:lnTo>
                    <a:lnTo>
                      <a:pt x="282" y="196"/>
                    </a:lnTo>
                    <a:lnTo>
                      <a:pt x="282" y="198"/>
                    </a:lnTo>
                    <a:lnTo>
                      <a:pt x="280" y="198"/>
                    </a:lnTo>
                    <a:lnTo>
                      <a:pt x="278" y="198"/>
                    </a:lnTo>
                    <a:lnTo>
                      <a:pt x="274" y="198"/>
                    </a:lnTo>
                    <a:lnTo>
                      <a:pt x="272" y="198"/>
                    </a:lnTo>
                    <a:lnTo>
                      <a:pt x="270" y="200"/>
                    </a:lnTo>
                    <a:lnTo>
                      <a:pt x="268" y="200"/>
                    </a:lnTo>
                    <a:lnTo>
                      <a:pt x="266" y="202"/>
                    </a:lnTo>
                    <a:lnTo>
                      <a:pt x="264" y="202"/>
                    </a:lnTo>
                    <a:lnTo>
                      <a:pt x="262" y="202"/>
                    </a:lnTo>
                    <a:lnTo>
                      <a:pt x="258" y="204"/>
                    </a:lnTo>
                    <a:lnTo>
                      <a:pt x="256" y="204"/>
                    </a:lnTo>
                    <a:lnTo>
                      <a:pt x="256" y="206"/>
                    </a:lnTo>
                    <a:lnTo>
                      <a:pt x="256" y="208"/>
                    </a:lnTo>
                    <a:lnTo>
                      <a:pt x="256" y="210"/>
                    </a:lnTo>
                    <a:lnTo>
                      <a:pt x="254" y="210"/>
                    </a:lnTo>
                    <a:lnTo>
                      <a:pt x="252" y="208"/>
                    </a:lnTo>
                    <a:lnTo>
                      <a:pt x="252" y="206"/>
                    </a:lnTo>
                    <a:lnTo>
                      <a:pt x="252" y="204"/>
                    </a:lnTo>
                    <a:lnTo>
                      <a:pt x="254" y="202"/>
                    </a:lnTo>
                    <a:lnTo>
                      <a:pt x="256" y="202"/>
                    </a:lnTo>
                    <a:lnTo>
                      <a:pt x="258" y="202"/>
                    </a:lnTo>
                    <a:lnTo>
                      <a:pt x="260" y="200"/>
                    </a:lnTo>
                    <a:lnTo>
                      <a:pt x="264" y="200"/>
                    </a:lnTo>
                    <a:lnTo>
                      <a:pt x="266" y="198"/>
                    </a:lnTo>
                    <a:lnTo>
                      <a:pt x="268" y="198"/>
                    </a:lnTo>
                    <a:lnTo>
                      <a:pt x="270" y="198"/>
                    </a:lnTo>
                    <a:lnTo>
                      <a:pt x="272" y="196"/>
                    </a:lnTo>
                    <a:lnTo>
                      <a:pt x="272" y="194"/>
                    </a:lnTo>
                    <a:lnTo>
                      <a:pt x="270" y="194"/>
                    </a:lnTo>
                    <a:lnTo>
                      <a:pt x="268" y="194"/>
                    </a:lnTo>
                    <a:lnTo>
                      <a:pt x="262" y="194"/>
                    </a:lnTo>
                    <a:lnTo>
                      <a:pt x="258" y="194"/>
                    </a:lnTo>
                    <a:lnTo>
                      <a:pt x="256" y="196"/>
                    </a:lnTo>
                    <a:lnTo>
                      <a:pt x="256" y="198"/>
                    </a:lnTo>
                    <a:lnTo>
                      <a:pt x="254" y="198"/>
                    </a:lnTo>
                    <a:lnTo>
                      <a:pt x="250" y="198"/>
                    </a:lnTo>
                    <a:lnTo>
                      <a:pt x="248" y="198"/>
                    </a:lnTo>
                    <a:lnTo>
                      <a:pt x="246" y="200"/>
                    </a:lnTo>
                    <a:lnTo>
                      <a:pt x="242" y="200"/>
                    </a:lnTo>
                    <a:lnTo>
                      <a:pt x="242" y="202"/>
                    </a:lnTo>
                    <a:lnTo>
                      <a:pt x="240" y="204"/>
                    </a:lnTo>
                    <a:lnTo>
                      <a:pt x="240" y="210"/>
                    </a:lnTo>
                    <a:lnTo>
                      <a:pt x="238" y="208"/>
                    </a:lnTo>
                    <a:lnTo>
                      <a:pt x="236" y="206"/>
                    </a:lnTo>
                    <a:lnTo>
                      <a:pt x="234" y="206"/>
                    </a:lnTo>
                    <a:lnTo>
                      <a:pt x="232" y="206"/>
                    </a:lnTo>
                    <a:lnTo>
                      <a:pt x="228" y="206"/>
                    </a:lnTo>
                    <a:lnTo>
                      <a:pt x="226" y="204"/>
                    </a:lnTo>
                    <a:lnTo>
                      <a:pt x="220" y="204"/>
                    </a:lnTo>
                    <a:lnTo>
                      <a:pt x="218" y="204"/>
                    </a:lnTo>
                    <a:lnTo>
                      <a:pt x="216" y="202"/>
                    </a:lnTo>
                    <a:lnTo>
                      <a:pt x="214" y="200"/>
                    </a:lnTo>
                    <a:lnTo>
                      <a:pt x="212" y="200"/>
                    </a:lnTo>
                    <a:lnTo>
                      <a:pt x="212" y="198"/>
                    </a:lnTo>
                    <a:lnTo>
                      <a:pt x="212" y="196"/>
                    </a:lnTo>
                    <a:lnTo>
                      <a:pt x="214" y="194"/>
                    </a:lnTo>
                    <a:lnTo>
                      <a:pt x="192" y="194"/>
                    </a:lnTo>
                    <a:lnTo>
                      <a:pt x="184" y="200"/>
                    </a:lnTo>
                    <a:lnTo>
                      <a:pt x="174" y="208"/>
                    </a:lnTo>
                    <a:lnTo>
                      <a:pt x="166" y="214"/>
                    </a:lnTo>
                    <a:lnTo>
                      <a:pt x="160" y="220"/>
                    </a:lnTo>
                    <a:lnTo>
                      <a:pt x="152" y="226"/>
                    </a:lnTo>
                    <a:lnTo>
                      <a:pt x="132" y="244"/>
                    </a:lnTo>
                    <a:lnTo>
                      <a:pt x="118" y="254"/>
                    </a:lnTo>
                    <a:lnTo>
                      <a:pt x="106" y="264"/>
                    </a:lnTo>
                    <a:lnTo>
                      <a:pt x="86" y="282"/>
                    </a:lnTo>
                    <a:lnTo>
                      <a:pt x="76" y="290"/>
                    </a:lnTo>
                    <a:lnTo>
                      <a:pt x="66" y="296"/>
                    </a:lnTo>
                    <a:lnTo>
                      <a:pt x="60" y="302"/>
                    </a:lnTo>
                    <a:lnTo>
                      <a:pt x="52" y="308"/>
                    </a:lnTo>
                    <a:lnTo>
                      <a:pt x="46" y="314"/>
                    </a:lnTo>
                    <a:lnTo>
                      <a:pt x="40" y="318"/>
                    </a:lnTo>
                    <a:lnTo>
                      <a:pt x="36" y="322"/>
                    </a:lnTo>
                    <a:lnTo>
                      <a:pt x="30" y="326"/>
                    </a:lnTo>
                    <a:lnTo>
                      <a:pt x="22" y="332"/>
                    </a:lnTo>
                    <a:lnTo>
                      <a:pt x="20" y="336"/>
                    </a:lnTo>
                    <a:lnTo>
                      <a:pt x="18" y="338"/>
                    </a:lnTo>
                    <a:lnTo>
                      <a:pt x="16" y="340"/>
                    </a:lnTo>
                    <a:lnTo>
                      <a:pt x="14" y="340"/>
                    </a:lnTo>
                    <a:lnTo>
                      <a:pt x="12" y="342"/>
                    </a:lnTo>
                    <a:lnTo>
                      <a:pt x="10" y="342"/>
                    </a:lnTo>
                    <a:lnTo>
                      <a:pt x="10" y="344"/>
                    </a:lnTo>
                    <a:lnTo>
                      <a:pt x="8" y="344"/>
                    </a:lnTo>
                    <a:lnTo>
                      <a:pt x="8" y="346"/>
                    </a:lnTo>
                    <a:lnTo>
                      <a:pt x="6" y="346"/>
                    </a:lnTo>
                    <a:lnTo>
                      <a:pt x="4" y="346"/>
                    </a:lnTo>
                    <a:lnTo>
                      <a:pt x="4" y="348"/>
                    </a:lnTo>
                    <a:lnTo>
                      <a:pt x="2" y="350"/>
                    </a:lnTo>
                    <a:lnTo>
                      <a:pt x="0" y="350"/>
                    </a:lnTo>
                    <a:lnTo>
                      <a:pt x="0" y="352"/>
                    </a:lnTo>
                    <a:lnTo>
                      <a:pt x="2" y="354"/>
                    </a:lnTo>
                    <a:lnTo>
                      <a:pt x="10" y="354"/>
                    </a:lnTo>
                    <a:lnTo>
                      <a:pt x="12" y="352"/>
                    </a:lnTo>
                    <a:lnTo>
                      <a:pt x="14" y="352"/>
                    </a:lnTo>
                    <a:lnTo>
                      <a:pt x="16" y="352"/>
                    </a:lnTo>
                    <a:lnTo>
                      <a:pt x="18" y="350"/>
                    </a:lnTo>
                    <a:lnTo>
                      <a:pt x="26" y="350"/>
                    </a:lnTo>
                    <a:lnTo>
                      <a:pt x="20" y="356"/>
                    </a:lnTo>
                    <a:lnTo>
                      <a:pt x="20" y="364"/>
                    </a:lnTo>
                    <a:lnTo>
                      <a:pt x="22" y="366"/>
                    </a:lnTo>
                    <a:lnTo>
                      <a:pt x="24" y="368"/>
                    </a:lnTo>
                    <a:lnTo>
                      <a:pt x="26" y="368"/>
                    </a:lnTo>
                    <a:lnTo>
                      <a:pt x="26" y="370"/>
                    </a:lnTo>
                    <a:lnTo>
                      <a:pt x="26" y="372"/>
                    </a:lnTo>
                    <a:lnTo>
                      <a:pt x="24" y="372"/>
                    </a:lnTo>
                    <a:lnTo>
                      <a:pt x="22" y="374"/>
                    </a:lnTo>
                    <a:lnTo>
                      <a:pt x="22" y="376"/>
                    </a:lnTo>
                    <a:lnTo>
                      <a:pt x="24" y="376"/>
                    </a:lnTo>
                    <a:lnTo>
                      <a:pt x="26" y="374"/>
                    </a:lnTo>
                    <a:lnTo>
                      <a:pt x="28" y="374"/>
                    </a:lnTo>
                    <a:lnTo>
                      <a:pt x="30" y="372"/>
                    </a:lnTo>
                    <a:lnTo>
                      <a:pt x="32" y="372"/>
                    </a:lnTo>
                    <a:lnTo>
                      <a:pt x="32" y="370"/>
                    </a:lnTo>
                    <a:lnTo>
                      <a:pt x="34" y="370"/>
                    </a:lnTo>
                    <a:lnTo>
                      <a:pt x="38" y="370"/>
                    </a:lnTo>
                    <a:lnTo>
                      <a:pt x="40" y="370"/>
                    </a:lnTo>
                    <a:lnTo>
                      <a:pt x="42" y="368"/>
                    </a:lnTo>
                    <a:lnTo>
                      <a:pt x="44" y="368"/>
                    </a:lnTo>
                    <a:lnTo>
                      <a:pt x="44" y="366"/>
                    </a:lnTo>
                    <a:lnTo>
                      <a:pt x="50" y="366"/>
                    </a:lnTo>
                    <a:lnTo>
                      <a:pt x="50" y="364"/>
                    </a:lnTo>
                    <a:lnTo>
                      <a:pt x="52" y="362"/>
                    </a:lnTo>
                    <a:lnTo>
                      <a:pt x="54" y="362"/>
                    </a:lnTo>
                    <a:lnTo>
                      <a:pt x="56" y="362"/>
                    </a:lnTo>
                    <a:lnTo>
                      <a:pt x="68" y="362"/>
                    </a:lnTo>
                    <a:lnTo>
                      <a:pt x="68" y="364"/>
                    </a:lnTo>
                    <a:lnTo>
                      <a:pt x="66" y="366"/>
                    </a:lnTo>
                    <a:lnTo>
                      <a:pt x="64" y="366"/>
                    </a:lnTo>
                    <a:lnTo>
                      <a:pt x="64" y="372"/>
                    </a:lnTo>
                    <a:lnTo>
                      <a:pt x="64" y="374"/>
                    </a:lnTo>
                    <a:lnTo>
                      <a:pt x="62" y="376"/>
                    </a:lnTo>
                    <a:lnTo>
                      <a:pt x="64" y="378"/>
                    </a:lnTo>
                    <a:lnTo>
                      <a:pt x="64" y="380"/>
                    </a:lnTo>
                    <a:lnTo>
                      <a:pt x="66" y="380"/>
                    </a:lnTo>
                    <a:lnTo>
                      <a:pt x="66" y="382"/>
                    </a:lnTo>
                    <a:lnTo>
                      <a:pt x="66" y="384"/>
                    </a:lnTo>
                    <a:lnTo>
                      <a:pt x="66" y="386"/>
                    </a:lnTo>
                    <a:lnTo>
                      <a:pt x="66" y="388"/>
                    </a:lnTo>
                    <a:lnTo>
                      <a:pt x="66" y="390"/>
                    </a:lnTo>
                    <a:lnTo>
                      <a:pt x="66" y="392"/>
                    </a:lnTo>
                    <a:lnTo>
                      <a:pt x="64" y="394"/>
                    </a:lnTo>
                    <a:lnTo>
                      <a:pt x="64" y="396"/>
                    </a:lnTo>
                    <a:lnTo>
                      <a:pt x="64" y="406"/>
                    </a:lnTo>
                    <a:lnTo>
                      <a:pt x="62" y="406"/>
                    </a:lnTo>
                    <a:lnTo>
                      <a:pt x="62" y="408"/>
                    </a:lnTo>
                    <a:lnTo>
                      <a:pt x="62" y="410"/>
                    </a:lnTo>
                    <a:lnTo>
                      <a:pt x="60" y="412"/>
                    </a:lnTo>
                    <a:lnTo>
                      <a:pt x="58" y="416"/>
                    </a:lnTo>
                    <a:lnTo>
                      <a:pt x="58" y="418"/>
                    </a:lnTo>
                    <a:lnTo>
                      <a:pt x="60" y="418"/>
                    </a:lnTo>
                    <a:lnTo>
                      <a:pt x="60" y="420"/>
                    </a:lnTo>
                    <a:lnTo>
                      <a:pt x="62" y="420"/>
                    </a:lnTo>
                    <a:lnTo>
                      <a:pt x="64" y="422"/>
                    </a:lnTo>
                    <a:lnTo>
                      <a:pt x="66" y="422"/>
                    </a:lnTo>
                    <a:lnTo>
                      <a:pt x="66" y="424"/>
                    </a:lnTo>
                    <a:lnTo>
                      <a:pt x="68" y="424"/>
                    </a:lnTo>
                    <a:lnTo>
                      <a:pt x="68" y="426"/>
                    </a:lnTo>
                    <a:lnTo>
                      <a:pt x="70" y="426"/>
                    </a:lnTo>
                    <a:lnTo>
                      <a:pt x="72" y="426"/>
                    </a:lnTo>
                    <a:lnTo>
                      <a:pt x="72" y="430"/>
                    </a:lnTo>
                    <a:lnTo>
                      <a:pt x="70" y="432"/>
                    </a:lnTo>
                    <a:lnTo>
                      <a:pt x="68" y="432"/>
                    </a:lnTo>
                    <a:lnTo>
                      <a:pt x="66" y="434"/>
                    </a:lnTo>
                    <a:lnTo>
                      <a:pt x="64" y="434"/>
                    </a:lnTo>
                    <a:lnTo>
                      <a:pt x="64" y="438"/>
                    </a:lnTo>
                    <a:lnTo>
                      <a:pt x="62" y="440"/>
                    </a:lnTo>
                    <a:lnTo>
                      <a:pt x="62" y="442"/>
                    </a:lnTo>
                    <a:lnTo>
                      <a:pt x="60" y="444"/>
                    </a:lnTo>
                    <a:lnTo>
                      <a:pt x="58" y="446"/>
                    </a:lnTo>
                    <a:lnTo>
                      <a:pt x="56" y="446"/>
                    </a:lnTo>
                    <a:lnTo>
                      <a:pt x="54" y="448"/>
                    </a:lnTo>
                    <a:lnTo>
                      <a:pt x="52" y="448"/>
                    </a:lnTo>
                    <a:lnTo>
                      <a:pt x="48" y="450"/>
                    </a:lnTo>
                    <a:lnTo>
                      <a:pt x="42" y="454"/>
                    </a:lnTo>
                    <a:lnTo>
                      <a:pt x="42" y="456"/>
                    </a:lnTo>
                    <a:lnTo>
                      <a:pt x="42" y="458"/>
                    </a:lnTo>
                    <a:lnTo>
                      <a:pt x="42" y="460"/>
                    </a:lnTo>
                    <a:lnTo>
                      <a:pt x="42" y="462"/>
                    </a:lnTo>
                    <a:lnTo>
                      <a:pt x="40" y="464"/>
                    </a:lnTo>
                    <a:lnTo>
                      <a:pt x="40" y="466"/>
                    </a:lnTo>
                    <a:lnTo>
                      <a:pt x="38" y="466"/>
                    </a:lnTo>
                    <a:lnTo>
                      <a:pt x="38" y="468"/>
                    </a:lnTo>
                    <a:lnTo>
                      <a:pt x="40" y="470"/>
                    </a:lnTo>
                    <a:lnTo>
                      <a:pt x="40" y="472"/>
                    </a:lnTo>
                    <a:lnTo>
                      <a:pt x="42" y="474"/>
                    </a:lnTo>
                    <a:lnTo>
                      <a:pt x="44" y="474"/>
                    </a:lnTo>
                    <a:lnTo>
                      <a:pt x="46" y="472"/>
                    </a:lnTo>
                    <a:lnTo>
                      <a:pt x="52" y="468"/>
                    </a:lnTo>
                    <a:lnTo>
                      <a:pt x="56" y="466"/>
                    </a:lnTo>
                    <a:lnTo>
                      <a:pt x="58" y="464"/>
                    </a:lnTo>
                    <a:lnTo>
                      <a:pt x="60" y="464"/>
                    </a:lnTo>
                    <a:lnTo>
                      <a:pt x="62" y="464"/>
                    </a:lnTo>
                    <a:lnTo>
                      <a:pt x="60" y="466"/>
                    </a:lnTo>
                    <a:lnTo>
                      <a:pt x="58" y="468"/>
                    </a:lnTo>
                    <a:lnTo>
                      <a:pt x="56" y="468"/>
                    </a:lnTo>
                    <a:lnTo>
                      <a:pt x="54" y="470"/>
                    </a:lnTo>
                    <a:lnTo>
                      <a:pt x="54" y="474"/>
                    </a:lnTo>
                    <a:lnTo>
                      <a:pt x="56" y="474"/>
                    </a:lnTo>
                    <a:lnTo>
                      <a:pt x="56" y="476"/>
                    </a:lnTo>
                    <a:lnTo>
                      <a:pt x="58" y="476"/>
                    </a:lnTo>
                    <a:lnTo>
                      <a:pt x="58" y="478"/>
                    </a:lnTo>
                    <a:lnTo>
                      <a:pt x="48" y="478"/>
                    </a:lnTo>
                    <a:lnTo>
                      <a:pt x="46" y="478"/>
                    </a:lnTo>
                    <a:lnTo>
                      <a:pt x="46" y="480"/>
                    </a:lnTo>
                    <a:lnTo>
                      <a:pt x="44" y="482"/>
                    </a:lnTo>
                    <a:lnTo>
                      <a:pt x="44" y="484"/>
                    </a:lnTo>
                    <a:lnTo>
                      <a:pt x="42" y="486"/>
                    </a:lnTo>
                    <a:lnTo>
                      <a:pt x="44" y="486"/>
                    </a:lnTo>
                    <a:lnTo>
                      <a:pt x="46" y="488"/>
                    </a:lnTo>
                    <a:lnTo>
                      <a:pt x="48" y="488"/>
                    </a:lnTo>
                    <a:lnTo>
                      <a:pt x="48" y="490"/>
                    </a:lnTo>
                    <a:lnTo>
                      <a:pt x="50" y="490"/>
                    </a:lnTo>
                    <a:lnTo>
                      <a:pt x="48" y="490"/>
                    </a:lnTo>
                    <a:lnTo>
                      <a:pt x="48" y="492"/>
                    </a:lnTo>
                    <a:lnTo>
                      <a:pt x="48" y="494"/>
                    </a:lnTo>
                    <a:lnTo>
                      <a:pt x="46" y="494"/>
                    </a:lnTo>
                    <a:lnTo>
                      <a:pt x="46" y="496"/>
                    </a:lnTo>
                    <a:lnTo>
                      <a:pt x="48" y="496"/>
                    </a:lnTo>
                    <a:lnTo>
                      <a:pt x="52" y="494"/>
                    </a:lnTo>
                    <a:lnTo>
                      <a:pt x="54" y="492"/>
                    </a:lnTo>
                    <a:lnTo>
                      <a:pt x="60" y="488"/>
                    </a:lnTo>
                    <a:lnTo>
                      <a:pt x="62" y="486"/>
                    </a:lnTo>
                    <a:lnTo>
                      <a:pt x="64" y="486"/>
                    </a:lnTo>
                    <a:lnTo>
                      <a:pt x="66" y="484"/>
                    </a:lnTo>
                    <a:lnTo>
                      <a:pt x="66" y="486"/>
                    </a:lnTo>
                    <a:lnTo>
                      <a:pt x="64" y="488"/>
                    </a:lnTo>
                    <a:lnTo>
                      <a:pt x="62" y="490"/>
                    </a:lnTo>
                    <a:lnTo>
                      <a:pt x="60" y="490"/>
                    </a:lnTo>
                    <a:lnTo>
                      <a:pt x="60" y="492"/>
                    </a:lnTo>
                    <a:lnTo>
                      <a:pt x="58" y="492"/>
                    </a:lnTo>
                    <a:lnTo>
                      <a:pt x="60" y="492"/>
                    </a:lnTo>
                    <a:lnTo>
                      <a:pt x="62" y="494"/>
                    </a:lnTo>
                    <a:lnTo>
                      <a:pt x="64" y="494"/>
                    </a:lnTo>
                    <a:lnTo>
                      <a:pt x="64" y="496"/>
                    </a:lnTo>
                    <a:lnTo>
                      <a:pt x="62" y="496"/>
                    </a:lnTo>
                    <a:lnTo>
                      <a:pt x="62" y="498"/>
                    </a:lnTo>
                    <a:lnTo>
                      <a:pt x="62" y="500"/>
                    </a:lnTo>
                    <a:lnTo>
                      <a:pt x="60" y="500"/>
                    </a:lnTo>
                    <a:lnTo>
                      <a:pt x="60" y="502"/>
                    </a:lnTo>
                    <a:lnTo>
                      <a:pt x="58" y="502"/>
                    </a:lnTo>
                    <a:lnTo>
                      <a:pt x="56" y="500"/>
                    </a:lnTo>
                    <a:lnTo>
                      <a:pt x="56" y="498"/>
                    </a:lnTo>
                    <a:lnTo>
                      <a:pt x="54" y="498"/>
                    </a:lnTo>
                    <a:lnTo>
                      <a:pt x="52" y="498"/>
                    </a:lnTo>
                    <a:lnTo>
                      <a:pt x="50" y="498"/>
                    </a:lnTo>
                    <a:lnTo>
                      <a:pt x="48" y="500"/>
                    </a:lnTo>
                    <a:lnTo>
                      <a:pt x="46" y="500"/>
                    </a:lnTo>
                    <a:lnTo>
                      <a:pt x="44" y="502"/>
                    </a:lnTo>
                    <a:lnTo>
                      <a:pt x="42" y="502"/>
                    </a:lnTo>
                    <a:lnTo>
                      <a:pt x="40" y="504"/>
                    </a:lnTo>
                    <a:lnTo>
                      <a:pt x="38" y="506"/>
                    </a:lnTo>
                    <a:lnTo>
                      <a:pt x="40" y="506"/>
                    </a:lnTo>
                    <a:lnTo>
                      <a:pt x="42" y="506"/>
                    </a:lnTo>
                    <a:lnTo>
                      <a:pt x="52" y="506"/>
                    </a:lnTo>
                    <a:lnTo>
                      <a:pt x="50" y="506"/>
                    </a:lnTo>
                    <a:lnTo>
                      <a:pt x="48" y="508"/>
                    </a:lnTo>
                    <a:lnTo>
                      <a:pt x="44" y="508"/>
                    </a:lnTo>
                    <a:lnTo>
                      <a:pt x="42" y="508"/>
                    </a:lnTo>
                    <a:lnTo>
                      <a:pt x="40" y="510"/>
                    </a:lnTo>
                    <a:lnTo>
                      <a:pt x="38" y="510"/>
                    </a:lnTo>
                    <a:lnTo>
                      <a:pt x="38" y="514"/>
                    </a:lnTo>
                    <a:lnTo>
                      <a:pt x="36" y="514"/>
                    </a:lnTo>
                    <a:lnTo>
                      <a:pt x="36" y="512"/>
                    </a:lnTo>
                    <a:lnTo>
                      <a:pt x="30" y="512"/>
                    </a:lnTo>
                    <a:lnTo>
                      <a:pt x="30" y="514"/>
                    </a:lnTo>
                    <a:lnTo>
                      <a:pt x="32" y="518"/>
                    </a:lnTo>
                    <a:lnTo>
                      <a:pt x="34" y="520"/>
                    </a:lnTo>
                    <a:lnTo>
                      <a:pt x="36" y="522"/>
                    </a:lnTo>
                    <a:lnTo>
                      <a:pt x="38" y="520"/>
                    </a:lnTo>
                    <a:lnTo>
                      <a:pt x="40" y="520"/>
                    </a:lnTo>
                    <a:lnTo>
                      <a:pt x="42" y="520"/>
                    </a:lnTo>
                    <a:lnTo>
                      <a:pt x="44" y="518"/>
                    </a:lnTo>
                    <a:lnTo>
                      <a:pt x="46" y="518"/>
                    </a:lnTo>
                    <a:lnTo>
                      <a:pt x="48" y="518"/>
                    </a:lnTo>
                    <a:lnTo>
                      <a:pt x="48" y="520"/>
                    </a:lnTo>
                    <a:lnTo>
                      <a:pt x="50" y="520"/>
                    </a:lnTo>
                    <a:lnTo>
                      <a:pt x="50" y="522"/>
                    </a:lnTo>
                    <a:lnTo>
                      <a:pt x="54" y="522"/>
                    </a:lnTo>
                    <a:lnTo>
                      <a:pt x="56" y="520"/>
                    </a:lnTo>
                    <a:lnTo>
                      <a:pt x="58" y="518"/>
                    </a:lnTo>
                    <a:lnTo>
                      <a:pt x="60" y="518"/>
                    </a:lnTo>
                    <a:lnTo>
                      <a:pt x="58" y="520"/>
                    </a:lnTo>
                    <a:lnTo>
                      <a:pt x="56" y="522"/>
                    </a:lnTo>
                    <a:lnTo>
                      <a:pt x="54" y="524"/>
                    </a:lnTo>
                    <a:lnTo>
                      <a:pt x="52" y="526"/>
                    </a:lnTo>
                    <a:lnTo>
                      <a:pt x="52" y="528"/>
                    </a:lnTo>
                    <a:lnTo>
                      <a:pt x="52" y="530"/>
                    </a:lnTo>
                    <a:lnTo>
                      <a:pt x="54" y="530"/>
                    </a:lnTo>
                    <a:lnTo>
                      <a:pt x="56" y="528"/>
                    </a:lnTo>
                    <a:lnTo>
                      <a:pt x="58" y="526"/>
                    </a:lnTo>
                    <a:lnTo>
                      <a:pt x="62" y="526"/>
                    </a:lnTo>
                    <a:lnTo>
                      <a:pt x="64" y="524"/>
                    </a:lnTo>
                    <a:lnTo>
                      <a:pt x="66" y="522"/>
                    </a:lnTo>
                    <a:lnTo>
                      <a:pt x="64" y="524"/>
                    </a:lnTo>
                    <a:lnTo>
                      <a:pt x="60" y="528"/>
                    </a:lnTo>
                    <a:lnTo>
                      <a:pt x="60" y="530"/>
                    </a:lnTo>
                    <a:lnTo>
                      <a:pt x="58" y="530"/>
                    </a:lnTo>
                    <a:lnTo>
                      <a:pt x="58" y="532"/>
                    </a:lnTo>
                    <a:lnTo>
                      <a:pt x="60" y="532"/>
                    </a:lnTo>
                    <a:lnTo>
                      <a:pt x="60" y="530"/>
                    </a:lnTo>
                    <a:lnTo>
                      <a:pt x="64" y="530"/>
                    </a:lnTo>
                    <a:lnTo>
                      <a:pt x="66" y="530"/>
                    </a:lnTo>
                    <a:lnTo>
                      <a:pt x="64" y="530"/>
                    </a:lnTo>
                    <a:lnTo>
                      <a:pt x="62" y="532"/>
                    </a:lnTo>
                    <a:lnTo>
                      <a:pt x="60" y="534"/>
                    </a:lnTo>
                    <a:lnTo>
                      <a:pt x="58" y="536"/>
                    </a:lnTo>
                    <a:lnTo>
                      <a:pt x="56" y="538"/>
                    </a:lnTo>
                    <a:lnTo>
                      <a:pt x="56" y="540"/>
                    </a:lnTo>
                    <a:lnTo>
                      <a:pt x="58" y="540"/>
                    </a:lnTo>
                    <a:lnTo>
                      <a:pt x="62" y="540"/>
                    </a:lnTo>
                    <a:lnTo>
                      <a:pt x="64" y="538"/>
                    </a:lnTo>
                    <a:lnTo>
                      <a:pt x="66" y="538"/>
                    </a:lnTo>
                    <a:lnTo>
                      <a:pt x="68" y="536"/>
                    </a:lnTo>
                    <a:lnTo>
                      <a:pt x="68" y="534"/>
                    </a:lnTo>
                    <a:lnTo>
                      <a:pt x="70" y="534"/>
                    </a:lnTo>
                    <a:lnTo>
                      <a:pt x="70" y="536"/>
                    </a:lnTo>
                    <a:lnTo>
                      <a:pt x="68" y="536"/>
                    </a:lnTo>
                    <a:lnTo>
                      <a:pt x="66" y="538"/>
                    </a:lnTo>
                    <a:lnTo>
                      <a:pt x="66" y="540"/>
                    </a:lnTo>
                    <a:lnTo>
                      <a:pt x="64" y="542"/>
                    </a:lnTo>
                    <a:lnTo>
                      <a:pt x="64" y="544"/>
                    </a:lnTo>
                    <a:lnTo>
                      <a:pt x="66" y="544"/>
                    </a:lnTo>
                    <a:lnTo>
                      <a:pt x="66" y="546"/>
                    </a:lnTo>
                    <a:lnTo>
                      <a:pt x="68" y="546"/>
                    </a:lnTo>
                    <a:lnTo>
                      <a:pt x="70" y="546"/>
                    </a:lnTo>
                    <a:lnTo>
                      <a:pt x="72" y="548"/>
                    </a:lnTo>
                    <a:lnTo>
                      <a:pt x="72" y="552"/>
                    </a:lnTo>
                    <a:lnTo>
                      <a:pt x="70" y="556"/>
                    </a:lnTo>
                    <a:lnTo>
                      <a:pt x="70" y="558"/>
                    </a:lnTo>
                    <a:lnTo>
                      <a:pt x="478" y="558"/>
                    </a:lnTo>
                    <a:lnTo>
                      <a:pt x="478" y="556"/>
                    </a:lnTo>
                    <a:lnTo>
                      <a:pt x="480" y="556"/>
                    </a:lnTo>
                    <a:lnTo>
                      <a:pt x="480" y="554"/>
                    </a:lnTo>
                    <a:lnTo>
                      <a:pt x="482" y="552"/>
                    </a:lnTo>
                    <a:lnTo>
                      <a:pt x="484" y="550"/>
                    </a:lnTo>
                    <a:lnTo>
                      <a:pt x="486" y="550"/>
                    </a:lnTo>
                    <a:lnTo>
                      <a:pt x="486" y="552"/>
                    </a:lnTo>
                    <a:lnTo>
                      <a:pt x="488" y="552"/>
                    </a:lnTo>
                    <a:lnTo>
                      <a:pt x="488" y="554"/>
                    </a:lnTo>
                    <a:lnTo>
                      <a:pt x="486" y="554"/>
                    </a:lnTo>
                    <a:lnTo>
                      <a:pt x="484" y="556"/>
                    </a:lnTo>
                    <a:lnTo>
                      <a:pt x="484" y="558"/>
                    </a:lnTo>
                    <a:lnTo>
                      <a:pt x="484" y="560"/>
                    </a:lnTo>
                    <a:lnTo>
                      <a:pt x="486" y="562"/>
                    </a:lnTo>
                    <a:lnTo>
                      <a:pt x="488" y="562"/>
                    </a:lnTo>
                    <a:lnTo>
                      <a:pt x="490" y="564"/>
                    </a:lnTo>
                    <a:lnTo>
                      <a:pt x="492" y="564"/>
                    </a:lnTo>
                    <a:lnTo>
                      <a:pt x="494" y="564"/>
                    </a:lnTo>
                    <a:lnTo>
                      <a:pt x="496" y="568"/>
                    </a:lnTo>
                    <a:lnTo>
                      <a:pt x="500" y="568"/>
                    </a:lnTo>
                    <a:lnTo>
                      <a:pt x="502" y="566"/>
                    </a:lnTo>
                    <a:lnTo>
                      <a:pt x="502" y="564"/>
                    </a:lnTo>
                    <a:lnTo>
                      <a:pt x="504" y="564"/>
                    </a:lnTo>
                    <a:lnTo>
                      <a:pt x="508" y="564"/>
                    </a:lnTo>
                    <a:lnTo>
                      <a:pt x="510" y="564"/>
                    </a:lnTo>
                    <a:lnTo>
                      <a:pt x="510" y="566"/>
                    </a:lnTo>
                    <a:lnTo>
                      <a:pt x="512" y="568"/>
                    </a:lnTo>
                    <a:lnTo>
                      <a:pt x="512" y="570"/>
                    </a:lnTo>
                    <a:lnTo>
                      <a:pt x="514" y="570"/>
                    </a:lnTo>
                    <a:lnTo>
                      <a:pt x="516" y="572"/>
                    </a:lnTo>
                    <a:lnTo>
                      <a:pt x="520" y="572"/>
                    </a:lnTo>
                    <a:lnTo>
                      <a:pt x="520" y="570"/>
                    </a:lnTo>
                    <a:lnTo>
                      <a:pt x="520" y="572"/>
                    </a:lnTo>
                    <a:lnTo>
                      <a:pt x="522" y="572"/>
                    </a:lnTo>
                    <a:lnTo>
                      <a:pt x="522" y="574"/>
                    </a:lnTo>
                    <a:lnTo>
                      <a:pt x="524" y="576"/>
                    </a:lnTo>
                    <a:lnTo>
                      <a:pt x="526" y="576"/>
                    </a:lnTo>
                    <a:lnTo>
                      <a:pt x="528" y="576"/>
                    </a:lnTo>
                    <a:lnTo>
                      <a:pt x="530" y="574"/>
                    </a:lnTo>
                    <a:lnTo>
                      <a:pt x="532" y="572"/>
                    </a:lnTo>
                    <a:lnTo>
                      <a:pt x="534" y="570"/>
                    </a:lnTo>
                    <a:lnTo>
                      <a:pt x="536" y="570"/>
                    </a:lnTo>
                    <a:lnTo>
                      <a:pt x="536" y="574"/>
                    </a:lnTo>
                    <a:lnTo>
                      <a:pt x="546" y="574"/>
                    </a:lnTo>
                    <a:lnTo>
                      <a:pt x="548" y="576"/>
                    </a:lnTo>
                    <a:lnTo>
                      <a:pt x="556" y="576"/>
                    </a:lnTo>
                    <a:lnTo>
                      <a:pt x="558" y="574"/>
                    </a:lnTo>
                    <a:lnTo>
                      <a:pt x="560" y="570"/>
                    </a:lnTo>
                    <a:lnTo>
                      <a:pt x="562" y="568"/>
                    </a:lnTo>
                    <a:lnTo>
                      <a:pt x="562" y="566"/>
                    </a:lnTo>
                    <a:lnTo>
                      <a:pt x="566" y="566"/>
                    </a:lnTo>
                    <a:lnTo>
                      <a:pt x="568" y="568"/>
                    </a:lnTo>
                    <a:lnTo>
                      <a:pt x="570" y="568"/>
                    </a:lnTo>
                    <a:lnTo>
                      <a:pt x="570" y="566"/>
                    </a:lnTo>
                    <a:lnTo>
                      <a:pt x="572" y="566"/>
                    </a:lnTo>
                    <a:lnTo>
                      <a:pt x="574" y="564"/>
                    </a:lnTo>
                    <a:lnTo>
                      <a:pt x="574" y="562"/>
                    </a:lnTo>
                    <a:lnTo>
                      <a:pt x="574" y="560"/>
                    </a:lnTo>
                    <a:lnTo>
                      <a:pt x="576" y="560"/>
                    </a:lnTo>
                    <a:lnTo>
                      <a:pt x="576" y="562"/>
                    </a:lnTo>
                    <a:lnTo>
                      <a:pt x="578" y="564"/>
                    </a:lnTo>
                    <a:lnTo>
                      <a:pt x="580" y="564"/>
                    </a:lnTo>
                    <a:lnTo>
                      <a:pt x="584" y="564"/>
                    </a:lnTo>
                    <a:lnTo>
                      <a:pt x="584" y="562"/>
                    </a:lnTo>
                    <a:lnTo>
                      <a:pt x="584" y="560"/>
                    </a:lnTo>
                    <a:lnTo>
                      <a:pt x="584" y="558"/>
                    </a:lnTo>
                    <a:lnTo>
                      <a:pt x="584" y="556"/>
                    </a:lnTo>
                    <a:lnTo>
                      <a:pt x="588" y="556"/>
                    </a:lnTo>
                    <a:lnTo>
                      <a:pt x="590" y="558"/>
                    </a:lnTo>
                    <a:lnTo>
                      <a:pt x="592" y="560"/>
                    </a:lnTo>
                    <a:lnTo>
                      <a:pt x="596" y="560"/>
                    </a:lnTo>
                    <a:lnTo>
                      <a:pt x="598" y="560"/>
                    </a:lnTo>
                    <a:lnTo>
                      <a:pt x="598" y="562"/>
                    </a:lnTo>
                    <a:lnTo>
                      <a:pt x="602" y="562"/>
                    </a:lnTo>
                    <a:lnTo>
                      <a:pt x="606" y="562"/>
                    </a:lnTo>
                    <a:lnTo>
                      <a:pt x="608" y="564"/>
                    </a:lnTo>
                    <a:lnTo>
                      <a:pt x="608" y="566"/>
                    </a:lnTo>
                    <a:lnTo>
                      <a:pt x="608" y="568"/>
                    </a:lnTo>
                    <a:lnTo>
                      <a:pt x="608" y="570"/>
                    </a:lnTo>
                    <a:lnTo>
                      <a:pt x="606" y="572"/>
                    </a:lnTo>
                    <a:lnTo>
                      <a:pt x="606" y="574"/>
                    </a:lnTo>
                    <a:lnTo>
                      <a:pt x="606" y="576"/>
                    </a:lnTo>
                    <a:lnTo>
                      <a:pt x="608" y="578"/>
                    </a:lnTo>
                    <a:lnTo>
                      <a:pt x="606" y="580"/>
                    </a:lnTo>
                    <a:lnTo>
                      <a:pt x="606" y="582"/>
                    </a:lnTo>
                    <a:lnTo>
                      <a:pt x="608" y="580"/>
                    </a:lnTo>
                    <a:lnTo>
                      <a:pt x="614" y="578"/>
                    </a:lnTo>
                    <a:lnTo>
                      <a:pt x="616" y="578"/>
                    </a:lnTo>
                    <a:lnTo>
                      <a:pt x="618" y="578"/>
                    </a:lnTo>
                    <a:lnTo>
                      <a:pt x="622" y="576"/>
                    </a:lnTo>
                    <a:lnTo>
                      <a:pt x="624" y="578"/>
                    </a:lnTo>
                    <a:lnTo>
                      <a:pt x="622" y="580"/>
                    </a:lnTo>
                    <a:lnTo>
                      <a:pt x="620" y="582"/>
                    </a:lnTo>
                    <a:lnTo>
                      <a:pt x="618" y="582"/>
                    </a:lnTo>
                    <a:lnTo>
                      <a:pt x="616" y="584"/>
                    </a:lnTo>
                    <a:lnTo>
                      <a:pt x="618" y="586"/>
                    </a:lnTo>
                    <a:lnTo>
                      <a:pt x="620" y="586"/>
                    </a:lnTo>
                    <a:lnTo>
                      <a:pt x="620" y="588"/>
                    </a:lnTo>
                    <a:lnTo>
                      <a:pt x="622" y="588"/>
                    </a:lnTo>
                    <a:lnTo>
                      <a:pt x="622" y="590"/>
                    </a:lnTo>
                    <a:lnTo>
                      <a:pt x="620" y="590"/>
                    </a:lnTo>
                    <a:lnTo>
                      <a:pt x="618" y="592"/>
                    </a:lnTo>
                    <a:lnTo>
                      <a:pt x="616" y="594"/>
                    </a:lnTo>
                    <a:lnTo>
                      <a:pt x="616" y="596"/>
                    </a:lnTo>
                    <a:lnTo>
                      <a:pt x="618" y="596"/>
                    </a:lnTo>
                    <a:lnTo>
                      <a:pt x="620" y="598"/>
                    </a:lnTo>
                    <a:lnTo>
                      <a:pt x="620" y="600"/>
                    </a:lnTo>
                    <a:lnTo>
                      <a:pt x="618" y="600"/>
                    </a:lnTo>
                    <a:lnTo>
                      <a:pt x="618" y="602"/>
                    </a:lnTo>
                    <a:lnTo>
                      <a:pt x="616" y="602"/>
                    </a:lnTo>
                    <a:lnTo>
                      <a:pt x="616" y="604"/>
                    </a:lnTo>
                    <a:lnTo>
                      <a:pt x="620" y="604"/>
                    </a:lnTo>
                    <a:lnTo>
                      <a:pt x="620" y="606"/>
                    </a:lnTo>
                    <a:lnTo>
                      <a:pt x="620" y="608"/>
                    </a:lnTo>
                    <a:lnTo>
                      <a:pt x="618" y="608"/>
                    </a:lnTo>
                    <a:lnTo>
                      <a:pt x="622" y="610"/>
                    </a:lnTo>
                    <a:lnTo>
                      <a:pt x="630" y="610"/>
                    </a:lnTo>
                    <a:lnTo>
                      <a:pt x="634" y="610"/>
                    </a:lnTo>
                    <a:lnTo>
                      <a:pt x="640" y="610"/>
                    </a:lnTo>
                    <a:lnTo>
                      <a:pt x="642" y="610"/>
                    </a:lnTo>
                    <a:lnTo>
                      <a:pt x="644" y="610"/>
                    </a:lnTo>
                    <a:lnTo>
                      <a:pt x="648" y="612"/>
                    </a:lnTo>
                    <a:lnTo>
                      <a:pt x="650" y="614"/>
                    </a:lnTo>
                    <a:lnTo>
                      <a:pt x="652" y="614"/>
                    </a:lnTo>
                    <a:lnTo>
                      <a:pt x="664" y="614"/>
                    </a:lnTo>
                    <a:lnTo>
                      <a:pt x="666" y="616"/>
                    </a:lnTo>
                    <a:lnTo>
                      <a:pt x="668" y="618"/>
                    </a:lnTo>
                    <a:lnTo>
                      <a:pt x="668" y="624"/>
                    </a:lnTo>
                    <a:lnTo>
                      <a:pt x="672" y="624"/>
                    </a:lnTo>
                    <a:lnTo>
                      <a:pt x="672" y="626"/>
                    </a:lnTo>
                    <a:lnTo>
                      <a:pt x="672" y="628"/>
                    </a:lnTo>
                    <a:lnTo>
                      <a:pt x="672" y="630"/>
                    </a:lnTo>
                    <a:lnTo>
                      <a:pt x="670" y="630"/>
                    </a:lnTo>
                    <a:lnTo>
                      <a:pt x="668" y="632"/>
                    </a:lnTo>
                    <a:lnTo>
                      <a:pt x="668" y="634"/>
                    </a:lnTo>
                    <a:lnTo>
                      <a:pt x="670" y="634"/>
                    </a:lnTo>
                    <a:lnTo>
                      <a:pt x="672" y="636"/>
                    </a:lnTo>
                    <a:lnTo>
                      <a:pt x="668" y="636"/>
                    </a:lnTo>
                    <a:lnTo>
                      <a:pt x="668" y="638"/>
                    </a:lnTo>
                    <a:lnTo>
                      <a:pt x="666" y="640"/>
                    </a:lnTo>
                    <a:lnTo>
                      <a:pt x="666" y="642"/>
                    </a:lnTo>
                    <a:lnTo>
                      <a:pt x="664" y="644"/>
                    </a:lnTo>
                    <a:lnTo>
                      <a:pt x="662" y="644"/>
                    </a:lnTo>
                    <a:lnTo>
                      <a:pt x="662" y="642"/>
                    </a:lnTo>
                    <a:lnTo>
                      <a:pt x="660" y="642"/>
                    </a:lnTo>
                    <a:lnTo>
                      <a:pt x="658" y="640"/>
                    </a:lnTo>
                    <a:lnTo>
                      <a:pt x="656" y="638"/>
                    </a:lnTo>
                    <a:lnTo>
                      <a:pt x="654" y="638"/>
                    </a:lnTo>
                    <a:lnTo>
                      <a:pt x="652" y="636"/>
                    </a:lnTo>
                    <a:lnTo>
                      <a:pt x="652" y="634"/>
                    </a:lnTo>
                    <a:lnTo>
                      <a:pt x="650" y="632"/>
                    </a:lnTo>
                    <a:lnTo>
                      <a:pt x="650" y="628"/>
                    </a:lnTo>
                    <a:lnTo>
                      <a:pt x="652" y="628"/>
                    </a:lnTo>
                    <a:lnTo>
                      <a:pt x="650" y="628"/>
                    </a:lnTo>
                    <a:lnTo>
                      <a:pt x="648" y="626"/>
                    </a:lnTo>
                    <a:lnTo>
                      <a:pt x="648" y="630"/>
                    </a:lnTo>
                    <a:lnTo>
                      <a:pt x="648" y="632"/>
                    </a:lnTo>
                    <a:lnTo>
                      <a:pt x="648" y="634"/>
                    </a:lnTo>
                    <a:lnTo>
                      <a:pt x="650" y="636"/>
                    </a:lnTo>
                    <a:lnTo>
                      <a:pt x="648" y="636"/>
                    </a:lnTo>
                    <a:lnTo>
                      <a:pt x="648" y="638"/>
                    </a:lnTo>
                    <a:lnTo>
                      <a:pt x="648" y="640"/>
                    </a:lnTo>
                    <a:lnTo>
                      <a:pt x="646" y="642"/>
                    </a:lnTo>
                    <a:lnTo>
                      <a:pt x="644" y="644"/>
                    </a:lnTo>
                    <a:lnTo>
                      <a:pt x="642" y="646"/>
                    </a:lnTo>
                    <a:lnTo>
                      <a:pt x="638" y="648"/>
                    </a:lnTo>
                    <a:lnTo>
                      <a:pt x="638" y="650"/>
                    </a:lnTo>
                    <a:lnTo>
                      <a:pt x="636" y="652"/>
                    </a:lnTo>
                    <a:lnTo>
                      <a:pt x="634" y="654"/>
                    </a:lnTo>
                    <a:lnTo>
                      <a:pt x="632" y="658"/>
                    </a:lnTo>
                    <a:lnTo>
                      <a:pt x="630" y="662"/>
                    </a:lnTo>
                    <a:lnTo>
                      <a:pt x="630" y="664"/>
                    </a:lnTo>
                    <a:lnTo>
                      <a:pt x="628" y="664"/>
                    </a:lnTo>
                    <a:lnTo>
                      <a:pt x="626" y="666"/>
                    </a:lnTo>
                    <a:lnTo>
                      <a:pt x="624" y="668"/>
                    </a:lnTo>
                    <a:lnTo>
                      <a:pt x="622" y="668"/>
                    </a:lnTo>
                    <a:lnTo>
                      <a:pt x="618" y="668"/>
                    </a:lnTo>
                    <a:lnTo>
                      <a:pt x="616" y="670"/>
                    </a:lnTo>
                    <a:lnTo>
                      <a:pt x="616" y="672"/>
                    </a:lnTo>
                    <a:lnTo>
                      <a:pt x="616" y="678"/>
                    </a:lnTo>
                    <a:lnTo>
                      <a:pt x="614" y="678"/>
                    </a:lnTo>
                    <a:lnTo>
                      <a:pt x="612" y="678"/>
                    </a:lnTo>
                    <a:lnTo>
                      <a:pt x="610" y="680"/>
                    </a:lnTo>
                    <a:lnTo>
                      <a:pt x="606" y="682"/>
                    </a:lnTo>
                    <a:lnTo>
                      <a:pt x="604" y="682"/>
                    </a:lnTo>
                    <a:lnTo>
                      <a:pt x="600" y="684"/>
                    </a:lnTo>
                    <a:lnTo>
                      <a:pt x="600" y="686"/>
                    </a:lnTo>
                    <a:lnTo>
                      <a:pt x="598" y="686"/>
                    </a:lnTo>
                    <a:lnTo>
                      <a:pt x="598" y="688"/>
                    </a:lnTo>
                    <a:lnTo>
                      <a:pt x="598" y="690"/>
                    </a:lnTo>
                    <a:lnTo>
                      <a:pt x="600" y="690"/>
                    </a:lnTo>
                    <a:lnTo>
                      <a:pt x="602" y="690"/>
                    </a:lnTo>
                    <a:lnTo>
                      <a:pt x="604" y="688"/>
                    </a:lnTo>
                    <a:lnTo>
                      <a:pt x="606" y="688"/>
                    </a:lnTo>
                    <a:lnTo>
                      <a:pt x="606" y="690"/>
                    </a:lnTo>
                    <a:lnTo>
                      <a:pt x="608" y="690"/>
                    </a:lnTo>
                    <a:lnTo>
                      <a:pt x="608" y="688"/>
                    </a:lnTo>
                    <a:lnTo>
                      <a:pt x="610" y="688"/>
                    </a:lnTo>
                    <a:lnTo>
                      <a:pt x="612" y="686"/>
                    </a:lnTo>
                    <a:lnTo>
                      <a:pt x="614" y="684"/>
                    </a:lnTo>
                    <a:lnTo>
                      <a:pt x="620" y="684"/>
                    </a:lnTo>
                    <a:lnTo>
                      <a:pt x="622" y="682"/>
                    </a:lnTo>
                    <a:lnTo>
                      <a:pt x="622" y="680"/>
                    </a:lnTo>
                    <a:lnTo>
                      <a:pt x="624" y="680"/>
                    </a:lnTo>
                    <a:lnTo>
                      <a:pt x="626" y="678"/>
                    </a:lnTo>
                    <a:lnTo>
                      <a:pt x="628" y="676"/>
                    </a:lnTo>
                    <a:lnTo>
                      <a:pt x="640" y="676"/>
                    </a:lnTo>
                    <a:lnTo>
                      <a:pt x="642" y="678"/>
                    </a:lnTo>
                    <a:lnTo>
                      <a:pt x="644" y="678"/>
                    </a:lnTo>
                    <a:lnTo>
                      <a:pt x="646" y="678"/>
                    </a:lnTo>
                    <a:lnTo>
                      <a:pt x="648" y="676"/>
                    </a:lnTo>
                    <a:lnTo>
                      <a:pt x="650" y="676"/>
                    </a:lnTo>
                    <a:lnTo>
                      <a:pt x="650" y="674"/>
                    </a:lnTo>
                    <a:lnTo>
                      <a:pt x="652" y="674"/>
                    </a:lnTo>
                    <a:lnTo>
                      <a:pt x="664" y="674"/>
                    </a:lnTo>
                    <a:lnTo>
                      <a:pt x="666" y="674"/>
                    </a:lnTo>
                    <a:lnTo>
                      <a:pt x="668" y="672"/>
                    </a:lnTo>
                    <a:lnTo>
                      <a:pt x="670" y="672"/>
                    </a:lnTo>
                    <a:lnTo>
                      <a:pt x="670" y="668"/>
                    </a:lnTo>
                    <a:lnTo>
                      <a:pt x="668" y="668"/>
                    </a:lnTo>
                    <a:lnTo>
                      <a:pt x="666" y="668"/>
                    </a:lnTo>
                    <a:lnTo>
                      <a:pt x="664" y="668"/>
                    </a:lnTo>
                    <a:lnTo>
                      <a:pt x="662" y="668"/>
                    </a:lnTo>
                    <a:lnTo>
                      <a:pt x="662" y="664"/>
                    </a:lnTo>
                    <a:lnTo>
                      <a:pt x="662" y="662"/>
                    </a:lnTo>
                    <a:lnTo>
                      <a:pt x="664" y="660"/>
                    </a:lnTo>
                    <a:lnTo>
                      <a:pt x="666" y="658"/>
                    </a:lnTo>
                    <a:lnTo>
                      <a:pt x="670" y="656"/>
                    </a:lnTo>
                    <a:lnTo>
                      <a:pt x="676" y="654"/>
                    </a:lnTo>
                    <a:lnTo>
                      <a:pt x="678" y="654"/>
                    </a:lnTo>
                    <a:lnTo>
                      <a:pt x="682" y="654"/>
                    </a:lnTo>
                    <a:lnTo>
                      <a:pt x="686" y="652"/>
                    </a:lnTo>
                    <a:lnTo>
                      <a:pt x="690" y="652"/>
                    </a:lnTo>
                    <a:lnTo>
                      <a:pt x="692" y="652"/>
                    </a:lnTo>
                    <a:lnTo>
                      <a:pt x="694" y="650"/>
                    </a:lnTo>
                    <a:lnTo>
                      <a:pt x="696" y="650"/>
                    </a:lnTo>
                    <a:lnTo>
                      <a:pt x="698" y="650"/>
                    </a:lnTo>
                    <a:lnTo>
                      <a:pt x="700" y="650"/>
                    </a:lnTo>
                    <a:lnTo>
                      <a:pt x="702" y="652"/>
                    </a:lnTo>
                    <a:lnTo>
                      <a:pt x="704" y="652"/>
                    </a:lnTo>
                    <a:lnTo>
                      <a:pt x="706" y="652"/>
                    </a:lnTo>
                    <a:lnTo>
                      <a:pt x="708" y="654"/>
                    </a:lnTo>
                    <a:lnTo>
                      <a:pt x="710" y="654"/>
                    </a:lnTo>
                    <a:lnTo>
                      <a:pt x="710" y="652"/>
                    </a:lnTo>
                    <a:lnTo>
                      <a:pt x="710" y="648"/>
                    </a:lnTo>
                    <a:lnTo>
                      <a:pt x="712" y="646"/>
                    </a:lnTo>
                    <a:lnTo>
                      <a:pt x="718" y="646"/>
                    </a:lnTo>
                    <a:lnTo>
                      <a:pt x="718" y="648"/>
                    </a:lnTo>
                    <a:lnTo>
                      <a:pt x="720" y="646"/>
                    </a:lnTo>
                    <a:lnTo>
                      <a:pt x="724" y="646"/>
                    </a:lnTo>
                    <a:lnTo>
                      <a:pt x="726" y="646"/>
                    </a:lnTo>
                    <a:lnTo>
                      <a:pt x="728" y="646"/>
                    </a:lnTo>
                    <a:lnTo>
                      <a:pt x="730" y="644"/>
                    </a:lnTo>
                    <a:lnTo>
                      <a:pt x="732" y="642"/>
                    </a:lnTo>
                    <a:lnTo>
                      <a:pt x="734" y="638"/>
                    </a:lnTo>
                    <a:lnTo>
                      <a:pt x="738" y="636"/>
                    </a:lnTo>
                    <a:lnTo>
                      <a:pt x="742" y="634"/>
                    </a:lnTo>
                    <a:lnTo>
                      <a:pt x="744" y="632"/>
                    </a:lnTo>
                    <a:lnTo>
                      <a:pt x="746" y="632"/>
                    </a:lnTo>
                    <a:lnTo>
                      <a:pt x="800" y="632"/>
                    </a:lnTo>
                    <a:lnTo>
                      <a:pt x="800" y="630"/>
                    </a:lnTo>
                    <a:lnTo>
                      <a:pt x="800" y="628"/>
                    </a:lnTo>
                    <a:lnTo>
                      <a:pt x="802" y="628"/>
                    </a:lnTo>
                    <a:lnTo>
                      <a:pt x="802" y="626"/>
                    </a:lnTo>
                    <a:lnTo>
                      <a:pt x="806" y="626"/>
                    </a:lnTo>
                    <a:lnTo>
                      <a:pt x="808" y="626"/>
                    </a:lnTo>
                    <a:lnTo>
                      <a:pt x="810" y="626"/>
                    </a:lnTo>
                    <a:lnTo>
                      <a:pt x="812" y="626"/>
                    </a:lnTo>
                    <a:lnTo>
                      <a:pt x="812" y="624"/>
                    </a:lnTo>
                    <a:lnTo>
                      <a:pt x="814" y="622"/>
                    </a:lnTo>
                    <a:lnTo>
                      <a:pt x="816" y="620"/>
                    </a:lnTo>
                    <a:lnTo>
                      <a:pt x="818" y="618"/>
                    </a:lnTo>
                    <a:lnTo>
                      <a:pt x="820" y="620"/>
                    </a:lnTo>
                    <a:lnTo>
                      <a:pt x="822" y="620"/>
                    </a:lnTo>
                    <a:lnTo>
                      <a:pt x="824" y="620"/>
                    </a:lnTo>
                    <a:lnTo>
                      <a:pt x="824" y="616"/>
                    </a:lnTo>
                    <a:lnTo>
                      <a:pt x="826" y="612"/>
                    </a:lnTo>
                    <a:lnTo>
                      <a:pt x="826" y="610"/>
                    </a:lnTo>
                    <a:lnTo>
                      <a:pt x="826" y="608"/>
                    </a:lnTo>
                    <a:lnTo>
                      <a:pt x="828" y="608"/>
                    </a:lnTo>
                    <a:lnTo>
                      <a:pt x="830" y="608"/>
                    </a:lnTo>
                    <a:lnTo>
                      <a:pt x="830" y="606"/>
                    </a:lnTo>
                    <a:lnTo>
                      <a:pt x="832" y="606"/>
                    </a:lnTo>
                    <a:lnTo>
                      <a:pt x="832" y="600"/>
                    </a:lnTo>
                    <a:lnTo>
                      <a:pt x="836" y="598"/>
                    </a:lnTo>
                    <a:lnTo>
                      <a:pt x="838" y="596"/>
                    </a:lnTo>
                    <a:lnTo>
                      <a:pt x="840" y="596"/>
                    </a:lnTo>
                    <a:lnTo>
                      <a:pt x="840" y="594"/>
                    </a:lnTo>
                    <a:lnTo>
                      <a:pt x="842" y="594"/>
                    </a:lnTo>
                    <a:lnTo>
                      <a:pt x="842" y="592"/>
                    </a:lnTo>
                    <a:lnTo>
                      <a:pt x="844" y="592"/>
                    </a:lnTo>
                    <a:lnTo>
                      <a:pt x="844" y="590"/>
                    </a:lnTo>
                    <a:lnTo>
                      <a:pt x="846" y="588"/>
                    </a:lnTo>
                    <a:lnTo>
                      <a:pt x="848" y="588"/>
                    </a:lnTo>
                    <a:lnTo>
                      <a:pt x="850" y="586"/>
                    </a:lnTo>
                    <a:lnTo>
                      <a:pt x="852" y="586"/>
                    </a:lnTo>
                    <a:lnTo>
                      <a:pt x="854" y="586"/>
                    </a:lnTo>
                    <a:lnTo>
                      <a:pt x="854" y="588"/>
                    </a:lnTo>
                    <a:lnTo>
                      <a:pt x="854" y="590"/>
                    </a:lnTo>
                    <a:lnTo>
                      <a:pt x="858" y="590"/>
                    </a:lnTo>
                    <a:lnTo>
                      <a:pt x="860" y="588"/>
                    </a:lnTo>
                    <a:lnTo>
                      <a:pt x="868" y="588"/>
                    </a:lnTo>
                    <a:lnTo>
                      <a:pt x="870" y="590"/>
                    </a:lnTo>
                    <a:lnTo>
                      <a:pt x="870" y="592"/>
                    </a:lnTo>
                    <a:lnTo>
                      <a:pt x="870" y="594"/>
                    </a:lnTo>
                    <a:lnTo>
                      <a:pt x="868" y="598"/>
                    </a:lnTo>
                    <a:lnTo>
                      <a:pt x="866" y="602"/>
                    </a:lnTo>
                    <a:lnTo>
                      <a:pt x="864" y="606"/>
                    </a:lnTo>
                    <a:lnTo>
                      <a:pt x="862" y="612"/>
                    </a:lnTo>
                    <a:lnTo>
                      <a:pt x="862" y="614"/>
                    </a:lnTo>
                    <a:lnTo>
                      <a:pt x="862" y="616"/>
                    </a:lnTo>
                    <a:lnTo>
                      <a:pt x="860" y="616"/>
                    </a:lnTo>
                    <a:lnTo>
                      <a:pt x="860" y="620"/>
                    </a:lnTo>
                    <a:lnTo>
                      <a:pt x="862" y="622"/>
                    </a:lnTo>
                    <a:lnTo>
                      <a:pt x="864" y="622"/>
                    </a:lnTo>
                    <a:lnTo>
                      <a:pt x="862" y="624"/>
                    </a:lnTo>
                    <a:lnTo>
                      <a:pt x="860" y="626"/>
                    </a:lnTo>
                    <a:lnTo>
                      <a:pt x="862" y="628"/>
                    </a:lnTo>
                    <a:lnTo>
                      <a:pt x="866" y="628"/>
                    </a:lnTo>
                    <a:lnTo>
                      <a:pt x="868" y="630"/>
                    </a:lnTo>
                    <a:lnTo>
                      <a:pt x="870" y="632"/>
                    </a:lnTo>
                    <a:lnTo>
                      <a:pt x="872" y="632"/>
                    </a:lnTo>
                    <a:lnTo>
                      <a:pt x="874" y="630"/>
                    </a:lnTo>
                    <a:lnTo>
                      <a:pt x="876" y="630"/>
                    </a:lnTo>
                    <a:lnTo>
                      <a:pt x="878" y="628"/>
                    </a:lnTo>
                    <a:lnTo>
                      <a:pt x="880" y="626"/>
                    </a:lnTo>
                    <a:lnTo>
                      <a:pt x="882" y="626"/>
                    </a:lnTo>
                    <a:lnTo>
                      <a:pt x="884" y="626"/>
                    </a:lnTo>
                    <a:lnTo>
                      <a:pt x="884" y="624"/>
                    </a:lnTo>
                    <a:lnTo>
                      <a:pt x="886" y="624"/>
                    </a:lnTo>
                    <a:lnTo>
                      <a:pt x="886" y="626"/>
                    </a:lnTo>
                    <a:lnTo>
                      <a:pt x="888" y="628"/>
                    </a:lnTo>
                    <a:lnTo>
                      <a:pt x="890" y="626"/>
                    </a:lnTo>
                    <a:lnTo>
                      <a:pt x="892" y="626"/>
                    </a:lnTo>
                    <a:lnTo>
                      <a:pt x="894" y="626"/>
                    </a:lnTo>
                    <a:lnTo>
                      <a:pt x="896" y="624"/>
                    </a:lnTo>
                    <a:lnTo>
                      <a:pt x="898" y="624"/>
                    </a:lnTo>
                    <a:lnTo>
                      <a:pt x="902" y="620"/>
                    </a:lnTo>
                    <a:lnTo>
                      <a:pt x="906" y="620"/>
                    </a:lnTo>
                    <a:lnTo>
                      <a:pt x="908" y="618"/>
                    </a:lnTo>
                    <a:lnTo>
                      <a:pt x="910" y="618"/>
                    </a:lnTo>
                    <a:lnTo>
                      <a:pt x="912" y="618"/>
                    </a:lnTo>
                    <a:lnTo>
                      <a:pt x="914" y="618"/>
                    </a:lnTo>
                    <a:lnTo>
                      <a:pt x="912" y="620"/>
                    </a:lnTo>
                    <a:lnTo>
                      <a:pt x="910" y="620"/>
                    </a:lnTo>
                    <a:lnTo>
                      <a:pt x="908" y="624"/>
                    </a:lnTo>
                    <a:lnTo>
                      <a:pt x="906" y="624"/>
                    </a:lnTo>
                    <a:lnTo>
                      <a:pt x="904" y="626"/>
                    </a:lnTo>
                    <a:lnTo>
                      <a:pt x="910" y="626"/>
                    </a:lnTo>
                    <a:lnTo>
                      <a:pt x="914" y="626"/>
                    </a:lnTo>
                    <a:lnTo>
                      <a:pt x="918" y="626"/>
                    </a:lnTo>
                    <a:lnTo>
                      <a:pt x="916" y="626"/>
                    </a:lnTo>
                    <a:lnTo>
                      <a:pt x="914" y="626"/>
                    </a:lnTo>
                    <a:lnTo>
                      <a:pt x="914" y="628"/>
                    </a:lnTo>
                    <a:lnTo>
                      <a:pt x="914" y="630"/>
                    </a:lnTo>
                    <a:lnTo>
                      <a:pt x="912" y="632"/>
                    </a:lnTo>
                    <a:lnTo>
                      <a:pt x="910" y="630"/>
                    </a:lnTo>
                    <a:lnTo>
                      <a:pt x="908" y="630"/>
                    </a:lnTo>
                    <a:lnTo>
                      <a:pt x="906" y="630"/>
                    </a:lnTo>
                    <a:lnTo>
                      <a:pt x="906" y="628"/>
                    </a:lnTo>
                    <a:lnTo>
                      <a:pt x="902" y="628"/>
                    </a:lnTo>
                    <a:lnTo>
                      <a:pt x="902" y="630"/>
                    </a:lnTo>
                    <a:lnTo>
                      <a:pt x="900" y="630"/>
                    </a:lnTo>
                    <a:lnTo>
                      <a:pt x="898" y="632"/>
                    </a:lnTo>
                    <a:lnTo>
                      <a:pt x="896" y="632"/>
                    </a:lnTo>
                    <a:lnTo>
                      <a:pt x="894" y="634"/>
                    </a:lnTo>
                    <a:lnTo>
                      <a:pt x="888" y="636"/>
                    </a:lnTo>
                    <a:lnTo>
                      <a:pt x="884" y="640"/>
                    </a:lnTo>
                    <a:lnTo>
                      <a:pt x="882" y="640"/>
                    </a:lnTo>
                    <a:lnTo>
                      <a:pt x="880" y="642"/>
                    </a:lnTo>
                    <a:lnTo>
                      <a:pt x="878" y="642"/>
                    </a:lnTo>
                    <a:lnTo>
                      <a:pt x="876" y="644"/>
                    </a:lnTo>
                    <a:lnTo>
                      <a:pt x="876" y="646"/>
                    </a:lnTo>
                    <a:lnTo>
                      <a:pt x="874" y="648"/>
                    </a:lnTo>
                    <a:lnTo>
                      <a:pt x="874" y="652"/>
                    </a:lnTo>
                    <a:lnTo>
                      <a:pt x="874" y="656"/>
                    </a:lnTo>
                    <a:lnTo>
                      <a:pt x="876" y="656"/>
                    </a:lnTo>
                    <a:lnTo>
                      <a:pt x="878" y="656"/>
                    </a:lnTo>
                    <a:lnTo>
                      <a:pt x="878" y="658"/>
                    </a:lnTo>
                    <a:lnTo>
                      <a:pt x="878" y="660"/>
                    </a:lnTo>
                    <a:lnTo>
                      <a:pt x="880" y="660"/>
                    </a:lnTo>
                    <a:lnTo>
                      <a:pt x="882" y="660"/>
                    </a:lnTo>
                    <a:lnTo>
                      <a:pt x="884" y="658"/>
                    </a:lnTo>
                    <a:lnTo>
                      <a:pt x="886" y="656"/>
                    </a:lnTo>
                    <a:lnTo>
                      <a:pt x="886" y="654"/>
                    </a:lnTo>
                    <a:lnTo>
                      <a:pt x="890" y="654"/>
                    </a:lnTo>
                    <a:lnTo>
                      <a:pt x="892" y="654"/>
                    </a:lnTo>
                    <a:lnTo>
                      <a:pt x="894" y="652"/>
                    </a:lnTo>
                    <a:lnTo>
                      <a:pt x="896" y="652"/>
                    </a:lnTo>
                    <a:lnTo>
                      <a:pt x="898" y="650"/>
                    </a:lnTo>
                    <a:lnTo>
                      <a:pt x="900" y="650"/>
                    </a:lnTo>
                    <a:lnTo>
                      <a:pt x="902" y="648"/>
                    </a:lnTo>
                    <a:lnTo>
                      <a:pt x="904" y="646"/>
                    </a:lnTo>
                    <a:lnTo>
                      <a:pt x="906" y="642"/>
                    </a:lnTo>
                    <a:lnTo>
                      <a:pt x="908" y="640"/>
                    </a:lnTo>
                    <a:lnTo>
                      <a:pt x="910" y="638"/>
                    </a:lnTo>
                    <a:lnTo>
                      <a:pt x="910" y="640"/>
                    </a:lnTo>
                    <a:lnTo>
                      <a:pt x="912" y="640"/>
                    </a:lnTo>
                    <a:lnTo>
                      <a:pt x="912" y="642"/>
                    </a:lnTo>
                    <a:lnTo>
                      <a:pt x="916" y="642"/>
                    </a:lnTo>
                    <a:lnTo>
                      <a:pt x="918" y="642"/>
                    </a:lnTo>
                    <a:lnTo>
                      <a:pt x="920" y="640"/>
                    </a:lnTo>
                    <a:lnTo>
                      <a:pt x="924" y="640"/>
                    </a:lnTo>
                    <a:lnTo>
                      <a:pt x="926" y="638"/>
                    </a:lnTo>
                    <a:lnTo>
                      <a:pt x="930" y="638"/>
                    </a:lnTo>
                    <a:lnTo>
                      <a:pt x="932" y="636"/>
                    </a:lnTo>
                    <a:lnTo>
                      <a:pt x="934" y="636"/>
                    </a:lnTo>
                    <a:lnTo>
                      <a:pt x="936" y="634"/>
                    </a:lnTo>
                    <a:lnTo>
                      <a:pt x="938" y="634"/>
                    </a:lnTo>
                    <a:lnTo>
                      <a:pt x="940" y="634"/>
                    </a:lnTo>
                    <a:lnTo>
                      <a:pt x="942" y="634"/>
                    </a:lnTo>
                    <a:lnTo>
                      <a:pt x="946" y="632"/>
                    </a:lnTo>
                    <a:lnTo>
                      <a:pt x="950" y="632"/>
                    </a:lnTo>
                    <a:lnTo>
                      <a:pt x="952" y="630"/>
                    </a:lnTo>
                    <a:lnTo>
                      <a:pt x="956" y="630"/>
                    </a:lnTo>
                    <a:lnTo>
                      <a:pt x="958" y="630"/>
                    </a:lnTo>
                    <a:lnTo>
                      <a:pt x="958" y="628"/>
                    </a:lnTo>
                    <a:lnTo>
                      <a:pt x="956" y="626"/>
                    </a:lnTo>
                    <a:lnTo>
                      <a:pt x="956" y="624"/>
                    </a:lnTo>
                    <a:lnTo>
                      <a:pt x="956" y="622"/>
                    </a:lnTo>
                    <a:lnTo>
                      <a:pt x="954" y="622"/>
                    </a:lnTo>
                    <a:lnTo>
                      <a:pt x="952" y="622"/>
                    </a:lnTo>
                    <a:lnTo>
                      <a:pt x="950" y="622"/>
                    </a:lnTo>
                    <a:lnTo>
                      <a:pt x="950" y="620"/>
                    </a:lnTo>
                    <a:lnTo>
                      <a:pt x="950" y="618"/>
                    </a:lnTo>
                    <a:lnTo>
                      <a:pt x="950" y="616"/>
                    </a:lnTo>
                    <a:lnTo>
                      <a:pt x="948" y="618"/>
                    </a:lnTo>
                    <a:lnTo>
                      <a:pt x="946" y="618"/>
                    </a:lnTo>
                    <a:lnTo>
                      <a:pt x="946" y="620"/>
                    </a:lnTo>
                    <a:lnTo>
                      <a:pt x="944" y="620"/>
                    </a:lnTo>
                    <a:lnTo>
                      <a:pt x="942" y="620"/>
                    </a:lnTo>
                    <a:lnTo>
                      <a:pt x="940" y="622"/>
                    </a:lnTo>
                    <a:lnTo>
                      <a:pt x="938" y="622"/>
                    </a:lnTo>
                    <a:lnTo>
                      <a:pt x="938" y="620"/>
                    </a:lnTo>
                    <a:lnTo>
                      <a:pt x="938" y="618"/>
                    </a:lnTo>
                    <a:lnTo>
                      <a:pt x="936" y="618"/>
                    </a:lnTo>
                    <a:lnTo>
                      <a:pt x="934" y="618"/>
                    </a:lnTo>
                    <a:lnTo>
                      <a:pt x="928" y="618"/>
                    </a:lnTo>
                    <a:lnTo>
                      <a:pt x="926" y="618"/>
                    </a:lnTo>
                    <a:lnTo>
                      <a:pt x="924" y="618"/>
                    </a:lnTo>
                    <a:lnTo>
                      <a:pt x="922" y="614"/>
                    </a:lnTo>
                    <a:lnTo>
                      <a:pt x="920" y="612"/>
                    </a:lnTo>
                    <a:lnTo>
                      <a:pt x="922" y="612"/>
                    </a:lnTo>
                    <a:lnTo>
                      <a:pt x="924" y="612"/>
                    </a:lnTo>
                    <a:lnTo>
                      <a:pt x="924" y="610"/>
                    </a:lnTo>
                    <a:lnTo>
                      <a:pt x="922" y="610"/>
                    </a:lnTo>
                    <a:lnTo>
                      <a:pt x="922" y="608"/>
                    </a:lnTo>
                    <a:lnTo>
                      <a:pt x="920" y="608"/>
                    </a:lnTo>
                    <a:lnTo>
                      <a:pt x="914" y="608"/>
                    </a:lnTo>
                    <a:lnTo>
                      <a:pt x="914" y="606"/>
                    </a:lnTo>
                    <a:lnTo>
                      <a:pt x="912" y="604"/>
                    </a:lnTo>
                    <a:lnTo>
                      <a:pt x="912" y="602"/>
                    </a:lnTo>
                    <a:lnTo>
                      <a:pt x="912" y="600"/>
                    </a:lnTo>
                    <a:lnTo>
                      <a:pt x="914" y="596"/>
                    </a:lnTo>
                    <a:lnTo>
                      <a:pt x="914" y="594"/>
                    </a:lnTo>
                    <a:lnTo>
                      <a:pt x="912" y="594"/>
                    </a:lnTo>
                    <a:lnTo>
                      <a:pt x="910" y="594"/>
                    </a:lnTo>
                    <a:lnTo>
                      <a:pt x="912" y="592"/>
                    </a:lnTo>
                    <a:lnTo>
                      <a:pt x="914" y="590"/>
                    </a:lnTo>
                    <a:lnTo>
                      <a:pt x="916" y="588"/>
                    </a:lnTo>
                    <a:lnTo>
                      <a:pt x="918" y="586"/>
                    </a:lnTo>
                    <a:lnTo>
                      <a:pt x="920" y="586"/>
                    </a:lnTo>
                    <a:lnTo>
                      <a:pt x="920" y="584"/>
                    </a:lnTo>
                    <a:lnTo>
                      <a:pt x="922" y="582"/>
                    </a:lnTo>
                    <a:lnTo>
                      <a:pt x="926" y="580"/>
                    </a:lnTo>
                    <a:lnTo>
                      <a:pt x="926" y="578"/>
                    </a:lnTo>
                    <a:lnTo>
                      <a:pt x="928" y="576"/>
                    </a:lnTo>
                    <a:lnTo>
                      <a:pt x="926" y="576"/>
                    </a:lnTo>
                    <a:lnTo>
                      <a:pt x="922" y="578"/>
                    </a:lnTo>
                    <a:lnTo>
                      <a:pt x="922" y="580"/>
                    </a:lnTo>
                    <a:lnTo>
                      <a:pt x="920" y="580"/>
                    </a:lnTo>
                    <a:lnTo>
                      <a:pt x="918" y="580"/>
                    </a:lnTo>
                    <a:lnTo>
                      <a:pt x="916" y="580"/>
                    </a:lnTo>
                    <a:lnTo>
                      <a:pt x="916" y="578"/>
                    </a:lnTo>
                    <a:lnTo>
                      <a:pt x="914" y="578"/>
                    </a:lnTo>
                    <a:lnTo>
                      <a:pt x="912" y="580"/>
                    </a:lnTo>
                    <a:lnTo>
                      <a:pt x="910" y="580"/>
                    </a:lnTo>
                    <a:lnTo>
                      <a:pt x="908" y="582"/>
                    </a:lnTo>
                    <a:lnTo>
                      <a:pt x="906" y="580"/>
                    </a:lnTo>
                    <a:lnTo>
                      <a:pt x="906" y="578"/>
                    </a:lnTo>
                    <a:lnTo>
                      <a:pt x="904" y="578"/>
                    </a:lnTo>
                    <a:lnTo>
                      <a:pt x="902" y="578"/>
                    </a:lnTo>
                    <a:lnTo>
                      <a:pt x="902" y="576"/>
                    </a:lnTo>
                    <a:lnTo>
                      <a:pt x="898" y="576"/>
                    </a:lnTo>
                    <a:lnTo>
                      <a:pt x="896" y="576"/>
                    </a:lnTo>
                    <a:lnTo>
                      <a:pt x="896" y="578"/>
                    </a:lnTo>
                    <a:lnTo>
                      <a:pt x="894" y="578"/>
                    </a:lnTo>
                    <a:lnTo>
                      <a:pt x="896" y="576"/>
                    </a:lnTo>
                    <a:lnTo>
                      <a:pt x="898" y="576"/>
                    </a:lnTo>
                    <a:lnTo>
                      <a:pt x="900" y="576"/>
                    </a:lnTo>
                    <a:lnTo>
                      <a:pt x="902" y="576"/>
                    </a:lnTo>
                    <a:lnTo>
                      <a:pt x="902" y="574"/>
                    </a:lnTo>
                    <a:lnTo>
                      <a:pt x="904" y="574"/>
                    </a:lnTo>
                    <a:lnTo>
                      <a:pt x="906" y="574"/>
                    </a:lnTo>
                    <a:lnTo>
                      <a:pt x="906" y="572"/>
                    </a:lnTo>
                    <a:lnTo>
                      <a:pt x="908" y="572"/>
                    </a:lnTo>
                    <a:lnTo>
                      <a:pt x="910" y="574"/>
                    </a:lnTo>
                    <a:lnTo>
                      <a:pt x="912" y="576"/>
                    </a:lnTo>
                    <a:lnTo>
                      <a:pt x="916" y="576"/>
                    </a:lnTo>
                    <a:lnTo>
                      <a:pt x="918" y="574"/>
                    </a:lnTo>
                    <a:lnTo>
                      <a:pt x="920" y="574"/>
                    </a:lnTo>
                    <a:lnTo>
                      <a:pt x="922" y="572"/>
                    </a:lnTo>
                    <a:lnTo>
                      <a:pt x="926" y="568"/>
                    </a:lnTo>
                    <a:lnTo>
                      <a:pt x="928" y="570"/>
                    </a:lnTo>
                    <a:lnTo>
                      <a:pt x="934" y="570"/>
                    </a:lnTo>
                    <a:lnTo>
                      <a:pt x="934" y="568"/>
                    </a:lnTo>
                    <a:lnTo>
                      <a:pt x="936" y="568"/>
                    </a:lnTo>
                    <a:lnTo>
                      <a:pt x="936" y="566"/>
                    </a:lnTo>
                    <a:lnTo>
                      <a:pt x="934" y="566"/>
                    </a:lnTo>
                    <a:lnTo>
                      <a:pt x="934" y="564"/>
                    </a:lnTo>
                    <a:lnTo>
                      <a:pt x="934" y="562"/>
                    </a:lnTo>
                    <a:lnTo>
                      <a:pt x="932" y="562"/>
                    </a:lnTo>
                    <a:lnTo>
                      <a:pt x="934" y="562"/>
                    </a:lnTo>
                    <a:lnTo>
                      <a:pt x="936" y="560"/>
                    </a:lnTo>
                    <a:lnTo>
                      <a:pt x="938" y="560"/>
                    </a:lnTo>
                    <a:lnTo>
                      <a:pt x="936" y="558"/>
                    </a:lnTo>
                    <a:lnTo>
                      <a:pt x="934" y="556"/>
                    </a:lnTo>
                    <a:lnTo>
                      <a:pt x="932" y="554"/>
                    </a:lnTo>
                    <a:lnTo>
                      <a:pt x="928" y="554"/>
                    </a:lnTo>
                    <a:lnTo>
                      <a:pt x="926" y="554"/>
                    </a:lnTo>
                    <a:lnTo>
                      <a:pt x="914" y="554"/>
                    </a:lnTo>
                    <a:lnTo>
                      <a:pt x="902" y="554"/>
                    </a:lnTo>
                    <a:lnTo>
                      <a:pt x="898" y="556"/>
                    </a:lnTo>
                    <a:lnTo>
                      <a:pt x="892" y="558"/>
                    </a:lnTo>
                    <a:lnTo>
                      <a:pt x="886" y="560"/>
                    </a:lnTo>
                    <a:lnTo>
                      <a:pt x="882" y="560"/>
                    </a:lnTo>
                    <a:lnTo>
                      <a:pt x="878" y="562"/>
                    </a:lnTo>
                    <a:lnTo>
                      <a:pt x="876" y="562"/>
                    </a:lnTo>
                    <a:lnTo>
                      <a:pt x="872" y="564"/>
                    </a:lnTo>
                    <a:lnTo>
                      <a:pt x="868" y="566"/>
                    </a:lnTo>
                    <a:lnTo>
                      <a:pt x="866" y="568"/>
                    </a:lnTo>
                    <a:lnTo>
                      <a:pt x="862" y="570"/>
                    </a:lnTo>
                    <a:lnTo>
                      <a:pt x="858" y="572"/>
                    </a:lnTo>
                    <a:lnTo>
                      <a:pt x="856" y="574"/>
                    </a:lnTo>
                    <a:lnTo>
                      <a:pt x="854" y="574"/>
                    </a:lnTo>
                    <a:lnTo>
                      <a:pt x="854" y="576"/>
                    </a:lnTo>
                    <a:lnTo>
                      <a:pt x="852" y="578"/>
                    </a:lnTo>
                    <a:lnTo>
                      <a:pt x="846" y="582"/>
                    </a:lnTo>
                    <a:lnTo>
                      <a:pt x="842" y="584"/>
                    </a:lnTo>
                    <a:lnTo>
                      <a:pt x="838" y="588"/>
                    </a:lnTo>
                    <a:lnTo>
                      <a:pt x="836" y="590"/>
                    </a:lnTo>
                    <a:lnTo>
                      <a:pt x="834" y="590"/>
                    </a:lnTo>
                    <a:lnTo>
                      <a:pt x="834" y="592"/>
                    </a:lnTo>
                    <a:lnTo>
                      <a:pt x="832" y="592"/>
                    </a:lnTo>
                    <a:lnTo>
                      <a:pt x="830" y="594"/>
                    </a:lnTo>
                    <a:lnTo>
                      <a:pt x="828" y="594"/>
                    </a:lnTo>
                    <a:lnTo>
                      <a:pt x="824" y="594"/>
                    </a:lnTo>
                    <a:lnTo>
                      <a:pt x="822" y="596"/>
                    </a:lnTo>
                    <a:lnTo>
                      <a:pt x="820" y="596"/>
                    </a:lnTo>
                    <a:lnTo>
                      <a:pt x="820" y="594"/>
                    </a:lnTo>
                    <a:lnTo>
                      <a:pt x="824" y="592"/>
                    </a:lnTo>
                    <a:lnTo>
                      <a:pt x="828" y="590"/>
                    </a:lnTo>
                    <a:lnTo>
                      <a:pt x="830" y="588"/>
                    </a:lnTo>
                    <a:lnTo>
                      <a:pt x="834" y="586"/>
                    </a:lnTo>
                    <a:lnTo>
                      <a:pt x="836" y="584"/>
                    </a:lnTo>
                    <a:lnTo>
                      <a:pt x="838" y="582"/>
                    </a:lnTo>
                    <a:lnTo>
                      <a:pt x="842" y="580"/>
                    </a:lnTo>
                    <a:lnTo>
                      <a:pt x="844" y="578"/>
                    </a:lnTo>
                    <a:lnTo>
                      <a:pt x="846" y="576"/>
                    </a:lnTo>
                    <a:lnTo>
                      <a:pt x="846" y="574"/>
                    </a:lnTo>
                    <a:lnTo>
                      <a:pt x="844" y="574"/>
                    </a:lnTo>
                    <a:lnTo>
                      <a:pt x="844" y="572"/>
                    </a:lnTo>
                    <a:lnTo>
                      <a:pt x="842" y="572"/>
                    </a:lnTo>
                    <a:lnTo>
                      <a:pt x="844" y="572"/>
                    </a:lnTo>
                    <a:lnTo>
                      <a:pt x="848" y="572"/>
                    </a:lnTo>
                    <a:lnTo>
                      <a:pt x="848" y="574"/>
                    </a:lnTo>
                    <a:lnTo>
                      <a:pt x="850" y="572"/>
                    </a:lnTo>
                    <a:lnTo>
                      <a:pt x="852" y="572"/>
                    </a:lnTo>
                    <a:lnTo>
                      <a:pt x="854" y="570"/>
                    </a:lnTo>
                    <a:lnTo>
                      <a:pt x="858" y="566"/>
                    </a:lnTo>
                    <a:lnTo>
                      <a:pt x="862" y="564"/>
                    </a:lnTo>
                    <a:lnTo>
                      <a:pt x="870" y="558"/>
                    </a:lnTo>
                    <a:lnTo>
                      <a:pt x="872" y="556"/>
                    </a:lnTo>
                    <a:lnTo>
                      <a:pt x="874" y="556"/>
                    </a:lnTo>
                    <a:lnTo>
                      <a:pt x="874" y="554"/>
                    </a:lnTo>
                    <a:lnTo>
                      <a:pt x="876" y="554"/>
                    </a:lnTo>
                    <a:lnTo>
                      <a:pt x="878" y="554"/>
                    </a:lnTo>
                    <a:lnTo>
                      <a:pt x="882" y="552"/>
                    </a:lnTo>
                    <a:lnTo>
                      <a:pt x="884" y="552"/>
                    </a:lnTo>
                    <a:lnTo>
                      <a:pt x="888" y="552"/>
                    </a:lnTo>
                    <a:lnTo>
                      <a:pt x="890" y="550"/>
                    </a:lnTo>
                    <a:lnTo>
                      <a:pt x="894" y="550"/>
                    </a:lnTo>
                    <a:lnTo>
                      <a:pt x="894" y="552"/>
                    </a:lnTo>
                    <a:lnTo>
                      <a:pt x="894" y="550"/>
                    </a:lnTo>
                    <a:lnTo>
                      <a:pt x="896" y="550"/>
                    </a:lnTo>
                    <a:lnTo>
                      <a:pt x="898" y="546"/>
                    </a:lnTo>
                    <a:lnTo>
                      <a:pt x="900" y="544"/>
                    </a:lnTo>
                    <a:lnTo>
                      <a:pt x="902" y="542"/>
                    </a:lnTo>
                    <a:lnTo>
                      <a:pt x="906" y="538"/>
                    </a:lnTo>
                    <a:lnTo>
                      <a:pt x="910" y="536"/>
                    </a:lnTo>
                    <a:lnTo>
                      <a:pt x="912" y="536"/>
                    </a:lnTo>
                    <a:lnTo>
                      <a:pt x="914" y="536"/>
                    </a:lnTo>
                    <a:lnTo>
                      <a:pt x="916" y="536"/>
                    </a:lnTo>
                    <a:lnTo>
                      <a:pt x="918" y="534"/>
                    </a:lnTo>
                    <a:lnTo>
                      <a:pt x="924" y="534"/>
                    </a:lnTo>
                    <a:lnTo>
                      <a:pt x="930" y="534"/>
                    </a:lnTo>
                    <a:lnTo>
                      <a:pt x="938" y="534"/>
                    </a:lnTo>
                    <a:lnTo>
                      <a:pt x="944" y="532"/>
                    </a:lnTo>
                    <a:lnTo>
                      <a:pt x="962" y="532"/>
                    </a:lnTo>
                    <a:lnTo>
                      <a:pt x="964" y="534"/>
                    </a:lnTo>
                    <a:lnTo>
                      <a:pt x="968" y="534"/>
                    </a:lnTo>
                    <a:lnTo>
                      <a:pt x="974" y="536"/>
                    </a:lnTo>
                    <a:lnTo>
                      <a:pt x="978" y="536"/>
                    </a:lnTo>
                    <a:lnTo>
                      <a:pt x="982" y="538"/>
                    </a:lnTo>
                    <a:lnTo>
                      <a:pt x="990" y="538"/>
                    </a:lnTo>
                    <a:lnTo>
                      <a:pt x="992" y="536"/>
                    </a:lnTo>
                    <a:lnTo>
                      <a:pt x="996" y="536"/>
                    </a:lnTo>
                    <a:lnTo>
                      <a:pt x="998" y="534"/>
                    </a:lnTo>
                    <a:lnTo>
                      <a:pt x="1000" y="532"/>
                    </a:lnTo>
                    <a:lnTo>
                      <a:pt x="1006" y="532"/>
                    </a:lnTo>
                    <a:lnTo>
                      <a:pt x="1008" y="532"/>
                    </a:lnTo>
                    <a:lnTo>
                      <a:pt x="1012" y="530"/>
                    </a:lnTo>
                    <a:lnTo>
                      <a:pt x="1014" y="530"/>
                    </a:lnTo>
                    <a:lnTo>
                      <a:pt x="1018" y="530"/>
                    </a:lnTo>
                    <a:lnTo>
                      <a:pt x="1020" y="530"/>
                    </a:lnTo>
                    <a:lnTo>
                      <a:pt x="1022" y="528"/>
                    </a:lnTo>
                    <a:lnTo>
                      <a:pt x="1022" y="526"/>
                    </a:lnTo>
                    <a:lnTo>
                      <a:pt x="1024" y="524"/>
                    </a:lnTo>
                    <a:lnTo>
                      <a:pt x="1030" y="520"/>
                    </a:lnTo>
                    <a:lnTo>
                      <a:pt x="1032" y="518"/>
                    </a:lnTo>
                    <a:lnTo>
                      <a:pt x="1034" y="516"/>
                    </a:lnTo>
                    <a:lnTo>
                      <a:pt x="1036" y="516"/>
                    </a:lnTo>
                    <a:lnTo>
                      <a:pt x="1038" y="514"/>
                    </a:lnTo>
                    <a:lnTo>
                      <a:pt x="1048" y="514"/>
                    </a:lnTo>
                    <a:lnTo>
                      <a:pt x="1050" y="512"/>
                    </a:lnTo>
                    <a:lnTo>
                      <a:pt x="1054" y="510"/>
                    </a:lnTo>
                    <a:lnTo>
                      <a:pt x="1058" y="510"/>
                    </a:lnTo>
                    <a:lnTo>
                      <a:pt x="1062" y="510"/>
                    </a:lnTo>
                    <a:lnTo>
                      <a:pt x="1064" y="510"/>
                    </a:lnTo>
                    <a:lnTo>
                      <a:pt x="1066" y="508"/>
                    </a:lnTo>
                    <a:lnTo>
                      <a:pt x="1068" y="508"/>
                    </a:lnTo>
                    <a:lnTo>
                      <a:pt x="1070" y="508"/>
                    </a:lnTo>
                    <a:lnTo>
                      <a:pt x="1072" y="506"/>
                    </a:lnTo>
                    <a:lnTo>
                      <a:pt x="1078" y="506"/>
                    </a:lnTo>
                    <a:lnTo>
                      <a:pt x="1082" y="504"/>
                    </a:lnTo>
                    <a:lnTo>
                      <a:pt x="1084" y="504"/>
                    </a:lnTo>
                    <a:lnTo>
                      <a:pt x="1084" y="502"/>
                    </a:lnTo>
                    <a:lnTo>
                      <a:pt x="1086" y="502"/>
                    </a:lnTo>
                    <a:lnTo>
                      <a:pt x="1088" y="502"/>
                    </a:lnTo>
                    <a:lnTo>
                      <a:pt x="1088" y="500"/>
                    </a:lnTo>
                    <a:lnTo>
                      <a:pt x="1086" y="498"/>
                    </a:lnTo>
                    <a:lnTo>
                      <a:pt x="1086" y="496"/>
                    </a:lnTo>
                    <a:lnTo>
                      <a:pt x="1082" y="494"/>
                    </a:lnTo>
                    <a:lnTo>
                      <a:pt x="1080" y="492"/>
                    </a:lnTo>
                    <a:lnTo>
                      <a:pt x="1082" y="490"/>
                    </a:lnTo>
                    <a:lnTo>
                      <a:pt x="1086" y="490"/>
                    </a:lnTo>
                    <a:lnTo>
                      <a:pt x="1088" y="488"/>
                    </a:lnTo>
                    <a:lnTo>
                      <a:pt x="1086" y="486"/>
                    </a:lnTo>
                    <a:lnTo>
                      <a:pt x="1086" y="484"/>
                    </a:lnTo>
                    <a:lnTo>
                      <a:pt x="1086" y="482"/>
                    </a:lnTo>
                    <a:lnTo>
                      <a:pt x="1092" y="482"/>
                    </a:lnTo>
                    <a:lnTo>
                      <a:pt x="1094" y="480"/>
                    </a:lnTo>
                    <a:lnTo>
                      <a:pt x="1094" y="478"/>
                    </a:lnTo>
                    <a:lnTo>
                      <a:pt x="1092" y="474"/>
                    </a:lnTo>
                    <a:close/>
                    <a:moveTo>
                      <a:pt x="328" y="268"/>
                    </a:moveTo>
                    <a:lnTo>
                      <a:pt x="326" y="268"/>
                    </a:lnTo>
                    <a:lnTo>
                      <a:pt x="324" y="268"/>
                    </a:lnTo>
                    <a:lnTo>
                      <a:pt x="322" y="268"/>
                    </a:lnTo>
                    <a:lnTo>
                      <a:pt x="322" y="266"/>
                    </a:lnTo>
                    <a:lnTo>
                      <a:pt x="324" y="266"/>
                    </a:lnTo>
                    <a:lnTo>
                      <a:pt x="326" y="266"/>
                    </a:lnTo>
                    <a:lnTo>
                      <a:pt x="328" y="266"/>
                    </a:lnTo>
                    <a:lnTo>
                      <a:pt x="330" y="264"/>
                    </a:lnTo>
                    <a:lnTo>
                      <a:pt x="334" y="264"/>
                    </a:lnTo>
                    <a:lnTo>
                      <a:pt x="336" y="262"/>
                    </a:lnTo>
                    <a:lnTo>
                      <a:pt x="338" y="262"/>
                    </a:lnTo>
                    <a:lnTo>
                      <a:pt x="340" y="260"/>
                    </a:lnTo>
                    <a:lnTo>
                      <a:pt x="342" y="260"/>
                    </a:lnTo>
                    <a:lnTo>
                      <a:pt x="344" y="260"/>
                    </a:lnTo>
                    <a:lnTo>
                      <a:pt x="346" y="258"/>
                    </a:lnTo>
                    <a:lnTo>
                      <a:pt x="348" y="258"/>
                    </a:lnTo>
                    <a:lnTo>
                      <a:pt x="346" y="256"/>
                    </a:lnTo>
                    <a:lnTo>
                      <a:pt x="348" y="256"/>
                    </a:lnTo>
                    <a:lnTo>
                      <a:pt x="348" y="254"/>
                    </a:lnTo>
                    <a:lnTo>
                      <a:pt x="352" y="254"/>
                    </a:lnTo>
                    <a:lnTo>
                      <a:pt x="354" y="254"/>
                    </a:lnTo>
                    <a:lnTo>
                      <a:pt x="362" y="254"/>
                    </a:lnTo>
                    <a:lnTo>
                      <a:pt x="364" y="254"/>
                    </a:lnTo>
                    <a:lnTo>
                      <a:pt x="366" y="254"/>
                    </a:lnTo>
                    <a:lnTo>
                      <a:pt x="366" y="252"/>
                    </a:lnTo>
                    <a:lnTo>
                      <a:pt x="368" y="252"/>
                    </a:lnTo>
                    <a:lnTo>
                      <a:pt x="368" y="250"/>
                    </a:lnTo>
                    <a:lnTo>
                      <a:pt x="366" y="250"/>
                    </a:lnTo>
                    <a:lnTo>
                      <a:pt x="366" y="248"/>
                    </a:lnTo>
                    <a:lnTo>
                      <a:pt x="362" y="248"/>
                    </a:lnTo>
                    <a:lnTo>
                      <a:pt x="354" y="248"/>
                    </a:lnTo>
                    <a:lnTo>
                      <a:pt x="352" y="248"/>
                    </a:lnTo>
                    <a:lnTo>
                      <a:pt x="348" y="250"/>
                    </a:lnTo>
                    <a:lnTo>
                      <a:pt x="346" y="252"/>
                    </a:lnTo>
                    <a:lnTo>
                      <a:pt x="344" y="252"/>
                    </a:lnTo>
                    <a:lnTo>
                      <a:pt x="342" y="252"/>
                    </a:lnTo>
                    <a:lnTo>
                      <a:pt x="342" y="250"/>
                    </a:lnTo>
                    <a:lnTo>
                      <a:pt x="340" y="250"/>
                    </a:lnTo>
                    <a:lnTo>
                      <a:pt x="338" y="252"/>
                    </a:lnTo>
                    <a:lnTo>
                      <a:pt x="334" y="252"/>
                    </a:lnTo>
                    <a:lnTo>
                      <a:pt x="332" y="250"/>
                    </a:lnTo>
                    <a:lnTo>
                      <a:pt x="328" y="250"/>
                    </a:lnTo>
                    <a:lnTo>
                      <a:pt x="328" y="252"/>
                    </a:lnTo>
                    <a:lnTo>
                      <a:pt x="326" y="252"/>
                    </a:lnTo>
                    <a:lnTo>
                      <a:pt x="324" y="252"/>
                    </a:lnTo>
                    <a:lnTo>
                      <a:pt x="322" y="254"/>
                    </a:lnTo>
                    <a:lnTo>
                      <a:pt x="318" y="254"/>
                    </a:lnTo>
                    <a:lnTo>
                      <a:pt x="318" y="252"/>
                    </a:lnTo>
                    <a:lnTo>
                      <a:pt x="320" y="252"/>
                    </a:lnTo>
                    <a:lnTo>
                      <a:pt x="324" y="250"/>
                    </a:lnTo>
                    <a:lnTo>
                      <a:pt x="326" y="250"/>
                    </a:lnTo>
                    <a:lnTo>
                      <a:pt x="328" y="248"/>
                    </a:lnTo>
                    <a:lnTo>
                      <a:pt x="330" y="248"/>
                    </a:lnTo>
                    <a:lnTo>
                      <a:pt x="332" y="246"/>
                    </a:lnTo>
                    <a:lnTo>
                      <a:pt x="336" y="246"/>
                    </a:lnTo>
                    <a:lnTo>
                      <a:pt x="340" y="246"/>
                    </a:lnTo>
                    <a:lnTo>
                      <a:pt x="346" y="246"/>
                    </a:lnTo>
                    <a:lnTo>
                      <a:pt x="346" y="244"/>
                    </a:lnTo>
                    <a:lnTo>
                      <a:pt x="352" y="244"/>
                    </a:lnTo>
                    <a:lnTo>
                      <a:pt x="354" y="244"/>
                    </a:lnTo>
                    <a:lnTo>
                      <a:pt x="364" y="244"/>
                    </a:lnTo>
                    <a:lnTo>
                      <a:pt x="366" y="242"/>
                    </a:lnTo>
                    <a:lnTo>
                      <a:pt x="372" y="242"/>
                    </a:lnTo>
                    <a:lnTo>
                      <a:pt x="374" y="242"/>
                    </a:lnTo>
                    <a:lnTo>
                      <a:pt x="376" y="242"/>
                    </a:lnTo>
                    <a:lnTo>
                      <a:pt x="378" y="240"/>
                    </a:lnTo>
                    <a:lnTo>
                      <a:pt x="380" y="240"/>
                    </a:lnTo>
                    <a:lnTo>
                      <a:pt x="384" y="240"/>
                    </a:lnTo>
                    <a:lnTo>
                      <a:pt x="386" y="238"/>
                    </a:lnTo>
                    <a:lnTo>
                      <a:pt x="388" y="238"/>
                    </a:lnTo>
                    <a:lnTo>
                      <a:pt x="390" y="238"/>
                    </a:lnTo>
                    <a:lnTo>
                      <a:pt x="392" y="238"/>
                    </a:lnTo>
                    <a:lnTo>
                      <a:pt x="394" y="238"/>
                    </a:lnTo>
                    <a:lnTo>
                      <a:pt x="396" y="240"/>
                    </a:lnTo>
                    <a:lnTo>
                      <a:pt x="398" y="238"/>
                    </a:lnTo>
                    <a:lnTo>
                      <a:pt x="400" y="236"/>
                    </a:lnTo>
                    <a:lnTo>
                      <a:pt x="404" y="236"/>
                    </a:lnTo>
                    <a:lnTo>
                      <a:pt x="406" y="238"/>
                    </a:lnTo>
                    <a:lnTo>
                      <a:pt x="408" y="238"/>
                    </a:lnTo>
                    <a:lnTo>
                      <a:pt x="410" y="238"/>
                    </a:lnTo>
                    <a:lnTo>
                      <a:pt x="410" y="240"/>
                    </a:lnTo>
                    <a:lnTo>
                      <a:pt x="408" y="240"/>
                    </a:lnTo>
                    <a:lnTo>
                      <a:pt x="406" y="240"/>
                    </a:lnTo>
                    <a:lnTo>
                      <a:pt x="402" y="242"/>
                    </a:lnTo>
                    <a:lnTo>
                      <a:pt x="400" y="242"/>
                    </a:lnTo>
                    <a:lnTo>
                      <a:pt x="398" y="244"/>
                    </a:lnTo>
                    <a:lnTo>
                      <a:pt x="396" y="244"/>
                    </a:lnTo>
                    <a:lnTo>
                      <a:pt x="394" y="244"/>
                    </a:lnTo>
                    <a:lnTo>
                      <a:pt x="388" y="244"/>
                    </a:lnTo>
                    <a:lnTo>
                      <a:pt x="386" y="244"/>
                    </a:lnTo>
                    <a:lnTo>
                      <a:pt x="384" y="244"/>
                    </a:lnTo>
                    <a:lnTo>
                      <a:pt x="384" y="246"/>
                    </a:lnTo>
                    <a:lnTo>
                      <a:pt x="384" y="248"/>
                    </a:lnTo>
                    <a:lnTo>
                      <a:pt x="392" y="248"/>
                    </a:lnTo>
                    <a:lnTo>
                      <a:pt x="394" y="248"/>
                    </a:lnTo>
                    <a:lnTo>
                      <a:pt x="398" y="248"/>
                    </a:lnTo>
                    <a:lnTo>
                      <a:pt x="400" y="248"/>
                    </a:lnTo>
                    <a:lnTo>
                      <a:pt x="406" y="248"/>
                    </a:lnTo>
                    <a:lnTo>
                      <a:pt x="408" y="246"/>
                    </a:lnTo>
                    <a:lnTo>
                      <a:pt x="412" y="246"/>
                    </a:lnTo>
                    <a:lnTo>
                      <a:pt x="412" y="244"/>
                    </a:lnTo>
                    <a:lnTo>
                      <a:pt x="410" y="244"/>
                    </a:lnTo>
                    <a:lnTo>
                      <a:pt x="408" y="244"/>
                    </a:lnTo>
                    <a:lnTo>
                      <a:pt x="412" y="244"/>
                    </a:lnTo>
                    <a:lnTo>
                      <a:pt x="422" y="244"/>
                    </a:lnTo>
                    <a:lnTo>
                      <a:pt x="420" y="246"/>
                    </a:lnTo>
                    <a:lnTo>
                      <a:pt x="418" y="248"/>
                    </a:lnTo>
                    <a:lnTo>
                      <a:pt x="416" y="248"/>
                    </a:lnTo>
                    <a:lnTo>
                      <a:pt x="414" y="250"/>
                    </a:lnTo>
                    <a:lnTo>
                      <a:pt x="410" y="250"/>
                    </a:lnTo>
                    <a:lnTo>
                      <a:pt x="408" y="252"/>
                    </a:lnTo>
                    <a:lnTo>
                      <a:pt x="406" y="252"/>
                    </a:lnTo>
                    <a:lnTo>
                      <a:pt x="406" y="254"/>
                    </a:lnTo>
                    <a:lnTo>
                      <a:pt x="404" y="254"/>
                    </a:lnTo>
                    <a:lnTo>
                      <a:pt x="402" y="254"/>
                    </a:lnTo>
                    <a:lnTo>
                      <a:pt x="402" y="256"/>
                    </a:lnTo>
                    <a:lnTo>
                      <a:pt x="400" y="258"/>
                    </a:lnTo>
                    <a:lnTo>
                      <a:pt x="400" y="260"/>
                    </a:lnTo>
                    <a:lnTo>
                      <a:pt x="396" y="260"/>
                    </a:lnTo>
                    <a:lnTo>
                      <a:pt x="392" y="258"/>
                    </a:lnTo>
                    <a:lnTo>
                      <a:pt x="390" y="258"/>
                    </a:lnTo>
                    <a:lnTo>
                      <a:pt x="388" y="256"/>
                    </a:lnTo>
                    <a:lnTo>
                      <a:pt x="388" y="258"/>
                    </a:lnTo>
                    <a:lnTo>
                      <a:pt x="386" y="258"/>
                    </a:lnTo>
                    <a:lnTo>
                      <a:pt x="386" y="260"/>
                    </a:lnTo>
                    <a:lnTo>
                      <a:pt x="382" y="256"/>
                    </a:lnTo>
                    <a:lnTo>
                      <a:pt x="380" y="258"/>
                    </a:lnTo>
                    <a:lnTo>
                      <a:pt x="380" y="260"/>
                    </a:lnTo>
                    <a:lnTo>
                      <a:pt x="378" y="260"/>
                    </a:lnTo>
                    <a:lnTo>
                      <a:pt x="378" y="258"/>
                    </a:lnTo>
                    <a:lnTo>
                      <a:pt x="376" y="258"/>
                    </a:lnTo>
                    <a:lnTo>
                      <a:pt x="376" y="260"/>
                    </a:lnTo>
                    <a:lnTo>
                      <a:pt x="374" y="260"/>
                    </a:lnTo>
                    <a:lnTo>
                      <a:pt x="374" y="262"/>
                    </a:lnTo>
                    <a:lnTo>
                      <a:pt x="376" y="264"/>
                    </a:lnTo>
                    <a:lnTo>
                      <a:pt x="374" y="266"/>
                    </a:lnTo>
                    <a:lnTo>
                      <a:pt x="370" y="266"/>
                    </a:lnTo>
                    <a:lnTo>
                      <a:pt x="368" y="266"/>
                    </a:lnTo>
                    <a:lnTo>
                      <a:pt x="366" y="268"/>
                    </a:lnTo>
                    <a:lnTo>
                      <a:pt x="364" y="268"/>
                    </a:lnTo>
                    <a:lnTo>
                      <a:pt x="360" y="268"/>
                    </a:lnTo>
                    <a:lnTo>
                      <a:pt x="360" y="270"/>
                    </a:lnTo>
                    <a:lnTo>
                      <a:pt x="356" y="270"/>
                    </a:lnTo>
                    <a:lnTo>
                      <a:pt x="354" y="270"/>
                    </a:lnTo>
                    <a:lnTo>
                      <a:pt x="350" y="272"/>
                    </a:lnTo>
                    <a:lnTo>
                      <a:pt x="348" y="272"/>
                    </a:lnTo>
                    <a:lnTo>
                      <a:pt x="344" y="272"/>
                    </a:lnTo>
                    <a:lnTo>
                      <a:pt x="342" y="272"/>
                    </a:lnTo>
                    <a:lnTo>
                      <a:pt x="342" y="270"/>
                    </a:lnTo>
                    <a:lnTo>
                      <a:pt x="344" y="270"/>
                    </a:lnTo>
                    <a:lnTo>
                      <a:pt x="346" y="270"/>
                    </a:lnTo>
                    <a:lnTo>
                      <a:pt x="350" y="268"/>
                    </a:lnTo>
                    <a:lnTo>
                      <a:pt x="352" y="268"/>
                    </a:lnTo>
                    <a:lnTo>
                      <a:pt x="356" y="268"/>
                    </a:lnTo>
                    <a:lnTo>
                      <a:pt x="358" y="268"/>
                    </a:lnTo>
                    <a:lnTo>
                      <a:pt x="360" y="266"/>
                    </a:lnTo>
                    <a:lnTo>
                      <a:pt x="362" y="266"/>
                    </a:lnTo>
                    <a:lnTo>
                      <a:pt x="364" y="264"/>
                    </a:lnTo>
                    <a:lnTo>
                      <a:pt x="366" y="264"/>
                    </a:lnTo>
                    <a:lnTo>
                      <a:pt x="368" y="262"/>
                    </a:lnTo>
                    <a:lnTo>
                      <a:pt x="368" y="260"/>
                    </a:lnTo>
                    <a:lnTo>
                      <a:pt x="364" y="260"/>
                    </a:lnTo>
                    <a:lnTo>
                      <a:pt x="362" y="260"/>
                    </a:lnTo>
                    <a:lnTo>
                      <a:pt x="360" y="260"/>
                    </a:lnTo>
                    <a:lnTo>
                      <a:pt x="356" y="262"/>
                    </a:lnTo>
                    <a:lnTo>
                      <a:pt x="352" y="264"/>
                    </a:lnTo>
                    <a:lnTo>
                      <a:pt x="348" y="266"/>
                    </a:lnTo>
                    <a:lnTo>
                      <a:pt x="344" y="268"/>
                    </a:lnTo>
                    <a:lnTo>
                      <a:pt x="342" y="268"/>
                    </a:lnTo>
                    <a:lnTo>
                      <a:pt x="340" y="268"/>
                    </a:lnTo>
                    <a:lnTo>
                      <a:pt x="340" y="270"/>
                    </a:lnTo>
                    <a:lnTo>
                      <a:pt x="334" y="270"/>
                    </a:lnTo>
                    <a:lnTo>
                      <a:pt x="328" y="268"/>
                    </a:lnTo>
                    <a:close/>
                    <a:moveTo>
                      <a:pt x="466" y="312"/>
                    </a:moveTo>
                    <a:lnTo>
                      <a:pt x="464" y="312"/>
                    </a:lnTo>
                    <a:lnTo>
                      <a:pt x="462" y="312"/>
                    </a:lnTo>
                    <a:lnTo>
                      <a:pt x="460" y="312"/>
                    </a:lnTo>
                    <a:lnTo>
                      <a:pt x="460" y="310"/>
                    </a:lnTo>
                    <a:lnTo>
                      <a:pt x="458" y="308"/>
                    </a:lnTo>
                    <a:lnTo>
                      <a:pt x="456" y="308"/>
                    </a:lnTo>
                    <a:lnTo>
                      <a:pt x="454" y="310"/>
                    </a:lnTo>
                    <a:lnTo>
                      <a:pt x="454" y="314"/>
                    </a:lnTo>
                    <a:lnTo>
                      <a:pt x="452" y="314"/>
                    </a:lnTo>
                    <a:lnTo>
                      <a:pt x="452" y="312"/>
                    </a:lnTo>
                    <a:lnTo>
                      <a:pt x="450" y="312"/>
                    </a:lnTo>
                    <a:lnTo>
                      <a:pt x="448" y="312"/>
                    </a:lnTo>
                    <a:lnTo>
                      <a:pt x="446" y="314"/>
                    </a:lnTo>
                    <a:lnTo>
                      <a:pt x="448" y="314"/>
                    </a:lnTo>
                    <a:lnTo>
                      <a:pt x="448" y="316"/>
                    </a:lnTo>
                    <a:lnTo>
                      <a:pt x="442" y="316"/>
                    </a:lnTo>
                    <a:lnTo>
                      <a:pt x="440" y="316"/>
                    </a:lnTo>
                    <a:lnTo>
                      <a:pt x="436" y="316"/>
                    </a:lnTo>
                    <a:lnTo>
                      <a:pt x="434" y="316"/>
                    </a:lnTo>
                    <a:lnTo>
                      <a:pt x="432" y="318"/>
                    </a:lnTo>
                    <a:lnTo>
                      <a:pt x="428" y="318"/>
                    </a:lnTo>
                    <a:lnTo>
                      <a:pt x="426" y="320"/>
                    </a:lnTo>
                    <a:lnTo>
                      <a:pt x="422" y="324"/>
                    </a:lnTo>
                    <a:lnTo>
                      <a:pt x="418" y="326"/>
                    </a:lnTo>
                    <a:lnTo>
                      <a:pt x="416" y="328"/>
                    </a:lnTo>
                    <a:lnTo>
                      <a:pt x="412" y="328"/>
                    </a:lnTo>
                    <a:lnTo>
                      <a:pt x="410" y="330"/>
                    </a:lnTo>
                    <a:lnTo>
                      <a:pt x="406" y="330"/>
                    </a:lnTo>
                    <a:lnTo>
                      <a:pt x="402" y="332"/>
                    </a:lnTo>
                    <a:lnTo>
                      <a:pt x="400" y="332"/>
                    </a:lnTo>
                    <a:lnTo>
                      <a:pt x="398" y="332"/>
                    </a:lnTo>
                    <a:lnTo>
                      <a:pt x="396" y="332"/>
                    </a:lnTo>
                    <a:lnTo>
                      <a:pt x="386" y="332"/>
                    </a:lnTo>
                    <a:lnTo>
                      <a:pt x="384" y="332"/>
                    </a:lnTo>
                    <a:lnTo>
                      <a:pt x="382" y="336"/>
                    </a:lnTo>
                    <a:lnTo>
                      <a:pt x="380" y="338"/>
                    </a:lnTo>
                    <a:lnTo>
                      <a:pt x="380" y="340"/>
                    </a:lnTo>
                    <a:lnTo>
                      <a:pt x="370" y="340"/>
                    </a:lnTo>
                    <a:lnTo>
                      <a:pt x="368" y="340"/>
                    </a:lnTo>
                    <a:lnTo>
                      <a:pt x="358" y="340"/>
                    </a:lnTo>
                    <a:lnTo>
                      <a:pt x="356" y="342"/>
                    </a:lnTo>
                    <a:lnTo>
                      <a:pt x="354" y="342"/>
                    </a:lnTo>
                    <a:lnTo>
                      <a:pt x="350" y="342"/>
                    </a:lnTo>
                    <a:lnTo>
                      <a:pt x="348" y="342"/>
                    </a:lnTo>
                    <a:lnTo>
                      <a:pt x="346" y="342"/>
                    </a:lnTo>
                    <a:lnTo>
                      <a:pt x="344" y="340"/>
                    </a:lnTo>
                    <a:lnTo>
                      <a:pt x="342" y="340"/>
                    </a:lnTo>
                    <a:lnTo>
                      <a:pt x="338" y="340"/>
                    </a:lnTo>
                    <a:lnTo>
                      <a:pt x="336" y="340"/>
                    </a:lnTo>
                    <a:lnTo>
                      <a:pt x="334" y="340"/>
                    </a:lnTo>
                    <a:lnTo>
                      <a:pt x="334" y="338"/>
                    </a:lnTo>
                    <a:lnTo>
                      <a:pt x="332" y="338"/>
                    </a:lnTo>
                    <a:lnTo>
                      <a:pt x="334" y="338"/>
                    </a:lnTo>
                    <a:lnTo>
                      <a:pt x="336" y="336"/>
                    </a:lnTo>
                    <a:lnTo>
                      <a:pt x="342" y="336"/>
                    </a:lnTo>
                    <a:lnTo>
                      <a:pt x="342" y="334"/>
                    </a:lnTo>
                    <a:lnTo>
                      <a:pt x="344" y="334"/>
                    </a:lnTo>
                    <a:lnTo>
                      <a:pt x="346" y="334"/>
                    </a:lnTo>
                    <a:lnTo>
                      <a:pt x="348" y="334"/>
                    </a:lnTo>
                    <a:lnTo>
                      <a:pt x="350" y="336"/>
                    </a:lnTo>
                    <a:lnTo>
                      <a:pt x="352" y="336"/>
                    </a:lnTo>
                    <a:lnTo>
                      <a:pt x="354" y="336"/>
                    </a:lnTo>
                    <a:lnTo>
                      <a:pt x="356" y="334"/>
                    </a:lnTo>
                    <a:lnTo>
                      <a:pt x="360" y="334"/>
                    </a:lnTo>
                    <a:lnTo>
                      <a:pt x="360" y="332"/>
                    </a:lnTo>
                    <a:lnTo>
                      <a:pt x="362" y="330"/>
                    </a:lnTo>
                    <a:lnTo>
                      <a:pt x="364" y="328"/>
                    </a:lnTo>
                    <a:lnTo>
                      <a:pt x="366" y="326"/>
                    </a:lnTo>
                    <a:lnTo>
                      <a:pt x="368" y="326"/>
                    </a:lnTo>
                    <a:lnTo>
                      <a:pt x="370" y="326"/>
                    </a:lnTo>
                    <a:lnTo>
                      <a:pt x="372" y="326"/>
                    </a:lnTo>
                    <a:lnTo>
                      <a:pt x="374" y="328"/>
                    </a:lnTo>
                    <a:lnTo>
                      <a:pt x="376" y="326"/>
                    </a:lnTo>
                    <a:lnTo>
                      <a:pt x="378" y="326"/>
                    </a:lnTo>
                    <a:lnTo>
                      <a:pt x="380" y="326"/>
                    </a:lnTo>
                    <a:lnTo>
                      <a:pt x="380" y="324"/>
                    </a:lnTo>
                    <a:lnTo>
                      <a:pt x="380" y="318"/>
                    </a:lnTo>
                    <a:lnTo>
                      <a:pt x="380" y="316"/>
                    </a:lnTo>
                    <a:lnTo>
                      <a:pt x="376" y="314"/>
                    </a:lnTo>
                    <a:lnTo>
                      <a:pt x="376" y="312"/>
                    </a:lnTo>
                    <a:lnTo>
                      <a:pt x="376" y="310"/>
                    </a:lnTo>
                    <a:lnTo>
                      <a:pt x="376" y="308"/>
                    </a:lnTo>
                    <a:lnTo>
                      <a:pt x="378" y="310"/>
                    </a:lnTo>
                    <a:lnTo>
                      <a:pt x="380" y="310"/>
                    </a:lnTo>
                    <a:lnTo>
                      <a:pt x="380" y="312"/>
                    </a:lnTo>
                    <a:lnTo>
                      <a:pt x="384" y="312"/>
                    </a:lnTo>
                    <a:lnTo>
                      <a:pt x="388" y="316"/>
                    </a:lnTo>
                    <a:lnTo>
                      <a:pt x="394" y="316"/>
                    </a:lnTo>
                    <a:lnTo>
                      <a:pt x="396" y="316"/>
                    </a:lnTo>
                    <a:lnTo>
                      <a:pt x="396" y="320"/>
                    </a:lnTo>
                    <a:lnTo>
                      <a:pt x="396" y="322"/>
                    </a:lnTo>
                    <a:lnTo>
                      <a:pt x="398" y="322"/>
                    </a:lnTo>
                    <a:lnTo>
                      <a:pt x="406" y="322"/>
                    </a:lnTo>
                    <a:lnTo>
                      <a:pt x="408" y="322"/>
                    </a:lnTo>
                    <a:lnTo>
                      <a:pt x="408" y="320"/>
                    </a:lnTo>
                    <a:lnTo>
                      <a:pt x="414" y="320"/>
                    </a:lnTo>
                    <a:lnTo>
                      <a:pt x="416" y="320"/>
                    </a:lnTo>
                    <a:lnTo>
                      <a:pt x="418" y="318"/>
                    </a:lnTo>
                    <a:lnTo>
                      <a:pt x="420" y="318"/>
                    </a:lnTo>
                    <a:lnTo>
                      <a:pt x="424" y="316"/>
                    </a:lnTo>
                    <a:lnTo>
                      <a:pt x="426" y="316"/>
                    </a:lnTo>
                    <a:lnTo>
                      <a:pt x="430" y="314"/>
                    </a:lnTo>
                    <a:lnTo>
                      <a:pt x="432" y="312"/>
                    </a:lnTo>
                    <a:lnTo>
                      <a:pt x="434" y="312"/>
                    </a:lnTo>
                    <a:lnTo>
                      <a:pt x="436" y="310"/>
                    </a:lnTo>
                    <a:lnTo>
                      <a:pt x="442" y="308"/>
                    </a:lnTo>
                    <a:lnTo>
                      <a:pt x="446" y="306"/>
                    </a:lnTo>
                    <a:lnTo>
                      <a:pt x="450" y="306"/>
                    </a:lnTo>
                    <a:lnTo>
                      <a:pt x="454" y="306"/>
                    </a:lnTo>
                    <a:lnTo>
                      <a:pt x="456" y="306"/>
                    </a:lnTo>
                    <a:lnTo>
                      <a:pt x="464" y="306"/>
                    </a:lnTo>
                    <a:lnTo>
                      <a:pt x="466" y="308"/>
                    </a:lnTo>
                    <a:lnTo>
                      <a:pt x="470" y="308"/>
                    </a:lnTo>
                    <a:lnTo>
                      <a:pt x="468" y="310"/>
                    </a:lnTo>
                    <a:lnTo>
                      <a:pt x="466" y="312"/>
                    </a:lnTo>
                    <a:close/>
                    <a:moveTo>
                      <a:pt x="496" y="478"/>
                    </a:moveTo>
                    <a:lnTo>
                      <a:pt x="496" y="480"/>
                    </a:lnTo>
                    <a:lnTo>
                      <a:pt x="494" y="482"/>
                    </a:lnTo>
                    <a:lnTo>
                      <a:pt x="492" y="484"/>
                    </a:lnTo>
                    <a:lnTo>
                      <a:pt x="490" y="486"/>
                    </a:lnTo>
                    <a:lnTo>
                      <a:pt x="490" y="494"/>
                    </a:lnTo>
                    <a:lnTo>
                      <a:pt x="490" y="496"/>
                    </a:lnTo>
                    <a:lnTo>
                      <a:pt x="490" y="498"/>
                    </a:lnTo>
                    <a:lnTo>
                      <a:pt x="490" y="500"/>
                    </a:lnTo>
                    <a:lnTo>
                      <a:pt x="490" y="502"/>
                    </a:lnTo>
                    <a:lnTo>
                      <a:pt x="490" y="504"/>
                    </a:lnTo>
                    <a:lnTo>
                      <a:pt x="488" y="506"/>
                    </a:lnTo>
                    <a:lnTo>
                      <a:pt x="488" y="510"/>
                    </a:lnTo>
                    <a:lnTo>
                      <a:pt x="490" y="512"/>
                    </a:lnTo>
                    <a:lnTo>
                      <a:pt x="490" y="514"/>
                    </a:lnTo>
                    <a:lnTo>
                      <a:pt x="490" y="518"/>
                    </a:lnTo>
                    <a:lnTo>
                      <a:pt x="488" y="520"/>
                    </a:lnTo>
                    <a:lnTo>
                      <a:pt x="486" y="522"/>
                    </a:lnTo>
                    <a:lnTo>
                      <a:pt x="486" y="524"/>
                    </a:lnTo>
                    <a:lnTo>
                      <a:pt x="484" y="526"/>
                    </a:lnTo>
                    <a:lnTo>
                      <a:pt x="482" y="526"/>
                    </a:lnTo>
                    <a:lnTo>
                      <a:pt x="482" y="528"/>
                    </a:lnTo>
                    <a:lnTo>
                      <a:pt x="480" y="526"/>
                    </a:lnTo>
                    <a:lnTo>
                      <a:pt x="478" y="526"/>
                    </a:lnTo>
                    <a:lnTo>
                      <a:pt x="476" y="526"/>
                    </a:lnTo>
                    <a:lnTo>
                      <a:pt x="476" y="528"/>
                    </a:lnTo>
                    <a:lnTo>
                      <a:pt x="474" y="530"/>
                    </a:lnTo>
                    <a:lnTo>
                      <a:pt x="472" y="530"/>
                    </a:lnTo>
                    <a:lnTo>
                      <a:pt x="470" y="530"/>
                    </a:lnTo>
                    <a:lnTo>
                      <a:pt x="470" y="528"/>
                    </a:lnTo>
                    <a:lnTo>
                      <a:pt x="472" y="526"/>
                    </a:lnTo>
                    <a:lnTo>
                      <a:pt x="472" y="524"/>
                    </a:lnTo>
                    <a:lnTo>
                      <a:pt x="474" y="520"/>
                    </a:lnTo>
                    <a:lnTo>
                      <a:pt x="478" y="518"/>
                    </a:lnTo>
                    <a:lnTo>
                      <a:pt x="480" y="514"/>
                    </a:lnTo>
                    <a:lnTo>
                      <a:pt x="484" y="510"/>
                    </a:lnTo>
                    <a:lnTo>
                      <a:pt x="484" y="508"/>
                    </a:lnTo>
                    <a:lnTo>
                      <a:pt x="484" y="506"/>
                    </a:lnTo>
                    <a:lnTo>
                      <a:pt x="482" y="506"/>
                    </a:lnTo>
                    <a:lnTo>
                      <a:pt x="480" y="508"/>
                    </a:lnTo>
                    <a:lnTo>
                      <a:pt x="478" y="508"/>
                    </a:lnTo>
                    <a:lnTo>
                      <a:pt x="478" y="510"/>
                    </a:lnTo>
                    <a:lnTo>
                      <a:pt x="476" y="510"/>
                    </a:lnTo>
                    <a:lnTo>
                      <a:pt x="478" y="508"/>
                    </a:lnTo>
                    <a:lnTo>
                      <a:pt x="480" y="506"/>
                    </a:lnTo>
                    <a:lnTo>
                      <a:pt x="480" y="504"/>
                    </a:lnTo>
                    <a:lnTo>
                      <a:pt x="482" y="504"/>
                    </a:lnTo>
                    <a:lnTo>
                      <a:pt x="482" y="500"/>
                    </a:lnTo>
                    <a:lnTo>
                      <a:pt x="480" y="498"/>
                    </a:lnTo>
                    <a:lnTo>
                      <a:pt x="476" y="498"/>
                    </a:lnTo>
                    <a:lnTo>
                      <a:pt x="476" y="500"/>
                    </a:lnTo>
                    <a:lnTo>
                      <a:pt x="474" y="502"/>
                    </a:lnTo>
                    <a:lnTo>
                      <a:pt x="474" y="504"/>
                    </a:lnTo>
                    <a:lnTo>
                      <a:pt x="472" y="504"/>
                    </a:lnTo>
                    <a:lnTo>
                      <a:pt x="470" y="502"/>
                    </a:lnTo>
                    <a:lnTo>
                      <a:pt x="470" y="496"/>
                    </a:lnTo>
                    <a:lnTo>
                      <a:pt x="472" y="494"/>
                    </a:lnTo>
                    <a:lnTo>
                      <a:pt x="472" y="492"/>
                    </a:lnTo>
                    <a:lnTo>
                      <a:pt x="470" y="492"/>
                    </a:lnTo>
                    <a:lnTo>
                      <a:pt x="470" y="490"/>
                    </a:lnTo>
                    <a:lnTo>
                      <a:pt x="468" y="488"/>
                    </a:lnTo>
                    <a:lnTo>
                      <a:pt x="468" y="486"/>
                    </a:lnTo>
                    <a:lnTo>
                      <a:pt x="470" y="486"/>
                    </a:lnTo>
                    <a:lnTo>
                      <a:pt x="472" y="484"/>
                    </a:lnTo>
                    <a:lnTo>
                      <a:pt x="474" y="484"/>
                    </a:lnTo>
                    <a:lnTo>
                      <a:pt x="474" y="482"/>
                    </a:lnTo>
                    <a:lnTo>
                      <a:pt x="476" y="482"/>
                    </a:lnTo>
                    <a:lnTo>
                      <a:pt x="470" y="482"/>
                    </a:lnTo>
                    <a:lnTo>
                      <a:pt x="468" y="480"/>
                    </a:lnTo>
                    <a:lnTo>
                      <a:pt x="470" y="480"/>
                    </a:lnTo>
                    <a:lnTo>
                      <a:pt x="470" y="478"/>
                    </a:lnTo>
                    <a:lnTo>
                      <a:pt x="472" y="476"/>
                    </a:lnTo>
                    <a:lnTo>
                      <a:pt x="474" y="474"/>
                    </a:lnTo>
                    <a:lnTo>
                      <a:pt x="476" y="472"/>
                    </a:lnTo>
                    <a:lnTo>
                      <a:pt x="478" y="470"/>
                    </a:lnTo>
                    <a:lnTo>
                      <a:pt x="480" y="468"/>
                    </a:lnTo>
                    <a:lnTo>
                      <a:pt x="482" y="466"/>
                    </a:lnTo>
                    <a:lnTo>
                      <a:pt x="486" y="466"/>
                    </a:lnTo>
                    <a:lnTo>
                      <a:pt x="486" y="468"/>
                    </a:lnTo>
                    <a:lnTo>
                      <a:pt x="488" y="468"/>
                    </a:lnTo>
                    <a:lnTo>
                      <a:pt x="490" y="468"/>
                    </a:lnTo>
                    <a:lnTo>
                      <a:pt x="492" y="470"/>
                    </a:lnTo>
                    <a:lnTo>
                      <a:pt x="494" y="470"/>
                    </a:lnTo>
                    <a:lnTo>
                      <a:pt x="494" y="472"/>
                    </a:lnTo>
                    <a:lnTo>
                      <a:pt x="496" y="474"/>
                    </a:lnTo>
                    <a:lnTo>
                      <a:pt x="496" y="476"/>
                    </a:lnTo>
                    <a:lnTo>
                      <a:pt x="496" y="478"/>
                    </a:lnTo>
                    <a:close/>
                    <a:moveTo>
                      <a:pt x="538" y="88"/>
                    </a:moveTo>
                    <a:lnTo>
                      <a:pt x="544" y="88"/>
                    </a:lnTo>
                    <a:lnTo>
                      <a:pt x="546" y="88"/>
                    </a:lnTo>
                    <a:lnTo>
                      <a:pt x="550" y="88"/>
                    </a:lnTo>
                    <a:lnTo>
                      <a:pt x="552" y="88"/>
                    </a:lnTo>
                    <a:lnTo>
                      <a:pt x="554" y="88"/>
                    </a:lnTo>
                    <a:lnTo>
                      <a:pt x="556" y="90"/>
                    </a:lnTo>
                    <a:lnTo>
                      <a:pt x="556" y="92"/>
                    </a:lnTo>
                    <a:lnTo>
                      <a:pt x="558" y="94"/>
                    </a:lnTo>
                    <a:lnTo>
                      <a:pt x="564" y="94"/>
                    </a:lnTo>
                    <a:lnTo>
                      <a:pt x="568" y="94"/>
                    </a:lnTo>
                    <a:lnTo>
                      <a:pt x="570" y="94"/>
                    </a:lnTo>
                    <a:lnTo>
                      <a:pt x="572" y="92"/>
                    </a:lnTo>
                    <a:lnTo>
                      <a:pt x="572" y="94"/>
                    </a:lnTo>
                    <a:lnTo>
                      <a:pt x="574" y="94"/>
                    </a:lnTo>
                    <a:lnTo>
                      <a:pt x="576" y="94"/>
                    </a:lnTo>
                    <a:lnTo>
                      <a:pt x="582" y="94"/>
                    </a:lnTo>
                    <a:lnTo>
                      <a:pt x="584" y="94"/>
                    </a:lnTo>
                    <a:lnTo>
                      <a:pt x="586" y="92"/>
                    </a:lnTo>
                    <a:lnTo>
                      <a:pt x="588" y="90"/>
                    </a:lnTo>
                    <a:lnTo>
                      <a:pt x="588" y="88"/>
                    </a:lnTo>
                    <a:lnTo>
                      <a:pt x="588" y="86"/>
                    </a:lnTo>
                    <a:lnTo>
                      <a:pt x="596" y="86"/>
                    </a:lnTo>
                    <a:lnTo>
                      <a:pt x="598" y="84"/>
                    </a:lnTo>
                    <a:lnTo>
                      <a:pt x="600" y="84"/>
                    </a:lnTo>
                    <a:lnTo>
                      <a:pt x="604" y="82"/>
                    </a:lnTo>
                    <a:lnTo>
                      <a:pt x="608" y="82"/>
                    </a:lnTo>
                    <a:lnTo>
                      <a:pt x="610" y="80"/>
                    </a:lnTo>
                    <a:lnTo>
                      <a:pt x="612" y="80"/>
                    </a:lnTo>
                    <a:lnTo>
                      <a:pt x="610" y="80"/>
                    </a:lnTo>
                    <a:lnTo>
                      <a:pt x="602" y="88"/>
                    </a:lnTo>
                    <a:lnTo>
                      <a:pt x="604" y="88"/>
                    </a:lnTo>
                    <a:lnTo>
                      <a:pt x="606" y="90"/>
                    </a:lnTo>
                    <a:lnTo>
                      <a:pt x="610" y="90"/>
                    </a:lnTo>
                    <a:lnTo>
                      <a:pt x="612" y="90"/>
                    </a:lnTo>
                    <a:lnTo>
                      <a:pt x="616" y="90"/>
                    </a:lnTo>
                    <a:lnTo>
                      <a:pt x="620" y="88"/>
                    </a:lnTo>
                    <a:lnTo>
                      <a:pt x="622" y="88"/>
                    </a:lnTo>
                    <a:lnTo>
                      <a:pt x="624" y="86"/>
                    </a:lnTo>
                    <a:lnTo>
                      <a:pt x="626" y="86"/>
                    </a:lnTo>
                    <a:lnTo>
                      <a:pt x="628" y="86"/>
                    </a:lnTo>
                    <a:lnTo>
                      <a:pt x="632" y="84"/>
                    </a:lnTo>
                    <a:lnTo>
                      <a:pt x="636" y="82"/>
                    </a:lnTo>
                    <a:lnTo>
                      <a:pt x="640" y="78"/>
                    </a:lnTo>
                    <a:lnTo>
                      <a:pt x="644" y="78"/>
                    </a:lnTo>
                    <a:lnTo>
                      <a:pt x="646" y="78"/>
                    </a:lnTo>
                    <a:lnTo>
                      <a:pt x="648" y="76"/>
                    </a:lnTo>
                    <a:lnTo>
                      <a:pt x="650" y="76"/>
                    </a:lnTo>
                    <a:lnTo>
                      <a:pt x="650" y="74"/>
                    </a:lnTo>
                    <a:lnTo>
                      <a:pt x="648" y="74"/>
                    </a:lnTo>
                    <a:lnTo>
                      <a:pt x="644" y="74"/>
                    </a:lnTo>
                    <a:lnTo>
                      <a:pt x="642" y="72"/>
                    </a:lnTo>
                    <a:lnTo>
                      <a:pt x="638" y="72"/>
                    </a:lnTo>
                    <a:lnTo>
                      <a:pt x="636" y="70"/>
                    </a:lnTo>
                    <a:lnTo>
                      <a:pt x="632" y="70"/>
                    </a:lnTo>
                    <a:lnTo>
                      <a:pt x="622" y="70"/>
                    </a:lnTo>
                    <a:lnTo>
                      <a:pt x="618" y="68"/>
                    </a:lnTo>
                    <a:lnTo>
                      <a:pt x="604" y="68"/>
                    </a:lnTo>
                    <a:lnTo>
                      <a:pt x="602" y="70"/>
                    </a:lnTo>
                    <a:lnTo>
                      <a:pt x="598" y="70"/>
                    </a:lnTo>
                    <a:lnTo>
                      <a:pt x="596" y="70"/>
                    </a:lnTo>
                    <a:lnTo>
                      <a:pt x="590" y="70"/>
                    </a:lnTo>
                    <a:lnTo>
                      <a:pt x="590" y="72"/>
                    </a:lnTo>
                    <a:lnTo>
                      <a:pt x="590" y="76"/>
                    </a:lnTo>
                    <a:lnTo>
                      <a:pt x="584" y="76"/>
                    </a:lnTo>
                    <a:lnTo>
                      <a:pt x="580" y="78"/>
                    </a:lnTo>
                    <a:lnTo>
                      <a:pt x="568" y="78"/>
                    </a:lnTo>
                    <a:lnTo>
                      <a:pt x="566" y="78"/>
                    </a:lnTo>
                    <a:lnTo>
                      <a:pt x="560" y="78"/>
                    </a:lnTo>
                    <a:lnTo>
                      <a:pt x="558" y="78"/>
                    </a:lnTo>
                    <a:lnTo>
                      <a:pt x="556" y="78"/>
                    </a:lnTo>
                    <a:lnTo>
                      <a:pt x="552" y="76"/>
                    </a:lnTo>
                    <a:lnTo>
                      <a:pt x="544" y="76"/>
                    </a:lnTo>
                    <a:lnTo>
                      <a:pt x="542" y="78"/>
                    </a:lnTo>
                    <a:lnTo>
                      <a:pt x="540" y="78"/>
                    </a:lnTo>
                    <a:lnTo>
                      <a:pt x="538" y="78"/>
                    </a:lnTo>
                    <a:lnTo>
                      <a:pt x="538" y="90"/>
                    </a:lnTo>
                    <a:lnTo>
                      <a:pt x="538" y="88"/>
                    </a:lnTo>
                    <a:close/>
                    <a:moveTo>
                      <a:pt x="690" y="74"/>
                    </a:moveTo>
                    <a:lnTo>
                      <a:pt x="692" y="74"/>
                    </a:lnTo>
                    <a:lnTo>
                      <a:pt x="696" y="76"/>
                    </a:lnTo>
                    <a:lnTo>
                      <a:pt x="698" y="76"/>
                    </a:lnTo>
                    <a:lnTo>
                      <a:pt x="700" y="76"/>
                    </a:lnTo>
                    <a:lnTo>
                      <a:pt x="700" y="78"/>
                    </a:lnTo>
                    <a:lnTo>
                      <a:pt x="710" y="78"/>
                    </a:lnTo>
                    <a:lnTo>
                      <a:pt x="712" y="76"/>
                    </a:lnTo>
                    <a:lnTo>
                      <a:pt x="714" y="76"/>
                    </a:lnTo>
                    <a:lnTo>
                      <a:pt x="716" y="76"/>
                    </a:lnTo>
                    <a:lnTo>
                      <a:pt x="718" y="74"/>
                    </a:lnTo>
                    <a:lnTo>
                      <a:pt x="720" y="72"/>
                    </a:lnTo>
                    <a:lnTo>
                      <a:pt x="718" y="70"/>
                    </a:lnTo>
                    <a:lnTo>
                      <a:pt x="718" y="68"/>
                    </a:lnTo>
                    <a:lnTo>
                      <a:pt x="724" y="68"/>
                    </a:lnTo>
                    <a:lnTo>
                      <a:pt x="726" y="66"/>
                    </a:lnTo>
                    <a:lnTo>
                      <a:pt x="732" y="66"/>
                    </a:lnTo>
                    <a:lnTo>
                      <a:pt x="734" y="66"/>
                    </a:lnTo>
                    <a:lnTo>
                      <a:pt x="734" y="64"/>
                    </a:lnTo>
                    <a:lnTo>
                      <a:pt x="732" y="64"/>
                    </a:lnTo>
                    <a:lnTo>
                      <a:pt x="732" y="62"/>
                    </a:lnTo>
                    <a:lnTo>
                      <a:pt x="728" y="64"/>
                    </a:lnTo>
                    <a:lnTo>
                      <a:pt x="714" y="64"/>
                    </a:lnTo>
                    <a:lnTo>
                      <a:pt x="712" y="66"/>
                    </a:lnTo>
                    <a:lnTo>
                      <a:pt x="710" y="66"/>
                    </a:lnTo>
                    <a:lnTo>
                      <a:pt x="708" y="66"/>
                    </a:lnTo>
                    <a:lnTo>
                      <a:pt x="706" y="66"/>
                    </a:lnTo>
                    <a:lnTo>
                      <a:pt x="702" y="64"/>
                    </a:lnTo>
                    <a:lnTo>
                      <a:pt x="696" y="64"/>
                    </a:lnTo>
                    <a:lnTo>
                      <a:pt x="692" y="66"/>
                    </a:lnTo>
                    <a:lnTo>
                      <a:pt x="690" y="66"/>
                    </a:lnTo>
                    <a:lnTo>
                      <a:pt x="688" y="66"/>
                    </a:lnTo>
                    <a:lnTo>
                      <a:pt x="688" y="68"/>
                    </a:lnTo>
                    <a:lnTo>
                      <a:pt x="688" y="70"/>
                    </a:lnTo>
                    <a:lnTo>
                      <a:pt x="688" y="72"/>
                    </a:lnTo>
                    <a:lnTo>
                      <a:pt x="690" y="74"/>
                    </a:lnTo>
                    <a:close/>
                    <a:moveTo>
                      <a:pt x="430" y="158"/>
                    </a:moveTo>
                    <a:lnTo>
                      <a:pt x="432" y="158"/>
                    </a:lnTo>
                    <a:lnTo>
                      <a:pt x="436" y="158"/>
                    </a:lnTo>
                    <a:lnTo>
                      <a:pt x="438" y="160"/>
                    </a:lnTo>
                    <a:lnTo>
                      <a:pt x="440" y="162"/>
                    </a:lnTo>
                    <a:lnTo>
                      <a:pt x="440" y="164"/>
                    </a:lnTo>
                    <a:lnTo>
                      <a:pt x="440" y="166"/>
                    </a:lnTo>
                    <a:lnTo>
                      <a:pt x="438" y="168"/>
                    </a:lnTo>
                    <a:lnTo>
                      <a:pt x="438" y="170"/>
                    </a:lnTo>
                    <a:lnTo>
                      <a:pt x="436" y="170"/>
                    </a:lnTo>
                    <a:lnTo>
                      <a:pt x="436" y="172"/>
                    </a:lnTo>
                    <a:lnTo>
                      <a:pt x="442" y="172"/>
                    </a:lnTo>
                    <a:lnTo>
                      <a:pt x="446" y="170"/>
                    </a:lnTo>
                    <a:lnTo>
                      <a:pt x="448" y="170"/>
                    </a:lnTo>
                    <a:lnTo>
                      <a:pt x="452" y="170"/>
                    </a:lnTo>
                    <a:lnTo>
                      <a:pt x="456" y="168"/>
                    </a:lnTo>
                    <a:lnTo>
                      <a:pt x="458" y="168"/>
                    </a:lnTo>
                    <a:lnTo>
                      <a:pt x="462" y="166"/>
                    </a:lnTo>
                    <a:lnTo>
                      <a:pt x="464" y="166"/>
                    </a:lnTo>
                    <a:lnTo>
                      <a:pt x="466" y="166"/>
                    </a:lnTo>
                    <a:lnTo>
                      <a:pt x="468" y="166"/>
                    </a:lnTo>
                    <a:lnTo>
                      <a:pt x="470" y="168"/>
                    </a:lnTo>
                    <a:lnTo>
                      <a:pt x="472" y="168"/>
                    </a:lnTo>
                    <a:lnTo>
                      <a:pt x="476" y="166"/>
                    </a:lnTo>
                    <a:lnTo>
                      <a:pt x="478" y="164"/>
                    </a:lnTo>
                    <a:lnTo>
                      <a:pt x="480" y="162"/>
                    </a:lnTo>
                    <a:lnTo>
                      <a:pt x="482" y="160"/>
                    </a:lnTo>
                    <a:lnTo>
                      <a:pt x="484" y="158"/>
                    </a:lnTo>
                    <a:lnTo>
                      <a:pt x="486" y="158"/>
                    </a:lnTo>
                    <a:lnTo>
                      <a:pt x="488" y="156"/>
                    </a:lnTo>
                    <a:lnTo>
                      <a:pt x="490" y="154"/>
                    </a:lnTo>
                    <a:lnTo>
                      <a:pt x="496" y="152"/>
                    </a:lnTo>
                    <a:lnTo>
                      <a:pt x="500" y="150"/>
                    </a:lnTo>
                    <a:lnTo>
                      <a:pt x="504" y="150"/>
                    </a:lnTo>
                    <a:lnTo>
                      <a:pt x="508" y="148"/>
                    </a:lnTo>
                    <a:lnTo>
                      <a:pt x="512" y="148"/>
                    </a:lnTo>
                    <a:lnTo>
                      <a:pt x="514" y="146"/>
                    </a:lnTo>
                    <a:lnTo>
                      <a:pt x="516" y="146"/>
                    </a:lnTo>
                    <a:lnTo>
                      <a:pt x="518" y="146"/>
                    </a:lnTo>
                    <a:lnTo>
                      <a:pt x="520" y="146"/>
                    </a:lnTo>
                    <a:lnTo>
                      <a:pt x="520" y="144"/>
                    </a:lnTo>
                    <a:lnTo>
                      <a:pt x="522" y="144"/>
                    </a:lnTo>
                    <a:lnTo>
                      <a:pt x="526" y="142"/>
                    </a:lnTo>
                    <a:lnTo>
                      <a:pt x="532" y="142"/>
                    </a:lnTo>
                    <a:lnTo>
                      <a:pt x="540" y="140"/>
                    </a:lnTo>
                    <a:lnTo>
                      <a:pt x="542" y="138"/>
                    </a:lnTo>
                    <a:lnTo>
                      <a:pt x="544" y="138"/>
                    </a:lnTo>
                    <a:lnTo>
                      <a:pt x="546" y="138"/>
                    </a:lnTo>
                    <a:lnTo>
                      <a:pt x="548" y="136"/>
                    </a:lnTo>
                    <a:lnTo>
                      <a:pt x="550" y="136"/>
                    </a:lnTo>
                    <a:lnTo>
                      <a:pt x="552" y="136"/>
                    </a:lnTo>
                    <a:lnTo>
                      <a:pt x="556" y="134"/>
                    </a:lnTo>
                    <a:lnTo>
                      <a:pt x="560" y="134"/>
                    </a:lnTo>
                    <a:lnTo>
                      <a:pt x="562" y="134"/>
                    </a:lnTo>
                    <a:lnTo>
                      <a:pt x="566" y="132"/>
                    </a:lnTo>
                    <a:lnTo>
                      <a:pt x="568" y="132"/>
                    </a:lnTo>
                    <a:lnTo>
                      <a:pt x="574" y="132"/>
                    </a:lnTo>
                    <a:lnTo>
                      <a:pt x="574" y="130"/>
                    </a:lnTo>
                    <a:lnTo>
                      <a:pt x="572" y="128"/>
                    </a:lnTo>
                    <a:lnTo>
                      <a:pt x="570" y="126"/>
                    </a:lnTo>
                    <a:lnTo>
                      <a:pt x="568" y="126"/>
                    </a:lnTo>
                    <a:lnTo>
                      <a:pt x="566" y="124"/>
                    </a:lnTo>
                    <a:lnTo>
                      <a:pt x="564" y="122"/>
                    </a:lnTo>
                    <a:lnTo>
                      <a:pt x="562" y="120"/>
                    </a:lnTo>
                    <a:lnTo>
                      <a:pt x="560" y="118"/>
                    </a:lnTo>
                    <a:lnTo>
                      <a:pt x="546" y="118"/>
                    </a:lnTo>
                    <a:lnTo>
                      <a:pt x="544" y="120"/>
                    </a:lnTo>
                    <a:lnTo>
                      <a:pt x="540" y="120"/>
                    </a:lnTo>
                    <a:lnTo>
                      <a:pt x="536" y="120"/>
                    </a:lnTo>
                    <a:lnTo>
                      <a:pt x="532" y="120"/>
                    </a:lnTo>
                    <a:lnTo>
                      <a:pt x="532" y="122"/>
                    </a:lnTo>
                    <a:lnTo>
                      <a:pt x="526" y="122"/>
                    </a:lnTo>
                    <a:lnTo>
                      <a:pt x="522" y="120"/>
                    </a:lnTo>
                    <a:lnTo>
                      <a:pt x="520" y="118"/>
                    </a:lnTo>
                    <a:lnTo>
                      <a:pt x="520" y="116"/>
                    </a:lnTo>
                    <a:lnTo>
                      <a:pt x="512" y="116"/>
                    </a:lnTo>
                    <a:lnTo>
                      <a:pt x="508" y="116"/>
                    </a:lnTo>
                    <a:lnTo>
                      <a:pt x="504" y="116"/>
                    </a:lnTo>
                    <a:lnTo>
                      <a:pt x="502" y="118"/>
                    </a:lnTo>
                    <a:lnTo>
                      <a:pt x="498" y="118"/>
                    </a:lnTo>
                    <a:lnTo>
                      <a:pt x="496" y="118"/>
                    </a:lnTo>
                    <a:lnTo>
                      <a:pt x="494" y="118"/>
                    </a:lnTo>
                    <a:lnTo>
                      <a:pt x="494" y="120"/>
                    </a:lnTo>
                    <a:lnTo>
                      <a:pt x="492" y="120"/>
                    </a:lnTo>
                    <a:lnTo>
                      <a:pt x="490" y="120"/>
                    </a:lnTo>
                    <a:lnTo>
                      <a:pt x="488" y="120"/>
                    </a:lnTo>
                    <a:lnTo>
                      <a:pt x="486" y="122"/>
                    </a:lnTo>
                    <a:lnTo>
                      <a:pt x="484" y="124"/>
                    </a:lnTo>
                    <a:lnTo>
                      <a:pt x="484" y="126"/>
                    </a:lnTo>
                    <a:lnTo>
                      <a:pt x="482" y="126"/>
                    </a:lnTo>
                    <a:lnTo>
                      <a:pt x="482" y="128"/>
                    </a:lnTo>
                    <a:lnTo>
                      <a:pt x="480" y="130"/>
                    </a:lnTo>
                    <a:lnTo>
                      <a:pt x="480" y="132"/>
                    </a:lnTo>
                    <a:lnTo>
                      <a:pt x="478" y="132"/>
                    </a:lnTo>
                    <a:lnTo>
                      <a:pt x="476" y="134"/>
                    </a:lnTo>
                    <a:lnTo>
                      <a:pt x="474" y="134"/>
                    </a:lnTo>
                    <a:lnTo>
                      <a:pt x="472" y="134"/>
                    </a:lnTo>
                    <a:lnTo>
                      <a:pt x="470" y="136"/>
                    </a:lnTo>
                    <a:lnTo>
                      <a:pt x="468" y="136"/>
                    </a:lnTo>
                    <a:lnTo>
                      <a:pt x="464" y="136"/>
                    </a:lnTo>
                    <a:lnTo>
                      <a:pt x="462" y="138"/>
                    </a:lnTo>
                    <a:lnTo>
                      <a:pt x="460" y="138"/>
                    </a:lnTo>
                    <a:lnTo>
                      <a:pt x="458" y="138"/>
                    </a:lnTo>
                    <a:lnTo>
                      <a:pt x="456" y="140"/>
                    </a:lnTo>
                    <a:lnTo>
                      <a:pt x="454" y="140"/>
                    </a:lnTo>
                    <a:lnTo>
                      <a:pt x="450" y="140"/>
                    </a:lnTo>
                    <a:lnTo>
                      <a:pt x="452" y="142"/>
                    </a:lnTo>
                    <a:lnTo>
                      <a:pt x="454" y="142"/>
                    </a:lnTo>
                    <a:lnTo>
                      <a:pt x="454" y="144"/>
                    </a:lnTo>
                    <a:lnTo>
                      <a:pt x="456" y="144"/>
                    </a:lnTo>
                    <a:lnTo>
                      <a:pt x="450" y="146"/>
                    </a:lnTo>
                    <a:lnTo>
                      <a:pt x="446" y="148"/>
                    </a:lnTo>
                    <a:lnTo>
                      <a:pt x="442" y="150"/>
                    </a:lnTo>
                    <a:lnTo>
                      <a:pt x="440" y="150"/>
                    </a:lnTo>
                    <a:lnTo>
                      <a:pt x="436" y="152"/>
                    </a:lnTo>
                    <a:lnTo>
                      <a:pt x="434" y="154"/>
                    </a:lnTo>
                    <a:lnTo>
                      <a:pt x="432" y="154"/>
                    </a:lnTo>
                    <a:lnTo>
                      <a:pt x="430" y="154"/>
                    </a:lnTo>
                    <a:lnTo>
                      <a:pt x="430" y="156"/>
                    </a:lnTo>
                    <a:lnTo>
                      <a:pt x="428" y="156"/>
                    </a:lnTo>
                    <a:lnTo>
                      <a:pt x="430" y="158"/>
                    </a:lnTo>
                    <a:close/>
                    <a:moveTo>
                      <a:pt x="38" y="508"/>
                    </a:moveTo>
                    <a:lnTo>
                      <a:pt x="38" y="506"/>
                    </a:lnTo>
                    <a:lnTo>
                      <a:pt x="36" y="508"/>
                    </a:lnTo>
                    <a:lnTo>
                      <a:pt x="38" y="50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 name="Freeform 20">
                <a:extLst>
                  <a:ext uri="{FF2B5EF4-FFF2-40B4-BE49-F238E27FC236}">
                    <a16:creationId xmlns:a16="http://schemas.microsoft.com/office/drawing/2014/main" id="{7EBE2692-A209-4BDB-94ED-B69FA4B3012C}"/>
                  </a:ext>
                </a:extLst>
              </p:cNvPr>
              <p:cNvSpPr>
                <a:spLocks noChangeAspect="1"/>
              </p:cNvSpPr>
              <p:nvPr/>
            </p:nvSpPr>
            <p:spPr bwMode="auto">
              <a:xfrm>
                <a:off x="2092497" y="3476035"/>
                <a:ext cx="289407" cy="115102"/>
              </a:xfrm>
              <a:custGeom>
                <a:avLst/>
                <a:gdLst/>
                <a:ahLst/>
                <a:cxnLst>
                  <a:cxn ang="0">
                    <a:pos x="162" y="52"/>
                  </a:cxn>
                  <a:cxn ang="0">
                    <a:pos x="158" y="52"/>
                  </a:cxn>
                  <a:cxn ang="0">
                    <a:pos x="158" y="48"/>
                  </a:cxn>
                  <a:cxn ang="0">
                    <a:pos x="146" y="46"/>
                  </a:cxn>
                  <a:cxn ang="0">
                    <a:pos x="144" y="44"/>
                  </a:cxn>
                  <a:cxn ang="0">
                    <a:pos x="148" y="40"/>
                  </a:cxn>
                  <a:cxn ang="0">
                    <a:pos x="144" y="40"/>
                  </a:cxn>
                  <a:cxn ang="0">
                    <a:pos x="134" y="38"/>
                  </a:cxn>
                  <a:cxn ang="0">
                    <a:pos x="126" y="34"/>
                  </a:cxn>
                  <a:cxn ang="0">
                    <a:pos x="126" y="32"/>
                  </a:cxn>
                  <a:cxn ang="0">
                    <a:pos x="126" y="28"/>
                  </a:cxn>
                  <a:cxn ang="0">
                    <a:pos x="120" y="28"/>
                  </a:cxn>
                  <a:cxn ang="0">
                    <a:pos x="112" y="20"/>
                  </a:cxn>
                  <a:cxn ang="0">
                    <a:pos x="104" y="16"/>
                  </a:cxn>
                  <a:cxn ang="0">
                    <a:pos x="104" y="20"/>
                  </a:cxn>
                  <a:cxn ang="0">
                    <a:pos x="104" y="22"/>
                  </a:cxn>
                  <a:cxn ang="0">
                    <a:pos x="94" y="16"/>
                  </a:cxn>
                  <a:cxn ang="0">
                    <a:pos x="90" y="14"/>
                  </a:cxn>
                  <a:cxn ang="0">
                    <a:pos x="84" y="8"/>
                  </a:cxn>
                  <a:cxn ang="0">
                    <a:pos x="74" y="4"/>
                  </a:cxn>
                  <a:cxn ang="0">
                    <a:pos x="64" y="4"/>
                  </a:cxn>
                  <a:cxn ang="0">
                    <a:pos x="58" y="2"/>
                  </a:cxn>
                  <a:cxn ang="0">
                    <a:pos x="36" y="0"/>
                  </a:cxn>
                  <a:cxn ang="0">
                    <a:pos x="20" y="6"/>
                  </a:cxn>
                  <a:cxn ang="0">
                    <a:pos x="6" y="16"/>
                  </a:cxn>
                  <a:cxn ang="0">
                    <a:pos x="0" y="18"/>
                  </a:cxn>
                  <a:cxn ang="0">
                    <a:pos x="10" y="18"/>
                  </a:cxn>
                  <a:cxn ang="0">
                    <a:pos x="16" y="18"/>
                  </a:cxn>
                  <a:cxn ang="0">
                    <a:pos x="18" y="14"/>
                  </a:cxn>
                  <a:cxn ang="0">
                    <a:pos x="24" y="14"/>
                  </a:cxn>
                  <a:cxn ang="0">
                    <a:pos x="32" y="12"/>
                  </a:cxn>
                  <a:cxn ang="0">
                    <a:pos x="36" y="12"/>
                  </a:cxn>
                  <a:cxn ang="0">
                    <a:pos x="40" y="10"/>
                  </a:cxn>
                  <a:cxn ang="0">
                    <a:pos x="46" y="10"/>
                  </a:cxn>
                  <a:cxn ang="0">
                    <a:pos x="54" y="12"/>
                  </a:cxn>
                  <a:cxn ang="0">
                    <a:pos x="50" y="16"/>
                  </a:cxn>
                  <a:cxn ang="0">
                    <a:pos x="44" y="16"/>
                  </a:cxn>
                  <a:cxn ang="0">
                    <a:pos x="48" y="20"/>
                  </a:cxn>
                  <a:cxn ang="0">
                    <a:pos x="52" y="20"/>
                  </a:cxn>
                  <a:cxn ang="0">
                    <a:pos x="64" y="24"/>
                  </a:cxn>
                  <a:cxn ang="0">
                    <a:pos x="66" y="22"/>
                  </a:cxn>
                  <a:cxn ang="0">
                    <a:pos x="70" y="24"/>
                  </a:cxn>
                  <a:cxn ang="0">
                    <a:pos x="82" y="30"/>
                  </a:cxn>
                  <a:cxn ang="0">
                    <a:pos x="94" y="28"/>
                  </a:cxn>
                  <a:cxn ang="0">
                    <a:pos x="94" y="32"/>
                  </a:cxn>
                  <a:cxn ang="0">
                    <a:pos x="96" y="36"/>
                  </a:cxn>
                  <a:cxn ang="0">
                    <a:pos x="104" y="38"/>
                  </a:cxn>
                  <a:cxn ang="0">
                    <a:pos x="108" y="40"/>
                  </a:cxn>
                  <a:cxn ang="0">
                    <a:pos x="114" y="48"/>
                  </a:cxn>
                  <a:cxn ang="0">
                    <a:pos x="116" y="50"/>
                  </a:cxn>
                  <a:cxn ang="0">
                    <a:pos x="120" y="54"/>
                  </a:cxn>
                  <a:cxn ang="0">
                    <a:pos x="114" y="58"/>
                  </a:cxn>
                  <a:cxn ang="0">
                    <a:pos x="114" y="62"/>
                  </a:cxn>
                  <a:cxn ang="0">
                    <a:pos x="124" y="60"/>
                  </a:cxn>
                  <a:cxn ang="0">
                    <a:pos x="130" y="58"/>
                  </a:cxn>
                  <a:cxn ang="0">
                    <a:pos x="132" y="60"/>
                  </a:cxn>
                  <a:cxn ang="0">
                    <a:pos x="130" y="62"/>
                  </a:cxn>
                  <a:cxn ang="0">
                    <a:pos x="134" y="64"/>
                  </a:cxn>
                  <a:cxn ang="0">
                    <a:pos x="142" y="66"/>
                  </a:cxn>
                  <a:cxn ang="0">
                    <a:pos x="164" y="60"/>
                  </a:cxn>
                  <a:cxn ang="0">
                    <a:pos x="176" y="58"/>
                  </a:cxn>
                  <a:cxn ang="0">
                    <a:pos x="176" y="58"/>
                  </a:cxn>
                  <a:cxn ang="0">
                    <a:pos x="170" y="54"/>
                  </a:cxn>
                </a:cxnLst>
                <a:rect l="0" t="0" r="r" b="b"/>
                <a:pathLst>
                  <a:path w="176" h="66">
                    <a:moveTo>
                      <a:pt x="170" y="54"/>
                    </a:moveTo>
                    <a:lnTo>
                      <a:pt x="168" y="54"/>
                    </a:lnTo>
                    <a:lnTo>
                      <a:pt x="166" y="54"/>
                    </a:lnTo>
                    <a:lnTo>
                      <a:pt x="164" y="52"/>
                    </a:lnTo>
                    <a:lnTo>
                      <a:pt x="162" y="52"/>
                    </a:lnTo>
                    <a:lnTo>
                      <a:pt x="160" y="52"/>
                    </a:lnTo>
                    <a:lnTo>
                      <a:pt x="158" y="52"/>
                    </a:lnTo>
                    <a:lnTo>
                      <a:pt x="160" y="52"/>
                    </a:lnTo>
                    <a:lnTo>
                      <a:pt x="160" y="50"/>
                    </a:lnTo>
                    <a:lnTo>
                      <a:pt x="158" y="50"/>
                    </a:lnTo>
                    <a:lnTo>
                      <a:pt x="158" y="48"/>
                    </a:lnTo>
                    <a:lnTo>
                      <a:pt x="156" y="48"/>
                    </a:lnTo>
                    <a:lnTo>
                      <a:pt x="154" y="46"/>
                    </a:lnTo>
                    <a:lnTo>
                      <a:pt x="150" y="46"/>
                    </a:lnTo>
                    <a:lnTo>
                      <a:pt x="148" y="46"/>
                    </a:lnTo>
                    <a:lnTo>
                      <a:pt x="146" y="46"/>
                    </a:lnTo>
                    <a:lnTo>
                      <a:pt x="144" y="46"/>
                    </a:lnTo>
                    <a:lnTo>
                      <a:pt x="142" y="46"/>
                    </a:lnTo>
                    <a:lnTo>
                      <a:pt x="144" y="44"/>
                    </a:lnTo>
                    <a:lnTo>
                      <a:pt x="146" y="44"/>
                    </a:lnTo>
                    <a:lnTo>
                      <a:pt x="148" y="42"/>
                    </a:lnTo>
                    <a:lnTo>
                      <a:pt x="148" y="40"/>
                    </a:lnTo>
                    <a:lnTo>
                      <a:pt x="146" y="40"/>
                    </a:lnTo>
                    <a:lnTo>
                      <a:pt x="144" y="40"/>
                    </a:lnTo>
                    <a:lnTo>
                      <a:pt x="142" y="40"/>
                    </a:lnTo>
                    <a:lnTo>
                      <a:pt x="140" y="38"/>
                    </a:lnTo>
                    <a:lnTo>
                      <a:pt x="138" y="38"/>
                    </a:lnTo>
                    <a:lnTo>
                      <a:pt x="136" y="38"/>
                    </a:lnTo>
                    <a:lnTo>
                      <a:pt x="134" y="38"/>
                    </a:lnTo>
                    <a:lnTo>
                      <a:pt x="132" y="38"/>
                    </a:lnTo>
                    <a:lnTo>
                      <a:pt x="128" y="36"/>
                    </a:lnTo>
                    <a:lnTo>
                      <a:pt x="126" y="34"/>
                    </a:lnTo>
                    <a:lnTo>
                      <a:pt x="124" y="34"/>
                    </a:lnTo>
                    <a:lnTo>
                      <a:pt x="126" y="34"/>
                    </a:lnTo>
                    <a:lnTo>
                      <a:pt x="126" y="32"/>
                    </a:lnTo>
                    <a:lnTo>
                      <a:pt x="126" y="30"/>
                    </a:lnTo>
                    <a:lnTo>
                      <a:pt x="126" y="28"/>
                    </a:lnTo>
                    <a:lnTo>
                      <a:pt x="124" y="28"/>
                    </a:lnTo>
                    <a:lnTo>
                      <a:pt x="122" y="28"/>
                    </a:lnTo>
                    <a:lnTo>
                      <a:pt x="120" y="28"/>
                    </a:lnTo>
                    <a:lnTo>
                      <a:pt x="120" y="26"/>
                    </a:lnTo>
                    <a:lnTo>
                      <a:pt x="118" y="26"/>
                    </a:lnTo>
                    <a:lnTo>
                      <a:pt x="116" y="24"/>
                    </a:lnTo>
                    <a:lnTo>
                      <a:pt x="112" y="20"/>
                    </a:lnTo>
                    <a:lnTo>
                      <a:pt x="110" y="18"/>
                    </a:lnTo>
                    <a:lnTo>
                      <a:pt x="106" y="16"/>
                    </a:lnTo>
                    <a:lnTo>
                      <a:pt x="104" y="16"/>
                    </a:lnTo>
                    <a:lnTo>
                      <a:pt x="102" y="16"/>
                    </a:lnTo>
                    <a:lnTo>
                      <a:pt x="102" y="18"/>
                    </a:lnTo>
                    <a:lnTo>
                      <a:pt x="104" y="20"/>
                    </a:lnTo>
                    <a:lnTo>
                      <a:pt x="106" y="22"/>
                    </a:lnTo>
                    <a:lnTo>
                      <a:pt x="106" y="24"/>
                    </a:lnTo>
                    <a:lnTo>
                      <a:pt x="104" y="22"/>
                    </a:lnTo>
                    <a:lnTo>
                      <a:pt x="102" y="20"/>
                    </a:lnTo>
                    <a:lnTo>
                      <a:pt x="100" y="20"/>
                    </a:lnTo>
                    <a:lnTo>
                      <a:pt x="98" y="18"/>
                    </a:lnTo>
                    <a:lnTo>
                      <a:pt x="96" y="18"/>
                    </a:lnTo>
                    <a:lnTo>
                      <a:pt x="94" y="16"/>
                    </a:lnTo>
                    <a:lnTo>
                      <a:pt x="92" y="16"/>
                    </a:lnTo>
                    <a:lnTo>
                      <a:pt x="90" y="14"/>
                    </a:lnTo>
                    <a:lnTo>
                      <a:pt x="88" y="14"/>
                    </a:lnTo>
                    <a:lnTo>
                      <a:pt x="88" y="12"/>
                    </a:lnTo>
                    <a:lnTo>
                      <a:pt x="86" y="10"/>
                    </a:lnTo>
                    <a:lnTo>
                      <a:pt x="84" y="8"/>
                    </a:lnTo>
                    <a:lnTo>
                      <a:pt x="82" y="6"/>
                    </a:lnTo>
                    <a:lnTo>
                      <a:pt x="80" y="6"/>
                    </a:lnTo>
                    <a:lnTo>
                      <a:pt x="78" y="4"/>
                    </a:lnTo>
                    <a:lnTo>
                      <a:pt x="76" y="4"/>
                    </a:lnTo>
                    <a:lnTo>
                      <a:pt x="74" y="4"/>
                    </a:lnTo>
                    <a:lnTo>
                      <a:pt x="70" y="4"/>
                    </a:lnTo>
                    <a:lnTo>
                      <a:pt x="68" y="4"/>
                    </a:lnTo>
                    <a:lnTo>
                      <a:pt x="66" y="4"/>
                    </a:lnTo>
                    <a:lnTo>
                      <a:pt x="64" y="4"/>
                    </a:lnTo>
                    <a:lnTo>
                      <a:pt x="62" y="4"/>
                    </a:lnTo>
                    <a:lnTo>
                      <a:pt x="60" y="2"/>
                    </a:lnTo>
                    <a:lnTo>
                      <a:pt x="58" y="2"/>
                    </a:lnTo>
                    <a:lnTo>
                      <a:pt x="54" y="2"/>
                    </a:lnTo>
                    <a:lnTo>
                      <a:pt x="50" y="0"/>
                    </a:lnTo>
                    <a:lnTo>
                      <a:pt x="46" y="0"/>
                    </a:lnTo>
                    <a:lnTo>
                      <a:pt x="42" y="0"/>
                    </a:lnTo>
                    <a:lnTo>
                      <a:pt x="36" y="0"/>
                    </a:lnTo>
                    <a:lnTo>
                      <a:pt x="34" y="0"/>
                    </a:lnTo>
                    <a:lnTo>
                      <a:pt x="30" y="2"/>
                    </a:lnTo>
                    <a:lnTo>
                      <a:pt x="26" y="2"/>
                    </a:lnTo>
                    <a:lnTo>
                      <a:pt x="24" y="4"/>
                    </a:lnTo>
                    <a:lnTo>
                      <a:pt x="20" y="6"/>
                    </a:lnTo>
                    <a:lnTo>
                      <a:pt x="16" y="8"/>
                    </a:lnTo>
                    <a:lnTo>
                      <a:pt x="14" y="10"/>
                    </a:lnTo>
                    <a:lnTo>
                      <a:pt x="10" y="12"/>
                    </a:lnTo>
                    <a:lnTo>
                      <a:pt x="8" y="14"/>
                    </a:lnTo>
                    <a:lnTo>
                      <a:pt x="6" y="16"/>
                    </a:lnTo>
                    <a:lnTo>
                      <a:pt x="4" y="16"/>
                    </a:lnTo>
                    <a:lnTo>
                      <a:pt x="0" y="18"/>
                    </a:lnTo>
                    <a:lnTo>
                      <a:pt x="2" y="18"/>
                    </a:lnTo>
                    <a:lnTo>
                      <a:pt x="6" y="18"/>
                    </a:lnTo>
                    <a:lnTo>
                      <a:pt x="8" y="18"/>
                    </a:lnTo>
                    <a:lnTo>
                      <a:pt x="10" y="18"/>
                    </a:lnTo>
                    <a:lnTo>
                      <a:pt x="12" y="18"/>
                    </a:lnTo>
                    <a:lnTo>
                      <a:pt x="14" y="18"/>
                    </a:lnTo>
                    <a:lnTo>
                      <a:pt x="16" y="18"/>
                    </a:lnTo>
                    <a:lnTo>
                      <a:pt x="18" y="18"/>
                    </a:lnTo>
                    <a:lnTo>
                      <a:pt x="18" y="16"/>
                    </a:lnTo>
                    <a:lnTo>
                      <a:pt x="18" y="14"/>
                    </a:lnTo>
                    <a:lnTo>
                      <a:pt x="20" y="14"/>
                    </a:lnTo>
                    <a:lnTo>
                      <a:pt x="24" y="14"/>
                    </a:lnTo>
                    <a:lnTo>
                      <a:pt x="26" y="12"/>
                    </a:lnTo>
                    <a:lnTo>
                      <a:pt x="28" y="12"/>
                    </a:lnTo>
                    <a:lnTo>
                      <a:pt x="30" y="12"/>
                    </a:lnTo>
                    <a:lnTo>
                      <a:pt x="32" y="12"/>
                    </a:lnTo>
                    <a:lnTo>
                      <a:pt x="34" y="12"/>
                    </a:lnTo>
                    <a:lnTo>
                      <a:pt x="36" y="12"/>
                    </a:lnTo>
                    <a:lnTo>
                      <a:pt x="38" y="10"/>
                    </a:lnTo>
                    <a:lnTo>
                      <a:pt x="40" y="10"/>
                    </a:lnTo>
                    <a:lnTo>
                      <a:pt x="42" y="10"/>
                    </a:lnTo>
                    <a:lnTo>
                      <a:pt x="44" y="10"/>
                    </a:lnTo>
                    <a:lnTo>
                      <a:pt x="46" y="10"/>
                    </a:lnTo>
                    <a:lnTo>
                      <a:pt x="48" y="10"/>
                    </a:lnTo>
                    <a:lnTo>
                      <a:pt x="50" y="10"/>
                    </a:lnTo>
                    <a:lnTo>
                      <a:pt x="52" y="10"/>
                    </a:lnTo>
                    <a:lnTo>
                      <a:pt x="54" y="12"/>
                    </a:lnTo>
                    <a:lnTo>
                      <a:pt x="54" y="14"/>
                    </a:lnTo>
                    <a:lnTo>
                      <a:pt x="52" y="14"/>
                    </a:lnTo>
                    <a:lnTo>
                      <a:pt x="50" y="16"/>
                    </a:lnTo>
                    <a:lnTo>
                      <a:pt x="48" y="16"/>
                    </a:lnTo>
                    <a:lnTo>
                      <a:pt x="46" y="16"/>
                    </a:lnTo>
                    <a:lnTo>
                      <a:pt x="44" y="16"/>
                    </a:lnTo>
                    <a:lnTo>
                      <a:pt x="46" y="18"/>
                    </a:lnTo>
                    <a:lnTo>
                      <a:pt x="48" y="18"/>
                    </a:lnTo>
                    <a:lnTo>
                      <a:pt x="48" y="20"/>
                    </a:lnTo>
                    <a:lnTo>
                      <a:pt x="50" y="20"/>
                    </a:lnTo>
                    <a:lnTo>
                      <a:pt x="52" y="20"/>
                    </a:lnTo>
                    <a:lnTo>
                      <a:pt x="54" y="22"/>
                    </a:lnTo>
                    <a:lnTo>
                      <a:pt x="56" y="22"/>
                    </a:lnTo>
                    <a:lnTo>
                      <a:pt x="60" y="24"/>
                    </a:lnTo>
                    <a:lnTo>
                      <a:pt x="62" y="24"/>
                    </a:lnTo>
                    <a:lnTo>
                      <a:pt x="64" y="24"/>
                    </a:lnTo>
                    <a:lnTo>
                      <a:pt x="66" y="24"/>
                    </a:lnTo>
                    <a:lnTo>
                      <a:pt x="66" y="22"/>
                    </a:lnTo>
                    <a:lnTo>
                      <a:pt x="68" y="22"/>
                    </a:lnTo>
                    <a:lnTo>
                      <a:pt x="68" y="24"/>
                    </a:lnTo>
                    <a:lnTo>
                      <a:pt x="70" y="24"/>
                    </a:lnTo>
                    <a:lnTo>
                      <a:pt x="72" y="26"/>
                    </a:lnTo>
                    <a:lnTo>
                      <a:pt x="74" y="28"/>
                    </a:lnTo>
                    <a:lnTo>
                      <a:pt x="78" y="28"/>
                    </a:lnTo>
                    <a:lnTo>
                      <a:pt x="80" y="30"/>
                    </a:lnTo>
                    <a:lnTo>
                      <a:pt x="82" y="30"/>
                    </a:lnTo>
                    <a:lnTo>
                      <a:pt x="86" y="30"/>
                    </a:lnTo>
                    <a:lnTo>
                      <a:pt x="88" y="30"/>
                    </a:lnTo>
                    <a:lnTo>
                      <a:pt x="92" y="28"/>
                    </a:lnTo>
                    <a:lnTo>
                      <a:pt x="94" y="28"/>
                    </a:lnTo>
                    <a:lnTo>
                      <a:pt x="96" y="28"/>
                    </a:lnTo>
                    <a:lnTo>
                      <a:pt x="94" y="30"/>
                    </a:lnTo>
                    <a:lnTo>
                      <a:pt x="94" y="32"/>
                    </a:lnTo>
                    <a:lnTo>
                      <a:pt x="94" y="34"/>
                    </a:lnTo>
                    <a:lnTo>
                      <a:pt x="96" y="36"/>
                    </a:lnTo>
                    <a:lnTo>
                      <a:pt x="98" y="36"/>
                    </a:lnTo>
                    <a:lnTo>
                      <a:pt x="100" y="38"/>
                    </a:lnTo>
                    <a:lnTo>
                      <a:pt x="102" y="38"/>
                    </a:lnTo>
                    <a:lnTo>
                      <a:pt x="104" y="38"/>
                    </a:lnTo>
                    <a:lnTo>
                      <a:pt x="106" y="40"/>
                    </a:lnTo>
                    <a:lnTo>
                      <a:pt x="108" y="40"/>
                    </a:lnTo>
                    <a:lnTo>
                      <a:pt x="110" y="44"/>
                    </a:lnTo>
                    <a:lnTo>
                      <a:pt x="110" y="46"/>
                    </a:lnTo>
                    <a:lnTo>
                      <a:pt x="112" y="48"/>
                    </a:lnTo>
                    <a:lnTo>
                      <a:pt x="114" y="48"/>
                    </a:lnTo>
                    <a:lnTo>
                      <a:pt x="114" y="50"/>
                    </a:lnTo>
                    <a:lnTo>
                      <a:pt x="116" y="50"/>
                    </a:lnTo>
                    <a:lnTo>
                      <a:pt x="118" y="52"/>
                    </a:lnTo>
                    <a:lnTo>
                      <a:pt x="120" y="52"/>
                    </a:lnTo>
                    <a:lnTo>
                      <a:pt x="120" y="54"/>
                    </a:lnTo>
                    <a:lnTo>
                      <a:pt x="118" y="54"/>
                    </a:lnTo>
                    <a:lnTo>
                      <a:pt x="118" y="56"/>
                    </a:lnTo>
                    <a:lnTo>
                      <a:pt x="116" y="56"/>
                    </a:lnTo>
                    <a:lnTo>
                      <a:pt x="114" y="58"/>
                    </a:lnTo>
                    <a:lnTo>
                      <a:pt x="112" y="60"/>
                    </a:lnTo>
                    <a:lnTo>
                      <a:pt x="112" y="62"/>
                    </a:lnTo>
                    <a:lnTo>
                      <a:pt x="114" y="62"/>
                    </a:lnTo>
                    <a:lnTo>
                      <a:pt x="116" y="62"/>
                    </a:lnTo>
                    <a:lnTo>
                      <a:pt x="118" y="62"/>
                    </a:lnTo>
                    <a:lnTo>
                      <a:pt x="120" y="62"/>
                    </a:lnTo>
                    <a:lnTo>
                      <a:pt x="122" y="60"/>
                    </a:lnTo>
                    <a:lnTo>
                      <a:pt x="124" y="60"/>
                    </a:lnTo>
                    <a:lnTo>
                      <a:pt x="126" y="58"/>
                    </a:lnTo>
                    <a:lnTo>
                      <a:pt x="128" y="58"/>
                    </a:lnTo>
                    <a:lnTo>
                      <a:pt x="130" y="58"/>
                    </a:lnTo>
                    <a:lnTo>
                      <a:pt x="132" y="58"/>
                    </a:lnTo>
                    <a:lnTo>
                      <a:pt x="132" y="60"/>
                    </a:lnTo>
                    <a:lnTo>
                      <a:pt x="130" y="60"/>
                    </a:lnTo>
                    <a:lnTo>
                      <a:pt x="130" y="62"/>
                    </a:lnTo>
                    <a:lnTo>
                      <a:pt x="132" y="64"/>
                    </a:lnTo>
                    <a:lnTo>
                      <a:pt x="134" y="64"/>
                    </a:lnTo>
                    <a:lnTo>
                      <a:pt x="134" y="66"/>
                    </a:lnTo>
                    <a:lnTo>
                      <a:pt x="136" y="66"/>
                    </a:lnTo>
                    <a:lnTo>
                      <a:pt x="138" y="66"/>
                    </a:lnTo>
                    <a:lnTo>
                      <a:pt x="142" y="66"/>
                    </a:lnTo>
                    <a:lnTo>
                      <a:pt x="144" y="66"/>
                    </a:lnTo>
                    <a:lnTo>
                      <a:pt x="148" y="64"/>
                    </a:lnTo>
                    <a:lnTo>
                      <a:pt x="152" y="64"/>
                    </a:lnTo>
                    <a:lnTo>
                      <a:pt x="160" y="62"/>
                    </a:lnTo>
                    <a:lnTo>
                      <a:pt x="164" y="60"/>
                    </a:lnTo>
                    <a:lnTo>
                      <a:pt x="168" y="60"/>
                    </a:lnTo>
                    <a:lnTo>
                      <a:pt x="172" y="60"/>
                    </a:lnTo>
                    <a:lnTo>
                      <a:pt x="174" y="58"/>
                    </a:lnTo>
                    <a:lnTo>
                      <a:pt x="176" y="58"/>
                    </a:lnTo>
                    <a:lnTo>
                      <a:pt x="176" y="56"/>
                    </a:lnTo>
                    <a:lnTo>
                      <a:pt x="174" y="56"/>
                    </a:lnTo>
                    <a:lnTo>
                      <a:pt x="174" y="54"/>
                    </a:lnTo>
                    <a:lnTo>
                      <a:pt x="172" y="54"/>
                    </a:lnTo>
                    <a:lnTo>
                      <a:pt x="170" y="5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 name="Freeform 34">
                <a:extLst>
                  <a:ext uri="{FF2B5EF4-FFF2-40B4-BE49-F238E27FC236}">
                    <a16:creationId xmlns:a16="http://schemas.microsoft.com/office/drawing/2014/main" id="{F0D40A19-78CD-4798-9570-918918AD2B3F}"/>
                  </a:ext>
                </a:extLst>
              </p:cNvPr>
              <p:cNvSpPr>
                <a:spLocks noChangeAspect="1"/>
              </p:cNvSpPr>
              <p:nvPr/>
            </p:nvSpPr>
            <p:spPr bwMode="auto">
              <a:xfrm>
                <a:off x="587907" y="2420936"/>
                <a:ext cx="52620" cy="24416"/>
              </a:xfrm>
              <a:custGeom>
                <a:avLst/>
                <a:gdLst/>
                <a:ahLst/>
                <a:cxnLst>
                  <a:cxn ang="0">
                    <a:pos x="28" y="0"/>
                  </a:cxn>
                  <a:cxn ang="0">
                    <a:pos x="26" y="0"/>
                  </a:cxn>
                  <a:cxn ang="0">
                    <a:pos x="24" y="2"/>
                  </a:cxn>
                  <a:cxn ang="0">
                    <a:pos x="18" y="2"/>
                  </a:cxn>
                  <a:cxn ang="0">
                    <a:pos x="16" y="4"/>
                  </a:cxn>
                  <a:cxn ang="0">
                    <a:pos x="14" y="4"/>
                  </a:cxn>
                  <a:cxn ang="0">
                    <a:pos x="14" y="4"/>
                  </a:cxn>
                  <a:cxn ang="0">
                    <a:pos x="14" y="4"/>
                  </a:cxn>
                  <a:cxn ang="0">
                    <a:pos x="14" y="4"/>
                  </a:cxn>
                  <a:cxn ang="0">
                    <a:pos x="14" y="4"/>
                  </a:cxn>
                  <a:cxn ang="0">
                    <a:pos x="14" y="6"/>
                  </a:cxn>
                  <a:cxn ang="0">
                    <a:pos x="12" y="6"/>
                  </a:cxn>
                  <a:cxn ang="0">
                    <a:pos x="10" y="6"/>
                  </a:cxn>
                  <a:cxn ang="0">
                    <a:pos x="6" y="8"/>
                  </a:cxn>
                  <a:cxn ang="0">
                    <a:pos x="4" y="10"/>
                  </a:cxn>
                  <a:cxn ang="0">
                    <a:pos x="2" y="10"/>
                  </a:cxn>
                  <a:cxn ang="0">
                    <a:pos x="0" y="12"/>
                  </a:cxn>
                  <a:cxn ang="0">
                    <a:pos x="0" y="12"/>
                  </a:cxn>
                  <a:cxn ang="0">
                    <a:pos x="0" y="12"/>
                  </a:cxn>
                  <a:cxn ang="0">
                    <a:pos x="0" y="14"/>
                  </a:cxn>
                  <a:cxn ang="0">
                    <a:pos x="2" y="14"/>
                  </a:cxn>
                  <a:cxn ang="0">
                    <a:pos x="2" y="14"/>
                  </a:cxn>
                  <a:cxn ang="0">
                    <a:pos x="4" y="14"/>
                  </a:cxn>
                  <a:cxn ang="0">
                    <a:pos x="6" y="14"/>
                  </a:cxn>
                  <a:cxn ang="0">
                    <a:pos x="8" y="14"/>
                  </a:cxn>
                  <a:cxn ang="0">
                    <a:pos x="14" y="12"/>
                  </a:cxn>
                  <a:cxn ang="0">
                    <a:pos x="16" y="10"/>
                  </a:cxn>
                  <a:cxn ang="0">
                    <a:pos x="18" y="10"/>
                  </a:cxn>
                  <a:cxn ang="0">
                    <a:pos x="20" y="10"/>
                  </a:cxn>
                  <a:cxn ang="0">
                    <a:pos x="22" y="10"/>
                  </a:cxn>
                  <a:cxn ang="0">
                    <a:pos x="24" y="12"/>
                  </a:cxn>
                  <a:cxn ang="0">
                    <a:pos x="26" y="12"/>
                  </a:cxn>
                  <a:cxn ang="0">
                    <a:pos x="28" y="12"/>
                  </a:cxn>
                  <a:cxn ang="0">
                    <a:pos x="30" y="10"/>
                  </a:cxn>
                  <a:cxn ang="0">
                    <a:pos x="30" y="10"/>
                  </a:cxn>
                  <a:cxn ang="0">
                    <a:pos x="32" y="8"/>
                  </a:cxn>
                  <a:cxn ang="0">
                    <a:pos x="32" y="6"/>
                  </a:cxn>
                  <a:cxn ang="0">
                    <a:pos x="32" y="4"/>
                  </a:cxn>
                  <a:cxn ang="0">
                    <a:pos x="32" y="4"/>
                  </a:cxn>
                  <a:cxn ang="0">
                    <a:pos x="30" y="2"/>
                  </a:cxn>
                  <a:cxn ang="0">
                    <a:pos x="30" y="2"/>
                  </a:cxn>
                  <a:cxn ang="0">
                    <a:pos x="28" y="0"/>
                  </a:cxn>
                  <a:cxn ang="0">
                    <a:pos x="28" y="0"/>
                  </a:cxn>
                  <a:cxn ang="0">
                    <a:pos x="28" y="0"/>
                  </a:cxn>
                </a:cxnLst>
                <a:rect l="0" t="0" r="r" b="b"/>
                <a:pathLst>
                  <a:path w="32" h="14">
                    <a:moveTo>
                      <a:pt x="28" y="0"/>
                    </a:moveTo>
                    <a:lnTo>
                      <a:pt x="26" y="0"/>
                    </a:lnTo>
                    <a:lnTo>
                      <a:pt x="24" y="2"/>
                    </a:lnTo>
                    <a:lnTo>
                      <a:pt x="18" y="2"/>
                    </a:lnTo>
                    <a:lnTo>
                      <a:pt x="16" y="4"/>
                    </a:lnTo>
                    <a:lnTo>
                      <a:pt x="14" y="4"/>
                    </a:lnTo>
                    <a:lnTo>
                      <a:pt x="14" y="6"/>
                    </a:lnTo>
                    <a:lnTo>
                      <a:pt x="12" y="6"/>
                    </a:lnTo>
                    <a:lnTo>
                      <a:pt x="10" y="6"/>
                    </a:lnTo>
                    <a:lnTo>
                      <a:pt x="6" y="8"/>
                    </a:lnTo>
                    <a:lnTo>
                      <a:pt x="4" y="10"/>
                    </a:lnTo>
                    <a:lnTo>
                      <a:pt x="2" y="10"/>
                    </a:lnTo>
                    <a:lnTo>
                      <a:pt x="0" y="12"/>
                    </a:lnTo>
                    <a:lnTo>
                      <a:pt x="0" y="14"/>
                    </a:lnTo>
                    <a:lnTo>
                      <a:pt x="2" y="14"/>
                    </a:lnTo>
                    <a:lnTo>
                      <a:pt x="4" y="14"/>
                    </a:lnTo>
                    <a:lnTo>
                      <a:pt x="6" y="14"/>
                    </a:lnTo>
                    <a:lnTo>
                      <a:pt x="8" y="14"/>
                    </a:lnTo>
                    <a:lnTo>
                      <a:pt x="14" y="12"/>
                    </a:lnTo>
                    <a:lnTo>
                      <a:pt x="16" y="10"/>
                    </a:lnTo>
                    <a:lnTo>
                      <a:pt x="18" y="10"/>
                    </a:lnTo>
                    <a:lnTo>
                      <a:pt x="20" y="10"/>
                    </a:lnTo>
                    <a:lnTo>
                      <a:pt x="22" y="10"/>
                    </a:lnTo>
                    <a:lnTo>
                      <a:pt x="24" y="12"/>
                    </a:lnTo>
                    <a:lnTo>
                      <a:pt x="26" y="12"/>
                    </a:lnTo>
                    <a:lnTo>
                      <a:pt x="28" y="12"/>
                    </a:lnTo>
                    <a:lnTo>
                      <a:pt x="30" y="10"/>
                    </a:lnTo>
                    <a:lnTo>
                      <a:pt x="32" y="8"/>
                    </a:lnTo>
                    <a:lnTo>
                      <a:pt x="32" y="6"/>
                    </a:lnTo>
                    <a:lnTo>
                      <a:pt x="32" y="4"/>
                    </a:lnTo>
                    <a:lnTo>
                      <a:pt x="30" y="2"/>
                    </a:lnTo>
                    <a:lnTo>
                      <a:pt x="28"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 name="Freeform 35">
                <a:extLst>
                  <a:ext uri="{FF2B5EF4-FFF2-40B4-BE49-F238E27FC236}">
                    <a16:creationId xmlns:a16="http://schemas.microsoft.com/office/drawing/2014/main" id="{97FC920F-7937-48AC-A636-348F3111043B}"/>
                  </a:ext>
                </a:extLst>
              </p:cNvPr>
              <p:cNvSpPr>
                <a:spLocks noChangeAspect="1"/>
              </p:cNvSpPr>
              <p:nvPr/>
            </p:nvSpPr>
            <p:spPr bwMode="auto">
              <a:xfrm>
                <a:off x="916779" y="2333738"/>
                <a:ext cx="69063" cy="27904"/>
              </a:xfrm>
              <a:custGeom>
                <a:avLst/>
                <a:gdLst/>
                <a:ahLst/>
                <a:cxnLst>
                  <a:cxn ang="0">
                    <a:pos x="34" y="0"/>
                  </a:cxn>
                  <a:cxn ang="0">
                    <a:pos x="30" y="2"/>
                  </a:cxn>
                  <a:cxn ang="0">
                    <a:pos x="30" y="2"/>
                  </a:cxn>
                  <a:cxn ang="0">
                    <a:pos x="30" y="2"/>
                  </a:cxn>
                  <a:cxn ang="0">
                    <a:pos x="28" y="2"/>
                  </a:cxn>
                  <a:cxn ang="0">
                    <a:pos x="26" y="0"/>
                  </a:cxn>
                  <a:cxn ang="0">
                    <a:pos x="24" y="0"/>
                  </a:cxn>
                  <a:cxn ang="0">
                    <a:pos x="24" y="0"/>
                  </a:cxn>
                  <a:cxn ang="0">
                    <a:pos x="22" y="4"/>
                  </a:cxn>
                  <a:cxn ang="0">
                    <a:pos x="22" y="6"/>
                  </a:cxn>
                  <a:cxn ang="0">
                    <a:pos x="20" y="8"/>
                  </a:cxn>
                  <a:cxn ang="0">
                    <a:pos x="18" y="10"/>
                  </a:cxn>
                  <a:cxn ang="0">
                    <a:pos x="18" y="10"/>
                  </a:cxn>
                  <a:cxn ang="0">
                    <a:pos x="16" y="10"/>
                  </a:cxn>
                  <a:cxn ang="0">
                    <a:pos x="16" y="6"/>
                  </a:cxn>
                  <a:cxn ang="0">
                    <a:pos x="16" y="4"/>
                  </a:cxn>
                  <a:cxn ang="0">
                    <a:pos x="16" y="4"/>
                  </a:cxn>
                  <a:cxn ang="0">
                    <a:pos x="16" y="4"/>
                  </a:cxn>
                  <a:cxn ang="0">
                    <a:pos x="14" y="4"/>
                  </a:cxn>
                  <a:cxn ang="0">
                    <a:pos x="12" y="4"/>
                  </a:cxn>
                  <a:cxn ang="0">
                    <a:pos x="8" y="6"/>
                  </a:cxn>
                  <a:cxn ang="0">
                    <a:pos x="6" y="8"/>
                  </a:cxn>
                  <a:cxn ang="0">
                    <a:pos x="6" y="8"/>
                  </a:cxn>
                  <a:cxn ang="0">
                    <a:pos x="2" y="12"/>
                  </a:cxn>
                  <a:cxn ang="0">
                    <a:pos x="0" y="14"/>
                  </a:cxn>
                  <a:cxn ang="0">
                    <a:pos x="0" y="16"/>
                  </a:cxn>
                  <a:cxn ang="0">
                    <a:pos x="4" y="16"/>
                  </a:cxn>
                  <a:cxn ang="0">
                    <a:pos x="6" y="16"/>
                  </a:cxn>
                  <a:cxn ang="0">
                    <a:pos x="6" y="16"/>
                  </a:cxn>
                  <a:cxn ang="0">
                    <a:pos x="6" y="16"/>
                  </a:cxn>
                  <a:cxn ang="0">
                    <a:pos x="10" y="16"/>
                  </a:cxn>
                  <a:cxn ang="0">
                    <a:pos x="18" y="16"/>
                  </a:cxn>
                  <a:cxn ang="0">
                    <a:pos x="22" y="16"/>
                  </a:cxn>
                  <a:cxn ang="0">
                    <a:pos x="24" y="14"/>
                  </a:cxn>
                  <a:cxn ang="0">
                    <a:pos x="26" y="12"/>
                  </a:cxn>
                  <a:cxn ang="0">
                    <a:pos x="26" y="10"/>
                  </a:cxn>
                  <a:cxn ang="0">
                    <a:pos x="28" y="10"/>
                  </a:cxn>
                  <a:cxn ang="0">
                    <a:pos x="30" y="10"/>
                  </a:cxn>
                  <a:cxn ang="0">
                    <a:pos x="30" y="10"/>
                  </a:cxn>
                  <a:cxn ang="0">
                    <a:pos x="30" y="8"/>
                  </a:cxn>
                  <a:cxn ang="0">
                    <a:pos x="32" y="8"/>
                  </a:cxn>
                  <a:cxn ang="0">
                    <a:pos x="34" y="8"/>
                  </a:cxn>
                  <a:cxn ang="0">
                    <a:pos x="38" y="6"/>
                  </a:cxn>
                  <a:cxn ang="0">
                    <a:pos x="40" y="6"/>
                  </a:cxn>
                  <a:cxn ang="0">
                    <a:pos x="40" y="6"/>
                  </a:cxn>
                  <a:cxn ang="0">
                    <a:pos x="42" y="4"/>
                  </a:cxn>
                  <a:cxn ang="0">
                    <a:pos x="42" y="2"/>
                  </a:cxn>
                  <a:cxn ang="0">
                    <a:pos x="42" y="0"/>
                  </a:cxn>
                  <a:cxn ang="0">
                    <a:pos x="42" y="2"/>
                  </a:cxn>
                  <a:cxn ang="0">
                    <a:pos x="40" y="2"/>
                  </a:cxn>
                  <a:cxn ang="0">
                    <a:pos x="38" y="2"/>
                  </a:cxn>
                  <a:cxn ang="0">
                    <a:pos x="38" y="2"/>
                  </a:cxn>
                  <a:cxn ang="0">
                    <a:pos x="36" y="0"/>
                  </a:cxn>
                  <a:cxn ang="0">
                    <a:pos x="34" y="0"/>
                  </a:cxn>
                  <a:cxn ang="0">
                    <a:pos x="34" y="0"/>
                  </a:cxn>
                </a:cxnLst>
                <a:rect l="0" t="0" r="r" b="b"/>
                <a:pathLst>
                  <a:path w="42" h="16">
                    <a:moveTo>
                      <a:pt x="34" y="0"/>
                    </a:moveTo>
                    <a:lnTo>
                      <a:pt x="34" y="0"/>
                    </a:lnTo>
                    <a:lnTo>
                      <a:pt x="32" y="0"/>
                    </a:lnTo>
                    <a:lnTo>
                      <a:pt x="30" y="2"/>
                    </a:lnTo>
                    <a:lnTo>
                      <a:pt x="28" y="2"/>
                    </a:lnTo>
                    <a:lnTo>
                      <a:pt x="28" y="0"/>
                    </a:lnTo>
                    <a:lnTo>
                      <a:pt x="26" y="0"/>
                    </a:lnTo>
                    <a:lnTo>
                      <a:pt x="24" y="0"/>
                    </a:lnTo>
                    <a:lnTo>
                      <a:pt x="22" y="2"/>
                    </a:lnTo>
                    <a:lnTo>
                      <a:pt x="22" y="4"/>
                    </a:lnTo>
                    <a:lnTo>
                      <a:pt x="22" y="6"/>
                    </a:lnTo>
                    <a:lnTo>
                      <a:pt x="20" y="8"/>
                    </a:lnTo>
                    <a:lnTo>
                      <a:pt x="18" y="10"/>
                    </a:lnTo>
                    <a:lnTo>
                      <a:pt x="16" y="10"/>
                    </a:lnTo>
                    <a:lnTo>
                      <a:pt x="16" y="8"/>
                    </a:lnTo>
                    <a:lnTo>
                      <a:pt x="16" y="6"/>
                    </a:lnTo>
                    <a:lnTo>
                      <a:pt x="16" y="4"/>
                    </a:lnTo>
                    <a:lnTo>
                      <a:pt x="14" y="4"/>
                    </a:lnTo>
                    <a:lnTo>
                      <a:pt x="12" y="4"/>
                    </a:lnTo>
                    <a:lnTo>
                      <a:pt x="10" y="4"/>
                    </a:lnTo>
                    <a:lnTo>
                      <a:pt x="8" y="6"/>
                    </a:lnTo>
                    <a:lnTo>
                      <a:pt x="6" y="6"/>
                    </a:lnTo>
                    <a:lnTo>
                      <a:pt x="6" y="8"/>
                    </a:lnTo>
                    <a:lnTo>
                      <a:pt x="4" y="10"/>
                    </a:lnTo>
                    <a:lnTo>
                      <a:pt x="2" y="12"/>
                    </a:lnTo>
                    <a:lnTo>
                      <a:pt x="0" y="12"/>
                    </a:lnTo>
                    <a:lnTo>
                      <a:pt x="0" y="14"/>
                    </a:lnTo>
                    <a:lnTo>
                      <a:pt x="0" y="16"/>
                    </a:lnTo>
                    <a:lnTo>
                      <a:pt x="2" y="16"/>
                    </a:lnTo>
                    <a:lnTo>
                      <a:pt x="4" y="16"/>
                    </a:lnTo>
                    <a:lnTo>
                      <a:pt x="6" y="16"/>
                    </a:lnTo>
                    <a:lnTo>
                      <a:pt x="8" y="16"/>
                    </a:lnTo>
                    <a:lnTo>
                      <a:pt x="10" y="16"/>
                    </a:lnTo>
                    <a:lnTo>
                      <a:pt x="12" y="16"/>
                    </a:lnTo>
                    <a:lnTo>
                      <a:pt x="18" y="16"/>
                    </a:lnTo>
                    <a:lnTo>
                      <a:pt x="20" y="16"/>
                    </a:lnTo>
                    <a:lnTo>
                      <a:pt x="22" y="16"/>
                    </a:lnTo>
                    <a:lnTo>
                      <a:pt x="24" y="14"/>
                    </a:lnTo>
                    <a:lnTo>
                      <a:pt x="24" y="12"/>
                    </a:lnTo>
                    <a:lnTo>
                      <a:pt x="26" y="12"/>
                    </a:lnTo>
                    <a:lnTo>
                      <a:pt x="26" y="10"/>
                    </a:lnTo>
                    <a:lnTo>
                      <a:pt x="28" y="10"/>
                    </a:lnTo>
                    <a:lnTo>
                      <a:pt x="30" y="10"/>
                    </a:lnTo>
                    <a:lnTo>
                      <a:pt x="30" y="8"/>
                    </a:lnTo>
                    <a:lnTo>
                      <a:pt x="32" y="8"/>
                    </a:lnTo>
                    <a:lnTo>
                      <a:pt x="34" y="8"/>
                    </a:lnTo>
                    <a:lnTo>
                      <a:pt x="36" y="8"/>
                    </a:lnTo>
                    <a:lnTo>
                      <a:pt x="38" y="6"/>
                    </a:lnTo>
                    <a:lnTo>
                      <a:pt x="40" y="6"/>
                    </a:lnTo>
                    <a:lnTo>
                      <a:pt x="42" y="4"/>
                    </a:lnTo>
                    <a:lnTo>
                      <a:pt x="42" y="2"/>
                    </a:lnTo>
                    <a:lnTo>
                      <a:pt x="42" y="0"/>
                    </a:lnTo>
                    <a:lnTo>
                      <a:pt x="42" y="2"/>
                    </a:lnTo>
                    <a:lnTo>
                      <a:pt x="40" y="2"/>
                    </a:lnTo>
                    <a:lnTo>
                      <a:pt x="38" y="2"/>
                    </a:lnTo>
                    <a:lnTo>
                      <a:pt x="36" y="0"/>
                    </a:lnTo>
                    <a:lnTo>
                      <a:pt x="34"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7" name="Freeform 36">
                <a:extLst>
                  <a:ext uri="{FF2B5EF4-FFF2-40B4-BE49-F238E27FC236}">
                    <a16:creationId xmlns:a16="http://schemas.microsoft.com/office/drawing/2014/main" id="{12E003AF-AED2-4CD7-BD11-A578645149C8}"/>
                  </a:ext>
                </a:extLst>
              </p:cNvPr>
              <p:cNvSpPr>
                <a:spLocks noChangeAspect="1"/>
              </p:cNvSpPr>
              <p:nvPr/>
            </p:nvSpPr>
            <p:spPr bwMode="auto">
              <a:xfrm>
                <a:off x="982554" y="2316299"/>
                <a:ext cx="32887" cy="17439"/>
              </a:xfrm>
              <a:custGeom>
                <a:avLst/>
                <a:gdLst/>
                <a:ahLst/>
                <a:cxnLst>
                  <a:cxn ang="0">
                    <a:pos x="10" y="2"/>
                  </a:cxn>
                  <a:cxn ang="0">
                    <a:pos x="8" y="2"/>
                  </a:cxn>
                  <a:cxn ang="0">
                    <a:pos x="6" y="4"/>
                  </a:cxn>
                  <a:cxn ang="0">
                    <a:pos x="4" y="4"/>
                  </a:cxn>
                  <a:cxn ang="0">
                    <a:pos x="2" y="4"/>
                  </a:cxn>
                  <a:cxn ang="0">
                    <a:pos x="0" y="6"/>
                  </a:cxn>
                  <a:cxn ang="0">
                    <a:pos x="0" y="6"/>
                  </a:cxn>
                  <a:cxn ang="0">
                    <a:pos x="0" y="8"/>
                  </a:cxn>
                  <a:cxn ang="0">
                    <a:pos x="0" y="8"/>
                  </a:cxn>
                  <a:cxn ang="0">
                    <a:pos x="0" y="8"/>
                  </a:cxn>
                  <a:cxn ang="0">
                    <a:pos x="2" y="10"/>
                  </a:cxn>
                  <a:cxn ang="0">
                    <a:pos x="4" y="10"/>
                  </a:cxn>
                  <a:cxn ang="0">
                    <a:pos x="6" y="10"/>
                  </a:cxn>
                  <a:cxn ang="0">
                    <a:pos x="8" y="10"/>
                  </a:cxn>
                  <a:cxn ang="0">
                    <a:pos x="10" y="8"/>
                  </a:cxn>
                  <a:cxn ang="0">
                    <a:pos x="12" y="8"/>
                  </a:cxn>
                  <a:cxn ang="0">
                    <a:pos x="12" y="8"/>
                  </a:cxn>
                  <a:cxn ang="0">
                    <a:pos x="14" y="8"/>
                  </a:cxn>
                  <a:cxn ang="0">
                    <a:pos x="14" y="6"/>
                  </a:cxn>
                  <a:cxn ang="0">
                    <a:pos x="14" y="6"/>
                  </a:cxn>
                  <a:cxn ang="0">
                    <a:pos x="14" y="4"/>
                  </a:cxn>
                  <a:cxn ang="0">
                    <a:pos x="14" y="4"/>
                  </a:cxn>
                  <a:cxn ang="0">
                    <a:pos x="14" y="4"/>
                  </a:cxn>
                  <a:cxn ang="0">
                    <a:pos x="14" y="4"/>
                  </a:cxn>
                  <a:cxn ang="0">
                    <a:pos x="16" y="4"/>
                  </a:cxn>
                  <a:cxn ang="0">
                    <a:pos x="16" y="4"/>
                  </a:cxn>
                  <a:cxn ang="0">
                    <a:pos x="18" y="4"/>
                  </a:cxn>
                  <a:cxn ang="0">
                    <a:pos x="18" y="4"/>
                  </a:cxn>
                  <a:cxn ang="0">
                    <a:pos x="20" y="4"/>
                  </a:cxn>
                  <a:cxn ang="0">
                    <a:pos x="20" y="4"/>
                  </a:cxn>
                  <a:cxn ang="0">
                    <a:pos x="20" y="4"/>
                  </a:cxn>
                  <a:cxn ang="0">
                    <a:pos x="20" y="4"/>
                  </a:cxn>
                  <a:cxn ang="0">
                    <a:pos x="18" y="2"/>
                  </a:cxn>
                  <a:cxn ang="0">
                    <a:pos x="18" y="2"/>
                  </a:cxn>
                  <a:cxn ang="0">
                    <a:pos x="16" y="0"/>
                  </a:cxn>
                  <a:cxn ang="0">
                    <a:pos x="16" y="0"/>
                  </a:cxn>
                  <a:cxn ang="0">
                    <a:pos x="14" y="0"/>
                  </a:cxn>
                  <a:cxn ang="0">
                    <a:pos x="12" y="0"/>
                  </a:cxn>
                  <a:cxn ang="0">
                    <a:pos x="10" y="2"/>
                  </a:cxn>
                  <a:cxn ang="0">
                    <a:pos x="10" y="2"/>
                  </a:cxn>
                  <a:cxn ang="0">
                    <a:pos x="10" y="2"/>
                  </a:cxn>
                </a:cxnLst>
                <a:rect l="0" t="0" r="r" b="b"/>
                <a:pathLst>
                  <a:path w="20" h="10">
                    <a:moveTo>
                      <a:pt x="10" y="2"/>
                    </a:moveTo>
                    <a:lnTo>
                      <a:pt x="8" y="2"/>
                    </a:lnTo>
                    <a:lnTo>
                      <a:pt x="6" y="4"/>
                    </a:lnTo>
                    <a:lnTo>
                      <a:pt x="4" y="4"/>
                    </a:lnTo>
                    <a:lnTo>
                      <a:pt x="2" y="4"/>
                    </a:lnTo>
                    <a:lnTo>
                      <a:pt x="0" y="6"/>
                    </a:lnTo>
                    <a:lnTo>
                      <a:pt x="0" y="8"/>
                    </a:lnTo>
                    <a:lnTo>
                      <a:pt x="2" y="10"/>
                    </a:lnTo>
                    <a:lnTo>
                      <a:pt x="4" y="10"/>
                    </a:lnTo>
                    <a:lnTo>
                      <a:pt x="6" y="10"/>
                    </a:lnTo>
                    <a:lnTo>
                      <a:pt x="8" y="10"/>
                    </a:lnTo>
                    <a:lnTo>
                      <a:pt x="10" y="8"/>
                    </a:lnTo>
                    <a:lnTo>
                      <a:pt x="12" y="8"/>
                    </a:lnTo>
                    <a:lnTo>
                      <a:pt x="14" y="8"/>
                    </a:lnTo>
                    <a:lnTo>
                      <a:pt x="14" y="6"/>
                    </a:lnTo>
                    <a:lnTo>
                      <a:pt x="14" y="4"/>
                    </a:lnTo>
                    <a:lnTo>
                      <a:pt x="16" y="4"/>
                    </a:lnTo>
                    <a:lnTo>
                      <a:pt x="18" y="4"/>
                    </a:lnTo>
                    <a:lnTo>
                      <a:pt x="20" y="4"/>
                    </a:lnTo>
                    <a:lnTo>
                      <a:pt x="18" y="2"/>
                    </a:lnTo>
                    <a:lnTo>
                      <a:pt x="16" y="0"/>
                    </a:lnTo>
                    <a:lnTo>
                      <a:pt x="14" y="0"/>
                    </a:lnTo>
                    <a:lnTo>
                      <a:pt x="12" y="0"/>
                    </a:lnTo>
                    <a:lnTo>
                      <a:pt x="1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8" name="Freeform 37">
                <a:extLst>
                  <a:ext uri="{FF2B5EF4-FFF2-40B4-BE49-F238E27FC236}">
                    <a16:creationId xmlns:a16="http://schemas.microsoft.com/office/drawing/2014/main" id="{783915E4-7BB5-4DBE-887E-A96D785332F0}"/>
                  </a:ext>
                </a:extLst>
              </p:cNvPr>
              <p:cNvSpPr>
                <a:spLocks noChangeAspect="1"/>
              </p:cNvSpPr>
              <p:nvPr/>
            </p:nvSpPr>
            <p:spPr bwMode="auto">
              <a:xfrm>
                <a:off x="1350891" y="2553478"/>
                <a:ext cx="78929" cy="87198"/>
              </a:xfrm>
              <a:custGeom>
                <a:avLst/>
                <a:gdLst/>
                <a:ahLst/>
                <a:cxnLst>
                  <a:cxn ang="0">
                    <a:pos x="36" y="30"/>
                  </a:cxn>
                  <a:cxn ang="0">
                    <a:pos x="36" y="24"/>
                  </a:cxn>
                  <a:cxn ang="0">
                    <a:pos x="36" y="18"/>
                  </a:cxn>
                  <a:cxn ang="0">
                    <a:pos x="36" y="12"/>
                  </a:cxn>
                  <a:cxn ang="0">
                    <a:pos x="34" y="12"/>
                  </a:cxn>
                  <a:cxn ang="0">
                    <a:pos x="26" y="10"/>
                  </a:cxn>
                  <a:cxn ang="0">
                    <a:pos x="22" y="10"/>
                  </a:cxn>
                  <a:cxn ang="0">
                    <a:pos x="16" y="6"/>
                  </a:cxn>
                  <a:cxn ang="0">
                    <a:pos x="10" y="0"/>
                  </a:cxn>
                  <a:cxn ang="0">
                    <a:pos x="6" y="0"/>
                  </a:cxn>
                  <a:cxn ang="0">
                    <a:pos x="2" y="4"/>
                  </a:cxn>
                  <a:cxn ang="0">
                    <a:pos x="0" y="8"/>
                  </a:cxn>
                  <a:cxn ang="0">
                    <a:pos x="4" y="10"/>
                  </a:cxn>
                  <a:cxn ang="0">
                    <a:pos x="6" y="10"/>
                  </a:cxn>
                  <a:cxn ang="0">
                    <a:pos x="8" y="8"/>
                  </a:cxn>
                  <a:cxn ang="0">
                    <a:pos x="10" y="8"/>
                  </a:cxn>
                  <a:cxn ang="0">
                    <a:pos x="10" y="10"/>
                  </a:cxn>
                  <a:cxn ang="0">
                    <a:pos x="8" y="10"/>
                  </a:cxn>
                  <a:cxn ang="0">
                    <a:pos x="8" y="10"/>
                  </a:cxn>
                  <a:cxn ang="0">
                    <a:pos x="4" y="12"/>
                  </a:cxn>
                  <a:cxn ang="0">
                    <a:pos x="0" y="14"/>
                  </a:cxn>
                  <a:cxn ang="0">
                    <a:pos x="2" y="16"/>
                  </a:cxn>
                  <a:cxn ang="0">
                    <a:pos x="6" y="18"/>
                  </a:cxn>
                  <a:cxn ang="0">
                    <a:pos x="8" y="16"/>
                  </a:cxn>
                  <a:cxn ang="0">
                    <a:pos x="8" y="20"/>
                  </a:cxn>
                  <a:cxn ang="0">
                    <a:pos x="8" y="22"/>
                  </a:cxn>
                  <a:cxn ang="0">
                    <a:pos x="8" y="22"/>
                  </a:cxn>
                  <a:cxn ang="0">
                    <a:pos x="12" y="22"/>
                  </a:cxn>
                  <a:cxn ang="0">
                    <a:pos x="12" y="22"/>
                  </a:cxn>
                  <a:cxn ang="0">
                    <a:pos x="8" y="24"/>
                  </a:cxn>
                  <a:cxn ang="0">
                    <a:pos x="8" y="26"/>
                  </a:cxn>
                  <a:cxn ang="0">
                    <a:pos x="14" y="24"/>
                  </a:cxn>
                  <a:cxn ang="0">
                    <a:pos x="16" y="24"/>
                  </a:cxn>
                  <a:cxn ang="0">
                    <a:pos x="16" y="26"/>
                  </a:cxn>
                  <a:cxn ang="0">
                    <a:pos x="10" y="28"/>
                  </a:cxn>
                  <a:cxn ang="0">
                    <a:pos x="8" y="30"/>
                  </a:cxn>
                  <a:cxn ang="0">
                    <a:pos x="12" y="30"/>
                  </a:cxn>
                  <a:cxn ang="0">
                    <a:pos x="14" y="28"/>
                  </a:cxn>
                  <a:cxn ang="0">
                    <a:pos x="18" y="28"/>
                  </a:cxn>
                  <a:cxn ang="0">
                    <a:pos x="18" y="32"/>
                  </a:cxn>
                  <a:cxn ang="0">
                    <a:pos x="16" y="34"/>
                  </a:cxn>
                  <a:cxn ang="0">
                    <a:pos x="14" y="36"/>
                  </a:cxn>
                  <a:cxn ang="0">
                    <a:pos x="20" y="38"/>
                  </a:cxn>
                  <a:cxn ang="0">
                    <a:pos x="24" y="36"/>
                  </a:cxn>
                  <a:cxn ang="0">
                    <a:pos x="28" y="36"/>
                  </a:cxn>
                  <a:cxn ang="0">
                    <a:pos x="30" y="34"/>
                  </a:cxn>
                  <a:cxn ang="0">
                    <a:pos x="30" y="36"/>
                  </a:cxn>
                  <a:cxn ang="0">
                    <a:pos x="28" y="38"/>
                  </a:cxn>
                  <a:cxn ang="0">
                    <a:pos x="26" y="38"/>
                  </a:cxn>
                  <a:cxn ang="0">
                    <a:pos x="22" y="40"/>
                  </a:cxn>
                  <a:cxn ang="0">
                    <a:pos x="20" y="42"/>
                  </a:cxn>
                  <a:cxn ang="0">
                    <a:pos x="24" y="44"/>
                  </a:cxn>
                  <a:cxn ang="0">
                    <a:pos x="28" y="46"/>
                  </a:cxn>
                  <a:cxn ang="0">
                    <a:pos x="30" y="46"/>
                  </a:cxn>
                  <a:cxn ang="0">
                    <a:pos x="32" y="48"/>
                  </a:cxn>
                  <a:cxn ang="0">
                    <a:pos x="40" y="50"/>
                  </a:cxn>
                  <a:cxn ang="0">
                    <a:pos x="46" y="44"/>
                  </a:cxn>
                  <a:cxn ang="0">
                    <a:pos x="48" y="40"/>
                  </a:cxn>
                  <a:cxn ang="0">
                    <a:pos x="44" y="36"/>
                  </a:cxn>
                  <a:cxn ang="0">
                    <a:pos x="38" y="32"/>
                  </a:cxn>
                  <a:cxn ang="0">
                    <a:pos x="36" y="30"/>
                  </a:cxn>
                </a:cxnLst>
                <a:rect l="0" t="0" r="r" b="b"/>
                <a:pathLst>
                  <a:path w="48" h="50">
                    <a:moveTo>
                      <a:pt x="36" y="30"/>
                    </a:moveTo>
                    <a:lnTo>
                      <a:pt x="36" y="30"/>
                    </a:lnTo>
                    <a:lnTo>
                      <a:pt x="36" y="28"/>
                    </a:lnTo>
                    <a:lnTo>
                      <a:pt x="36" y="24"/>
                    </a:lnTo>
                    <a:lnTo>
                      <a:pt x="36" y="22"/>
                    </a:lnTo>
                    <a:lnTo>
                      <a:pt x="36" y="20"/>
                    </a:lnTo>
                    <a:lnTo>
                      <a:pt x="36" y="18"/>
                    </a:lnTo>
                    <a:lnTo>
                      <a:pt x="36" y="16"/>
                    </a:lnTo>
                    <a:lnTo>
                      <a:pt x="36" y="14"/>
                    </a:lnTo>
                    <a:lnTo>
                      <a:pt x="36" y="12"/>
                    </a:lnTo>
                    <a:lnTo>
                      <a:pt x="34" y="12"/>
                    </a:lnTo>
                    <a:lnTo>
                      <a:pt x="32" y="12"/>
                    </a:lnTo>
                    <a:lnTo>
                      <a:pt x="30" y="10"/>
                    </a:lnTo>
                    <a:lnTo>
                      <a:pt x="26" y="10"/>
                    </a:lnTo>
                    <a:lnTo>
                      <a:pt x="24" y="10"/>
                    </a:lnTo>
                    <a:lnTo>
                      <a:pt x="22" y="10"/>
                    </a:lnTo>
                    <a:lnTo>
                      <a:pt x="20" y="8"/>
                    </a:lnTo>
                    <a:lnTo>
                      <a:pt x="18" y="6"/>
                    </a:lnTo>
                    <a:lnTo>
                      <a:pt x="16" y="6"/>
                    </a:lnTo>
                    <a:lnTo>
                      <a:pt x="14" y="4"/>
                    </a:lnTo>
                    <a:lnTo>
                      <a:pt x="12" y="2"/>
                    </a:lnTo>
                    <a:lnTo>
                      <a:pt x="10" y="0"/>
                    </a:lnTo>
                    <a:lnTo>
                      <a:pt x="8" y="0"/>
                    </a:lnTo>
                    <a:lnTo>
                      <a:pt x="6" y="0"/>
                    </a:lnTo>
                    <a:lnTo>
                      <a:pt x="4" y="2"/>
                    </a:lnTo>
                    <a:lnTo>
                      <a:pt x="2" y="2"/>
                    </a:lnTo>
                    <a:lnTo>
                      <a:pt x="2" y="4"/>
                    </a:lnTo>
                    <a:lnTo>
                      <a:pt x="0" y="4"/>
                    </a:lnTo>
                    <a:lnTo>
                      <a:pt x="0" y="6"/>
                    </a:lnTo>
                    <a:lnTo>
                      <a:pt x="0" y="8"/>
                    </a:lnTo>
                    <a:lnTo>
                      <a:pt x="2" y="8"/>
                    </a:lnTo>
                    <a:lnTo>
                      <a:pt x="4" y="10"/>
                    </a:lnTo>
                    <a:lnTo>
                      <a:pt x="6" y="10"/>
                    </a:lnTo>
                    <a:lnTo>
                      <a:pt x="6" y="8"/>
                    </a:lnTo>
                    <a:lnTo>
                      <a:pt x="8" y="8"/>
                    </a:lnTo>
                    <a:lnTo>
                      <a:pt x="10" y="8"/>
                    </a:lnTo>
                    <a:lnTo>
                      <a:pt x="10" y="10"/>
                    </a:lnTo>
                    <a:lnTo>
                      <a:pt x="8" y="10"/>
                    </a:lnTo>
                    <a:lnTo>
                      <a:pt x="6" y="12"/>
                    </a:lnTo>
                    <a:lnTo>
                      <a:pt x="4" y="12"/>
                    </a:lnTo>
                    <a:lnTo>
                      <a:pt x="2" y="12"/>
                    </a:lnTo>
                    <a:lnTo>
                      <a:pt x="2" y="14"/>
                    </a:lnTo>
                    <a:lnTo>
                      <a:pt x="0" y="14"/>
                    </a:lnTo>
                    <a:lnTo>
                      <a:pt x="0" y="16"/>
                    </a:lnTo>
                    <a:lnTo>
                      <a:pt x="2" y="16"/>
                    </a:lnTo>
                    <a:lnTo>
                      <a:pt x="4" y="18"/>
                    </a:lnTo>
                    <a:lnTo>
                      <a:pt x="6" y="18"/>
                    </a:lnTo>
                    <a:lnTo>
                      <a:pt x="6" y="16"/>
                    </a:lnTo>
                    <a:lnTo>
                      <a:pt x="8" y="16"/>
                    </a:lnTo>
                    <a:lnTo>
                      <a:pt x="8" y="18"/>
                    </a:lnTo>
                    <a:lnTo>
                      <a:pt x="8" y="20"/>
                    </a:lnTo>
                    <a:lnTo>
                      <a:pt x="8" y="22"/>
                    </a:lnTo>
                    <a:lnTo>
                      <a:pt x="10" y="22"/>
                    </a:lnTo>
                    <a:lnTo>
                      <a:pt x="12" y="22"/>
                    </a:lnTo>
                    <a:lnTo>
                      <a:pt x="10" y="22"/>
                    </a:lnTo>
                    <a:lnTo>
                      <a:pt x="10" y="24"/>
                    </a:lnTo>
                    <a:lnTo>
                      <a:pt x="8" y="24"/>
                    </a:lnTo>
                    <a:lnTo>
                      <a:pt x="8" y="26"/>
                    </a:lnTo>
                    <a:lnTo>
                      <a:pt x="10" y="26"/>
                    </a:lnTo>
                    <a:lnTo>
                      <a:pt x="12" y="24"/>
                    </a:lnTo>
                    <a:lnTo>
                      <a:pt x="14" y="24"/>
                    </a:lnTo>
                    <a:lnTo>
                      <a:pt x="16" y="24"/>
                    </a:lnTo>
                    <a:lnTo>
                      <a:pt x="18" y="24"/>
                    </a:lnTo>
                    <a:lnTo>
                      <a:pt x="16" y="24"/>
                    </a:lnTo>
                    <a:lnTo>
                      <a:pt x="16" y="26"/>
                    </a:lnTo>
                    <a:lnTo>
                      <a:pt x="14" y="26"/>
                    </a:lnTo>
                    <a:lnTo>
                      <a:pt x="12" y="26"/>
                    </a:lnTo>
                    <a:lnTo>
                      <a:pt x="10" y="28"/>
                    </a:lnTo>
                    <a:lnTo>
                      <a:pt x="8" y="30"/>
                    </a:lnTo>
                    <a:lnTo>
                      <a:pt x="10" y="30"/>
                    </a:lnTo>
                    <a:lnTo>
                      <a:pt x="12" y="30"/>
                    </a:lnTo>
                    <a:lnTo>
                      <a:pt x="14" y="28"/>
                    </a:lnTo>
                    <a:lnTo>
                      <a:pt x="16" y="28"/>
                    </a:lnTo>
                    <a:lnTo>
                      <a:pt x="18" y="28"/>
                    </a:lnTo>
                    <a:lnTo>
                      <a:pt x="18" y="30"/>
                    </a:lnTo>
                    <a:lnTo>
                      <a:pt x="18" y="32"/>
                    </a:lnTo>
                    <a:lnTo>
                      <a:pt x="16" y="34"/>
                    </a:lnTo>
                    <a:lnTo>
                      <a:pt x="14" y="34"/>
                    </a:lnTo>
                    <a:lnTo>
                      <a:pt x="14" y="36"/>
                    </a:lnTo>
                    <a:lnTo>
                      <a:pt x="16" y="36"/>
                    </a:lnTo>
                    <a:lnTo>
                      <a:pt x="18" y="38"/>
                    </a:lnTo>
                    <a:lnTo>
                      <a:pt x="20" y="38"/>
                    </a:lnTo>
                    <a:lnTo>
                      <a:pt x="22" y="38"/>
                    </a:lnTo>
                    <a:lnTo>
                      <a:pt x="24" y="38"/>
                    </a:lnTo>
                    <a:lnTo>
                      <a:pt x="24" y="36"/>
                    </a:lnTo>
                    <a:lnTo>
                      <a:pt x="26" y="36"/>
                    </a:lnTo>
                    <a:lnTo>
                      <a:pt x="28" y="36"/>
                    </a:lnTo>
                    <a:lnTo>
                      <a:pt x="30" y="34"/>
                    </a:lnTo>
                    <a:lnTo>
                      <a:pt x="30" y="36"/>
                    </a:lnTo>
                    <a:lnTo>
                      <a:pt x="28" y="36"/>
                    </a:lnTo>
                    <a:lnTo>
                      <a:pt x="28" y="38"/>
                    </a:lnTo>
                    <a:lnTo>
                      <a:pt x="26" y="38"/>
                    </a:lnTo>
                    <a:lnTo>
                      <a:pt x="24" y="40"/>
                    </a:lnTo>
                    <a:lnTo>
                      <a:pt x="22" y="40"/>
                    </a:lnTo>
                    <a:lnTo>
                      <a:pt x="20" y="40"/>
                    </a:lnTo>
                    <a:lnTo>
                      <a:pt x="20" y="42"/>
                    </a:lnTo>
                    <a:lnTo>
                      <a:pt x="22" y="42"/>
                    </a:lnTo>
                    <a:lnTo>
                      <a:pt x="24" y="44"/>
                    </a:lnTo>
                    <a:lnTo>
                      <a:pt x="26" y="46"/>
                    </a:lnTo>
                    <a:lnTo>
                      <a:pt x="28" y="46"/>
                    </a:lnTo>
                    <a:lnTo>
                      <a:pt x="30" y="46"/>
                    </a:lnTo>
                    <a:lnTo>
                      <a:pt x="30" y="48"/>
                    </a:lnTo>
                    <a:lnTo>
                      <a:pt x="32" y="48"/>
                    </a:lnTo>
                    <a:lnTo>
                      <a:pt x="36" y="50"/>
                    </a:lnTo>
                    <a:lnTo>
                      <a:pt x="38" y="50"/>
                    </a:lnTo>
                    <a:lnTo>
                      <a:pt x="40" y="50"/>
                    </a:lnTo>
                    <a:lnTo>
                      <a:pt x="42" y="48"/>
                    </a:lnTo>
                    <a:lnTo>
                      <a:pt x="44" y="46"/>
                    </a:lnTo>
                    <a:lnTo>
                      <a:pt x="46" y="44"/>
                    </a:lnTo>
                    <a:lnTo>
                      <a:pt x="46" y="42"/>
                    </a:lnTo>
                    <a:lnTo>
                      <a:pt x="48" y="42"/>
                    </a:lnTo>
                    <a:lnTo>
                      <a:pt x="48" y="40"/>
                    </a:lnTo>
                    <a:lnTo>
                      <a:pt x="46" y="38"/>
                    </a:lnTo>
                    <a:lnTo>
                      <a:pt x="44" y="36"/>
                    </a:lnTo>
                    <a:lnTo>
                      <a:pt x="42" y="34"/>
                    </a:lnTo>
                    <a:lnTo>
                      <a:pt x="40" y="32"/>
                    </a:lnTo>
                    <a:lnTo>
                      <a:pt x="38" y="32"/>
                    </a:lnTo>
                    <a:lnTo>
                      <a:pt x="38" y="30"/>
                    </a:lnTo>
                    <a:lnTo>
                      <a:pt x="36" y="3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9" name="Freeform 38">
                <a:extLst>
                  <a:ext uri="{FF2B5EF4-FFF2-40B4-BE49-F238E27FC236}">
                    <a16:creationId xmlns:a16="http://schemas.microsoft.com/office/drawing/2014/main" id="{6AB376A8-CEDE-403C-A12A-7429F3686CCF}"/>
                  </a:ext>
                </a:extLst>
              </p:cNvPr>
              <p:cNvSpPr>
                <a:spLocks noChangeAspect="1"/>
              </p:cNvSpPr>
              <p:nvPr/>
            </p:nvSpPr>
            <p:spPr bwMode="auto">
              <a:xfrm>
                <a:off x="1314715" y="2452329"/>
                <a:ext cx="46042" cy="66271"/>
              </a:xfrm>
              <a:custGeom>
                <a:avLst/>
                <a:gdLst/>
                <a:ahLst/>
                <a:cxnLst>
                  <a:cxn ang="0">
                    <a:pos x="28" y="0"/>
                  </a:cxn>
                  <a:cxn ang="0">
                    <a:pos x="20" y="2"/>
                  </a:cxn>
                  <a:cxn ang="0">
                    <a:pos x="18" y="4"/>
                  </a:cxn>
                  <a:cxn ang="0">
                    <a:pos x="14" y="8"/>
                  </a:cxn>
                  <a:cxn ang="0">
                    <a:pos x="10" y="10"/>
                  </a:cxn>
                  <a:cxn ang="0">
                    <a:pos x="8" y="8"/>
                  </a:cxn>
                  <a:cxn ang="0">
                    <a:pos x="10" y="6"/>
                  </a:cxn>
                  <a:cxn ang="0">
                    <a:pos x="14" y="6"/>
                  </a:cxn>
                  <a:cxn ang="0">
                    <a:pos x="18" y="2"/>
                  </a:cxn>
                  <a:cxn ang="0">
                    <a:pos x="18" y="2"/>
                  </a:cxn>
                  <a:cxn ang="0">
                    <a:pos x="14" y="2"/>
                  </a:cxn>
                  <a:cxn ang="0">
                    <a:pos x="10" y="2"/>
                  </a:cxn>
                  <a:cxn ang="0">
                    <a:pos x="10" y="2"/>
                  </a:cxn>
                  <a:cxn ang="0">
                    <a:pos x="10" y="0"/>
                  </a:cxn>
                  <a:cxn ang="0">
                    <a:pos x="6" y="0"/>
                  </a:cxn>
                  <a:cxn ang="0">
                    <a:pos x="4" y="4"/>
                  </a:cxn>
                  <a:cxn ang="0">
                    <a:pos x="4" y="6"/>
                  </a:cxn>
                  <a:cxn ang="0">
                    <a:pos x="2" y="10"/>
                  </a:cxn>
                  <a:cxn ang="0">
                    <a:pos x="0" y="12"/>
                  </a:cxn>
                  <a:cxn ang="0">
                    <a:pos x="0" y="12"/>
                  </a:cxn>
                  <a:cxn ang="0">
                    <a:pos x="0" y="16"/>
                  </a:cxn>
                  <a:cxn ang="0">
                    <a:pos x="0" y="18"/>
                  </a:cxn>
                  <a:cxn ang="0">
                    <a:pos x="2" y="20"/>
                  </a:cxn>
                  <a:cxn ang="0">
                    <a:pos x="2" y="20"/>
                  </a:cxn>
                  <a:cxn ang="0">
                    <a:pos x="0" y="22"/>
                  </a:cxn>
                  <a:cxn ang="0">
                    <a:pos x="0" y="26"/>
                  </a:cxn>
                  <a:cxn ang="0">
                    <a:pos x="0" y="32"/>
                  </a:cxn>
                  <a:cxn ang="0">
                    <a:pos x="2" y="34"/>
                  </a:cxn>
                  <a:cxn ang="0">
                    <a:pos x="2" y="34"/>
                  </a:cxn>
                  <a:cxn ang="0">
                    <a:pos x="2" y="36"/>
                  </a:cxn>
                  <a:cxn ang="0">
                    <a:pos x="4" y="38"/>
                  </a:cxn>
                  <a:cxn ang="0">
                    <a:pos x="6" y="38"/>
                  </a:cxn>
                  <a:cxn ang="0">
                    <a:pos x="4" y="32"/>
                  </a:cxn>
                  <a:cxn ang="0">
                    <a:pos x="4" y="28"/>
                  </a:cxn>
                  <a:cxn ang="0">
                    <a:pos x="4" y="26"/>
                  </a:cxn>
                  <a:cxn ang="0">
                    <a:pos x="8" y="22"/>
                  </a:cxn>
                  <a:cxn ang="0">
                    <a:pos x="12" y="20"/>
                  </a:cxn>
                  <a:cxn ang="0">
                    <a:pos x="10" y="18"/>
                  </a:cxn>
                  <a:cxn ang="0">
                    <a:pos x="12" y="14"/>
                  </a:cxn>
                  <a:cxn ang="0">
                    <a:pos x="16" y="8"/>
                  </a:cxn>
                  <a:cxn ang="0">
                    <a:pos x="24" y="4"/>
                  </a:cxn>
                  <a:cxn ang="0">
                    <a:pos x="28" y="0"/>
                  </a:cxn>
                  <a:cxn ang="0">
                    <a:pos x="28" y="0"/>
                  </a:cxn>
                </a:cxnLst>
                <a:rect l="0" t="0" r="r" b="b"/>
                <a:pathLst>
                  <a:path w="28" h="38">
                    <a:moveTo>
                      <a:pt x="28" y="0"/>
                    </a:moveTo>
                    <a:lnTo>
                      <a:pt x="28" y="0"/>
                    </a:lnTo>
                    <a:lnTo>
                      <a:pt x="24" y="0"/>
                    </a:lnTo>
                    <a:lnTo>
                      <a:pt x="22" y="2"/>
                    </a:lnTo>
                    <a:lnTo>
                      <a:pt x="20" y="2"/>
                    </a:lnTo>
                    <a:lnTo>
                      <a:pt x="18" y="4"/>
                    </a:lnTo>
                    <a:lnTo>
                      <a:pt x="16" y="6"/>
                    </a:lnTo>
                    <a:lnTo>
                      <a:pt x="14" y="8"/>
                    </a:lnTo>
                    <a:lnTo>
                      <a:pt x="12" y="8"/>
                    </a:lnTo>
                    <a:lnTo>
                      <a:pt x="12" y="10"/>
                    </a:lnTo>
                    <a:lnTo>
                      <a:pt x="10" y="10"/>
                    </a:lnTo>
                    <a:lnTo>
                      <a:pt x="10" y="8"/>
                    </a:lnTo>
                    <a:lnTo>
                      <a:pt x="8" y="8"/>
                    </a:lnTo>
                    <a:lnTo>
                      <a:pt x="10" y="6"/>
                    </a:lnTo>
                    <a:lnTo>
                      <a:pt x="12" y="6"/>
                    </a:lnTo>
                    <a:lnTo>
                      <a:pt x="14" y="6"/>
                    </a:lnTo>
                    <a:lnTo>
                      <a:pt x="16" y="4"/>
                    </a:lnTo>
                    <a:lnTo>
                      <a:pt x="18" y="4"/>
                    </a:lnTo>
                    <a:lnTo>
                      <a:pt x="18" y="2"/>
                    </a:lnTo>
                    <a:lnTo>
                      <a:pt x="16" y="2"/>
                    </a:lnTo>
                    <a:lnTo>
                      <a:pt x="14" y="2"/>
                    </a:lnTo>
                    <a:lnTo>
                      <a:pt x="12" y="2"/>
                    </a:lnTo>
                    <a:lnTo>
                      <a:pt x="10" y="2"/>
                    </a:lnTo>
                    <a:lnTo>
                      <a:pt x="10" y="4"/>
                    </a:lnTo>
                    <a:lnTo>
                      <a:pt x="10" y="2"/>
                    </a:lnTo>
                    <a:lnTo>
                      <a:pt x="10" y="0"/>
                    </a:lnTo>
                    <a:lnTo>
                      <a:pt x="8" y="0"/>
                    </a:lnTo>
                    <a:lnTo>
                      <a:pt x="6" y="0"/>
                    </a:lnTo>
                    <a:lnTo>
                      <a:pt x="4" y="2"/>
                    </a:lnTo>
                    <a:lnTo>
                      <a:pt x="4" y="4"/>
                    </a:lnTo>
                    <a:lnTo>
                      <a:pt x="4" y="6"/>
                    </a:lnTo>
                    <a:lnTo>
                      <a:pt x="2" y="8"/>
                    </a:lnTo>
                    <a:lnTo>
                      <a:pt x="2" y="10"/>
                    </a:lnTo>
                    <a:lnTo>
                      <a:pt x="0" y="12"/>
                    </a:lnTo>
                    <a:lnTo>
                      <a:pt x="0" y="14"/>
                    </a:lnTo>
                    <a:lnTo>
                      <a:pt x="0" y="16"/>
                    </a:lnTo>
                    <a:lnTo>
                      <a:pt x="0" y="18"/>
                    </a:lnTo>
                    <a:lnTo>
                      <a:pt x="2" y="18"/>
                    </a:lnTo>
                    <a:lnTo>
                      <a:pt x="2" y="20"/>
                    </a:lnTo>
                    <a:lnTo>
                      <a:pt x="0" y="20"/>
                    </a:lnTo>
                    <a:lnTo>
                      <a:pt x="0" y="22"/>
                    </a:lnTo>
                    <a:lnTo>
                      <a:pt x="0" y="24"/>
                    </a:lnTo>
                    <a:lnTo>
                      <a:pt x="0" y="26"/>
                    </a:lnTo>
                    <a:lnTo>
                      <a:pt x="0" y="28"/>
                    </a:lnTo>
                    <a:lnTo>
                      <a:pt x="0" y="30"/>
                    </a:lnTo>
                    <a:lnTo>
                      <a:pt x="0" y="32"/>
                    </a:lnTo>
                    <a:lnTo>
                      <a:pt x="2" y="34"/>
                    </a:lnTo>
                    <a:lnTo>
                      <a:pt x="2" y="36"/>
                    </a:lnTo>
                    <a:lnTo>
                      <a:pt x="0" y="36"/>
                    </a:lnTo>
                    <a:lnTo>
                      <a:pt x="2" y="36"/>
                    </a:lnTo>
                    <a:lnTo>
                      <a:pt x="2" y="38"/>
                    </a:lnTo>
                    <a:lnTo>
                      <a:pt x="4" y="38"/>
                    </a:lnTo>
                    <a:lnTo>
                      <a:pt x="6" y="38"/>
                    </a:lnTo>
                    <a:lnTo>
                      <a:pt x="6" y="36"/>
                    </a:lnTo>
                    <a:lnTo>
                      <a:pt x="6" y="34"/>
                    </a:lnTo>
                    <a:lnTo>
                      <a:pt x="4" y="32"/>
                    </a:lnTo>
                    <a:lnTo>
                      <a:pt x="4" y="30"/>
                    </a:lnTo>
                    <a:lnTo>
                      <a:pt x="4" y="28"/>
                    </a:lnTo>
                    <a:lnTo>
                      <a:pt x="4" y="26"/>
                    </a:lnTo>
                    <a:lnTo>
                      <a:pt x="6" y="24"/>
                    </a:lnTo>
                    <a:lnTo>
                      <a:pt x="8" y="24"/>
                    </a:lnTo>
                    <a:lnTo>
                      <a:pt x="8" y="22"/>
                    </a:lnTo>
                    <a:lnTo>
                      <a:pt x="10" y="20"/>
                    </a:lnTo>
                    <a:lnTo>
                      <a:pt x="12" y="20"/>
                    </a:lnTo>
                    <a:lnTo>
                      <a:pt x="12" y="18"/>
                    </a:lnTo>
                    <a:lnTo>
                      <a:pt x="10" y="18"/>
                    </a:lnTo>
                    <a:lnTo>
                      <a:pt x="10" y="16"/>
                    </a:lnTo>
                    <a:lnTo>
                      <a:pt x="12" y="14"/>
                    </a:lnTo>
                    <a:lnTo>
                      <a:pt x="12" y="12"/>
                    </a:lnTo>
                    <a:lnTo>
                      <a:pt x="14" y="10"/>
                    </a:lnTo>
                    <a:lnTo>
                      <a:pt x="16" y="8"/>
                    </a:lnTo>
                    <a:lnTo>
                      <a:pt x="20" y="6"/>
                    </a:lnTo>
                    <a:lnTo>
                      <a:pt x="22" y="4"/>
                    </a:lnTo>
                    <a:lnTo>
                      <a:pt x="24" y="4"/>
                    </a:lnTo>
                    <a:lnTo>
                      <a:pt x="28" y="2"/>
                    </a:lnTo>
                    <a:lnTo>
                      <a:pt x="28"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0" name="Freeform 53">
                <a:extLst>
                  <a:ext uri="{FF2B5EF4-FFF2-40B4-BE49-F238E27FC236}">
                    <a16:creationId xmlns:a16="http://schemas.microsoft.com/office/drawing/2014/main" id="{B221AF1D-0AD3-406B-AAD9-43CAE04DCE12}"/>
                  </a:ext>
                </a:extLst>
              </p:cNvPr>
              <p:cNvSpPr>
                <a:spLocks noChangeAspect="1" noEditPoints="1"/>
              </p:cNvSpPr>
              <p:nvPr/>
            </p:nvSpPr>
            <p:spPr bwMode="auto">
              <a:xfrm>
                <a:off x="2276666" y="3360933"/>
                <a:ext cx="151281" cy="195324"/>
              </a:xfrm>
              <a:custGeom>
                <a:avLst/>
                <a:gdLst/>
                <a:ahLst/>
                <a:cxnLst>
                  <a:cxn ang="0">
                    <a:pos x="8" y="36"/>
                  </a:cxn>
                  <a:cxn ang="0">
                    <a:pos x="6" y="36"/>
                  </a:cxn>
                  <a:cxn ang="0">
                    <a:pos x="2" y="38"/>
                  </a:cxn>
                  <a:cxn ang="0">
                    <a:pos x="0" y="42"/>
                  </a:cxn>
                  <a:cxn ang="0">
                    <a:pos x="2" y="46"/>
                  </a:cxn>
                  <a:cxn ang="0">
                    <a:pos x="8" y="48"/>
                  </a:cxn>
                  <a:cxn ang="0">
                    <a:pos x="10" y="48"/>
                  </a:cxn>
                  <a:cxn ang="0">
                    <a:pos x="14" y="48"/>
                  </a:cxn>
                  <a:cxn ang="0">
                    <a:pos x="12" y="40"/>
                  </a:cxn>
                  <a:cxn ang="0">
                    <a:pos x="52" y="44"/>
                  </a:cxn>
                  <a:cxn ang="0">
                    <a:pos x="48" y="40"/>
                  </a:cxn>
                  <a:cxn ang="0">
                    <a:pos x="44" y="32"/>
                  </a:cxn>
                  <a:cxn ang="0">
                    <a:pos x="42" y="26"/>
                  </a:cxn>
                  <a:cxn ang="0">
                    <a:pos x="38" y="30"/>
                  </a:cxn>
                  <a:cxn ang="0">
                    <a:pos x="42" y="36"/>
                  </a:cxn>
                  <a:cxn ang="0">
                    <a:pos x="42" y="42"/>
                  </a:cxn>
                  <a:cxn ang="0">
                    <a:pos x="48" y="48"/>
                  </a:cxn>
                  <a:cxn ang="0">
                    <a:pos x="52" y="50"/>
                  </a:cxn>
                  <a:cxn ang="0">
                    <a:pos x="56" y="48"/>
                  </a:cxn>
                  <a:cxn ang="0">
                    <a:pos x="54" y="46"/>
                  </a:cxn>
                  <a:cxn ang="0">
                    <a:pos x="32" y="0"/>
                  </a:cxn>
                  <a:cxn ang="0">
                    <a:pos x="26" y="0"/>
                  </a:cxn>
                  <a:cxn ang="0">
                    <a:pos x="26" y="2"/>
                  </a:cxn>
                  <a:cxn ang="0">
                    <a:pos x="30" y="6"/>
                  </a:cxn>
                  <a:cxn ang="0">
                    <a:pos x="28" y="10"/>
                  </a:cxn>
                  <a:cxn ang="0">
                    <a:pos x="22" y="14"/>
                  </a:cxn>
                  <a:cxn ang="0">
                    <a:pos x="32" y="14"/>
                  </a:cxn>
                  <a:cxn ang="0">
                    <a:pos x="36" y="10"/>
                  </a:cxn>
                  <a:cxn ang="0">
                    <a:pos x="38" y="6"/>
                  </a:cxn>
                  <a:cxn ang="0">
                    <a:pos x="10" y="2"/>
                  </a:cxn>
                  <a:cxn ang="0">
                    <a:pos x="4" y="4"/>
                  </a:cxn>
                  <a:cxn ang="0">
                    <a:pos x="0" y="6"/>
                  </a:cxn>
                  <a:cxn ang="0">
                    <a:pos x="16" y="6"/>
                  </a:cxn>
                  <a:cxn ang="0">
                    <a:pos x="18" y="2"/>
                  </a:cxn>
                  <a:cxn ang="0">
                    <a:pos x="90" y="82"/>
                  </a:cxn>
                  <a:cxn ang="0">
                    <a:pos x="90" y="80"/>
                  </a:cxn>
                  <a:cxn ang="0">
                    <a:pos x="84" y="82"/>
                  </a:cxn>
                  <a:cxn ang="0">
                    <a:pos x="90" y="84"/>
                  </a:cxn>
                  <a:cxn ang="0">
                    <a:pos x="92" y="84"/>
                  </a:cxn>
                  <a:cxn ang="0">
                    <a:pos x="82" y="104"/>
                  </a:cxn>
                  <a:cxn ang="0">
                    <a:pos x="80" y="106"/>
                  </a:cxn>
                  <a:cxn ang="0">
                    <a:pos x="78" y="104"/>
                  </a:cxn>
                  <a:cxn ang="0">
                    <a:pos x="74" y="104"/>
                  </a:cxn>
                  <a:cxn ang="0">
                    <a:pos x="74" y="108"/>
                  </a:cxn>
                  <a:cxn ang="0">
                    <a:pos x="82" y="112"/>
                  </a:cxn>
                  <a:cxn ang="0">
                    <a:pos x="84" y="104"/>
                  </a:cxn>
                  <a:cxn ang="0">
                    <a:pos x="82" y="104"/>
                  </a:cxn>
                  <a:cxn ang="0">
                    <a:pos x="74" y="78"/>
                  </a:cxn>
                  <a:cxn ang="0">
                    <a:pos x="72" y="76"/>
                  </a:cxn>
                  <a:cxn ang="0">
                    <a:pos x="70" y="80"/>
                  </a:cxn>
                  <a:cxn ang="0">
                    <a:pos x="68" y="82"/>
                  </a:cxn>
                  <a:cxn ang="0">
                    <a:pos x="70" y="84"/>
                  </a:cxn>
                  <a:cxn ang="0">
                    <a:pos x="74" y="80"/>
                  </a:cxn>
                </a:cxnLst>
                <a:rect l="0" t="0" r="r" b="b"/>
                <a:pathLst>
                  <a:path w="92" h="112">
                    <a:moveTo>
                      <a:pt x="12" y="40"/>
                    </a:moveTo>
                    <a:lnTo>
                      <a:pt x="10" y="38"/>
                    </a:lnTo>
                    <a:lnTo>
                      <a:pt x="8" y="36"/>
                    </a:lnTo>
                    <a:lnTo>
                      <a:pt x="6" y="36"/>
                    </a:lnTo>
                    <a:lnTo>
                      <a:pt x="4" y="36"/>
                    </a:lnTo>
                    <a:lnTo>
                      <a:pt x="2" y="38"/>
                    </a:lnTo>
                    <a:lnTo>
                      <a:pt x="0" y="40"/>
                    </a:lnTo>
                    <a:lnTo>
                      <a:pt x="0" y="42"/>
                    </a:lnTo>
                    <a:lnTo>
                      <a:pt x="0" y="44"/>
                    </a:lnTo>
                    <a:lnTo>
                      <a:pt x="2" y="46"/>
                    </a:lnTo>
                    <a:lnTo>
                      <a:pt x="4" y="46"/>
                    </a:lnTo>
                    <a:lnTo>
                      <a:pt x="6" y="48"/>
                    </a:lnTo>
                    <a:lnTo>
                      <a:pt x="8" y="48"/>
                    </a:lnTo>
                    <a:lnTo>
                      <a:pt x="10" y="48"/>
                    </a:lnTo>
                    <a:lnTo>
                      <a:pt x="12" y="50"/>
                    </a:lnTo>
                    <a:lnTo>
                      <a:pt x="14" y="48"/>
                    </a:lnTo>
                    <a:lnTo>
                      <a:pt x="12" y="46"/>
                    </a:lnTo>
                    <a:lnTo>
                      <a:pt x="12" y="40"/>
                    </a:lnTo>
                    <a:close/>
                    <a:moveTo>
                      <a:pt x="54" y="46"/>
                    </a:moveTo>
                    <a:lnTo>
                      <a:pt x="52" y="46"/>
                    </a:lnTo>
                    <a:lnTo>
                      <a:pt x="52" y="44"/>
                    </a:lnTo>
                    <a:lnTo>
                      <a:pt x="50" y="44"/>
                    </a:lnTo>
                    <a:lnTo>
                      <a:pt x="48" y="42"/>
                    </a:lnTo>
                    <a:lnTo>
                      <a:pt x="48" y="40"/>
                    </a:lnTo>
                    <a:lnTo>
                      <a:pt x="46" y="38"/>
                    </a:lnTo>
                    <a:lnTo>
                      <a:pt x="46" y="34"/>
                    </a:lnTo>
                    <a:lnTo>
                      <a:pt x="44" y="32"/>
                    </a:lnTo>
                    <a:lnTo>
                      <a:pt x="44" y="28"/>
                    </a:lnTo>
                    <a:lnTo>
                      <a:pt x="44" y="26"/>
                    </a:lnTo>
                    <a:lnTo>
                      <a:pt x="42" y="26"/>
                    </a:lnTo>
                    <a:lnTo>
                      <a:pt x="40" y="26"/>
                    </a:lnTo>
                    <a:lnTo>
                      <a:pt x="38" y="26"/>
                    </a:lnTo>
                    <a:lnTo>
                      <a:pt x="38" y="30"/>
                    </a:lnTo>
                    <a:lnTo>
                      <a:pt x="40" y="32"/>
                    </a:lnTo>
                    <a:lnTo>
                      <a:pt x="40" y="34"/>
                    </a:lnTo>
                    <a:lnTo>
                      <a:pt x="42" y="36"/>
                    </a:lnTo>
                    <a:lnTo>
                      <a:pt x="42" y="40"/>
                    </a:lnTo>
                    <a:lnTo>
                      <a:pt x="42" y="42"/>
                    </a:lnTo>
                    <a:lnTo>
                      <a:pt x="42" y="44"/>
                    </a:lnTo>
                    <a:lnTo>
                      <a:pt x="46" y="46"/>
                    </a:lnTo>
                    <a:lnTo>
                      <a:pt x="48" y="48"/>
                    </a:lnTo>
                    <a:lnTo>
                      <a:pt x="50" y="48"/>
                    </a:lnTo>
                    <a:lnTo>
                      <a:pt x="52" y="50"/>
                    </a:lnTo>
                    <a:lnTo>
                      <a:pt x="54" y="48"/>
                    </a:lnTo>
                    <a:lnTo>
                      <a:pt x="56" y="48"/>
                    </a:lnTo>
                    <a:lnTo>
                      <a:pt x="54" y="46"/>
                    </a:lnTo>
                    <a:close/>
                    <a:moveTo>
                      <a:pt x="38" y="6"/>
                    </a:moveTo>
                    <a:lnTo>
                      <a:pt x="36" y="4"/>
                    </a:lnTo>
                    <a:lnTo>
                      <a:pt x="32" y="0"/>
                    </a:lnTo>
                    <a:lnTo>
                      <a:pt x="30" y="0"/>
                    </a:lnTo>
                    <a:lnTo>
                      <a:pt x="28" y="0"/>
                    </a:lnTo>
                    <a:lnTo>
                      <a:pt x="26" y="0"/>
                    </a:lnTo>
                    <a:lnTo>
                      <a:pt x="24" y="0"/>
                    </a:lnTo>
                    <a:lnTo>
                      <a:pt x="26" y="2"/>
                    </a:lnTo>
                    <a:lnTo>
                      <a:pt x="28" y="2"/>
                    </a:lnTo>
                    <a:lnTo>
                      <a:pt x="30" y="4"/>
                    </a:lnTo>
                    <a:lnTo>
                      <a:pt x="30" y="6"/>
                    </a:lnTo>
                    <a:lnTo>
                      <a:pt x="28" y="8"/>
                    </a:lnTo>
                    <a:lnTo>
                      <a:pt x="28" y="10"/>
                    </a:lnTo>
                    <a:lnTo>
                      <a:pt x="24" y="12"/>
                    </a:lnTo>
                    <a:lnTo>
                      <a:pt x="24" y="14"/>
                    </a:lnTo>
                    <a:lnTo>
                      <a:pt x="22" y="14"/>
                    </a:lnTo>
                    <a:lnTo>
                      <a:pt x="22" y="16"/>
                    </a:lnTo>
                    <a:lnTo>
                      <a:pt x="30" y="16"/>
                    </a:lnTo>
                    <a:lnTo>
                      <a:pt x="32" y="14"/>
                    </a:lnTo>
                    <a:lnTo>
                      <a:pt x="34" y="12"/>
                    </a:lnTo>
                    <a:lnTo>
                      <a:pt x="36" y="10"/>
                    </a:lnTo>
                    <a:lnTo>
                      <a:pt x="38" y="8"/>
                    </a:lnTo>
                    <a:lnTo>
                      <a:pt x="38" y="6"/>
                    </a:lnTo>
                    <a:close/>
                    <a:moveTo>
                      <a:pt x="18" y="2"/>
                    </a:moveTo>
                    <a:lnTo>
                      <a:pt x="10" y="2"/>
                    </a:lnTo>
                    <a:lnTo>
                      <a:pt x="8" y="2"/>
                    </a:lnTo>
                    <a:lnTo>
                      <a:pt x="6" y="2"/>
                    </a:lnTo>
                    <a:lnTo>
                      <a:pt x="4" y="4"/>
                    </a:lnTo>
                    <a:lnTo>
                      <a:pt x="2" y="4"/>
                    </a:lnTo>
                    <a:lnTo>
                      <a:pt x="0" y="6"/>
                    </a:lnTo>
                    <a:lnTo>
                      <a:pt x="0" y="8"/>
                    </a:lnTo>
                    <a:lnTo>
                      <a:pt x="14" y="8"/>
                    </a:lnTo>
                    <a:lnTo>
                      <a:pt x="16" y="6"/>
                    </a:lnTo>
                    <a:lnTo>
                      <a:pt x="18" y="4"/>
                    </a:lnTo>
                    <a:lnTo>
                      <a:pt x="18" y="2"/>
                    </a:lnTo>
                    <a:close/>
                    <a:moveTo>
                      <a:pt x="90" y="82"/>
                    </a:moveTo>
                    <a:lnTo>
                      <a:pt x="90" y="82"/>
                    </a:lnTo>
                    <a:lnTo>
                      <a:pt x="90" y="80"/>
                    </a:lnTo>
                    <a:lnTo>
                      <a:pt x="84" y="80"/>
                    </a:lnTo>
                    <a:lnTo>
                      <a:pt x="84" y="82"/>
                    </a:lnTo>
                    <a:lnTo>
                      <a:pt x="86" y="84"/>
                    </a:lnTo>
                    <a:lnTo>
                      <a:pt x="88" y="84"/>
                    </a:lnTo>
                    <a:lnTo>
                      <a:pt x="90" y="84"/>
                    </a:lnTo>
                    <a:lnTo>
                      <a:pt x="90" y="86"/>
                    </a:lnTo>
                    <a:lnTo>
                      <a:pt x="92" y="84"/>
                    </a:lnTo>
                    <a:lnTo>
                      <a:pt x="90" y="82"/>
                    </a:lnTo>
                    <a:close/>
                    <a:moveTo>
                      <a:pt x="82" y="104"/>
                    </a:moveTo>
                    <a:lnTo>
                      <a:pt x="82" y="106"/>
                    </a:lnTo>
                    <a:lnTo>
                      <a:pt x="80" y="106"/>
                    </a:lnTo>
                    <a:lnTo>
                      <a:pt x="78" y="104"/>
                    </a:lnTo>
                    <a:lnTo>
                      <a:pt x="76" y="104"/>
                    </a:lnTo>
                    <a:lnTo>
                      <a:pt x="74" y="104"/>
                    </a:lnTo>
                    <a:lnTo>
                      <a:pt x="74" y="106"/>
                    </a:lnTo>
                    <a:lnTo>
                      <a:pt x="74" y="108"/>
                    </a:lnTo>
                    <a:lnTo>
                      <a:pt x="72" y="108"/>
                    </a:lnTo>
                    <a:lnTo>
                      <a:pt x="72" y="112"/>
                    </a:lnTo>
                    <a:lnTo>
                      <a:pt x="82" y="112"/>
                    </a:lnTo>
                    <a:lnTo>
                      <a:pt x="82" y="108"/>
                    </a:lnTo>
                    <a:lnTo>
                      <a:pt x="84" y="106"/>
                    </a:lnTo>
                    <a:lnTo>
                      <a:pt x="84" y="104"/>
                    </a:lnTo>
                    <a:lnTo>
                      <a:pt x="84" y="102"/>
                    </a:lnTo>
                    <a:lnTo>
                      <a:pt x="82" y="104"/>
                    </a:lnTo>
                    <a:close/>
                    <a:moveTo>
                      <a:pt x="74" y="80"/>
                    </a:moveTo>
                    <a:lnTo>
                      <a:pt x="74" y="78"/>
                    </a:lnTo>
                    <a:lnTo>
                      <a:pt x="74" y="76"/>
                    </a:lnTo>
                    <a:lnTo>
                      <a:pt x="72" y="76"/>
                    </a:lnTo>
                    <a:lnTo>
                      <a:pt x="70" y="78"/>
                    </a:lnTo>
                    <a:lnTo>
                      <a:pt x="70" y="80"/>
                    </a:lnTo>
                    <a:lnTo>
                      <a:pt x="68" y="82"/>
                    </a:lnTo>
                    <a:lnTo>
                      <a:pt x="68" y="84"/>
                    </a:lnTo>
                    <a:lnTo>
                      <a:pt x="68" y="86"/>
                    </a:lnTo>
                    <a:lnTo>
                      <a:pt x="70" y="84"/>
                    </a:lnTo>
                    <a:lnTo>
                      <a:pt x="70" y="82"/>
                    </a:lnTo>
                    <a:lnTo>
                      <a:pt x="72" y="82"/>
                    </a:lnTo>
                    <a:lnTo>
                      <a:pt x="74" y="8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1" name="Freeform 106">
                <a:extLst>
                  <a:ext uri="{FF2B5EF4-FFF2-40B4-BE49-F238E27FC236}">
                    <a16:creationId xmlns:a16="http://schemas.microsoft.com/office/drawing/2014/main" id="{4469B9E7-763A-441D-A741-AB6CFB29FF23}"/>
                  </a:ext>
                </a:extLst>
              </p:cNvPr>
              <p:cNvSpPr>
                <a:spLocks noChangeAspect="1"/>
              </p:cNvSpPr>
              <p:nvPr/>
            </p:nvSpPr>
            <p:spPr bwMode="auto">
              <a:xfrm>
                <a:off x="4784317" y="2431401"/>
                <a:ext cx="243365" cy="184860"/>
              </a:xfrm>
              <a:custGeom>
                <a:avLst/>
                <a:gdLst/>
                <a:ahLst/>
                <a:cxnLst>
                  <a:cxn ang="0">
                    <a:pos x="112" y="98"/>
                  </a:cxn>
                  <a:cxn ang="0">
                    <a:pos x="120" y="104"/>
                  </a:cxn>
                  <a:cxn ang="0">
                    <a:pos x="126" y="106"/>
                  </a:cxn>
                  <a:cxn ang="0">
                    <a:pos x="132" y="106"/>
                  </a:cxn>
                  <a:cxn ang="0">
                    <a:pos x="130" y="96"/>
                  </a:cxn>
                  <a:cxn ang="0">
                    <a:pos x="138" y="84"/>
                  </a:cxn>
                  <a:cxn ang="0">
                    <a:pos x="144" y="80"/>
                  </a:cxn>
                  <a:cxn ang="0">
                    <a:pos x="146" y="76"/>
                  </a:cxn>
                  <a:cxn ang="0">
                    <a:pos x="148" y="72"/>
                  </a:cxn>
                  <a:cxn ang="0">
                    <a:pos x="140" y="64"/>
                  </a:cxn>
                  <a:cxn ang="0">
                    <a:pos x="138" y="58"/>
                  </a:cxn>
                  <a:cxn ang="0">
                    <a:pos x="138" y="56"/>
                  </a:cxn>
                  <a:cxn ang="0">
                    <a:pos x="136" y="48"/>
                  </a:cxn>
                  <a:cxn ang="0">
                    <a:pos x="134" y="44"/>
                  </a:cxn>
                  <a:cxn ang="0">
                    <a:pos x="136" y="38"/>
                  </a:cxn>
                  <a:cxn ang="0">
                    <a:pos x="140" y="36"/>
                  </a:cxn>
                  <a:cxn ang="0">
                    <a:pos x="140" y="28"/>
                  </a:cxn>
                  <a:cxn ang="0">
                    <a:pos x="134" y="20"/>
                  </a:cxn>
                  <a:cxn ang="0">
                    <a:pos x="132" y="12"/>
                  </a:cxn>
                  <a:cxn ang="0">
                    <a:pos x="126" y="8"/>
                  </a:cxn>
                  <a:cxn ang="0">
                    <a:pos x="120" y="8"/>
                  </a:cxn>
                  <a:cxn ang="0">
                    <a:pos x="108" y="8"/>
                  </a:cxn>
                  <a:cxn ang="0">
                    <a:pos x="96" y="8"/>
                  </a:cxn>
                  <a:cxn ang="0">
                    <a:pos x="84" y="8"/>
                  </a:cxn>
                  <a:cxn ang="0">
                    <a:pos x="82" y="6"/>
                  </a:cxn>
                  <a:cxn ang="0">
                    <a:pos x="68" y="8"/>
                  </a:cxn>
                  <a:cxn ang="0">
                    <a:pos x="64" y="2"/>
                  </a:cxn>
                  <a:cxn ang="0">
                    <a:pos x="56" y="0"/>
                  </a:cxn>
                  <a:cxn ang="0">
                    <a:pos x="34" y="6"/>
                  </a:cxn>
                  <a:cxn ang="0">
                    <a:pos x="28" y="10"/>
                  </a:cxn>
                  <a:cxn ang="0">
                    <a:pos x="16" y="10"/>
                  </a:cxn>
                  <a:cxn ang="0">
                    <a:pos x="10" y="12"/>
                  </a:cxn>
                  <a:cxn ang="0">
                    <a:pos x="4" y="20"/>
                  </a:cxn>
                  <a:cxn ang="0">
                    <a:pos x="2" y="22"/>
                  </a:cxn>
                  <a:cxn ang="0">
                    <a:pos x="4" y="26"/>
                  </a:cxn>
                  <a:cxn ang="0">
                    <a:pos x="0" y="34"/>
                  </a:cxn>
                  <a:cxn ang="0">
                    <a:pos x="2" y="36"/>
                  </a:cxn>
                  <a:cxn ang="0">
                    <a:pos x="6" y="38"/>
                  </a:cxn>
                  <a:cxn ang="0">
                    <a:pos x="8" y="44"/>
                  </a:cxn>
                  <a:cxn ang="0">
                    <a:pos x="8" y="48"/>
                  </a:cxn>
                  <a:cxn ang="0">
                    <a:pos x="8" y="52"/>
                  </a:cxn>
                  <a:cxn ang="0">
                    <a:pos x="10" y="56"/>
                  </a:cxn>
                  <a:cxn ang="0">
                    <a:pos x="10" y="60"/>
                  </a:cxn>
                  <a:cxn ang="0">
                    <a:pos x="14" y="64"/>
                  </a:cxn>
                  <a:cxn ang="0">
                    <a:pos x="14" y="70"/>
                  </a:cxn>
                  <a:cxn ang="0">
                    <a:pos x="18" y="72"/>
                  </a:cxn>
                  <a:cxn ang="0">
                    <a:pos x="22" y="74"/>
                  </a:cxn>
                  <a:cxn ang="0">
                    <a:pos x="28" y="78"/>
                  </a:cxn>
                  <a:cxn ang="0">
                    <a:pos x="34" y="78"/>
                  </a:cxn>
                  <a:cxn ang="0">
                    <a:pos x="34" y="80"/>
                  </a:cxn>
                  <a:cxn ang="0">
                    <a:pos x="40" y="84"/>
                  </a:cxn>
                  <a:cxn ang="0">
                    <a:pos x="46" y="82"/>
                  </a:cxn>
                  <a:cxn ang="0">
                    <a:pos x="50" y="82"/>
                  </a:cxn>
                  <a:cxn ang="0">
                    <a:pos x="56" y="88"/>
                  </a:cxn>
                  <a:cxn ang="0">
                    <a:pos x="60" y="86"/>
                  </a:cxn>
                  <a:cxn ang="0">
                    <a:pos x="68" y="90"/>
                  </a:cxn>
                  <a:cxn ang="0">
                    <a:pos x="70" y="94"/>
                  </a:cxn>
                  <a:cxn ang="0">
                    <a:pos x="74" y="98"/>
                  </a:cxn>
                  <a:cxn ang="0">
                    <a:pos x="84" y="100"/>
                  </a:cxn>
                  <a:cxn ang="0">
                    <a:pos x="86" y="102"/>
                  </a:cxn>
                  <a:cxn ang="0">
                    <a:pos x="92" y="100"/>
                  </a:cxn>
                  <a:cxn ang="0">
                    <a:pos x="98" y="100"/>
                  </a:cxn>
                </a:cxnLst>
                <a:rect l="0" t="0" r="r" b="b"/>
                <a:pathLst>
                  <a:path w="148" h="106">
                    <a:moveTo>
                      <a:pt x="102" y="102"/>
                    </a:moveTo>
                    <a:lnTo>
                      <a:pt x="102" y="100"/>
                    </a:lnTo>
                    <a:lnTo>
                      <a:pt x="104" y="100"/>
                    </a:lnTo>
                    <a:lnTo>
                      <a:pt x="106" y="100"/>
                    </a:lnTo>
                    <a:lnTo>
                      <a:pt x="108" y="98"/>
                    </a:lnTo>
                    <a:lnTo>
                      <a:pt x="110" y="98"/>
                    </a:lnTo>
                    <a:lnTo>
                      <a:pt x="112" y="98"/>
                    </a:lnTo>
                    <a:lnTo>
                      <a:pt x="114" y="98"/>
                    </a:lnTo>
                    <a:lnTo>
                      <a:pt x="114" y="100"/>
                    </a:lnTo>
                    <a:lnTo>
                      <a:pt x="116" y="100"/>
                    </a:lnTo>
                    <a:lnTo>
                      <a:pt x="116" y="102"/>
                    </a:lnTo>
                    <a:lnTo>
                      <a:pt x="118" y="102"/>
                    </a:lnTo>
                    <a:lnTo>
                      <a:pt x="120" y="104"/>
                    </a:lnTo>
                    <a:lnTo>
                      <a:pt x="122" y="104"/>
                    </a:lnTo>
                    <a:lnTo>
                      <a:pt x="124" y="104"/>
                    </a:lnTo>
                    <a:lnTo>
                      <a:pt x="126" y="104"/>
                    </a:lnTo>
                    <a:lnTo>
                      <a:pt x="126" y="106"/>
                    </a:lnTo>
                    <a:lnTo>
                      <a:pt x="128" y="106"/>
                    </a:lnTo>
                    <a:lnTo>
                      <a:pt x="130" y="106"/>
                    </a:lnTo>
                    <a:lnTo>
                      <a:pt x="132" y="106"/>
                    </a:lnTo>
                    <a:lnTo>
                      <a:pt x="130" y="104"/>
                    </a:lnTo>
                    <a:lnTo>
                      <a:pt x="128" y="102"/>
                    </a:lnTo>
                    <a:lnTo>
                      <a:pt x="128" y="98"/>
                    </a:lnTo>
                    <a:lnTo>
                      <a:pt x="130" y="96"/>
                    </a:lnTo>
                    <a:lnTo>
                      <a:pt x="130" y="94"/>
                    </a:lnTo>
                    <a:lnTo>
                      <a:pt x="132" y="92"/>
                    </a:lnTo>
                    <a:lnTo>
                      <a:pt x="134" y="90"/>
                    </a:lnTo>
                    <a:lnTo>
                      <a:pt x="136" y="88"/>
                    </a:lnTo>
                    <a:lnTo>
                      <a:pt x="136" y="86"/>
                    </a:lnTo>
                    <a:lnTo>
                      <a:pt x="138" y="84"/>
                    </a:lnTo>
                    <a:lnTo>
                      <a:pt x="140" y="82"/>
                    </a:lnTo>
                    <a:lnTo>
                      <a:pt x="142" y="82"/>
                    </a:lnTo>
                    <a:lnTo>
                      <a:pt x="144" y="80"/>
                    </a:lnTo>
                    <a:lnTo>
                      <a:pt x="146" y="80"/>
                    </a:lnTo>
                    <a:lnTo>
                      <a:pt x="148" y="80"/>
                    </a:lnTo>
                    <a:lnTo>
                      <a:pt x="146" y="78"/>
                    </a:lnTo>
                    <a:lnTo>
                      <a:pt x="146" y="76"/>
                    </a:lnTo>
                    <a:lnTo>
                      <a:pt x="144" y="76"/>
                    </a:lnTo>
                    <a:lnTo>
                      <a:pt x="146" y="74"/>
                    </a:lnTo>
                    <a:lnTo>
                      <a:pt x="148" y="72"/>
                    </a:lnTo>
                    <a:lnTo>
                      <a:pt x="146" y="72"/>
                    </a:lnTo>
                    <a:lnTo>
                      <a:pt x="144" y="70"/>
                    </a:lnTo>
                    <a:lnTo>
                      <a:pt x="144" y="68"/>
                    </a:lnTo>
                    <a:lnTo>
                      <a:pt x="142" y="68"/>
                    </a:lnTo>
                    <a:lnTo>
                      <a:pt x="142" y="66"/>
                    </a:lnTo>
                    <a:lnTo>
                      <a:pt x="140" y="64"/>
                    </a:lnTo>
                    <a:lnTo>
                      <a:pt x="138" y="64"/>
                    </a:lnTo>
                    <a:lnTo>
                      <a:pt x="138" y="62"/>
                    </a:lnTo>
                    <a:lnTo>
                      <a:pt x="138" y="60"/>
                    </a:lnTo>
                    <a:lnTo>
                      <a:pt x="138" y="58"/>
                    </a:lnTo>
                    <a:lnTo>
                      <a:pt x="138" y="56"/>
                    </a:lnTo>
                    <a:lnTo>
                      <a:pt x="138" y="54"/>
                    </a:lnTo>
                    <a:lnTo>
                      <a:pt x="138" y="52"/>
                    </a:lnTo>
                    <a:lnTo>
                      <a:pt x="138" y="50"/>
                    </a:lnTo>
                    <a:lnTo>
                      <a:pt x="136" y="48"/>
                    </a:lnTo>
                    <a:lnTo>
                      <a:pt x="134" y="48"/>
                    </a:lnTo>
                    <a:lnTo>
                      <a:pt x="132" y="46"/>
                    </a:lnTo>
                    <a:lnTo>
                      <a:pt x="132" y="44"/>
                    </a:lnTo>
                    <a:lnTo>
                      <a:pt x="130" y="44"/>
                    </a:lnTo>
                    <a:lnTo>
                      <a:pt x="132" y="44"/>
                    </a:lnTo>
                    <a:lnTo>
                      <a:pt x="134" y="44"/>
                    </a:lnTo>
                    <a:lnTo>
                      <a:pt x="136" y="42"/>
                    </a:lnTo>
                    <a:lnTo>
                      <a:pt x="136" y="40"/>
                    </a:lnTo>
                    <a:lnTo>
                      <a:pt x="136" y="38"/>
                    </a:lnTo>
                    <a:lnTo>
                      <a:pt x="138" y="38"/>
                    </a:lnTo>
                    <a:lnTo>
                      <a:pt x="140" y="38"/>
                    </a:lnTo>
                    <a:lnTo>
                      <a:pt x="140" y="36"/>
                    </a:lnTo>
                    <a:lnTo>
                      <a:pt x="142" y="34"/>
                    </a:lnTo>
                    <a:lnTo>
                      <a:pt x="142" y="32"/>
                    </a:lnTo>
                    <a:lnTo>
                      <a:pt x="140" y="30"/>
                    </a:lnTo>
                    <a:lnTo>
                      <a:pt x="140" y="28"/>
                    </a:lnTo>
                    <a:lnTo>
                      <a:pt x="138" y="28"/>
                    </a:lnTo>
                    <a:lnTo>
                      <a:pt x="138" y="26"/>
                    </a:lnTo>
                    <a:lnTo>
                      <a:pt x="136" y="24"/>
                    </a:lnTo>
                    <a:lnTo>
                      <a:pt x="136" y="22"/>
                    </a:lnTo>
                    <a:lnTo>
                      <a:pt x="134" y="20"/>
                    </a:lnTo>
                    <a:lnTo>
                      <a:pt x="134" y="18"/>
                    </a:lnTo>
                    <a:lnTo>
                      <a:pt x="132" y="16"/>
                    </a:lnTo>
                    <a:lnTo>
                      <a:pt x="132" y="14"/>
                    </a:lnTo>
                    <a:lnTo>
                      <a:pt x="132" y="12"/>
                    </a:lnTo>
                    <a:lnTo>
                      <a:pt x="132" y="10"/>
                    </a:lnTo>
                    <a:lnTo>
                      <a:pt x="130" y="10"/>
                    </a:lnTo>
                    <a:lnTo>
                      <a:pt x="128" y="10"/>
                    </a:lnTo>
                    <a:lnTo>
                      <a:pt x="126" y="8"/>
                    </a:lnTo>
                    <a:lnTo>
                      <a:pt x="122" y="8"/>
                    </a:lnTo>
                    <a:lnTo>
                      <a:pt x="120" y="8"/>
                    </a:lnTo>
                    <a:lnTo>
                      <a:pt x="118" y="8"/>
                    </a:lnTo>
                    <a:lnTo>
                      <a:pt x="116" y="8"/>
                    </a:lnTo>
                    <a:lnTo>
                      <a:pt x="114" y="8"/>
                    </a:lnTo>
                    <a:lnTo>
                      <a:pt x="112" y="8"/>
                    </a:lnTo>
                    <a:lnTo>
                      <a:pt x="110" y="8"/>
                    </a:lnTo>
                    <a:lnTo>
                      <a:pt x="108" y="8"/>
                    </a:lnTo>
                    <a:lnTo>
                      <a:pt x="106" y="8"/>
                    </a:lnTo>
                    <a:lnTo>
                      <a:pt x="102" y="8"/>
                    </a:lnTo>
                    <a:lnTo>
                      <a:pt x="100" y="8"/>
                    </a:lnTo>
                    <a:lnTo>
                      <a:pt x="98" y="8"/>
                    </a:lnTo>
                    <a:lnTo>
                      <a:pt x="96" y="8"/>
                    </a:lnTo>
                    <a:lnTo>
                      <a:pt x="94" y="8"/>
                    </a:lnTo>
                    <a:lnTo>
                      <a:pt x="92" y="8"/>
                    </a:lnTo>
                    <a:lnTo>
                      <a:pt x="88" y="8"/>
                    </a:lnTo>
                    <a:lnTo>
                      <a:pt x="86" y="8"/>
                    </a:lnTo>
                    <a:lnTo>
                      <a:pt x="84" y="8"/>
                    </a:lnTo>
                    <a:lnTo>
                      <a:pt x="82" y="8"/>
                    </a:lnTo>
                    <a:lnTo>
                      <a:pt x="82" y="6"/>
                    </a:lnTo>
                    <a:lnTo>
                      <a:pt x="80" y="8"/>
                    </a:lnTo>
                    <a:lnTo>
                      <a:pt x="78" y="8"/>
                    </a:lnTo>
                    <a:lnTo>
                      <a:pt x="74" y="8"/>
                    </a:lnTo>
                    <a:lnTo>
                      <a:pt x="72" y="8"/>
                    </a:lnTo>
                    <a:lnTo>
                      <a:pt x="70" y="8"/>
                    </a:lnTo>
                    <a:lnTo>
                      <a:pt x="68" y="8"/>
                    </a:lnTo>
                    <a:lnTo>
                      <a:pt x="66" y="8"/>
                    </a:lnTo>
                    <a:lnTo>
                      <a:pt x="66" y="6"/>
                    </a:lnTo>
                    <a:lnTo>
                      <a:pt x="64" y="4"/>
                    </a:lnTo>
                    <a:lnTo>
                      <a:pt x="64" y="2"/>
                    </a:lnTo>
                    <a:lnTo>
                      <a:pt x="62" y="2"/>
                    </a:lnTo>
                    <a:lnTo>
                      <a:pt x="62" y="0"/>
                    </a:lnTo>
                    <a:lnTo>
                      <a:pt x="60" y="0"/>
                    </a:lnTo>
                    <a:lnTo>
                      <a:pt x="58" y="0"/>
                    </a:lnTo>
                    <a:lnTo>
                      <a:pt x="56" y="0"/>
                    </a:lnTo>
                    <a:lnTo>
                      <a:pt x="52" y="0"/>
                    </a:lnTo>
                    <a:lnTo>
                      <a:pt x="50" y="0"/>
                    </a:lnTo>
                    <a:lnTo>
                      <a:pt x="48" y="0"/>
                    </a:lnTo>
                    <a:lnTo>
                      <a:pt x="44" y="2"/>
                    </a:lnTo>
                    <a:lnTo>
                      <a:pt x="42" y="4"/>
                    </a:lnTo>
                    <a:lnTo>
                      <a:pt x="38" y="4"/>
                    </a:lnTo>
                    <a:lnTo>
                      <a:pt x="36" y="6"/>
                    </a:lnTo>
                    <a:lnTo>
                      <a:pt x="34" y="6"/>
                    </a:lnTo>
                    <a:lnTo>
                      <a:pt x="32" y="8"/>
                    </a:lnTo>
                    <a:lnTo>
                      <a:pt x="30" y="8"/>
                    </a:lnTo>
                    <a:lnTo>
                      <a:pt x="28" y="8"/>
                    </a:lnTo>
                    <a:lnTo>
                      <a:pt x="28" y="10"/>
                    </a:lnTo>
                    <a:lnTo>
                      <a:pt x="26" y="10"/>
                    </a:lnTo>
                    <a:lnTo>
                      <a:pt x="24" y="10"/>
                    </a:lnTo>
                    <a:lnTo>
                      <a:pt x="22" y="10"/>
                    </a:lnTo>
                    <a:lnTo>
                      <a:pt x="20" y="10"/>
                    </a:lnTo>
                    <a:lnTo>
                      <a:pt x="18" y="10"/>
                    </a:lnTo>
                    <a:lnTo>
                      <a:pt x="16" y="10"/>
                    </a:lnTo>
                    <a:lnTo>
                      <a:pt x="16" y="12"/>
                    </a:lnTo>
                    <a:lnTo>
                      <a:pt x="14" y="12"/>
                    </a:lnTo>
                    <a:lnTo>
                      <a:pt x="12" y="12"/>
                    </a:lnTo>
                    <a:lnTo>
                      <a:pt x="10" y="12"/>
                    </a:lnTo>
                    <a:lnTo>
                      <a:pt x="8" y="14"/>
                    </a:lnTo>
                    <a:lnTo>
                      <a:pt x="6" y="14"/>
                    </a:lnTo>
                    <a:lnTo>
                      <a:pt x="6" y="16"/>
                    </a:lnTo>
                    <a:lnTo>
                      <a:pt x="4" y="16"/>
                    </a:lnTo>
                    <a:lnTo>
                      <a:pt x="4" y="18"/>
                    </a:lnTo>
                    <a:lnTo>
                      <a:pt x="4" y="20"/>
                    </a:lnTo>
                    <a:lnTo>
                      <a:pt x="4" y="22"/>
                    </a:lnTo>
                    <a:lnTo>
                      <a:pt x="2" y="20"/>
                    </a:lnTo>
                    <a:lnTo>
                      <a:pt x="2" y="22"/>
                    </a:lnTo>
                    <a:lnTo>
                      <a:pt x="2" y="24"/>
                    </a:lnTo>
                    <a:lnTo>
                      <a:pt x="4" y="24"/>
                    </a:lnTo>
                    <a:lnTo>
                      <a:pt x="4" y="26"/>
                    </a:lnTo>
                    <a:lnTo>
                      <a:pt x="6" y="28"/>
                    </a:lnTo>
                    <a:lnTo>
                      <a:pt x="6" y="30"/>
                    </a:lnTo>
                    <a:lnTo>
                      <a:pt x="4" y="30"/>
                    </a:lnTo>
                    <a:lnTo>
                      <a:pt x="4" y="32"/>
                    </a:lnTo>
                    <a:lnTo>
                      <a:pt x="2" y="32"/>
                    </a:lnTo>
                    <a:lnTo>
                      <a:pt x="0" y="34"/>
                    </a:lnTo>
                    <a:lnTo>
                      <a:pt x="0" y="36"/>
                    </a:lnTo>
                    <a:lnTo>
                      <a:pt x="2" y="36"/>
                    </a:lnTo>
                    <a:lnTo>
                      <a:pt x="2" y="38"/>
                    </a:lnTo>
                    <a:lnTo>
                      <a:pt x="2" y="36"/>
                    </a:lnTo>
                    <a:lnTo>
                      <a:pt x="4" y="36"/>
                    </a:lnTo>
                    <a:lnTo>
                      <a:pt x="4" y="38"/>
                    </a:lnTo>
                    <a:lnTo>
                      <a:pt x="4" y="40"/>
                    </a:lnTo>
                    <a:lnTo>
                      <a:pt x="4" y="38"/>
                    </a:lnTo>
                    <a:lnTo>
                      <a:pt x="6" y="38"/>
                    </a:lnTo>
                    <a:lnTo>
                      <a:pt x="8" y="40"/>
                    </a:lnTo>
                    <a:lnTo>
                      <a:pt x="8" y="42"/>
                    </a:lnTo>
                    <a:lnTo>
                      <a:pt x="8" y="44"/>
                    </a:lnTo>
                    <a:lnTo>
                      <a:pt x="6" y="44"/>
                    </a:lnTo>
                    <a:lnTo>
                      <a:pt x="6" y="46"/>
                    </a:lnTo>
                    <a:lnTo>
                      <a:pt x="8" y="46"/>
                    </a:lnTo>
                    <a:lnTo>
                      <a:pt x="8" y="48"/>
                    </a:lnTo>
                    <a:lnTo>
                      <a:pt x="8" y="50"/>
                    </a:lnTo>
                    <a:lnTo>
                      <a:pt x="10" y="50"/>
                    </a:lnTo>
                    <a:lnTo>
                      <a:pt x="8" y="52"/>
                    </a:lnTo>
                    <a:lnTo>
                      <a:pt x="8" y="54"/>
                    </a:lnTo>
                    <a:lnTo>
                      <a:pt x="6" y="54"/>
                    </a:lnTo>
                    <a:lnTo>
                      <a:pt x="6" y="56"/>
                    </a:lnTo>
                    <a:lnTo>
                      <a:pt x="8" y="56"/>
                    </a:lnTo>
                    <a:lnTo>
                      <a:pt x="10" y="56"/>
                    </a:lnTo>
                    <a:lnTo>
                      <a:pt x="10" y="58"/>
                    </a:lnTo>
                    <a:lnTo>
                      <a:pt x="10" y="60"/>
                    </a:lnTo>
                    <a:lnTo>
                      <a:pt x="10" y="62"/>
                    </a:lnTo>
                    <a:lnTo>
                      <a:pt x="10" y="60"/>
                    </a:lnTo>
                    <a:lnTo>
                      <a:pt x="12" y="60"/>
                    </a:lnTo>
                    <a:lnTo>
                      <a:pt x="14" y="60"/>
                    </a:lnTo>
                    <a:lnTo>
                      <a:pt x="14" y="62"/>
                    </a:lnTo>
                    <a:lnTo>
                      <a:pt x="14" y="64"/>
                    </a:lnTo>
                    <a:lnTo>
                      <a:pt x="12" y="64"/>
                    </a:lnTo>
                    <a:lnTo>
                      <a:pt x="14" y="64"/>
                    </a:lnTo>
                    <a:lnTo>
                      <a:pt x="14" y="66"/>
                    </a:lnTo>
                    <a:lnTo>
                      <a:pt x="14" y="68"/>
                    </a:lnTo>
                    <a:lnTo>
                      <a:pt x="14" y="70"/>
                    </a:lnTo>
                    <a:lnTo>
                      <a:pt x="16" y="70"/>
                    </a:lnTo>
                    <a:lnTo>
                      <a:pt x="18" y="70"/>
                    </a:lnTo>
                    <a:lnTo>
                      <a:pt x="18" y="72"/>
                    </a:lnTo>
                    <a:lnTo>
                      <a:pt x="18" y="74"/>
                    </a:lnTo>
                    <a:lnTo>
                      <a:pt x="20" y="72"/>
                    </a:lnTo>
                    <a:lnTo>
                      <a:pt x="22" y="72"/>
                    </a:lnTo>
                    <a:lnTo>
                      <a:pt x="22" y="74"/>
                    </a:lnTo>
                    <a:lnTo>
                      <a:pt x="24" y="74"/>
                    </a:lnTo>
                    <a:lnTo>
                      <a:pt x="26" y="74"/>
                    </a:lnTo>
                    <a:lnTo>
                      <a:pt x="26" y="76"/>
                    </a:lnTo>
                    <a:lnTo>
                      <a:pt x="28" y="76"/>
                    </a:lnTo>
                    <a:lnTo>
                      <a:pt x="28" y="78"/>
                    </a:lnTo>
                    <a:lnTo>
                      <a:pt x="30" y="78"/>
                    </a:lnTo>
                    <a:lnTo>
                      <a:pt x="32" y="78"/>
                    </a:lnTo>
                    <a:lnTo>
                      <a:pt x="34" y="76"/>
                    </a:lnTo>
                    <a:lnTo>
                      <a:pt x="34" y="78"/>
                    </a:lnTo>
                    <a:lnTo>
                      <a:pt x="36" y="78"/>
                    </a:lnTo>
                    <a:lnTo>
                      <a:pt x="34" y="80"/>
                    </a:lnTo>
                    <a:lnTo>
                      <a:pt x="32" y="80"/>
                    </a:lnTo>
                    <a:lnTo>
                      <a:pt x="34" y="80"/>
                    </a:lnTo>
                    <a:lnTo>
                      <a:pt x="34" y="82"/>
                    </a:lnTo>
                    <a:lnTo>
                      <a:pt x="36" y="82"/>
                    </a:lnTo>
                    <a:lnTo>
                      <a:pt x="36" y="84"/>
                    </a:lnTo>
                    <a:lnTo>
                      <a:pt x="38" y="84"/>
                    </a:lnTo>
                    <a:lnTo>
                      <a:pt x="40" y="84"/>
                    </a:lnTo>
                    <a:lnTo>
                      <a:pt x="42" y="84"/>
                    </a:lnTo>
                    <a:lnTo>
                      <a:pt x="44" y="84"/>
                    </a:lnTo>
                    <a:lnTo>
                      <a:pt x="44" y="82"/>
                    </a:lnTo>
                    <a:lnTo>
                      <a:pt x="46" y="82"/>
                    </a:lnTo>
                    <a:lnTo>
                      <a:pt x="48" y="82"/>
                    </a:lnTo>
                    <a:lnTo>
                      <a:pt x="50" y="82"/>
                    </a:lnTo>
                    <a:lnTo>
                      <a:pt x="50" y="84"/>
                    </a:lnTo>
                    <a:lnTo>
                      <a:pt x="52" y="84"/>
                    </a:lnTo>
                    <a:lnTo>
                      <a:pt x="54" y="84"/>
                    </a:lnTo>
                    <a:lnTo>
                      <a:pt x="56" y="86"/>
                    </a:lnTo>
                    <a:lnTo>
                      <a:pt x="56" y="88"/>
                    </a:lnTo>
                    <a:lnTo>
                      <a:pt x="58" y="88"/>
                    </a:lnTo>
                    <a:lnTo>
                      <a:pt x="60" y="86"/>
                    </a:lnTo>
                    <a:lnTo>
                      <a:pt x="60" y="88"/>
                    </a:lnTo>
                    <a:lnTo>
                      <a:pt x="62" y="90"/>
                    </a:lnTo>
                    <a:lnTo>
                      <a:pt x="64" y="90"/>
                    </a:lnTo>
                    <a:lnTo>
                      <a:pt x="66" y="90"/>
                    </a:lnTo>
                    <a:lnTo>
                      <a:pt x="68" y="90"/>
                    </a:lnTo>
                    <a:lnTo>
                      <a:pt x="68" y="92"/>
                    </a:lnTo>
                    <a:lnTo>
                      <a:pt x="68" y="94"/>
                    </a:lnTo>
                    <a:lnTo>
                      <a:pt x="70" y="94"/>
                    </a:lnTo>
                    <a:lnTo>
                      <a:pt x="70" y="96"/>
                    </a:lnTo>
                    <a:lnTo>
                      <a:pt x="72" y="96"/>
                    </a:lnTo>
                    <a:lnTo>
                      <a:pt x="72" y="98"/>
                    </a:lnTo>
                    <a:lnTo>
                      <a:pt x="74" y="98"/>
                    </a:lnTo>
                    <a:lnTo>
                      <a:pt x="76" y="98"/>
                    </a:lnTo>
                    <a:lnTo>
                      <a:pt x="80" y="96"/>
                    </a:lnTo>
                    <a:lnTo>
                      <a:pt x="82" y="96"/>
                    </a:lnTo>
                    <a:lnTo>
                      <a:pt x="82" y="98"/>
                    </a:lnTo>
                    <a:lnTo>
                      <a:pt x="84" y="98"/>
                    </a:lnTo>
                    <a:lnTo>
                      <a:pt x="84" y="100"/>
                    </a:lnTo>
                    <a:lnTo>
                      <a:pt x="86" y="100"/>
                    </a:lnTo>
                    <a:lnTo>
                      <a:pt x="86" y="102"/>
                    </a:lnTo>
                    <a:lnTo>
                      <a:pt x="88" y="102"/>
                    </a:lnTo>
                    <a:lnTo>
                      <a:pt x="90" y="102"/>
                    </a:lnTo>
                    <a:lnTo>
                      <a:pt x="92" y="102"/>
                    </a:lnTo>
                    <a:lnTo>
                      <a:pt x="92" y="100"/>
                    </a:lnTo>
                    <a:lnTo>
                      <a:pt x="94" y="100"/>
                    </a:lnTo>
                    <a:lnTo>
                      <a:pt x="96" y="100"/>
                    </a:lnTo>
                    <a:lnTo>
                      <a:pt x="98" y="100"/>
                    </a:lnTo>
                    <a:lnTo>
                      <a:pt x="100" y="100"/>
                    </a:lnTo>
                    <a:lnTo>
                      <a:pt x="102" y="10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2" name="Freeform 108">
                <a:extLst>
                  <a:ext uri="{FF2B5EF4-FFF2-40B4-BE49-F238E27FC236}">
                    <a16:creationId xmlns:a16="http://schemas.microsoft.com/office/drawing/2014/main" id="{C7ACCAD8-766C-47D9-8F1D-9F9AFAD2315D}"/>
                  </a:ext>
                </a:extLst>
              </p:cNvPr>
              <p:cNvSpPr>
                <a:spLocks noChangeAspect="1"/>
              </p:cNvSpPr>
              <p:nvPr/>
            </p:nvSpPr>
            <p:spPr bwMode="auto">
              <a:xfrm>
                <a:off x="4902711" y="1974482"/>
                <a:ext cx="249943" cy="296474"/>
              </a:xfrm>
              <a:custGeom>
                <a:avLst/>
                <a:gdLst/>
                <a:ahLst/>
                <a:cxnLst>
                  <a:cxn ang="0">
                    <a:pos x="30" y="20"/>
                  </a:cxn>
                  <a:cxn ang="0">
                    <a:pos x="22" y="20"/>
                  </a:cxn>
                  <a:cxn ang="0">
                    <a:pos x="16" y="16"/>
                  </a:cxn>
                  <a:cxn ang="0">
                    <a:pos x="6" y="12"/>
                  </a:cxn>
                  <a:cxn ang="0">
                    <a:pos x="2" y="14"/>
                  </a:cxn>
                  <a:cxn ang="0">
                    <a:pos x="4" y="18"/>
                  </a:cxn>
                  <a:cxn ang="0">
                    <a:pos x="18" y="24"/>
                  </a:cxn>
                  <a:cxn ang="0">
                    <a:pos x="28" y="26"/>
                  </a:cxn>
                  <a:cxn ang="0">
                    <a:pos x="38" y="30"/>
                  </a:cxn>
                  <a:cxn ang="0">
                    <a:pos x="38" y="40"/>
                  </a:cxn>
                  <a:cxn ang="0">
                    <a:pos x="40" y="46"/>
                  </a:cxn>
                  <a:cxn ang="0">
                    <a:pos x="46" y="50"/>
                  </a:cxn>
                  <a:cxn ang="0">
                    <a:pos x="46" y="62"/>
                  </a:cxn>
                  <a:cxn ang="0">
                    <a:pos x="50" y="72"/>
                  </a:cxn>
                  <a:cxn ang="0">
                    <a:pos x="56" y="70"/>
                  </a:cxn>
                  <a:cxn ang="0">
                    <a:pos x="66" y="82"/>
                  </a:cxn>
                  <a:cxn ang="0">
                    <a:pos x="60" y="84"/>
                  </a:cxn>
                  <a:cxn ang="0">
                    <a:pos x="46" y="98"/>
                  </a:cxn>
                  <a:cxn ang="0">
                    <a:pos x="36" y="102"/>
                  </a:cxn>
                  <a:cxn ang="0">
                    <a:pos x="28" y="110"/>
                  </a:cxn>
                  <a:cxn ang="0">
                    <a:pos x="18" y="118"/>
                  </a:cxn>
                  <a:cxn ang="0">
                    <a:pos x="18" y="126"/>
                  </a:cxn>
                  <a:cxn ang="0">
                    <a:pos x="18" y="134"/>
                  </a:cxn>
                  <a:cxn ang="0">
                    <a:pos x="24" y="140"/>
                  </a:cxn>
                  <a:cxn ang="0">
                    <a:pos x="26" y="160"/>
                  </a:cxn>
                  <a:cxn ang="0">
                    <a:pos x="36" y="164"/>
                  </a:cxn>
                  <a:cxn ang="0">
                    <a:pos x="42" y="166"/>
                  </a:cxn>
                  <a:cxn ang="0">
                    <a:pos x="62" y="168"/>
                  </a:cxn>
                  <a:cxn ang="0">
                    <a:pos x="72" y="164"/>
                  </a:cxn>
                  <a:cxn ang="0">
                    <a:pos x="82" y="164"/>
                  </a:cxn>
                  <a:cxn ang="0">
                    <a:pos x="96" y="158"/>
                  </a:cxn>
                  <a:cxn ang="0">
                    <a:pos x="110" y="160"/>
                  </a:cxn>
                  <a:cxn ang="0">
                    <a:pos x="110" y="156"/>
                  </a:cxn>
                  <a:cxn ang="0">
                    <a:pos x="126" y="146"/>
                  </a:cxn>
                  <a:cxn ang="0">
                    <a:pos x="140" y="134"/>
                  </a:cxn>
                  <a:cxn ang="0">
                    <a:pos x="152" y="122"/>
                  </a:cxn>
                  <a:cxn ang="0">
                    <a:pos x="142" y="108"/>
                  </a:cxn>
                  <a:cxn ang="0">
                    <a:pos x="130" y="104"/>
                  </a:cxn>
                  <a:cxn ang="0">
                    <a:pos x="138" y="96"/>
                  </a:cxn>
                  <a:cxn ang="0">
                    <a:pos x="128" y="92"/>
                  </a:cxn>
                  <a:cxn ang="0">
                    <a:pos x="128" y="84"/>
                  </a:cxn>
                  <a:cxn ang="0">
                    <a:pos x="122" y="80"/>
                  </a:cxn>
                  <a:cxn ang="0">
                    <a:pos x="122" y="72"/>
                  </a:cxn>
                  <a:cxn ang="0">
                    <a:pos x="130" y="70"/>
                  </a:cxn>
                  <a:cxn ang="0">
                    <a:pos x="114" y="56"/>
                  </a:cxn>
                  <a:cxn ang="0">
                    <a:pos x="110" y="50"/>
                  </a:cxn>
                  <a:cxn ang="0">
                    <a:pos x="118" y="44"/>
                  </a:cxn>
                  <a:cxn ang="0">
                    <a:pos x="112" y="32"/>
                  </a:cxn>
                  <a:cxn ang="0">
                    <a:pos x="100" y="28"/>
                  </a:cxn>
                  <a:cxn ang="0">
                    <a:pos x="100" y="22"/>
                  </a:cxn>
                  <a:cxn ang="0">
                    <a:pos x="102" y="12"/>
                  </a:cxn>
                  <a:cxn ang="0">
                    <a:pos x="104" y="12"/>
                  </a:cxn>
                  <a:cxn ang="0">
                    <a:pos x="98" y="4"/>
                  </a:cxn>
                  <a:cxn ang="0">
                    <a:pos x="90" y="2"/>
                  </a:cxn>
                  <a:cxn ang="0">
                    <a:pos x="80" y="0"/>
                  </a:cxn>
                  <a:cxn ang="0">
                    <a:pos x="70" y="2"/>
                  </a:cxn>
                  <a:cxn ang="0">
                    <a:pos x="64" y="8"/>
                  </a:cxn>
                  <a:cxn ang="0">
                    <a:pos x="64" y="16"/>
                  </a:cxn>
                  <a:cxn ang="0">
                    <a:pos x="56" y="22"/>
                  </a:cxn>
                  <a:cxn ang="0">
                    <a:pos x="40" y="20"/>
                  </a:cxn>
                </a:cxnLst>
                <a:rect l="0" t="0" r="r" b="b"/>
                <a:pathLst>
                  <a:path w="152" h="170">
                    <a:moveTo>
                      <a:pt x="40" y="20"/>
                    </a:moveTo>
                    <a:lnTo>
                      <a:pt x="40" y="20"/>
                    </a:lnTo>
                    <a:lnTo>
                      <a:pt x="38" y="20"/>
                    </a:lnTo>
                    <a:lnTo>
                      <a:pt x="38" y="22"/>
                    </a:lnTo>
                    <a:lnTo>
                      <a:pt x="36" y="22"/>
                    </a:lnTo>
                    <a:lnTo>
                      <a:pt x="34" y="22"/>
                    </a:lnTo>
                    <a:lnTo>
                      <a:pt x="32" y="22"/>
                    </a:lnTo>
                    <a:lnTo>
                      <a:pt x="30" y="22"/>
                    </a:lnTo>
                    <a:lnTo>
                      <a:pt x="30" y="20"/>
                    </a:lnTo>
                    <a:lnTo>
                      <a:pt x="28" y="20"/>
                    </a:lnTo>
                    <a:lnTo>
                      <a:pt x="26" y="20"/>
                    </a:lnTo>
                    <a:lnTo>
                      <a:pt x="24" y="20"/>
                    </a:lnTo>
                    <a:lnTo>
                      <a:pt x="22" y="20"/>
                    </a:lnTo>
                    <a:lnTo>
                      <a:pt x="20" y="18"/>
                    </a:lnTo>
                    <a:lnTo>
                      <a:pt x="18" y="16"/>
                    </a:lnTo>
                    <a:lnTo>
                      <a:pt x="16" y="16"/>
                    </a:lnTo>
                    <a:lnTo>
                      <a:pt x="14" y="14"/>
                    </a:lnTo>
                    <a:lnTo>
                      <a:pt x="14" y="12"/>
                    </a:lnTo>
                    <a:lnTo>
                      <a:pt x="12" y="10"/>
                    </a:lnTo>
                    <a:lnTo>
                      <a:pt x="10" y="10"/>
                    </a:lnTo>
                    <a:lnTo>
                      <a:pt x="8" y="10"/>
                    </a:lnTo>
                    <a:lnTo>
                      <a:pt x="6" y="12"/>
                    </a:lnTo>
                    <a:lnTo>
                      <a:pt x="6" y="14"/>
                    </a:lnTo>
                    <a:lnTo>
                      <a:pt x="4" y="14"/>
                    </a:lnTo>
                    <a:lnTo>
                      <a:pt x="2" y="14"/>
                    </a:lnTo>
                    <a:lnTo>
                      <a:pt x="2" y="12"/>
                    </a:lnTo>
                    <a:lnTo>
                      <a:pt x="0" y="14"/>
                    </a:lnTo>
                    <a:lnTo>
                      <a:pt x="0" y="16"/>
                    </a:lnTo>
                    <a:lnTo>
                      <a:pt x="2" y="16"/>
                    </a:lnTo>
                    <a:lnTo>
                      <a:pt x="4" y="18"/>
                    </a:lnTo>
                    <a:lnTo>
                      <a:pt x="6" y="18"/>
                    </a:lnTo>
                    <a:lnTo>
                      <a:pt x="10" y="20"/>
                    </a:lnTo>
                    <a:lnTo>
                      <a:pt x="12" y="20"/>
                    </a:lnTo>
                    <a:lnTo>
                      <a:pt x="14" y="22"/>
                    </a:lnTo>
                    <a:lnTo>
                      <a:pt x="16" y="22"/>
                    </a:lnTo>
                    <a:lnTo>
                      <a:pt x="18" y="24"/>
                    </a:lnTo>
                    <a:lnTo>
                      <a:pt x="22" y="24"/>
                    </a:lnTo>
                    <a:lnTo>
                      <a:pt x="24" y="24"/>
                    </a:lnTo>
                    <a:lnTo>
                      <a:pt x="26" y="26"/>
                    </a:lnTo>
                    <a:lnTo>
                      <a:pt x="28" y="26"/>
                    </a:lnTo>
                    <a:lnTo>
                      <a:pt x="30" y="28"/>
                    </a:lnTo>
                    <a:lnTo>
                      <a:pt x="32" y="28"/>
                    </a:lnTo>
                    <a:lnTo>
                      <a:pt x="34" y="30"/>
                    </a:lnTo>
                    <a:lnTo>
                      <a:pt x="36" y="30"/>
                    </a:lnTo>
                    <a:lnTo>
                      <a:pt x="38" y="30"/>
                    </a:lnTo>
                    <a:lnTo>
                      <a:pt x="38" y="32"/>
                    </a:lnTo>
                    <a:lnTo>
                      <a:pt x="40" y="32"/>
                    </a:lnTo>
                    <a:lnTo>
                      <a:pt x="40" y="34"/>
                    </a:lnTo>
                    <a:lnTo>
                      <a:pt x="40" y="36"/>
                    </a:lnTo>
                    <a:lnTo>
                      <a:pt x="38" y="38"/>
                    </a:lnTo>
                    <a:lnTo>
                      <a:pt x="38" y="40"/>
                    </a:lnTo>
                    <a:lnTo>
                      <a:pt x="40" y="40"/>
                    </a:lnTo>
                    <a:lnTo>
                      <a:pt x="40" y="42"/>
                    </a:lnTo>
                    <a:lnTo>
                      <a:pt x="42" y="42"/>
                    </a:lnTo>
                    <a:lnTo>
                      <a:pt x="40" y="42"/>
                    </a:lnTo>
                    <a:lnTo>
                      <a:pt x="40" y="44"/>
                    </a:lnTo>
                    <a:lnTo>
                      <a:pt x="40" y="46"/>
                    </a:lnTo>
                    <a:lnTo>
                      <a:pt x="42" y="48"/>
                    </a:lnTo>
                    <a:lnTo>
                      <a:pt x="44" y="48"/>
                    </a:lnTo>
                    <a:lnTo>
                      <a:pt x="46" y="50"/>
                    </a:lnTo>
                    <a:lnTo>
                      <a:pt x="44" y="52"/>
                    </a:lnTo>
                    <a:lnTo>
                      <a:pt x="42" y="54"/>
                    </a:lnTo>
                    <a:lnTo>
                      <a:pt x="42" y="56"/>
                    </a:lnTo>
                    <a:lnTo>
                      <a:pt x="42" y="58"/>
                    </a:lnTo>
                    <a:lnTo>
                      <a:pt x="44" y="60"/>
                    </a:lnTo>
                    <a:lnTo>
                      <a:pt x="46" y="62"/>
                    </a:lnTo>
                    <a:lnTo>
                      <a:pt x="48" y="64"/>
                    </a:lnTo>
                    <a:lnTo>
                      <a:pt x="48" y="66"/>
                    </a:lnTo>
                    <a:lnTo>
                      <a:pt x="48" y="68"/>
                    </a:lnTo>
                    <a:lnTo>
                      <a:pt x="50" y="70"/>
                    </a:lnTo>
                    <a:lnTo>
                      <a:pt x="50" y="72"/>
                    </a:lnTo>
                    <a:lnTo>
                      <a:pt x="52" y="70"/>
                    </a:lnTo>
                    <a:lnTo>
                      <a:pt x="54" y="70"/>
                    </a:lnTo>
                    <a:lnTo>
                      <a:pt x="56" y="70"/>
                    </a:lnTo>
                    <a:lnTo>
                      <a:pt x="58" y="70"/>
                    </a:lnTo>
                    <a:lnTo>
                      <a:pt x="60" y="72"/>
                    </a:lnTo>
                    <a:lnTo>
                      <a:pt x="62" y="72"/>
                    </a:lnTo>
                    <a:lnTo>
                      <a:pt x="64" y="74"/>
                    </a:lnTo>
                    <a:lnTo>
                      <a:pt x="66" y="76"/>
                    </a:lnTo>
                    <a:lnTo>
                      <a:pt x="66" y="80"/>
                    </a:lnTo>
                    <a:lnTo>
                      <a:pt x="66" y="82"/>
                    </a:lnTo>
                    <a:lnTo>
                      <a:pt x="66" y="84"/>
                    </a:lnTo>
                    <a:lnTo>
                      <a:pt x="64" y="82"/>
                    </a:lnTo>
                    <a:lnTo>
                      <a:pt x="62" y="82"/>
                    </a:lnTo>
                    <a:lnTo>
                      <a:pt x="60" y="82"/>
                    </a:lnTo>
                    <a:lnTo>
                      <a:pt x="60" y="84"/>
                    </a:lnTo>
                    <a:lnTo>
                      <a:pt x="58" y="84"/>
                    </a:lnTo>
                    <a:lnTo>
                      <a:pt x="56" y="86"/>
                    </a:lnTo>
                    <a:lnTo>
                      <a:pt x="54" y="88"/>
                    </a:lnTo>
                    <a:lnTo>
                      <a:pt x="52" y="90"/>
                    </a:lnTo>
                    <a:lnTo>
                      <a:pt x="52" y="92"/>
                    </a:lnTo>
                    <a:lnTo>
                      <a:pt x="48" y="94"/>
                    </a:lnTo>
                    <a:lnTo>
                      <a:pt x="48" y="96"/>
                    </a:lnTo>
                    <a:lnTo>
                      <a:pt x="46" y="98"/>
                    </a:lnTo>
                    <a:lnTo>
                      <a:pt x="44" y="100"/>
                    </a:lnTo>
                    <a:lnTo>
                      <a:pt x="42" y="100"/>
                    </a:lnTo>
                    <a:lnTo>
                      <a:pt x="40" y="102"/>
                    </a:lnTo>
                    <a:lnTo>
                      <a:pt x="38" y="102"/>
                    </a:lnTo>
                    <a:lnTo>
                      <a:pt x="36" y="102"/>
                    </a:lnTo>
                    <a:lnTo>
                      <a:pt x="34" y="102"/>
                    </a:lnTo>
                    <a:lnTo>
                      <a:pt x="34" y="104"/>
                    </a:lnTo>
                    <a:lnTo>
                      <a:pt x="32" y="104"/>
                    </a:lnTo>
                    <a:lnTo>
                      <a:pt x="30" y="106"/>
                    </a:lnTo>
                    <a:lnTo>
                      <a:pt x="30" y="108"/>
                    </a:lnTo>
                    <a:lnTo>
                      <a:pt x="30" y="110"/>
                    </a:lnTo>
                    <a:lnTo>
                      <a:pt x="28" y="110"/>
                    </a:lnTo>
                    <a:lnTo>
                      <a:pt x="28" y="112"/>
                    </a:lnTo>
                    <a:lnTo>
                      <a:pt x="26" y="112"/>
                    </a:lnTo>
                    <a:lnTo>
                      <a:pt x="24" y="112"/>
                    </a:lnTo>
                    <a:lnTo>
                      <a:pt x="22" y="114"/>
                    </a:lnTo>
                    <a:lnTo>
                      <a:pt x="20" y="116"/>
                    </a:lnTo>
                    <a:lnTo>
                      <a:pt x="18" y="118"/>
                    </a:lnTo>
                    <a:lnTo>
                      <a:pt x="18" y="120"/>
                    </a:lnTo>
                    <a:lnTo>
                      <a:pt x="16" y="122"/>
                    </a:lnTo>
                    <a:lnTo>
                      <a:pt x="16" y="124"/>
                    </a:lnTo>
                    <a:lnTo>
                      <a:pt x="18" y="126"/>
                    </a:lnTo>
                    <a:lnTo>
                      <a:pt x="18" y="128"/>
                    </a:lnTo>
                    <a:lnTo>
                      <a:pt x="18" y="130"/>
                    </a:lnTo>
                    <a:lnTo>
                      <a:pt x="18" y="132"/>
                    </a:lnTo>
                    <a:lnTo>
                      <a:pt x="18" y="134"/>
                    </a:lnTo>
                    <a:lnTo>
                      <a:pt x="20" y="136"/>
                    </a:lnTo>
                    <a:lnTo>
                      <a:pt x="22" y="136"/>
                    </a:lnTo>
                    <a:lnTo>
                      <a:pt x="22" y="138"/>
                    </a:lnTo>
                    <a:lnTo>
                      <a:pt x="24" y="138"/>
                    </a:lnTo>
                    <a:lnTo>
                      <a:pt x="24" y="140"/>
                    </a:lnTo>
                    <a:lnTo>
                      <a:pt x="22" y="142"/>
                    </a:lnTo>
                    <a:lnTo>
                      <a:pt x="22" y="146"/>
                    </a:lnTo>
                    <a:lnTo>
                      <a:pt x="22" y="148"/>
                    </a:lnTo>
                    <a:lnTo>
                      <a:pt x="22" y="150"/>
                    </a:lnTo>
                    <a:lnTo>
                      <a:pt x="22" y="152"/>
                    </a:lnTo>
                    <a:lnTo>
                      <a:pt x="22" y="154"/>
                    </a:lnTo>
                    <a:lnTo>
                      <a:pt x="22" y="156"/>
                    </a:lnTo>
                    <a:lnTo>
                      <a:pt x="24" y="158"/>
                    </a:lnTo>
                    <a:lnTo>
                      <a:pt x="26" y="160"/>
                    </a:lnTo>
                    <a:lnTo>
                      <a:pt x="28" y="162"/>
                    </a:lnTo>
                    <a:lnTo>
                      <a:pt x="30" y="162"/>
                    </a:lnTo>
                    <a:lnTo>
                      <a:pt x="30" y="164"/>
                    </a:lnTo>
                    <a:lnTo>
                      <a:pt x="32" y="164"/>
                    </a:lnTo>
                    <a:lnTo>
                      <a:pt x="36" y="164"/>
                    </a:lnTo>
                    <a:lnTo>
                      <a:pt x="38" y="164"/>
                    </a:lnTo>
                    <a:lnTo>
                      <a:pt x="40" y="162"/>
                    </a:lnTo>
                    <a:lnTo>
                      <a:pt x="42" y="162"/>
                    </a:lnTo>
                    <a:lnTo>
                      <a:pt x="42" y="164"/>
                    </a:lnTo>
                    <a:lnTo>
                      <a:pt x="42" y="166"/>
                    </a:lnTo>
                    <a:lnTo>
                      <a:pt x="42" y="168"/>
                    </a:lnTo>
                    <a:lnTo>
                      <a:pt x="44" y="168"/>
                    </a:lnTo>
                    <a:lnTo>
                      <a:pt x="44" y="170"/>
                    </a:lnTo>
                    <a:lnTo>
                      <a:pt x="46" y="170"/>
                    </a:lnTo>
                    <a:lnTo>
                      <a:pt x="48" y="170"/>
                    </a:lnTo>
                    <a:lnTo>
                      <a:pt x="52" y="170"/>
                    </a:lnTo>
                    <a:lnTo>
                      <a:pt x="56" y="170"/>
                    </a:lnTo>
                    <a:lnTo>
                      <a:pt x="58" y="170"/>
                    </a:lnTo>
                    <a:lnTo>
                      <a:pt x="62" y="168"/>
                    </a:lnTo>
                    <a:lnTo>
                      <a:pt x="64" y="168"/>
                    </a:lnTo>
                    <a:lnTo>
                      <a:pt x="66" y="168"/>
                    </a:lnTo>
                    <a:lnTo>
                      <a:pt x="68" y="168"/>
                    </a:lnTo>
                    <a:lnTo>
                      <a:pt x="70" y="166"/>
                    </a:lnTo>
                    <a:lnTo>
                      <a:pt x="72" y="166"/>
                    </a:lnTo>
                    <a:lnTo>
                      <a:pt x="72" y="164"/>
                    </a:lnTo>
                    <a:lnTo>
                      <a:pt x="74" y="164"/>
                    </a:lnTo>
                    <a:lnTo>
                      <a:pt x="78" y="164"/>
                    </a:lnTo>
                    <a:lnTo>
                      <a:pt x="80" y="164"/>
                    </a:lnTo>
                    <a:lnTo>
                      <a:pt x="82" y="164"/>
                    </a:lnTo>
                    <a:lnTo>
                      <a:pt x="84" y="162"/>
                    </a:lnTo>
                    <a:lnTo>
                      <a:pt x="86" y="162"/>
                    </a:lnTo>
                    <a:lnTo>
                      <a:pt x="88" y="160"/>
                    </a:lnTo>
                    <a:lnTo>
                      <a:pt x="90" y="160"/>
                    </a:lnTo>
                    <a:lnTo>
                      <a:pt x="92" y="158"/>
                    </a:lnTo>
                    <a:lnTo>
                      <a:pt x="94" y="158"/>
                    </a:lnTo>
                    <a:lnTo>
                      <a:pt x="96" y="158"/>
                    </a:lnTo>
                    <a:lnTo>
                      <a:pt x="98" y="158"/>
                    </a:lnTo>
                    <a:lnTo>
                      <a:pt x="100" y="158"/>
                    </a:lnTo>
                    <a:lnTo>
                      <a:pt x="102" y="158"/>
                    </a:lnTo>
                    <a:lnTo>
                      <a:pt x="104" y="158"/>
                    </a:lnTo>
                    <a:lnTo>
                      <a:pt x="106" y="158"/>
                    </a:lnTo>
                    <a:lnTo>
                      <a:pt x="108" y="160"/>
                    </a:lnTo>
                    <a:lnTo>
                      <a:pt x="110" y="160"/>
                    </a:lnTo>
                    <a:lnTo>
                      <a:pt x="112" y="158"/>
                    </a:lnTo>
                    <a:lnTo>
                      <a:pt x="112" y="156"/>
                    </a:lnTo>
                    <a:lnTo>
                      <a:pt x="110" y="156"/>
                    </a:lnTo>
                    <a:lnTo>
                      <a:pt x="112" y="156"/>
                    </a:lnTo>
                    <a:lnTo>
                      <a:pt x="112" y="154"/>
                    </a:lnTo>
                    <a:lnTo>
                      <a:pt x="114" y="154"/>
                    </a:lnTo>
                    <a:lnTo>
                      <a:pt x="116" y="152"/>
                    </a:lnTo>
                    <a:lnTo>
                      <a:pt x="118" y="152"/>
                    </a:lnTo>
                    <a:lnTo>
                      <a:pt x="120" y="150"/>
                    </a:lnTo>
                    <a:lnTo>
                      <a:pt x="124" y="148"/>
                    </a:lnTo>
                    <a:lnTo>
                      <a:pt x="126" y="146"/>
                    </a:lnTo>
                    <a:lnTo>
                      <a:pt x="128" y="144"/>
                    </a:lnTo>
                    <a:lnTo>
                      <a:pt x="130" y="144"/>
                    </a:lnTo>
                    <a:lnTo>
                      <a:pt x="132" y="142"/>
                    </a:lnTo>
                    <a:lnTo>
                      <a:pt x="134" y="140"/>
                    </a:lnTo>
                    <a:lnTo>
                      <a:pt x="136" y="138"/>
                    </a:lnTo>
                    <a:lnTo>
                      <a:pt x="136" y="136"/>
                    </a:lnTo>
                    <a:lnTo>
                      <a:pt x="138" y="134"/>
                    </a:lnTo>
                    <a:lnTo>
                      <a:pt x="140" y="134"/>
                    </a:lnTo>
                    <a:lnTo>
                      <a:pt x="142" y="132"/>
                    </a:lnTo>
                    <a:lnTo>
                      <a:pt x="144" y="130"/>
                    </a:lnTo>
                    <a:lnTo>
                      <a:pt x="146" y="128"/>
                    </a:lnTo>
                    <a:lnTo>
                      <a:pt x="148" y="128"/>
                    </a:lnTo>
                    <a:lnTo>
                      <a:pt x="148" y="126"/>
                    </a:lnTo>
                    <a:lnTo>
                      <a:pt x="150" y="124"/>
                    </a:lnTo>
                    <a:lnTo>
                      <a:pt x="152" y="122"/>
                    </a:lnTo>
                    <a:lnTo>
                      <a:pt x="152" y="120"/>
                    </a:lnTo>
                    <a:lnTo>
                      <a:pt x="152" y="118"/>
                    </a:lnTo>
                    <a:lnTo>
                      <a:pt x="150" y="116"/>
                    </a:lnTo>
                    <a:lnTo>
                      <a:pt x="148" y="114"/>
                    </a:lnTo>
                    <a:lnTo>
                      <a:pt x="146" y="112"/>
                    </a:lnTo>
                    <a:lnTo>
                      <a:pt x="144" y="110"/>
                    </a:lnTo>
                    <a:lnTo>
                      <a:pt x="142" y="108"/>
                    </a:lnTo>
                    <a:lnTo>
                      <a:pt x="140" y="108"/>
                    </a:lnTo>
                    <a:lnTo>
                      <a:pt x="138" y="108"/>
                    </a:lnTo>
                    <a:lnTo>
                      <a:pt x="136" y="106"/>
                    </a:lnTo>
                    <a:lnTo>
                      <a:pt x="134" y="106"/>
                    </a:lnTo>
                    <a:lnTo>
                      <a:pt x="132" y="104"/>
                    </a:lnTo>
                    <a:lnTo>
                      <a:pt x="130" y="104"/>
                    </a:lnTo>
                    <a:lnTo>
                      <a:pt x="132" y="104"/>
                    </a:lnTo>
                    <a:lnTo>
                      <a:pt x="132" y="102"/>
                    </a:lnTo>
                    <a:lnTo>
                      <a:pt x="134" y="102"/>
                    </a:lnTo>
                    <a:lnTo>
                      <a:pt x="136" y="100"/>
                    </a:lnTo>
                    <a:lnTo>
                      <a:pt x="138" y="98"/>
                    </a:lnTo>
                    <a:lnTo>
                      <a:pt x="138" y="96"/>
                    </a:lnTo>
                    <a:lnTo>
                      <a:pt x="136" y="94"/>
                    </a:lnTo>
                    <a:lnTo>
                      <a:pt x="134" y="94"/>
                    </a:lnTo>
                    <a:lnTo>
                      <a:pt x="132" y="92"/>
                    </a:lnTo>
                    <a:lnTo>
                      <a:pt x="130" y="92"/>
                    </a:lnTo>
                    <a:lnTo>
                      <a:pt x="128" y="92"/>
                    </a:lnTo>
                    <a:lnTo>
                      <a:pt x="130" y="90"/>
                    </a:lnTo>
                    <a:lnTo>
                      <a:pt x="130" y="88"/>
                    </a:lnTo>
                    <a:lnTo>
                      <a:pt x="130" y="86"/>
                    </a:lnTo>
                    <a:lnTo>
                      <a:pt x="128" y="86"/>
                    </a:lnTo>
                    <a:lnTo>
                      <a:pt x="128" y="84"/>
                    </a:lnTo>
                    <a:lnTo>
                      <a:pt x="126" y="84"/>
                    </a:lnTo>
                    <a:lnTo>
                      <a:pt x="124" y="84"/>
                    </a:lnTo>
                    <a:lnTo>
                      <a:pt x="122" y="84"/>
                    </a:lnTo>
                    <a:lnTo>
                      <a:pt x="122" y="82"/>
                    </a:lnTo>
                    <a:lnTo>
                      <a:pt x="122" y="80"/>
                    </a:lnTo>
                    <a:lnTo>
                      <a:pt x="120" y="78"/>
                    </a:lnTo>
                    <a:lnTo>
                      <a:pt x="120" y="76"/>
                    </a:lnTo>
                    <a:lnTo>
                      <a:pt x="120" y="74"/>
                    </a:lnTo>
                    <a:lnTo>
                      <a:pt x="122" y="72"/>
                    </a:lnTo>
                    <a:lnTo>
                      <a:pt x="122" y="70"/>
                    </a:lnTo>
                    <a:lnTo>
                      <a:pt x="124" y="72"/>
                    </a:lnTo>
                    <a:lnTo>
                      <a:pt x="126" y="72"/>
                    </a:lnTo>
                    <a:lnTo>
                      <a:pt x="128" y="72"/>
                    </a:lnTo>
                    <a:lnTo>
                      <a:pt x="130" y="72"/>
                    </a:lnTo>
                    <a:lnTo>
                      <a:pt x="130" y="70"/>
                    </a:lnTo>
                    <a:lnTo>
                      <a:pt x="130" y="68"/>
                    </a:lnTo>
                    <a:lnTo>
                      <a:pt x="128" y="68"/>
                    </a:lnTo>
                    <a:lnTo>
                      <a:pt x="126" y="66"/>
                    </a:lnTo>
                    <a:lnTo>
                      <a:pt x="124" y="62"/>
                    </a:lnTo>
                    <a:lnTo>
                      <a:pt x="120" y="60"/>
                    </a:lnTo>
                    <a:lnTo>
                      <a:pt x="118" y="58"/>
                    </a:lnTo>
                    <a:lnTo>
                      <a:pt x="116" y="56"/>
                    </a:lnTo>
                    <a:lnTo>
                      <a:pt x="114" y="56"/>
                    </a:lnTo>
                    <a:lnTo>
                      <a:pt x="114" y="54"/>
                    </a:lnTo>
                    <a:lnTo>
                      <a:pt x="112" y="54"/>
                    </a:lnTo>
                    <a:lnTo>
                      <a:pt x="110" y="52"/>
                    </a:lnTo>
                    <a:lnTo>
                      <a:pt x="108" y="50"/>
                    </a:lnTo>
                    <a:lnTo>
                      <a:pt x="110" y="50"/>
                    </a:lnTo>
                    <a:lnTo>
                      <a:pt x="112" y="50"/>
                    </a:lnTo>
                    <a:lnTo>
                      <a:pt x="112" y="48"/>
                    </a:lnTo>
                    <a:lnTo>
                      <a:pt x="114" y="48"/>
                    </a:lnTo>
                    <a:lnTo>
                      <a:pt x="114" y="46"/>
                    </a:lnTo>
                    <a:lnTo>
                      <a:pt x="116" y="46"/>
                    </a:lnTo>
                    <a:lnTo>
                      <a:pt x="118" y="44"/>
                    </a:lnTo>
                    <a:lnTo>
                      <a:pt x="120" y="44"/>
                    </a:lnTo>
                    <a:lnTo>
                      <a:pt x="120" y="42"/>
                    </a:lnTo>
                    <a:lnTo>
                      <a:pt x="120" y="40"/>
                    </a:lnTo>
                    <a:lnTo>
                      <a:pt x="118" y="38"/>
                    </a:lnTo>
                    <a:lnTo>
                      <a:pt x="116" y="36"/>
                    </a:lnTo>
                    <a:lnTo>
                      <a:pt x="114" y="34"/>
                    </a:lnTo>
                    <a:lnTo>
                      <a:pt x="112" y="32"/>
                    </a:lnTo>
                    <a:lnTo>
                      <a:pt x="110" y="32"/>
                    </a:lnTo>
                    <a:lnTo>
                      <a:pt x="110" y="30"/>
                    </a:lnTo>
                    <a:lnTo>
                      <a:pt x="108" y="30"/>
                    </a:lnTo>
                    <a:lnTo>
                      <a:pt x="106" y="30"/>
                    </a:lnTo>
                    <a:lnTo>
                      <a:pt x="104" y="30"/>
                    </a:lnTo>
                    <a:lnTo>
                      <a:pt x="102" y="30"/>
                    </a:lnTo>
                    <a:lnTo>
                      <a:pt x="100" y="30"/>
                    </a:lnTo>
                    <a:lnTo>
                      <a:pt x="100" y="28"/>
                    </a:lnTo>
                    <a:lnTo>
                      <a:pt x="100" y="26"/>
                    </a:lnTo>
                    <a:lnTo>
                      <a:pt x="98" y="26"/>
                    </a:lnTo>
                    <a:lnTo>
                      <a:pt x="98" y="24"/>
                    </a:lnTo>
                    <a:lnTo>
                      <a:pt x="98" y="22"/>
                    </a:lnTo>
                    <a:lnTo>
                      <a:pt x="100" y="22"/>
                    </a:lnTo>
                    <a:lnTo>
                      <a:pt x="102" y="22"/>
                    </a:lnTo>
                    <a:lnTo>
                      <a:pt x="102" y="20"/>
                    </a:lnTo>
                    <a:lnTo>
                      <a:pt x="102" y="18"/>
                    </a:lnTo>
                    <a:lnTo>
                      <a:pt x="100" y="18"/>
                    </a:lnTo>
                    <a:lnTo>
                      <a:pt x="100" y="16"/>
                    </a:lnTo>
                    <a:lnTo>
                      <a:pt x="100" y="14"/>
                    </a:lnTo>
                    <a:lnTo>
                      <a:pt x="102" y="12"/>
                    </a:lnTo>
                    <a:lnTo>
                      <a:pt x="104" y="12"/>
                    </a:lnTo>
                    <a:lnTo>
                      <a:pt x="106" y="12"/>
                    </a:lnTo>
                    <a:lnTo>
                      <a:pt x="104" y="10"/>
                    </a:lnTo>
                    <a:lnTo>
                      <a:pt x="104" y="8"/>
                    </a:lnTo>
                    <a:lnTo>
                      <a:pt x="104" y="6"/>
                    </a:lnTo>
                    <a:lnTo>
                      <a:pt x="102" y="6"/>
                    </a:lnTo>
                    <a:lnTo>
                      <a:pt x="100" y="4"/>
                    </a:lnTo>
                    <a:lnTo>
                      <a:pt x="98" y="4"/>
                    </a:lnTo>
                    <a:lnTo>
                      <a:pt x="96" y="4"/>
                    </a:lnTo>
                    <a:lnTo>
                      <a:pt x="94" y="2"/>
                    </a:lnTo>
                    <a:lnTo>
                      <a:pt x="92" y="2"/>
                    </a:lnTo>
                    <a:lnTo>
                      <a:pt x="90" y="2"/>
                    </a:lnTo>
                    <a:lnTo>
                      <a:pt x="92" y="0"/>
                    </a:lnTo>
                    <a:lnTo>
                      <a:pt x="90" y="0"/>
                    </a:lnTo>
                    <a:lnTo>
                      <a:pt x="88" y="0"/>
                    </a:lnTo>
                    <a:lnTo>
                      <a:pt x="86" y="0"/>
                    </a:lnTo>
                    <a:lnTo>
                      <a:pt x="84" y="0"/>
                    </a:lnTo>
                    <a:lnTo>
                      <a:pt x="82" y="0"/>
                    </a:lnTo>
                    <a:lnTo>
                      <a:pt x="80" y="0"/>
                    </a:lnTo>
                    <a:lnTo>
                      <a:pt x="78" y="2"/>
                    </a:lnTo>
                    <a:lnTo>
                      <a:pt x="76" y="2"/>
                    </a:lnTo>
                    <a:lnTo>
                      <a:pt x="74" y="2"/>
                    </a:lnTo>
                    <a:lnTo>
                      <a:pt x="72" y="0"/>
                    </a:lnTo>
                    <a:lnTo>
                      <a:pt x="70" y="2"/>
                    </a:lnTo>
                    <a:lnTo>
                      <a:pt x="68" y="2"/>
                    </a:lnTo>
                    <a:lnTo>
                      <a:pt x="66" y="2"/>
                    </a:lnTo>
                    <a:lnTo>
                      <a:pt x="66" y="4"/>
                    </a:lnTo>
                    <a:lnTo>
                      <a:pt x="64" y="4"/>
                    </a:lnTo>
                    <a:lnTo>
                      <a:pt x="64" y="6"/>
                    </a:lnTo>
                    <a:lnTo>
                      <a:pt x="64" y="8"/>
                    </a:lnTo>
                    <a:lnTo>
                      <a:pt x="64" y="10"/>
                    </a:lnTo>
                    <a:lnTo>
                      <a:pt x="64" y="14"/>
                    </a:lnTo>
                    <a:lnTo>
                      <a:pt x="64" y="16"/>
                    </a:lnTo>
                    <a:lnTo>
                      <a:pt x="62" y="16"/>
                    </a:lnTo>
                    <a:lnTo>
                      <a:pt x="60" y="16"/>
                    </a:lnTo>
                    <a:lnTo>
                      <a:pt x="58" y="16"/>
                    </a:lnTo>
                    <a:lnTo>
                      <a:pt x="56" y="18"/>
                    </a:lnTo>
                    <a:lnTo>
                      <a:pt x="56" y="20"/>
                    </a:lnTo>
                    <a:lnTo>
                      <a:pt x="56" y="22"/>
                    </a:lnTo>
                    <a:lnTo>
                      <a:pt x="54" y="22"/>
                    </a:lnTo>
                    <a:lnTo>
                      <a:pt x="52" y="22"/>
                    </a:lnTo>
                    <a:lnTo>
                      <a:pt x="48" y="20"/>
                    </a:lnTo>
                    <a:lnTo>
                      <a:pt x="46" y="18"/>
                    </a:lnTo>
                    <a:lnTo>
                      <a:pt x="44" y="18"/>
                    </a:lnTo>
                    <a:lnTo>
                      <a:pt x="42" y="20"/>
                    </a:lnTo>
                    <a:lnTo>
                      <a:pt x="40" y="2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3" name="Freeform 111">
                <a:extLst>
                  <a:ext uri="{FF2B5EF4-FFF2-40B4-BE49-F238E27FC236}">
                    <a16:creationId xmlns:a16="http://schemas.microsoft.com/office/drawing/2014/main" id="{B567E68F-BD12-43E8-BA92-930F311F3C64}"/>
                  </a:ext>
                </a:extLst>
              </p:cNvPr>
              <p:cNvSpPr>
                <a:spLocks noChangeAspect="1"/>
              </p:cNvSpPr>
              <p:nvPr/>
            </p:nvSpPr>
            <p:spPr bwMode="auto">
              <a:xfrm>
                <a:off x="4583704" y="1943091"/>
                <a:ext cx="526196" cy="387160"/>
              </a:xfrm>
              <a:custGeom>
                <a:avLst/>
                <a:gdLst/>
                <a:ahLst/>
                <a:cxnLst>
                  <a:cxn ang="0">
                    <a:pos x="300" y="18"/>
                  </a:cxn>
                  <a:cxn ang="0">
                    <a:pos x="292" y="4"/>
                  </a:cxn>
                  <a:cxn ang="0">
                    <a:pos x="278" y="0"/>
                  </a:cxn>
                  <a:cxn ang="0">
                    <a:pos x="264" y="4"/>
                  </a:cxn>
                  <a:cxn ang="0">
                    <a:pos x="260" y="2"/>
                  </a:cxn>
                  <a:cxn ang="0">
                    <a:pos x="236" y="6"/>
                  </a:cxn>
                  <a:cxn ang="0">
                    <a:pos x="218" y="14"/>
                  </a:cxn>
                  <a:cxn ang="0">
                    <a:pos x="198" y="18"/>
                  </a:cxn>
                  <a:cxn ang="0">
                    <a:pos x="186" y="24"/>
                  </a:cxn>
                  <a:cxn ang="0">
                    <a:pos x="176" y="24"/>
                  </a:cxn>
                  <a:cxn ang="0">
                    <a:pos x="174" y="18"/>
                  </a:cxn>
                  <a:cxn ang="0">
                    <a:pos x="160" y="32"/>
                  </a:cxn>
                  <a:cxn ang="0">
                    <a:pos x="148" y="40"/>
                  </a:cxn>
                  <a:cxn ang="0">
                    <a:pos x="142" y="42"/>
                  </a:cxn>
                  <a:cxn ang="0">
                    <a:pos x="136" y="48"/>
                  </a:cxn>
                  <a:cxn ang="0">
                    <a:pos x="132" y="56"/>
                  </a:cxn>
                  <a:cxn ang="0">
                    <a:pos x="128" y="62"/>
                  </a:cxn>
                  <a:cxn ang="0">
                    <a:pos x="108" y="70"/>
                  </a:cxn>
                  <a:cxn ang="0">
                    <a:pos x="110" y="80"/>
                  </a:cxn>
                  <a:cxn ang="0">
                    <a:pos x="98" y="90"/>
                  </a:cxn>
                  <a:cxn ang="0">
                    <a:pos x="88" y="102"/>
                  </a:cxn>
                  <a:cxn ang="0">
                    <a:pos x="72" y="112"/>
                  </a:cxn>
                  <a:cxn ang="0">
                    <a:pos x="54" y="122"/>
                  </a:cxn>
                  <a:cxn ang="0">
                    <a:pos x="44" y="130"/>
                  </a:cxn>
                  <a:cxn ang="0">
                    <a:pos x="42" y="136"/>
                  </a:cxn>
                  <a:cxn ang="0">
                    <a:pos x="28" y="144"/>
                  </a:cxn>
                  <a:cxn ang="0">
                    <a:pos x="24" y="152"/>
                  </a:cxn>
                  <a:cxn ang="0">
                    <a:pos x="12" y="150"/>
                  </a:cxn>
                  <a:cxn ang="0">
                    <a:pos x="18" y="154"/>
                  </a:cxn>
                  <a:cxn ang="0">
                    <a:pos x="4" y="160"/>
                  </a:cxn>
                  <a:cxn ang="0">
                    <a:pos x="16" y="168"/>
                  </a:cxn>
                  <a:cxn ang="0">
                    <a:pos x="30" y="168"/>
                  </a:cxn>
                  <a:cxn ang="0">
                    <a:pos x="6" y="170"/>
                  </a:cxn>
                  <a:cxn ang="0">
                    <a:pos x="4" y="182"/>
                  </a:cxn>
                  <a:cxn ang="0">
                    <a:pos x="18" y="184"/>
                  </a:cxn>
                  <a:cxn ang="0">
                    <a:pos x="10" y="192"/>
                  </a:cxn>
                  <a:cxn ang="0">
                    <a:pos x="8" y="198"/>
                  </a:cxn>
                  <a:cxn ang="0">
                    <a:pos x="8" y="208"/>
                  </a:cxn>
                  <a:cxn ang="0">
                    <a:pos x="18" y="220"/>
                  </a:cxn>
                  <a:cxn ang="0">
                    <a:pos x="52" y="210"/>
                  </a:cxn>
                  <a:cxn ang="0">
                    <a:pos x="70" y="192"/>
                  </a:cxn>
                  <a:cxn ang="0">
                    <a:pos x="86" y="206"/>
                  </a:cxn>
                  <a:cxn ang="0">
                    <a:pos x="94" y="188"/>
                  </a:cxn>
                  <a:cxn ang="0">
                    <a:pos x="96" y="172"/>
                  </a:cxn>
                  <a:cxn ang="0">
                    <a:pos x="96" y="158"/>
                  </a:cxn>
                  <a:cxn ang="0">
                    <a:pos x="94" y="132"/>
                  </a:cxn>
                  <a:cxn ang="0">
                    <a:pos x="106" y="116"/>
                  </a:cxn>
                  <a:cxn ang="0">
                    <a:pos x="120" y="100"/>
                  </a:cxn>
                  <a:cxn ang="0">
                    <a:pos x="126" y="82"/>
                  </a:cxn>
                  <a:cxn ang="0">
                    <a:pos x="136" y="72"/>
                  </a:cxn>
                  <a:cxn ang="0">
                    <a:pos x="146" y="54"/>
                  </a:cxn>
                  <a:cxn ang="0">
                    <a:pos x="164" y="44"/>
                  </a:cxn>
                  <a:cxn ang="0">
                    <a:pos x="182" y="44"/>
                  </a:cxn>
                  <a:cxn ang="0">
                    <a:pos x="190" y="34"/>
                  </a:cxn>
                  <a:cxn ang="0">
                    <a:pos x="202" y="30"/>
                  </a:cxn>
                  <a:cxn ang="0">
                    <a:pos x="220" y="38"/>
                  </a:cxn>
                  <a:cxn ang="0">
                    <a:pos x="246" y="40"/>
                  </a:cxn>
                  <a:cxn ang="0">
                    <a:pos x="258" y="24"/>
                  </a:cxn>
                  <a:cxn ang="0">
                    <a:pos x="284" y="18"/>
                  </a:cxn>
                  <a:cxn ang="0">
                    <a:pos x="296" y="30"/>
                  </a:cxn>
                  <a:cxn ang="0">
                    <a:pos x="310" y="28"/>
                  </a:cxn>
                </a:cxnLst>
                <a:rect l="0" t="0" r="r" b="b"/>
                <a:pathLst>
                  <a:path w="320" h="222">
                    <a:moveTo>
                      <a:pt x="320" y="22"/>
                    </a:moveTo>
                    <a:lnTo>
                      <a:pt x="318" y="24"/>
                    </a:lnTo>
                    <a:lnTo>
                      <a:pt x="316" y="24"/>
                    </a:lnTo>
                    <a:lnTo>
                      <a:pt x="314" y="24"/>
                    </a:lnTo>
                    <a:lnTo>
                      <a:pt x="310" y="24"/>
                    </a:lnTo>
                    <a:lnTo>
                      <a:pt x="308" y="22"/>
                    </a:lnTo>
                    <a:lnTo>
                      <a:pt x="306" y="22"/>
                    </a:lnTo>
                    <a:lnTo>
                      <a:pt x="304" y="22"/>
                    </a:lnTo>
                    <a:lnTo>
                      <a:pt x="300" y="20"/>
                    </a:lnTo>
                    <a:lnTo>
                      <a:pt x="300" y="18"/>
                    </a:lnTo>
                    <a:lnTo>
                      <a:pt x="298" y="18"/>
                    </a:lnTo>
                    <a:lnTo>
                      <a:pt x="296" y="18"/>
                    </a:lnTo>
                    <a:lnTo>
                      <a:pt x="298" y="18"/>
                    </a:lnTo>
                    <a:lnTo>
                      <a:pt x="300" y="18"/>
                    </a:lnTo>
                    <a:lnTo>
                      <a:pt x="302" y="18"/>
                    </a:lnTo>
                    <a:lnTo>
                      <a:pt x="306" y="18"/>
                    </a:lnTo>
                    <a:lnTo>
                      <a:pt x="308" y="18"/>
                    </a:lnTo>
                    <a:lnTo>
                      <a:pt x="310" y="16"/>
                    </a:lnTo>
                    <a:lnTo>
                      <a:pt x="312" y="16"/>
                    </a:lnTo>
                    <a:lnTo>
                      <a:pt x="314" y="16"/>
                    </a:lnTo>
                    <a:lnTo>
                      <a:pt x="316" y="14"/>
                    </a:lnTo>
                    <a:lnTo>
                      <a:pt x="318" y="14"/>
                    </a:lnTo>
                    <a:lnTo>
                      <a:pt x="320" y="12"/>
                    </a:lnTo>
                    <a:lnTo>
                      <a:pt x="318" y="12"/>
                    </a:lnTo>
                    <a:lnTo>
                      <a:pt x="316" y="10"/>
                    </a:lnTo>
                    <a:lnTo>
                      <a:pt x="314" y="10"/>
                    </a:lnTo>
                    <a:lnTo>
                      <a:pt x="312" y="8"/>
                    </a:lnTo>
                    <a:lnTo>
                      <a:pt x="310" y="8"/>
                    </a:lnTo>
                    <a:lnTo>
                      <a:pt x="308" y="8"/>
                    </a:lnTo>
                    <a:lnTo>
                      <a:pt x="306" y="8"/>
                    </a:lnTo>
                    <a:lnTo>
                      <a:pt x="304" y="6"/>
                    </a:lnTo>
                    <a:lnTo>
                      <a:pt x="302" y="6"/>
                    </a:lnTo>
                    <a:lnTo>
                      <a:pt x="298" y="6"/>
                    </a:lnTo>
                    <a:lnTo>
                      <a:pt x="296" y="4"/>
                    </a:lnTo>
                    <a:lnTo>
                      <a:pt x="294" y="4"/>
                    </a:lnTo>
                    <a:lnTo>
                      <a:pt x="292" y="4"/>
                    </a:lnTo>
                    <a:lnTo>
                      <a:pt x="292" y="6"/>
                    </a:lnTo>
                    <a:lnTo>
                      <a:pt x="290" y="8"/>
                    </a:lnTo>
                    <a:lnTo>
                      <a:pt x="290" y="10"/>
                    </a:lnTo>
                    <a:lnTo>
                      <a:pt x="288" y="10"/>
                    </a:lnTo>
                    <a:lnTo>
                      <a:pt x="286" y="12"/>
                    </a:lnTo>
                    <a:lnTo>
                      <a:pt x="284" y="12"/>
                    </a:lnTo>
                    <a:lnTo>
                      <a:pt x="284" y="10"/>
                    </a:lnTo>
                    <a:lnTo>
                      <a:pt x="282" y="10"/>
                    </a:lnTo>
                    <a:lnTo>
                      <a:pt x="284" y="8"/>
                    </a:lnTo>
                    <a:lnTo>
                      <a:pt x="286" y="6"/>
                    </a:lnTo>
                    <a:lnTo>
                      <a:pt x="288" y="4"/>
                    </a:lnTo>
                    <a:lnTo>
                      <a:pt x="290" y="4"/>
                    </a:lnTo>
                    <a:lnTo>
                      <a:pt x="286" y="4"/>
                    </a:lnTo>
                    <a:lnTo>
                      <a:pt x="284" y="2"/>
                    </a:lnTo>
                    <a:lnTo>
                      <a:pt x="282" y="2"/>
                    </a:lnTo>
                    <a:lnTo>
                      <a:pt x="280" y="2"/>
                    </a:lnTo>
                    <a:lnTo>
                      <a:pt x="278" y="0"/>
                    </a:lnTo>
                    <a:lnTo>
                      <a:pt x="276" y="0"/>
                    </a:lnTo>
                    <a:lnTo>
                      <a:pt x="274" y="0"/>
                    </a:lnTo>
                    <a:lnTo>
                      <a:pt x="272" y="0"/>
                    </a:lnTo>
                    <a:lnTo>
                      <a:pt x="272" y="2"/>
                    </a:lnTo>
                    <a:lnTo>
                      <a:pt x="272" y="4"/>
                    </a:lnTo>
                    <a:lnTo>
                      <a:pt x="270" y="6"/>
                    </a:lnTo>
                    <a:lnTo>
                      <a:pt x="270" y="10"/>
                    </a:lnTo>
                    <a:lnTo>
                      <a:pt x="268" y="12"/>
                    </a:lnTo>
                    <a:lnTo>
                      <a:pt x="268" y="14"/>
                    </a:lnTo>
                    <a:lnTo>
                      <a:pt x="266" y="14"/>
                    </a:lnTo>
                    <a:lnTo>
                      <a:pt x="264" y="12"/>
                    </a:lnTo>
                    <a:lnTo>
                      <a:pt x="264" y="10"/>
                    </a:lnTo>
                    <a:lnTo>
                      <a:pt x="264" y="8"/>
                    </a:lnTo>
                    <a:lnTo>
                      <a:pt x="264" y="6"/>
                    </a:lnTo>
                    <a:lnTo>
                      <a:pt x="264" y="4"/>
                    </a:lnTo>
                    <a:lnTo>
                      <a:pt x="262" y="4"/>
                    </a:lnTo>
                    <a:lnTo>
                      <a:pt x="260" y="8"/>
                    </a:lnTo>
                    <a:lnTo>
                      <a:pt x="258" y="10"/>
                    </a:lnTo>
                    <a:lnTo>
                      <a:pt x="254" y="12"/>
                    </a:lnTo>
                    <a:lnTo>
                      <a:pt x="252" y="14"/>
                    </a:lnTo>
                    <a:lnTo>
                      <a:pt x="250" y="16"/>
                    </a:lnTo>
                    <a:lnTo>
                      <a:pt x="248" y="16"/>
                    </a:lnTo>
                    <a:lnTo>
                      <a:pt x="246" y="16"/>
                    </a:lnTo>
                    <a:lnTo>
                      <a:pt x="246" y="14"/>
                    </a:lnTo>
                    <a:lnTo>
                      <a:pt x="248" y="12"/>
                    </a:lnTo>
                    <a:lnTo>
                      <a:pt x="250" y="10"/>
                    </a:lnTo>
                    <a:lnTo>
                      <a:pt x="252" y="8"/>
                    </a:lnTo>
                    <a:lnTo>
                      <a:pt x="254" y="4"/>
                    </a:lnTo>
                    <a:lnTo>
                      <a:pt x="258" y="4"/>
                    </a:lnTo>
                    <a:lnTo>
                      <a:pt x="258" y="2"/>
                    </a:lnTo>
                    <a:lnTo>
                      <a:pt x="260" y="2"/>
                    </a:lnTo>
                    <a:lnTo>
                      <a:pt x="258" y="0"/>
                    </a:lnTo>
                    <a:lnTo>
                      <a:pt x="256" y="0"/>
                    </a:lnTo>
                    <a:lnTo>
                      <a:pt x="254" y="0"/>
                    </a:lnTo>
                    <a:lnTo>
                      <a:pt x="252" y="0"/>
                    </a:lnTo>
                    <a:lnTo>
                      <a:pt x="250" y="2"/>
                    </a:lnTo>
                    <a:lnTo>
                      <a:pt x="248" y="4"/>
                    </a:lnTo>
                    <a:lnTo>
                      <a:pt x="246" y="4"/>
                    </a:lnTo>
                    <a:lnTo>
                      <a:pt x="244" y="4"/>
                    </a:lnTo>
                    <a:lnTo>
                      <a:pt x="242" y="4"/>
                    </a:lnTo>
                    <a:lnTo>
                      <a:pt x="240" y="4"/>
                    </a:lnTo>
                    <a:lnTo>
                      <a:pt x="238" y="4"/>
                    </a:lnTo>
                    <a:lnTo>
                      <a:pt x="236" y="6"/>
                    </a:lnTo>
                    <a:lnTo>
                      <a:pt x="234" y="8"/>
                    </a:lnTo>
                    <a:lnTo>
                      <a:pt x="232" y="8"/>
                    </a:lnTo>
                    <a:lnTo>
                      <a:pt x="230" y="10"/>
                    </a:lnTo>
                    <a:lnTo>
                      <a:pt x="228" y="10"/>
                    </a:lnTo>
                    <a:lnTo>
                      <a:pt x="226" y="10"/>
                    </a:lnTo>
                    <a:lnTo>
                      <a:pt x="226" y="12"/>
                    </a:lnTo>
                    <a:lnTo>
                      <a:pt x="224" y="14"/>
                    </a:lnTo>
                    <a:lnTo>
                      <a:pt x="224" y="16"/>
                    </a:lnTo>
                    <a:lnTo>
                      <a:pt x="222" y="16"/>
                    </a:lnTo>
                    <a:lnTo>
                      <a:pt x="220" y="14"/>
                    </a:lnTo>
                    <a:lnTo>
                      <a:pt x="218" y="14"/>
                    </a:lnTo>
                    <a:lnTo>
                      <a:pt x="216" y="14"/>
                    </a:lnTo>
                    <a:lnTo>
                      <a:pt x="214" y="14"/>
                    </a:lnTo>
                    <a:lnTo>
                      <a:pt x="212" y="14"/>
                    </a:lnTo>
                    <a:lnTo>
                      <a:pt x="210" y="14"/>
                    </a:lnTo>
                    <a:lnTo>
                      <a:pt x="208" y="16"/>
                    </a:lnTo>
                    <a:lnTo>
                      <a:pt x="208" y="18"/>
                    </a:lnTo>
                    <a:lnTo>
                      <a:pt x="208" y="20"/>
                    </a:lnTo>
                    <a:lnTo>
                      <a:pt x="210" y="20"/>
                    </a:lnTo>
                    <a:lnTo>
                      <a:pt x="210" y="22"/>
                    </a:lnTo>
                    <a:lnTo>
                      <a:pt x="208" y="22"/>
                    </a:lnTo>
                    <a:lnTo>
                      <a:pt x="206" y="20"/>
                    </a:lnTo>
                    <a:lnTo>
                      <a:pt x="204" y="20"/>
                    </a:lnTo>
                    <a:lnTo>
                      <a:pt x="202" y="20"/>
                    </a:lnTo>
                    <a:lnTo>
                      <a:pt x="200" y="20"/>
                    </a:lnTo>
                    <a:lnTo>
                      <a:pt x="200" y="18"/>
                    </a:lnTo>
                    <a:lnTo>
                      <a:pt x="198" y="18"/>
                    </a:lnTo>
                    <a:lnTo>
                      <a:pt x="198" y="20"/>
                    </a:lnTo>
                    <a:lnTo>
                      <a:pt x="196" y="20"/>
                    </a:lnTo>
                    <a:lnTo>
                      <a:pt x="194" y="20"/>
                    </a:lnTo>
                    <a:lnTo>
                      <a:pt x="194" y="22"/>
                    </a:lnTo>
                    <a:lnTo>
                      <a:pt x="196" y="24"/>
                    </a:lnTo>
                    <a:lnTo>
                      <a:pt x="196" y="26"/>
                    </a:lnTo>
                    <a:lnTo>
                      <a:pt x="194" y="28"/>
                    </a:lnTo>
                    <a:lnTo>
                      <a:pt x="192" y="28"/>
                    </a:lnTo>
                    <a:lnTo>
                      <a:pt x="190" y="28"/>
                    </a:lnTo>
                    <a:lnTo>
                      <a:pt x="188" y="28"/>
                    </a:lnTo>
                    <a:lnTo>
                      <a:pt x="186" y="28"/>
                    </a:lnTo>
                    <a:lnTo>
                      <a:pt x="186" y="26"/>
                    </a:lnTo>
                    <a:lnTo>
                      <a:pt x="186" y="24"/>
                    </a:lnTo>
                    <a:lnTo>
                      <a:pt x="186" y="22"/>
                    </a:lnTo>
                    <a:lnTo>
                      <a:pt x="184" y="22"/>
                    </a:lnTo>
                    <a:lnTo>
                      <a:pt x="182" y="22"/>
                    </a:lnTo>
                    <a:lnTo>
                      <a:pt x="180" y="22"/>
                    </a:lnTo>
                    <a:lnTo>
                      <a:pt x="180" y="24"/>
                    </a:lnTo>
                    <a:lnTo>
                      <a:pt x="180" y="26"/>
                    </a:lnTo>
                    <a:lnTo>
                      <a:pt x="182" y="26"/>
                    </a:lnTo>
                    <a:lnTo>
                      <a:pt x="180" y="24"/>
                    </a:lnTo>
                    <a:lnTo>
                      <a:pt x="178" y="24"/>
                    </a:lnTo>
                    <a:lnTo>
                      <a:pt x="176" y="24"/>
                    </a:lnTo>
                    <a:lnTo>
                      <a:pt x="176" y="22"/>
                    </a:lnTo>
                    <a:lnTo>
                      <a:pt x="176" y="24"/>
                    </a:lnTo>
                    <a:lnTo>
                      <a:pt x="176" y="26"/>
                    </a:lnTo>
                    <a:lnTo>
                      <a:pt x="176" y="28"/>
                    </a:lnTo>
                    <a:lnTo>
                      <a:pt x="174" y="28"/>
                    </a:lnTo>
                    <a:lnTo>
                      <a:pt x="172" y="28"/>
                    </a:lnTo>
                    <a:lnTo>
                      <a:pt x="170" y="28"/>
                    </a:lnTo>
                    <a:lnTo>
                      <a:pt x="170" y="26"/>
                    </a:lnTo>
                    <a:lnTo>
                      <a:pt x="170" y="24"/>
                    </a:lnTo>
                    <a:lnTo>
                      <a:pt x="170" y="22"/>
                    </a:lnTo>
                    <a:lnTo>
                      <a:pt x="172" y="20"/>
                    </a:lnTo>
                    <a:lnTo>
                      <a:pt x="174" y="20"/>
                    </a:lnTo>
                    <a:lnTo>
                      <a:pt x="174" y="18"/>
                    </a:lnTo>
                    <a:lnTo>
                      <a:pt x="172" y="18"/>
                    </a:lnTo>
                    <a:lnTo>
                      <a:pt x="170" y="18"/>
                    </a:lnTo>
                    <a:lnTo>
                      <a:pt x="168" y="18"/>
                    </a:lnTo>
                    <a:lnTo>
                      <a:pt x="166" y="18"/>
                    </a:lnTo>
                    <a:lnTo>
                      <a:pt x="166" y="20"/>
                    </a:lnTo>
                    <a:lnTo>
                      <a:pt x="166" y="22"/>
                    </a:lnTo>
                    <a:lnTo>
                      <a:pt x="166" y="24"/>
                    </a:lnTo>
                    <a:lnTo>
                      <a:pt x="166" y="26"/>
                    </a:lnTo>
                    <a:lnTo>
                      <a:pt x="166" y="28"/>
                    </a:lnTo>
                    <a:lnTo>
                      <a:pt x="164" y="28"/>
                    </a:lnTo>
                    <a:lnTo>
                      <a:pt x="162" y="30"/>
                    </a:lnTo>
                    <a:lnTo>
                      <a:pt x="160" y="30"/>
                    </a:lnTo>
                    <a:lnTo>
                      <a:pt x="158" y="30"/>
                    </a:lnTo>
                    <a:lnTo>
                      <a:pt x="160" y="32"/>
                    </a:lnTo>
                    <a:lnTo>
                      <a:pt x="162" y="32"/>
                    </a:lnTo>
                    <a:lnTo>
                      <a:pt x="162" y="34"/>
                    </a:lnTo>
                    <a:lnTo>
                      <a:pt x="160" y="34"/>
                    </a:lnTo>
                    <a:lnTo>
                      <a:pt x="158" y="34"/>
                    </a:lnTo>
                    <a:lnTo>
                      <a:pt x="156" y="34"/>
                    </a:lnTo>
                    <a:lnTo>
                      <a:pt x="154" y="34"/>
                    </a:lnTo>
                    <a:lnTo>
                      <a:pt x="156" y="36"/>
                    </a:lnTo>
                    <a:lnTo>
                      <a:pt x="158" y="38"/>
                    </a:lnTo>
                    <a:lnTo>
                      <a:pt x="154" y="38"/>
                    </a:lnTo>
                    <a:lnTo>
                      <a:pt x="152" y="38"/>
                    </a:lnTo>
                    <a:lnTo>
                      <a:pt x="150" y="38"/>
                    </a:lnTo>
                    <a:lnTo>
                      <a:pt x="148" y="38"/>
                    </a:lnTo>
                    <a:lnTo>
                      <a:pt x="148" y="40"/>
                    </a:lnTo>
                    <a:lnTo>
                      <a:pt x="148" y="42"/>
                    </a:lnTo>
                    <a:lnTo>
                      <a:pt x="150" y="42"/>
                    </a:lnTo>
                    <a:lnTo>
                      <a:pt x="152" y="42"/>
                    </a:lnTo>
                    <a:lnTo>
                      <a:pt x="154" y="42"/>
                    </a:lnTo>
                    <a:lnTo>
                      <a:pt x="154" y="44"/>
                    </a:lnTo>
                    <a:lnTo>
                      <a:pt x="152" y="46"/>
                    </a:lnTo>
                    <a:lnTo>
                      <a:pt x="150" y="46"/>
                    </a:lnTo>
                    <a:lnTo>
                      <a:pt x="148" y="44"/>
                    </a:lnTo>
                    <a:lnTo>
                      <a:pt x="146" y="44"/>
                    </a:lnTo>
                    <a:lnTo>
                      <a:pt x="144" y="42"/>
                    </a:lnTo>
                    <a:lnTo>
                      <a:pt x="142" y="42"/>
                    </a:lnTo>
                    <a:lnTo>
                      <a:pt x="142" y="44"/>
                    </a:lnTo>
                    <a:lnTo>
                      <a:pt x="144" y="44"/>
                    </a:lnTo>
                    <a:lnTo>
                      <a:pt x="144" y="46"/>
                    </a:lnTo>
                    <a:lnTo>
                      <a:pt x="146" y="46"/>
                    </a:lnTo>
                    <a:lnTo>
                      <a:pt x="146" y="48"/>
                    </a:lnTo>
                    <a:lnTo>
                      <a:pt x="144" y="50"/>
                    </a:lnTo>
                    <a:lnTo>
                      <a:pt x="142" y="50"/>
                    </a:lnTo>
                    <a:lnTo>
                      <a:pt x="140" y="50"/>
                    </a:lnTo>
                    <a:lnTo>
                      <a:pt x="140" y="48"/>
                    </a:lnTo>
                    <a:lnTo>
                      <a:pt x="138" y="48"/>
                    </a:lnTo>
                    <a:lnTo>
                      <a:pt x="138" y="46"/>
                    </a:lnTo>
                    <a:lnTo>
                      <a:pt x="138" y="48"/>
                    </a:lnTo>
                    <a:lnTo>
                      <a:pt x="136" y="48"/>
                    </a:lnTo>
                    <a:lnTo>
                      <a:pt x="134" y="48"/>
                    </a:lnTo>
                    <a:lnTo>
                      <a:pt x="134" y="50"/>
                    </a:lnTo>
                    <a:lnTo>
                      <a:pt x="136" y="50"/>
                    </a:lnTo>
                    <a:lnTo>
                      <a:pt x="132" y="50"/>
                    </a:lnTo>
                    <a:lnTo>
                      <a:pt x="130" y="50"/>
                    </a:lnTo>
                    <a:lnTo>
                      <a:pt x="128" y="50"/>
                    </a:lnTo>
                    <a:lnTo>
                      <a:pt x="126" y="50"/>
                    </a:lnTo>
                    <a:lnTo>
                      <a:pt x="126" y="52"/>
                    </a:lnTo>
                    <a:lnTo>
                      <a:pt x="126" y="54"/>
                    </a:lnTo>
                    <a:lnTo>
                      <a:pt x="128" y="54"/>
                    </a:lnTo>
                    <a:lnTo>
                      <a:pt x="130" y="56"/>
                    </a:lnTo>
                    <a:lnTo>
                      <a:pt x="132" y="56"/>
                    </a:lnTo>
                    <a:lnTo>
                      <a:pt x="132" y="58"/>
                    </a:lnTo>
                    <a:lnTo>
                      <a:pt x="132" y="60"/>
                    </a:lnTo>
                    <a:lnTo>
                      <a:pt x="128" y="60"/>
                    </a:lnTo>
                    <a:lnTo>
                      <a:pt x="126" y="58"/>
                    </a:lnTo>
                    <a:lnTo>
                      <a:pt x="124" y="58"/>
                    </a:lnTo>
                    <a:lnTo>
                      <a:pt x="122" y="58"/>
                    </a:lnTo>
                    <a:lnTo>
                      <a:pt x="122" y="60"/>
                    </a:lnTo>
                    <a:lnTo>
                      <a:pt x="122" y="62"/>
                    </a:lnTo>
                    <a:lnTo>
                      <a:pt x="124" y="62"/>
                    </a:lnTo>
                    <a:lnTo>
                      <a:pt x="126" y="62"/>
                    </a:lnTo>
                    <a:lnTo>
                      <a:pt x="128" y="62"/>
                    </a:lnTo>
                    <a:lnTo>
                      <a:pt x="126" y="64"/>
                    </a:lnTo>
                    <a:lnTo>
                      <a:pt x="124" y="64"/>
                    </a:lnTo>
                    <a:lnTo>
                      <a:pt x="122" y="64"/>
                    </a:lnTo>
                    <a:lnTo>
                      <a:pt x="120" y="64"/>
                    </a:lnTo>
                    <a:lnTo>
                      <a:pt x="118" y="64"/>
                    </a:lnTo>
                    <a:lnTo>
                      <a:pt x="118" y="66"/>
                    </a:lnTo>
                    <a:lnTo>
                      <a:pt x="118" y="68"/>
                    </a:lnTo>
                    <a:lnTo>
                      <a:pt x="116" y="68"/>
                    </a:lnTo>
                    <a:lnTo>
                      <a:pt x="116" y="66"/>
                    </a:lnTo>
                    <a:lnTo>
                      <a:pt x="114" y="66"/>
                    </a:lnTo>
                    <a:lnTo>
                      <a:pt x="112" y="66"/>
                    </a:lnTo>
                    <a:lnTo>
                      <a:pt x="110" y="68"/>
                    </a:lnTo>
                    <a:lnTo>
                      <a:pt x="108" y="70"/>
                    </a:lnTo>
                    <a:lnTo>
                      <a:pt x="106" y="70"/>
                    </a:lnTo>
                    <a:lnTo>
                      <a:pt x="106" y="72"/>
                    </a:lnTo>
                    <a:lnTo>
                      <a:pt x="106" y="74"/>
                    </a:lnTo>
                    <a:lnTo>
                      <a:pt x="104" y="74"/>
                    </a:lnTo>
                    <a:lnTo>
                      <a:pt x="104" y="76"/>
                    </a:lnTo>
                    <a:lnTo>
                      <a:pt x="102" y="78"/>
                    </a:lnTo>
                    <a:lnTo>
                      <a:pt x="104" y="78"/>
                    </a:lnTo>
                    <a:lnTo>
                      <a:pt x="104" y="80"/>
                    </a:lnTo>
                    <a:lnTo>
                      <a:pt x="106" y="80"/>
                    </a:lnTo>
                    <a:lnTo>
                      <a:pt x="108" y="80"/>
                    </a:lnTo>
                    <a:lnTo>
                      <a:pt x="110" y="80"/>
                    </a:lnTo>
                    <a:lnTo>
                      <a:pt x="112" y="80"/>
                    </a:lnTo>
                    <a:lnTo>
                      <a:pt x="110" y="80"/>
                    </a:lnTo>
                    <a:lnTo>
                      <a:pt x="110" y="82"/>
                    </a:lnTo>
                    <a:lnTo>
                      <a:pt x="108" y="82"/>
                    </a:lnTo>
                    <a:lnTo>
                      <a:pt x="106" y="82"/>
                    </a:lnTo>
                    <a:lnTo>
                      <a:pt x="104" y="82"/>
                    </a:lnTo>
                    <a:lnTo>
                      <a:pt x="102" y="82"/>
                    </a:lnTo>
                    <a:lnTo>
                      <a:pt x="100" y="82"/>
                    </a:lnTo>
                    <a:lnTo>
                      <a:pt x="98" y="82"/>
                    </a:lnTo>
                    <a:lnTo>
                      <a:pt x="96" y="84"/>
                    </a:lnTo>
                    <a:lnTo>
                      <a:pt x="96" y="86"/>
                    </a:lnTo>
                    <a:lnTo>
                      <a:pt x="98" y="88"/>
                    </a:lnTo>
                    <a:lnTo>
                      <a:pt x="98" y="90"/>
                    </a:lnTo>
                    <a:lnTo>
                      <a:pt x="98" y="92"/>
                    </a:lnTo>
                    <a:lnTo>
                      <a:pt x="96" y="92"/>
                    </a:lnTo>
                    <a:lnTo>
                      <a:pt x="94" y="92"/>
                    </a:lnTo>
                    <a:lnTo>
                      <a:pt x="92" y="92"/>
                    </a:lnTo>
                    <a:lnTo>
                      <a:pt x="90" y="94"/>
                    </a:lnTo>
                    <a:lnTo>
                      <a:pt x="90" y="96"/>
                    </a:lnTo>
                    <a:lnTo>
                      <a:pt x="92" y="96"/>
                    </a:lnTo>
                    <a:lnTo>
                      <a:pt x="92" y="98"/>
                    </a:lnTo>
                    <a:lnTo>
                      <a:pt x="94" y="98"/>
                    </a:lnTo>
                    <a:lnTo>
                      <a:pt x="94" y="100"/>
                    </a:lnTo>
                    <a:lnTo>
                      <a:pt x="96" y="102"/>
                    </a:lnTo>
                    <a:lnTo>
                      <a:pt x="94" y="102"/>
                    </a:lnTo>
                    <a:lnTo>
                      <a:pt x="92" y="102"/>
                    </a:lnTo>
                    <a:lnTo>
                      <a:pt x="90" y="102"/>
                    </a:lnTo>
                    <a:lnTo>
                      <a:pt x="88" y="102"/>
                    </a:lnTo>
                    <a:lnTo>
                      <a:pt x="86" y="102"/>
                    </a:lnTo>
                    <a:lnTo>
                      <a:pt x="86" y="104"/>
                    </a:lnTo>
                    <a:lnTo>
                      <a:pt x="84" y="104"/>
                    </a:lnTo>
                    <a:lnTo>
                      <a:pt x="84" y="106"/>
                    </a:lnTo>
                    <a:lnTo>
                      <a:pt x="84" y="108"/>
                    </a:lnTo>
                    <a:lnTo>
                      <a:pt x="84" y="110"/>
                    </a:lnTo>
                    <a:lnTo>
                      <a:pt x="82" y="110"/>
                    </a:lnTo>
                    <a:lnTo>
                      <a:pt x="82" y="112"/>
                    </a:lnTo>
                    <a:lnTo>
                      <a:pt x="80" y="110"/>
                    </a:lnTo>
                    <a:lnTo>
                      <a:pt x="78" y="110"/>
                    </a:lnTo>
                    <a:lnTo>
                      <a:pt x="76" y="110"/>
                    </a:lnTo>
                    <a:lnTo>
                      <a:pt x="74" y="110"/>
                    </a:lnTo>
                    <a:lnTo>
                      <a:pt x="72" y="112"/>
                    </a:lnTo>
                    <a:lnTo>
                      <a:pt x="70" y="114"/>
                    </a:lnTo>
                    <a:lnTo>
                      <a:pt x="68" y="116"/>
                    </a:lnTo>
                    <a:lnTo>
                      <a:pt x="66" y="116"/>
                    </a:lnTo>
                    <a:lnTo>
                      <a:pt x="64" y="116"/>
                    </a:lnTo>
                    <a:lnTo>
                      <a:pt x="64" y="118"/>
                    </a:lnTo>
                    <a:lnTo>
                      <a:pt x="62" y="118"/>
                    </a:lnTo>
                    <a:lnTo>
                      <a:pt x="62" y="120"/>
                    </a:lnTo>
                    <a:lnTo>
                      <a:pt x="64" y="122"/>
                    </a:lnTo>
                    <a:lnTo>
                      <a:pt x="62" y="124"/>
                    </a:lnTo>
                    <a:lnTo>
                      <a:pt x="60" y="124"/>
                    </a:lnTo>
                    <a:lnTo>
                      <a:pt x="58" y="124"/>
                    </a:lnTo>
                    <a:lnTo>
                      <a:pt x="56" y="124"/>
                    </a:lnTo>
                    <a:lnTo>
                      <a:pt x="54" y="122"/>
                    </a:lnTo>
                    <a:lnTo>
                      <a:pt x="52" y="122"/>
                    </a:lnTo>
                    <a:lnTo>
                      <a:pt x="50" y="122"/>
                    </a:lnTo>
                    <a:lnTo>
                      <a:pt x="48" y="122"/>
                    </a:lnTo>
                    <a:lnTo>
                      <a:pt x="48" y="124"/>
                    </a:lnTo>
                    <a:lnTo>
                      <a:pt x="46" y="124"/>
                    </a:lnTo>
                    <a:lnTo>
                      <a:pt x="44" y="124"/>
                    </a:lnTo>
                    <a:lnTo>
                      <a:pt x="42" y="124"/>
                    </a:lnTo>
                    <a:lnTo>
                      <a:pt x="40" y="126"/>
                    </a:lnTo>
                    <a:lnTo>
                      <a:pt x="40" y="128"/>
                    </a:lnTo>
                    <a:lnTo>
                      <a:pt x="42" y="128"/>
                    </a:lnTo>
                    <a:lnTo>
                      <a:pt x="42" y="130"/>
                    </a:lnTo>
                    <a:lnTo>
                      <a:pt x="44" y="130"/>
                    </a:lnTo>
                    <a:lnTo>
                      <a:pt x="44" y="132"/>
                    </a:lnTo>
                    <a:lnTo>
                      <a:pt x="44" y="134"/>
                    </a:lnTo>
                    <a:lnTo>
                      <a:pt x="42" y="134"/>
                    </a:lnTo>
                    <a:lnTo>
                      <a:pt x="40" y="132"/>
                    </a:lnTo>
                    <a:lnTo>
                      <a:pt x="38" y="130"/>
                    </a:lnTo>
                    <a:lnTo>
                      <a:pt x="36" y="132"/>
                    </a:lnTo>
                    <a:lnTo>
                      <a:pt x="34" y="132"/>
                    </a:lnTo>
                    <a:lnTo>
                      <a:pt x="34" y="134"/>
                    </a:lnTo>
                    <a:lnTo>
                      <a:pt x="36" y="136"/>
                    </a:lnTo>
                    <a:lnTo>
                      <a:pt x="40" y="136"/>
                    </a:lnTo>
                    <a:lnTo>
                      <a:pt x="42" y="136"/>
                    </a:lnTo>
                    <a:lnTo>
                      <a:pt x="42" y="138"/>
                    </a:lnTo>
                    <a:lnTo>
                      <a:pt x="42" y="140"/>
                    </a:lnTo>
                    <a:lnTo>
                      <a:pt x="40" y="140"/>
                    </a:lnTo>
                    <a:lnTo>
                      <a:pt x="38" y="140"/>
                    </a:lnTo>
                    <a:lnTo>
                      <a:pt x="36" y="140"/>
                    </a:lnTo>
                    <a:lnTo>
                      <a:pt x="34" y="140"/>
                    </a:lnTo>
                    <a:lnTo>
                      <a:pt x="32" y="140"/>
                    </a:lnTo>
                    <a:lnTo>
                      <a:pt x="32" y="138"/>
                    </a:lnTo>
                    <a:lnTo>
                      <a:pt x="30" y="138"/>
                    </a:lnTo>
                    <a:lnTo>
                      <a:pt x="30" y="140"/>
                    </a:lnTo>
                    <a:lnTo>
                      <a:pt x="28" y="140"/>
                    </a:lnTo>
                    <a:lnTo>
                      <a:pt x="28" y="142"/>
                    </a:lnTo>
                    <a:lnTo>
                      <a:pt x="28" y="144"/>
                    </a:lnTo>
                    <a:lnTo>
                      <a:pt x="26" y="144"/>
                    </a:lnTo>
                    <a:lnTo>
                      <a:pt x="26" y="142"/>
                    </a:lnTo>
                    <a:lnTo>
                      <a:pt x="24" y="142"/>
                    </a:lnTo>
                    <a:lnTo>
                      <a:pt x="22" y="142"/>
                    </a:lnTo>
                    <a:lnTo>
                      <a:pt x="20" y="142"/>
                    </a:lnTo>
                    <a:lnTo>
                      <a:pt x="20" y="144"/>
                    </a:lnTo>
                    <a:lnTo>
                      <a:pt x="22" y="144"/>
                    </a:lnTo>
                    <a:lnTo>
                      <a:pt x="24" y="144"/>
                    </a:lnTo>
                    <a:lnTo>
                      <a:pt x="26" y="146"/>
                    </a:lnTo>
                    <a:lnTo>
                      <a:pt x="28" y="146"/>
                    </a:lnTo>
                    <a:lnTo>
                      <a:pt x="28" y="148"/>
                    </a:lnTo>
                    <a:lnTo>
                      <a:pt x="26" y="148"/>
                    </a:lnTo>
                    <a:lnTo>
                      <a:pt x="26" y="150"/>
                    </a:lnTo>
                    <a:lnTo>
                      <a:pt x="24" y="152"/>
                    </a:lnTo>
                    <a:lnTo>
                      <a:pt x="24" y="150"/>
                    </a:lnTo>
                    <a:lnTo>
                      <a:pt x="24" y="148"/>
                    </a:lnTo>
                    <a:lnTo>
                      <a:pt x="22" y="148"/>
                    </a:lnTo>
                    <a:lnTo>
                      <a:pt x="20" y="148"/>
                    </a:lnTo>
                    <a:lnTo>
                      <a:pt x="18" y="150"/>
                    </a:lnTo>
                    <a:lnTo>
                      <a:pt x="16" y="148"/>
                    </a:lnTo>
                    <a:lnTo>
                      <a:pt x="14" y="146"/>
                    </a:lnTo>
                    <a:lnTo>
                      <a:pt x="12" y="146"/>
                    </a:lnTo>
                    <a:lnTo>
                      <a:pt x="12" y="148"/>
                    </a:lnTo>
                    <a:lnTo>
                      <a:pt x="10" y="148"/>
                    </a:lnTo>
                    <a:lnTo>
                      <a:pt x="12" y="150"/>
                    </a:lnTo>
                    <a:lnTo>
                      <a:pt x="14" y="150"/>
                    </a:lnTo>
                    <a:lnTo>
                      <a:pt x="12" y="150"/>
                    </a:lnTo>
                    <a:lnTo>
                      <a:pt x="10" y="150"/>
                    </a:lnTo>
                    <a:lnTo>
                      <a:pt x="8" y="150"/>
                    </a:lnTo>
                    <a:lnTo>
                      <a:pt x="6" y="150"/>
                    </a:lnTo>
                    <a:lnTo>
                      <a:pt x="6" y="152"/>
                    </a:lnTo>
                    <a:lnTo>
                      <a:pt x="6" y="154"/>
                    </a:lnTo>
                    <a:lnTo>
                      <a:pt x="8" y="154"/>
                    </a:lnTo>
                    <a:lnTo>
                      <a:pt x="10" y="154"/>
                    </a:lnTo>
                    <a:lnTo>
                      <a:pt x="12" y="154"/>
                    </a:lnTo>
                    <a:lnTo>
                      <a:pt x="14" y="154"/>
                    </a:lnTo>
                    <a:lnTo>
                      <a:pt x="16" y="154"/>
                    </a:lnTo>
                    <a:lnTo>
                      <a:pt x="18" y="154"/>
                    </a:lnTo>
                    <a:lnTo>
                      <a:pt x="16" y="154"/>
                    </a:lnTo>
                    <a:lnTo>
                      <a:pt x="14" y="154"/>
                    </a:lnTo>
                    <a:lnTo>
                      <a:pt x="12" y="156"/>
                    </a:lnTo>
                    <a:lnTo>
                      <a:pt x="8" y="154"/>
                    </a:lnTo>
                    <a:lnTo>
                      <a:pt x="6" y="154"/>
                    </a:lnTo>
                    <a:lnTo>
                      <a:pt x="4" y="154"/>
                    </a:lnTo>
                    <a:lnTo>
                      <a:pt x="2" y="154"/>
                    </a:lnTo>
                    <a:lnTo>
                      <a:pt x="0" y="156"/>
                    </a:lnTo>
                    <a:lnTo>
                      <a:pt x="0" y="158"/>
                    </a:lnTo>
                    <a:lnTo>
                      <a:pt x="0" y="160"/>
                    </a:lnTo>
                    <a:lnTo>
                      <a:pt x="2" y="160"/>
                    </a:lnTo>
                    <a:lnTo>
                      <a:pt x="4" y="160"/>
                    </a:lnTo>
                    <a:lnTo>
                      <a:pt x="6" y="160"/>
                    </a:lnTo>
                    <a:lnTo>
                      <a:pt x="4" y="162"/>
                    </a:lnTo>
                    <a:lnTo>
                      <a:pt x="2" y="162"/>
                    </a:lnTo>
                    <a:lnTo>
                      <a:pt x="2" y="164"/>
                    </a:lnTo>
                    <a:lnTo>
                      <a:pt x="2" y="166"/>
                    </a:lnTo>
                    <a:lnTo>
                      <a:pt x="4" y="166"/>
                    </a:lnTo>
                    <a:lnTo>
                      <a:pt x="6" y="166"/>
                    </a:lnTo>
                    <a:lnTo>
                      <a:pt x="10" y="166"/>
                    </a:lnTo>
                    <a:lnTo>
                      <a:pt x="12" y="166"/>
                    </a:lnTo>
                    <a:lnTo>
                      <a:pt x="14" y="166"/>
                    </a:lnTo>
                    <a:lnTo>
                      <a:pt x="16" y="168"/>
                    </a:lnTo>
                    <a:lnTo>
                      <a:pt x="18" y="168"/>
                    </a:lnTo>
                    <a:lnTo>
                      <a:pt x="20" y="166"/>
                    </a:lnTo>
                    <a:lnTo>
                      <a:pt x="22" y="166"/>
                    </a:lnTo>
                    <a:lnTo>
                      <a:pt x="24" y="168"/>
                    </a:lnTo>
                    <a:lnTo>
                      <a:pt x="26" y="168"/>
                    </a:lnTo>
                    <a:lnTo>
                      <a:pt x="28" y="166"/>
                    </a:lnTo>
                    <a:lnTo>
                      <a:pt x="30" y="166"/>
                    </a:lnTo>
                    <a:lnTo>
                      <a:pt x="30" y="168"/>
                    </a:lnTo>
                    <a:lnTo>
                      <a:pt x="28" y="170"/>
                    </a:lnTo>
                    <a:lnTo>
                      <a:pt x="26" y="170"/>
                    </a:lnTo>
                    <a:lnTo>
                      <a:pt x="24" y="170"/>
                    </a:lnTo>
                    <a:lnTo>
                      <a:pt x="22" y="170"/>
                    </a:lnTo>
                    <a:lnTo>
                      <a:pt x="18" y="170"/>
                    </a:lnTo>
                    <a:lnTo>
                      <a:pt x="16" y="170"/>
                    </a:lnTo>
                    <a:lnTo>
                      <a:pt x="14" y="170"/>
                    </a:lnTo>
                    <a:lnTo>
                      <a:pt x="12" y="170"/>
                    </a:lnTo>
                    <a:lnTo>
                      <a:pt x="8" y="170"/>
                    </a:lnTo>
                    <a:lnTo>
                      <a:pt x="6" y="170"/>
                    </a:lnTo>
                    <a:lnTo>
                      <a:pt x="4" y="170"/>
                    </a:lnTo>
                    <a:lnTo>
                      <a:pt x="2" y="170"/>
                    </a:lnTo>
                    <a:lnTo>
                      <a:pt x="0" y="170"/>
                    </a:lnTo>
                    <a:lnTo>
                      <a:pt x="0" y="172"/>
                    </a:lnTo>
                    <a:lnTo>
                      <a:pt x="2" y="174"/>
                    </a:lnTo>
                    <a:lnTo>
                      <a:pt x="4" y="174"/>
                    </a:lnTo>
                    <a:lnTo>
                      <a:pt x="6" y="174"/>
                    </a:lnTo>
                    <a:lnTo>
                      <a:pt x="4" y="176"/>
                    </a:lnTo>
                    <a:lnTo>
                      <a:pt x="2" y="178"/>
                    </a:lnTo>
                    <a:lnTo>
                      <a:pt x="2" y="180"/>
                    </a:lnTo>
                    <a:lnTo>
                      <a:pt x="4" y="182"/>
                    </a:lnTo>
                    <a:lnTo>
                      <a:pt x="6" y="184"/>
                    </a:lnTo>
                    <a:lnTo>
                      <a:pt x="8" y="184"/>
                    </a:lnTo>
                    <a:lnTo>
                      <a:pt x="12" y="182"/>
                    </a:lnTo>
                    <a:lnTo>
                      <a:pt x="14" y="182"/>
                    </a:lnTo>
                    <a:lnTo>
                      <a:pt x="14" y="180"/>
                    </a:lnTo>
                    <a:lnTo>
                      <a:pt x="16" y="180"/>
                    </a:lnTo>
                    <a:lnTo>
                      <a:pt x="18" y="180"/>
                    </a:lnTo>
                    <a:lnTo>
                      <a:pt x="20" y="180"/>
                    </a:lnTo>
                    <a:lnTo>
                      <a:pt x="20" y="178"/>
                    </a:lnTo>
                    <a:lnTo>
                      <a:pt x="22" y="178"/>
                    </a:lnTo>
                    <a:lnTo>
                      <a:pt x="22" y="180"/>
                    </a:lnTo>
                    <a:lnTo>
                      <a:pt x="20" y="182"/>
                    </a:lnTo>
                    <a:lnTo>
                      <a:pt x="20" y="184"/>
                    </a:lnTo>
                    <a:lnTo>
                      <a:pt x="18" y="184"/>
                    </a:lnTo>
                    <a:lnTo>
                      <a:pt x="18" y="182"/>
                    </a:lnTo>
                    <a:lnTo>
                      <a:pt x="16" y="182"/>
                    </a:lnTo>
                    <a:lnTo>
                      <a:pt x="16" y="184"/>
                    </a:lnTo>
                    <a:lnTo>
                      <a:pt x="16" y="186"/>
                    </a:lnTo>
                    <a:lnTo>
                      <a:pt x="14" y="186"/>
                    </a:lnTo>
                    <a:lnTo>
                      <a:pt x="14" y="188"/>
                    </a:lnTo>
                    <a:lnTo>
                      <a:pt x="12" y="186"/>
                    </a:lnTo>
                    <a:lnTo>
                      <a:pt x="10" y="186"/>
                    </a:lnTo>
                    <a:lnTo>
                      <a:pt x="8" y="186"/>
                    </a:lnTo>
                    <a:lnTo>
                      <a:pt x="6" y="186"/>
                    </a:lnTo>
                    <a:lnTo>
                      <a:pt x="4" y="186"/>
                    </a:lnTo>
                    <a:lnTo>
                      <a:pt x="4" y="188"/>
                    </a:lnTo>
                    <a:lnTo>
                      <a:pt x="6" y="190"/>
                    </a:lnTo>
                    <a:lnTo>
                      <a:pt x="8" y="190"/>
                    </a:lnTo>
                    <a:lnTo>
                      <a:pt x="8" y="192"/>
                    </a:lnTo>
                    <a:lnTo>
                      <a:pt x="10" y="192"/>
                    </a:lnTo>
                    <a:lnTo>
                      <a:pt x="8" y="192"/>
                    </a:lnTo>
                    <a:lnTo>
                      <a:pt x="6" y="194"/>
                    </a:lnTo>
                    <a:lnTo>
                      <a:pt x="4" y="194"/>
                    </a:lnTo>
                    <a:lnTo>
                      <a:pt x="2" y="194"/>
                    </a:lnTo>
                    <a:lnTo>
                      <a:pt x="0" y="194"/>
                    </a:lnTo>
                    <a:lnTo>
                      <a:pt x="0" y="196"/>
                    </a:lnTo>
                    <a:lnTo>
                      <a:pt x="2" y="196"/>
                    </a:lnTo>
                    <a:lnTo>
                      <a:pt x="2" y="198"/>
                    </a:lnTo>
                    <a:lnTo>
                      <a:pt x="4" y="198"/>
                    </a:lnTo>
                    <a:lnTo>
                      <a:pt x="6" y="198"/>
                    </a:lnTo>
                    <a:lnTo>
                      <a:pt x="8" y="198"/>
                    </a:lnTo>
                    <a:lnTo>
                      <a:pt x="10" y="198"/>
                    </a:lnTo>
                    <a:lnTo>
                      <a:pt x="12" y="198"/>
                    </a:lnTo>
                    <a:lnTo>
                      <a:pt x="14" y="198"/>
                    </a:lnTo>
                    <a:lnTo>
                      <a:pt x="12" y="200"/>
                    </a:lnTo>
                    <a:lnTo>
                      <a:pt x="12" y="202"/>
                    </a:lnTo>
                    <a:lnTo>
                      <a:pt x="10" y="202"/>
                    </a:lnTo>
                    <a:lnTo>
                      <a:pt x="10" y="204"/>
                    </a:lnTo>
                    <a:lnTo>
                      <a:pt x="12" y="204"/>
                    </a:lnTo>
                    <a:lnTo>
                      <a:pt x="14" y="204"/>
                    </a:lnTo>
                    <a:lnTo>
                      <a:pt x="12" y="206"/>
                    </a:lnTo>
                    <a:lnTo>
                      <a:pt x="12" y="208"/>
                    </a:lnTo>
                    <a:lnTo>
                      <a:pt x="10" y="208"/>
                    </a:lnTo>
                    <a:lnTo>
                      <a:pt x="8" y="208"/>
                    </a:lnTo>
                    <a:lnTo>
                      <a:pt x="6" y="206"/>
                    </a:lnTo>
                    <a:lnTo>
                      <a:pt x="4" y="206"/>
                    </a:lnTo>
                    <a:lnTo>
                      <a:pt x="2" y="206"/>
                    </a:lnTo>
                    <a:lnTo>
                      <a:pt x="2" y="208"/>
                    </a:lnTo>
                    <a:lnTo>
                      <a:pt x="4" y="210"/>
                    </a:lnTo>
                    <a:lnTo>
                      <a:pt x="4" y="212"/>
                    </a:lnTo>
                    <a:lnTo>
                      <a:pt x="6" y="212"/>
                    </a:lnTo>
                    <a:lnTo>
                      <a:pt x="6" y="214"/>
                    </a:lnTo>
                    <a:lnTo>
                      <a:pt x="8" y="214"/>
                    </a:lnTo>
                    <a:lnTo>
                      <a:pt x="10" y="216"/>
                    </a:lnTo>
                    <a:lnTo>
                      <a:pt x="14" y="216"/>
                    </a:lnTo>
                    <a:lnTo>
                      <a:pt x="16" y="218"/>
                    </a:lnTo>
                    <a:lnTo>
                      <a:pt x="18" y="218"/>
                    </a:lnTo>
                    <a:lnTo>
                      <a:pt x="18" y="220"/>
                    </a:lnTo>
                    <a:lnTo>
                      <a:pt x="18" y="222"/>
                    </a:lnTo>
                    <a:lnTo>
                      <a:pt x="20" y="222"/>
                    </a:lnTo>
                    <a:lnTo>
                      <a:pt x="22" y="222"/>
                    </a:lnTo>
                    <a:lnTo>
                      <a:pt x="24" y="222"/>
                    </a:lnTo>
                    <a:lnTo>
                      <a:pt x="26" y="220"/>
                    </a:lnTo>
                    <a:lnTo>
                      <a:pt x="28" y="220"/>
                    </a:lnTo>
                    <a:lnTo>
                      <a:pt x="28" y="222"/>
                    </a:lnTo>
                    <a:lnTo>
                      <a:pt x="30" y="222"/>
                    </a:lnTo>
                    <a:lnTo>
                      <a:pt x="32" y="222"/>
                    </a:lnTo>
                    <a:lnTo>
                      <a:pt x="34" y="222"/>
                    </a:lnTo>
                    <a:lnTo>
                      <a:pt x="36" y="222"/>
                    </a:lnTo>
                    <a:lnTo>
                      <a:pt x="38" y="220"/>
                    </a:lnTo>
                    <a:lnTo>
                      <a:pt x="40" y="218"/>
                    </a:lnTo>
                    <a:lnTo>
                      <a:pt x="44" y="218"/>
                    </a:lnTo>
                    <a:lnTo>
                      <a:pt x="46" y="216"/>
                    </a:lnTo>
                    <a:lnTo>
                      <a:pt x="48" y="214"/>
                    </a:lnTo>
                    <a:lnTo>
                      <a:pt x="50" y="212"/>
                    </a:lnTo>
                    <a:lnTo>
                      <a:pt x="52" y="210"/>
                    </a:lnTo>
                    <a:lnTo>
                      <a:pt x="54" y="208"/>
                    </a:lnTo>
                    <a:lnTo>
                      <a:pt x="56" y="206"/>
                    </a:lnTo>
                    <a:lnTo>
                      <a:pt x="58" y="206"/>
                    </a:lnTo>
                    <a:lnTo>
                      <a:pt x="58" y="204"/>
                    </a:lnTo>
                    <a:lnTo>
                      <a:pt x="60" y="204"/>
                    </a:lnTo>
                    <a:lnTo>
                      <a:pt x="62" y="204"/>
                    </a:lnTo>
                    <a:lnTo>
                      <a:pt x="64" y="204"/>
                    </a:lnTo>
                    <a:lnTo>
                      <a:pt x="66" y="204"/>
                    </a:lnTo>
                    <a:lnTo>
                      <a:pt x="68" y="202"/>
                    </a:lnTo>
                    <a:lnTo>
                      <a:pt x="68" y="200"/>
                    </a:lnTo>
                    <a:lnTo>
                      <a:pt x="70" y="200"/>
                    </a:lnTo>
                    <a:lnTo>
                      <a:pt x="70" y="198"/>
                    </a:lnTo>
                    <a:lnTo>
                      <a:pt x="70" y="196"/>
                    </a:lnTo>
                    <a:lnTo>
                      <a:pt x="68" y="194"/>
                    </a:lnTo>
                    <a:lnTo>
                      <a:pt x="68" y="192"/>
                    </a:lnTo>
                    <a:lnTo>
                      <a:pt x="70" y="192"/>
                    </a:lnTo>
                    <a:lnTo>
                      <a:pt x="72" y="192"/>
                    </a:lnTo>
                    <a:lnTo>
                      <a:pt x="72" y="194"/>
                    </a:lnTo>
                    <a:lnTo>
                      <a:pt x="70" y="194"/>
                    </a:lnTo>
                    <a:lnTo>
                      <a:pt x="70" y="196"/>
                    </a:lnTo>
                    <a:lnTo>
                      <a:pt x="70" y="198"/>
                    </a:lnTo>
                    <a:lnTo>
                      <a:pt x="72" y="198"/>
                    </a:lnTo>
                    <a:lnTo>
                      <a:pt x="72" y="200"/>
                    </a:lnTo>
                    <a:lnTo>
                      <a:pt x="76" y="200"/>
                    </a:lnTo>
                    <a:lnTo>
                      <a:pt x="78" y="200"/>
                    </a:lnTo>
                    <a:lnTo>
                      <a:pt x="78" y="202"/>
                    </a:lnTo>
                    <a:lnTo>
                      <a:pt x="80" y="202"/>
                    </a:lnTo>
                    <a:lnTo>
                      <a:pt x="82" y="202"/>
                    </a:lnTo>
                    <a:lnTo>
                      <a:pt x="84" y="204"/>
                    </a:lnTo>
                    <a:lnTo>
                      <a:pt x="86" y="206"/>
                    </a:lnTo>
                    <a:lnTo>
                      <a:pt x="88" y="206"/>
                    </a:lnTo>
                    <a:lnTo>
                      <a:pt x="88" y="204"/>
                    </a:lnTo>
                    <a:lnTo>
                      <a:pt x="88" y="202"/>
                    </a:lnTo>
                    <a:lnTo>
                      <a:pt x="90" y="200"/>
                    </a:lnTo>
                    <a:lnTo>
                      <a:pt x="90" y="198"/>
                    </a:lnTo>
                    <a:lnTo>
                      <a:pt x="88" y="198"/>
                    </a:lnTo>
                    <a:lnTo>
                      <a:pt x="88" y="196"/>
                    </a:lnTo>
                    <a:lnTo>
                      <a:pt x="86" y="194"/>
                    </a:lnTo>
                    <a:lnTo>
                      <a:pt x="88" y="194"/>
                    </a:lnTo>
                    <a:lnTo>
                      <a:pt x="88" y="192"/>
                    </a:lnTo>
                    <a:lnTo>
                      <a:pt x="90" y="192"/>
                    </a:lnTo>
                    <a:lnTo>
                      <a:pt x="88" y="190"/>
                    </a:lnTo>
                    <a:lnTo>
                      <a:pt x="88" y="188"/>
                    </a:lnTo>
                    <a:lnTo>
                      <a:pt x="90" y="188"/>
                    </a:lnTo>
                    <a:lnTo>
                      <a:pt x="94" y="188"/>
                    </a:lnTo>
                    <a:lnTo>
                      <a:pt x="96" y="188"/>
                    </a:lnTo>
                    <a:lnTo>
                      <a:pt x="98" y="188"/>
                    </a:lnTo>
                    <a:lnTo>
                      <a:pt x="98" y="186"/>
                    </a:lnTo>
                    <a:lnTo>
                      <a:pt x="98" y="184"/>
                    </a:lnTo>
                    <a:lnTo>
                      <a:pt x="98" y="182"/>
                    </a:lnTo>
                    <a:lnTo>
                      <a:pt x="98" y="180"/>
                    </a:lnTo>
                    <a:lnTo>
                      <a:pt x="100" y="180"/>
                    </a:lnTo>
                    <a:lnTo>
                      <a:pt x="98" y="178"/>
                    </a:lnTo>
                    <a:lnTo>
                      <a:pt x="98" y="176"/>
                    </a:lnTo>
                    <a:lnTo>
                      <a:pt x="96" y="174"/>
                    </a:lnTo>
                    <a:lnTo>
                      <a:pt x="96" y="172"/>
                    </a:lnTo>
                    <a:lnTo>
                      <a:pt x="96" y="170"/>
                    </a:lnTo>
                    <a:lnTo>
                      <a:pt x="94" y="170"/>
                    </a:lnTo>
                    <a:lnTo>
                      <a:pt x="96" y="170"/>
                    </a:lnTo>
                    <a:lnTo>
                      <a:pt x="98" y="168"/>
                    </a:lnTo>
                    <a:lnTo>
                      <a:pt x="100" y="168"/>
                    </a:lnTo>
                    <a:lnTo>
                      <a:pt x="100" y="166"/>
                    </a:lnTo>
                    <a:lnTo>
                      <a:pt x="102" y="166"/>
                    </a:lnTo>
                    <a:lnTo>
                      <a:pt x="102" y="164"/>
                    </a:lnTo>
                    <a:lnTo>
                      <a:pt x="102" y="162"/>
                    </a:lnTo>
                    <a:lnTo>
                      <a:pt x="100" y="160"/>
                    </a:lnTo>
                    <a:lnTo>
                      <a:pt x="98" y="160"/>
                    </a:lnTo>
                    <a:lnTo>
                      <a:pt x="98" y="158"/>
                    </a:lnTo>
                    <a:lnTo>
                      <a:pt x="96" y="158"/>
                    </a:lnTo>
                    <a:lnTo>
                      <a:pt x="94" y="156"/>
                    </a:lnTo>
                    <a:lnTo>
                      <a:pt x="94" y="154"/>
                    </a:lnTo>
                    <a:lnTo>
                      <a:pt x="94" y="152"/>
                    </a:lnTo>
                    <a:lnTo>
                      <a:pt x="94" y="150"/>
                    </a:lnTo>
                    <a:lnTo>
                      <a:pt x="96" y="148"/>
                    </a:lnTo>
                    <a:lnTo>
                      <a:pt x="96" y="146"/>
                    </a:lnTo>
                    <a:lnTo>
                      <a:pt x="94" y="144"/>
                    </a:lnTo>
                    <a:lnTo>
                      <a:pt x="92" y="144"/>
                    </a:lnTo>
                    <a:lnTo>
                      <a:pt x="92" y="142"/>
                    </a:lnTo>
                    <a:lnTo>
                      <a:pt x="90" y="140"/>
                    </a:lnTo>
                    <a:lnTo>
                      <a:pt x="90" y="138"/>
                    </a:lnTo>
                    <a:lnTo>
                      <a:pt x="90" y="136"/>
                    </a:lnTo>
                    <a:lnTo>
                      <a:pt x="92" y="134"/>
                    </a:lnTo>
                    <a:lnTo>
                      <a:pt x="94" y="134"/>
                    </a:lnTo>
                    <a:lnTo>
                      <a:pt x="94" y="132"/>
                    </a:lnTo>
                    <a:lnTo>
                      <a:pt x="92" y="132"/>
                    </a:lnTo>
                    <a:lnTo>
                      <a:pt x="92" y="130"/>
                    </a:lnTo>
                    <a:lnTo>
                      <a:pt x="90" y="130"/>
                    </a:lnTo>
                    <a:lnTo>
                      <a:pt x="90" y="128"/>
                    </a:lnTo>
                    <a:lnTo>
                      <a:pt x="92" y="128"/>
                    </a:lnTo>
                    <a:lnTo>
                      <a:pt x="92" y="126"/>
                    </a:lnTo>
                    <a:lnTo>
                      <a:pt x="94" y="124"/>
                    </a:lnTo>
                    <a:lnTo>
                      <a:pt x="96" y="124"/>
                    </a:lnTo>
                    <a:lnTo>
                      <a:pt x="96" y="122"/>
                    </a:lnTo>
                    <a:lnTo>
                      <a:pt x="98" y="122"/>
                    </a:lnTo>
                    <a:lnTo>
                      <a:pt x="98" y="120"/>
                    </a:lnTo>
                    <a:lnTo>
                      <a:pt x="100" y="120"/>
                    </a:lnTo>
                    <a:lnTo>
                      <a:pt x="102" y="118"/>
                    </a:lnTo>
                    <a:lnTo>
                      <a:pt x="104" y="116"/>
                    </a:lnTo>
                    <a:lnTo>
                      <a:pt x="106" y="116"/>
                    </a:lnTo>
                    <a:lnTo>
                      <a:pt x="108" y="116"/>
                    </a:lnTo>
                    <a:lnTo>
                      <a:pt x="110" y="116"/>
                    </a:lnTo>
                    <a:lnTo>
                      <a:pt x="112" y="116"/>
                    </a:lnTo>
                    <a:lnTo>
                      <a:pt x="114" y="116"/>
                    </a:lnTo>
                    <a:lnTo>
                      <a:pt x="116" y="116"/>
                    </a:lnTo>
                    <a:lnTo>
                      <a:pt x="118" y="114"/>
                    </a:lnTo>
                    <a:lnTo>
                      <a:pt x="118" y="112"/>
                    </a:lnTo>
                    <a:lnTo>
                      <a:pt x="116" y="112"/>
                    </a:lnTo>
                    <a:lnTo>
                      <a:pt x="116" y="110"/>
                    </a:lnTo>
                    <a:lnTo>
                      <a:pt x="114" y="110"/>
                    </a:lnTo>
                    <a:lnTo>
                      <a:pt x="114" y="108"/>
                    </a:lnTo>
                    <a:lnTo>
                      <a:pt x="112" y="108"/>
                    </a:lnTo>
                    <a:lnTo>
                      <a:pt x="110" y="106"/>
                    </a:lnTo>
                    <a:lnTo>
                      <a:pt x="112" y="106"/>
                    </a:lnTo>
                    <a:lnTo>
                      <a:pt x="114" y="104"/>
                    </a:lnTo>
                    <a:lnTo>
                      <a:pt x="116" y="104"/>
                    </a:lnTo>
                    <a:lnTo>
                      <a:pt x="116" y="102"/>
                    </a:lnTo>
                    <a:lnTo>
                      <a:pt x="118" y="102"/>
                    </a:lnTo>
                    <a:lnTo>
                      <a:pt x="120" y="100"/>
                    </a:lnTo>
                    <a:lnTo>
                      <a:pt x="122" y="98"/>
                    </a:lnTo>
                    <a:lnTo>
                      <a:pt x="122" y="96"/>
                    </a:lnTo>
                    <a:lnTo>
                      <a:pt x="122" y="94"/>
                    </a:lnTo>
                    <a:lnTo>
                      <a:pt x="122" y="92"/>
                    </a:lnTo>
                    <a:lnTo>
                      <a:pt x="122" y="90"/>
                    </a:lnTo>
                    <a:lnTo>
                      <a:pt x="122" y="88"/>
                    </a:lnTo>
                    <a:lnTo>
                      <a:pt x="122" y="86"/>
                    </a:lnTo>
                    <a:lnTo>
                      <a:pt x="124" y="86"/>
                    </a:lnTo>
                    <a:lnTo>
                      <a:pt x="124" y="84"/>
                    </a:lnTo>
                    <a:lnTo>
                      <a:pt x="122" y="82"/>
                    </a:lnTo>
                    <a:lnTo>
                      <a:pt x="122" y="80"/>
                    </a:lnTo>
                    <a:lnTo>
                      <a:pt x="124" y="80"/>
                    </a:lnTo>
                    <a:lnTo>
                      <a:pt x="126" y="82"/>
                    </a:lnTo>
                    <a:lnTo>
                      <a:pt x="128" y="82"/>
                    </a:lnTo>
                    <a:lnTo>
                      <a:pt x="130" y="82"/>
                    </a:lnTo>
                    <a:lnTo>
                      <a:pt x="132" y="80"/>
                    </a:lnTo>
                    <a:lnTo>
                      <a:pt x="134" y="80"/>
                    </a:lnTo>
                    <a:lnTo>
                      <a:pt x="134" y="78"/>
                    </a:lnTo>
                    <a:lnTo>
                      <a:pt x="134" y="76"/>
                    </a:lnTo>
                    <a:lnTo>
                      <a:pt x="132" y="76"/>
                    </a:lnTo>
                    <a:lnTo>
                      <a:pt x="132" y="74"/>
                    </a:lnTo>
                    <a:lnTo>
                      <a:pt x="134" y="74"/>
                    </a:lnTo>
                    <a:lnTo>
                      <a:pt x="136" y="74"/>
                    </a:lnTo>
                    <a:lnTo>
                      <a:pt x="136" y="72"/>
                    </a:lnTo>
                    <a:lnTo>
                      <a:pt x="138" y="72"/>
                    </a:lnTo>
                    <a:lnTo>
                      <a:pt x="140" y="70"/>
                    </a:lnTo>
                    <a:lnTo>
                      <a:pt x="140" y="68"/>
                    </a:lnTo>
                    <a:lnTo>
                      <a:pt x="142" y="68"/>
                    </a:lnTo>
                    <a:lnTo>
                      <a:pt x="144" y="68"/>
                    </a:lnTo>
                    <a:lnTo>
                      <a:pt x="144" y="66"/>
                    </a:lnTo>
                    <a:lnTo>
                      <a:pt x="144" y="64"/>
                    </a:lnTo>
                    <a:lnTo>
                      <a:pt x="146" y="64"/>
                    </a:lnTo>
                    <a:lnTo>
                      <a:pt x="144" y="64"/>
                    </a:lnTo>
                    <a:lnTo>
                      <a:pt x="144" y="62"/>
                    </a:lnTo>
                    <a:lnTo>
                      <a:pt x="142" y="60"/>
                    </a:lnTo>
                    <a:lnTo>
                      <a:pt x="140" y="60"/>
                    </a:lnTo>
                    <a:lnTo>
                      <a:pt x="140" y="58"/>
                    </a:lnTo>
                    <a:lnTo>
                      <a:pt x="142" y="58"/>
                    </a:lnTo>
                    <a:lnTo>
                      <a:pt x="144" y="56"/>
                    </a:lnTo>
                    <a:lnTo>
                      <a:pt x="146" y="56"/>
                    </a:lnTo>
                    <a:lnTo>
                      <a:pt x="146" y="54"/>
                    </a:lnTo>
                    <a:lnTo>
                      <a:pt x="148" y="52"/>
                    </a:lnTo>
                    <a:lnTo>
                      <a:pt x="152" y="50"/>
                    </a:lnTo>
                    <a:lnTo>
                      <a:pt x="154" y="50"/>
                    </a:lnTo>
                    <a:lnTo>
                      <a:pt x="156" y="50"/>
                    </a:lnTo>
                    <a:lnTo>
                      <a:pt x="158" y="50"/>
                    </a:lnTo>
                    <a:lnTo>
                      <a:pt x="160" y="50"/>
                    </a:lnTo>
                    <a:lnTo>
                      <a:pt x="162" y="50"/>
                    </a:lnTo>
                    <a:lnTo>
                      <a:pt x="164" y="50"/>
                    </a:lnTo>
                    <a:lnTo>
                      <a:pt x="166" y="48"/>
                    </a:lnTo>
                    <a:lnTo>
                      <a:pt x="166" y="46"/>
                    </a:lnTo>
                    <a:lnTo>
                      <a:pt x="164" y="44"/>
                    </a:lnTo>
                    <a:lnTo>
                      <a:pt x="164" y="42"/>
                    </a:lnTo>
                    <a:lnTo>
                      <a:pt x="166" y="40"/>
                    </a:lnTo>
                    <a:lnTo>
                      <a:pt x="168" y="40"/>
                    </a:lnTo>
                    <a:lnTo>
                      <a:pt x="168" y="42"/>
                    </a:lnTo>
                    <a:lnTo>
                      <a:pt x="168" y="44"/>
                    </a:lnTo>
                    <a:lnTo>
                      <a:pt x="170" y="42"/>
                    </a:lnTo>
                    <a:lnTo>
                      <a:pt x="172" y="42"/>
                    </a:lnTo>
                    <a:lnTo>
                      <a:pt x="174" y="42"/>
                    </a:lnTo>
                    <a:lnTo>
                      <a:pt x="176" y="42"/>
                    </a:lnTo>
                    <a:lnTo>
                      <a:pt x="178" y="42"/>
                    </a:lnTo>
                    <a:lnTo>
                      <a:pt x="180" y="42"/>
                    </a:lnTo>
                    <a:lnTo>
                      <a:pt x="180" y="44"/>
                    </a:lnTo>
                    <a:lnTo>
                      <a:pt x="182" y="44"/>
                    </a:lnTo>
                    <a:lnTo>
                      <a:pt x="184" y="44"/>
                    </a:lnTo>
                    <a:lnTo>
                      <a:pt x="186" y="44"/>
                    </a:lnTo>
                    <a:lnTo>
                      <a:pt x="188" y="44"/>
                    </a:lnTo>
                    <a:lnTo>
                      <a:pt x="190" y="44"/>
                    </a:lnTo>
                    <a:lnTo>
                      <a:pt x="190" y="42"/>
                    </a:lnTo>
                    <a:lnTo>
                      <a:pt x="188" y="42"/>
                    </a:lnTo>
                    <a:lnTo>
                      <a:pt x="188" y="40"/>
                    </a:lnTo>
                    <a:lnTo>
                      <a:pt x="188" y="38"/>
                    </a:lnTo>
                    <a:lnTo>
                      <a:pt x="190" y="38"/>
                    </a:lnTo>
                    <a:lnTo>
                      <a:pt x="190" y="36"/>
                    </a:lnTo>
                    <a:lnTo>
                      <a:pt x="190" y="34"/>
                    </a:lnTo>
                    <a:lnTo>
                      <a:pt x="192" y="34"/>
                    </a:lnTo>
                    <a:lnTo>
                      <a:pt x="194" y="34"/>
                    </a:lnTo>
                    <a:lnTo>
                      <a:pt x="196" y="34"/>
                    </a:lnTo>
                    <a:lnTo>
                      <a:pt x="196" y="32"/>
                    </a:lnTo>
                    <a:lnTo>
                      <a:pt x="198" y="32"/>
                    </a:lnTo>
                    <a:lnTo>
                      <a:pt x="200" y="32"/>
                    </a:lnTo>
                    <a:lnTo>
                      <a:pt x="202" y="32"/>
                    </a:lnTo>
                    <a:lnTo>
                      <a:pt x="202" y="30"/>
                    </a:lnTo>
                    <a:lnTo>
                      <a:pt x="204" y="28"/>
                    </a:lnTo>
                    <a:lnTo>
                      <a:pt x="206" y="28"/>
                    </a:lnTo>
                    <a:lnTo>
                      <a:pt x="206" y="30"/>
                    </a:lnTo>
                    <a:lnTo>
                      <a:pt x="208" y="32"/>
                    </a:lnTo>
                    <a:lnTo>
                      <a:pt x="210" y="32"/>
                    </a:lnTo>
                    <a:lnTo>
                      <a:pt x="210" y="34"/>
                    </a:lnTo>
                    <a:lnTo>
                      <a:pt x="212" y="34"/>
                    </a:lnTo>
                    <a:lnTo>
                      <a:pt x="214" y="34"/>
                    </a:lnTo>
                    <a:lnTo>
                      <a:pt x="214" y="36"/>
                    </a:lnTo>
                    <a:lnTo>
                      <a:pt x="216" y="36"/>
                    </a:lnTo>
                    <a:lnTo>
                      <a:pt x="216" y="38"/>
                    </a:lnTo>
                    <a:lnTo>
                      <a:pt x="218" y="38"/>
                    </a:lnTo>
                    <a:lnTo>
                      <a:pt x="220" y="38"/>
                    </a:lnTo>
                    <a:lnTo>
                      <a:pt x="222" y="38"/>
                    </a:lnTo>
                    <a:lnTo>
                      <a:pt x="224" y="38"/>
                    </a:lnTo>
                    <a:lnTo>
                      <a:pt x="224" y="40"/>
                    </a:lnTo>
                    <a:lnTo>
                      <a:pt x="226" y="40"/>
                    </a:lnTo>
                    <a:lnTo>
                      <a:pt x="228" y="40"/>
                    </a:lnTo>
                    <a:lnTo>
                      <a:pt x="230" y="40"/>
                    </a:lnTo>
                    <a:lnTo>
                      <a:pt x="232" y="40"/>
                    </a:lnTo>
                    <a:lnTo>
                      <a:pt x="234" y="38"/>
                    </a:lnTo>
                    <a:lnTo>
                      <a:pt x="236" y="38"/>
                    </a:lnTo>
                    <a:lnTo>
                      <a:pt x="238" y="38"/>
                    </a:lnTo>
                    <a:lnTo>
                      <a:pt x="240" y="38"/>
                    </a:lnTo>
                    <a:lnTo>
                      <a:pt x="242" y="38"/>
                    </a:lnTo>
                    <a:lnTo>
                      <a:pt x="244" y="38"/>
                    </a:lnTo>
                    <a:lnTo>
                      <a:pt x="246" y="40"/>
                    </a:lnTo>
                    <a:lnTo>
                      <a:pt x="248" y="40"/>
                    </a:lnTo>
                    <a:lnTo>
                      <a:pt x="250" y="40"/>
                    </a:lnTo>
                    <a:lnTo>
                      <a:pt x="250" y="38"/>
                    </a:lnTo>
                    <a:lnTo>
                      <a:pt x="250" y="36"/>
                    </a:lnTo>
                    <a:lnTo>
                      <a:pt x="252" y="34"/>
                    </a:lnTo>
                    <a:lnTo>
                      <a:pt x="254" y="34"/>
                    </a:lnTo>
                    <a:lnTo>
                      <a:pt x="256" y="34"/>
                    </a:lnTo>
                    <a:lnTo>
                      <a:pt x="258" y="34"/>
                    </a:lnTo>
                    <a:lnTo>
                      <a:pt x="258" y="32"/>
                    </a:lnTo>
                    <a:lnTo>
                      <a:pt x="258" y="30"/>
                    </a:lnTo>
                    <a:lnTo>
                      <a:pt x="258" y="28"/>
                    </a:lnTo>
                    <a:lnTo>
                      <a:pt x="258" y="26"/>
                    </a:lnTo>
                    <a:lnTo>
                      <a:pt x="258" y="24"/>
                    </a:lnTo>
                    <a:lnTo>
                      <a:pt x="258" y="22"/>
                    </a:lnTo>
                    <a:lnTo>
                      <a:pt x="260" y="22"/>
                    </a:lnTo>
                    <a:lnTo>
                      <a:pt x="260" y="20"/>
                    </a:lnTo>
                    <a:lnTo>
                      <a:pt x="262" y="20"/>
                    </a:lnTo>
                    <a:lnTo>
                      <a:pt x="264" y="20"/>
                    </a:lnTo>
                    <a:lnTo>
                      <a:pt x="266" y="20"/>
                    </a:lnTo>
                    <a:lnTo>
                      <a:pt x="268" y="20"/>
                    </a:lnTo>
                    <a:lnTo>
                      <a:pt x="270" y="20"/>
                    </a:lnTo>
                    <a:lnTo>
                      <a:pt x="272" y="20"/>
                    </a:lnTo>
                    <a:lnTo>
                      <a:pt x="274" y="18"/>
                    </a:lnTo>
                    <a:lnTo>
                      <a:pt x="276" y="18"/>
                    </a:lnTo>
                    <a:lnTo>
                      <a:pt x="278" y="18"/>
                    </a:lnTo>
                    <a:lnTo>
                      <a:pt x="280" y="18"/>
                    </a:lnTo>
                    <a:lnTo>
                      <a:pt x="282" y="18"/>
                    </a:lnTo>
                    <a:lnTo>
                      <a:pt x="284" y="18"/>
                    </a:lnTo>
                    <a:lnTo>
                      <a:pt x="286" y="18"/>
                    </a:lnTo>
                    <a:lnTo>
                      <a:pt x="284" y="20"/>
                    </a:lnTo>
                    <a:lnTo>
                      <a:pt x="288" y="20"/>
                    </a:lnTo>
                    <a:lnTo>
                      <a:pt x="290" y="22"/>
                    </a:lnTo>
                    <a:lnTo>
                      <a:pt x="292" y="22"/>
                    </a:lnTo>
                    <a:lnTo>
                      <a:pt x="294" y="22"/>
                    </a:lnTo>
                    <a:lnTo>
                      <a:pt x="294" y="24"/>
                    </a:lnTo>
                    <a:lnTo>
                      <a:pt x="296" y="24"/>
                    </a:lnTo>
                    <a:lnTo>
                      <a:pt x="296" y="26"/>
                    </a:lnTo>
                    <a:lnTo>
                      <a:pt x="298" y="26"/>
                    </a:lnTo>
                    <a:lnTo>
                      <a:pt x="298" y="28"/>
                    </a:lnTo>
                    <a:lnTo>
                      <a:pt x="298" y="30"/>
                    </a:lnTo>
                    <a:lnTo>
                      <a:pt x="298" y="32"/>
                    </a:lnTo>
                    <a:lnTo>
                      <a:pt x="296" y="30"/>
                    </a:lnTo>
                    <a:lnTo>
                      <a:pt x="294" y="32"/>
                    </a:lnTo>
                    <a:lnTo>
                      <a:pt x="296" y="34"/>
                    </a:lnTo>
                    <a:lnTo>
                      <a:pt x="300" y="34"/>
                    </a:lnTo>
                    <a:lnTo>
                      <a:pt x="302" y="32"/>
                    </a:lnTo>
                    <a:lnTo>
                      <a:pt x="302" y="30"/>
                    </a:lnTo>
                    <a:lnTo>
                      <a:pt x="302" y="28"/>
                    </a:lnTo>
                    <a:lnTo>
                      <a:pt x="304" y="28"/>
                    </a:lnTo>
                    <a:lnTo>
                      <a:pt x="306" y="28"/>
                    </a:lnTo>
                    <a:lnTo>
                      <a:pt x="308" y="28"/>
                    </a:lnTo>
                    <a:lnTo>
                      <a:pt x="310" y="28"/>
                    </a:lnTo>
                    <a:lnTo>
                      <a:pt x="310" y="26"/>
                    </a:lnTo>
                    <a:lnTo>
                      <a:pt x="312" y="26"/>
                    </a:lnTo>
                    <a:lnTo>
                      <a:pt x="314" y="26"/>
                    </a:lnTo>
                    <a:lnTo>
                      <a:pt x="316" y="26"/>
                    </a:lnTo>
                    <a:lnTo>
                      <a:pt x="318" y="26"/>
                    </a:lnTo>
                    <a:lnTo>
                      <a:pt x="318" y="24"/>
                    </a:lnTo>
                    <a:lnTo>
                      <a:pt x="320" y="24"/>
                    </a:lnTo>
                    <a:lnTo>
                      <a:pt x="320" y="2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4" name="Freeform 113">
                <a:extLst>
                  <a:ext uri="{FF2B5EF4-FFF2-40B4-BE49-F238E27FC236}">
                    <a16:creationId xmlns:a16="http://schemas.microsoft.com/office/drawing/2014/main" id="{D9238884-91CB-4143-8F53-4F673B744706}"/>
                  </a:ext>
                </a:extLst>
              </p:cNvPr>
              <p:cNvSpPr>
                <a:spLocks noChangeAspect="1"/>
              </p:cNvSpPr>
              <p:nvPr/>
            </p:nvSpPr>
            <p:spPr bwMode="auto">
              <a:xfrm>
                <a:off x="4185770" y="2844719"/>
                <a:ext cx="88796" cy="174396"/>
              </a:xfrm>
              <a:custGeom>
                <a:avLst/>
                <a:gdLst/>
                <a:ahLst/>
                <a:cxnLst>
                  <a:cxn ang="0">
                    <a:pos x="50" y="6"/>
                  </a:cxn>
                  <a:cxn ang="0">
                    <a:pos x="48" y="4"/>
                  </a:cxn>
                  <a:cxn ang="0">
                    <a:pos x="40" y="4"/>
                  </a:cxn>
                  <a:cxn ang="0">
                    <a:pos x="36" y="4"/>
                  </a:cxn>
                  <a:cxn ang="0">
                    <a:pos x="36" y="6"/>
                  </a:cxn>
                  <a:cxn ang="0">
                    <a:pos x="34" y="8"/>
                  </a:cxn>
                  <a:cxn ang="0">
                    <a:pos x="30" y="6"/>
                  </a:cxn>
                  <a:cxn ang="0">
                    <a:pos x="26" y="6"/>
                  </a:cxn>
                  <a:cxn ang="0">
                    <a:pos x="24" y="6"/>
                  </a:cxn>
                  <a:cxn ang="0">
                    <a:pos x="26" y="2"/>
                  </a:cxn>
                  <a:cxn ang="0">
                    <a:pos x="26" y="0"/>
                  </a:cxn>
                  <a:cxn ang="0">
                    <a:pos x="18" y="2"/>
                  </a:cxn>
                  <a:cxn ang="0">
                    <a:pos x="14" y="8"/>
                  </a:cxn>
                  <a:cxn ang="0">
                    <a:pos x="14" y="22"/>
                  </a:cxn>
                  <a:cxn ang="0">
                    <a:pos x="10" y="36"/>
                  </a:cxn>
                  <a:cxn ang="0">
                    <a:pos x="6" y="42"/>
                  </a:cxn>
                  <a:cxn ang="0">
                    <a:pos x="4" y="48"/>
                  </a:cxn>
                  <a:cxn ang="0">
                    <a:pos x="2" y="52"/>
                  </a:cxn>
                  <a:cxn ang="0">
                    <a:pos x="2" y="54"/>
                  </a:cxn>
                  <a:cxn ang="0">
                    <a:pos x="0" y="62"/>
                  </a:cxn>
                  <a:cxn ang="0">
                    <a:pos x="6" y="68"/>
                  </a:cxn>
                  <a:cxn ang="0">
                    <a:pos x="6" y="72"/>
                  </a:cxn>
                  <a:cxn ang="0">
                    <a:pos x="8" y="80"/>
                  </a:cxn>
                  <a:cxn ang="0">
                    <a:pos x="10" y="82"/>
                  </a:cxn>
                  <a:cxn ang="0">
                    <a:pos x="8" y="84"/>
                  </a:cxn>
                  <a:cxn ang="0">
                    <a:pos x="6" y="92"/>
                  </a:cxn>
                  <a:cxn ang="0">
                    <a:pos x="6" y="98"/>
                  </a:cxn>
                  <a:cxn ang="0">
                    <a:pos x="10" y="98"/>
                  </a:cxn>
                  <a:cxn ang="0">
                    <a:pos x="16" y="96"/>
                  </a:cxn>
                  <a:cxn ang="0">
                    <a:pos x="18" y="98"/>
                  </a:cxn>
                  <a:cxn ang="0">
                    <a:pos x="22" y="100"/>
                  </a:cxn>
                  <a:cxn ang="0">
                    <a:pos x="28" y="96"/>
                  </a:cxn>
                  <a:cxn ang="0">
                    <a:pos x="28" y="92"/>
                  </a:cxn>
                  <a:cxn ang="0">
                    <a:pos x="28" y="90"/>
                  </a:cxn>
                  <a:cxn ang="0">
                    <a:pos x="28" y="88"/>
                  </a:cxn>
                  <a:cxn ang="0">
                    <a:pos x="32" y="80"/>
                  </a:cxn>
                  <a:cxn ang="0">
                    <a:pos x="34" y="80"/>
                  </a:cxn>
                  <a:cxn ang="0">
                    <a:pos x="38" y="76"/>
                  </a:cxn>
                  <a:cxn ang="0">
                    <a:pos x="36" y="74"/>
                  </a:cxn>
                  <a:cxn ang="0">
                    <a:pos x="34" y="74"/>
                  </a:cxn>
                  <a:cxn ang="0">
                    <a:pos x="32" y="68"/>
                  </a:cxn>
                  <a:cxn ang="0">
                    <a:pos x="32" y="64"/>
                  </a:cxn>
                  <a:cxn ang="0">
                    <a:pos x="38" y="60"/>
                  </a:cxn>
                  <a:cxn ang="0">
                    <a:pos x="38" y="56"/>
                  </a:cxn>
                  <a:cxn ang="0">
                    <a:pos x="36" y="56"/>
                  </a:cxn>
                  <a:cxn ang="0">
                    <a:pos x="36" y="52"/>
                  </a:cxn>
                  <a:cxn ang="0">
                    <a:pos x="30" y="48"/>
                  </a:cxn>
                  <a:cxn ang="0">
                    <a:pos x="30" y="46"/>
                  </a:cxn>
                  <a:cxn ang="0">
                    <a:pos x="32" y="46"/>
                  </a:cxn>
                  <a:cxn ang="0">
                    <a:pos x="38" y="46"/>
                  </a:cxn>
                  <a:cxn ang="0">
                    <a:pos x="42" y="42"/>
                  </a:cxn>
                  <a:cxn ang="0">
                    <a:pos x="40" y="38"/>
                  </a:cxn>
                  <a:cxn ang="0">
                    <a:pos x="40" y="36"/>
                  </a:cxn>
                  <a:cxn ang="0">
                    <a:pos x="42" y="34"/>
                  </a:cxn>
                  <a:cxn ang="0">
                    <a:pos x="44" y="28"/>
                  </a:cxn>
                  <a:cxn ang="0">
                    <a:pos x="44" y="24"/>
                  </a:cxn>
                  <a:cxn ang="0">
                    <a:pos x="42" y="22"/>
                  </a:cxn>
                  <a:cxn ang="0">
                    <a:pos x="44" y="18"/>
                  </a:cxn>
                  <a:cxn ang="0">
                    <a:pos x="52" y="14"/>
                  </a:cxn>
                  <a:cxn ang="0">
                    <a:pos x="52" y="10"/>
                  </a:cxn>
                  <a:cxn ang="0">
                    <a:pos x="50" y="8"/>
                  </a:cxn>
                </a:cxnLst>
                <a:rect l="0" t="0" r="r" b="b"/>
                <a:pathLst>
                  <a:path w="54" h="100">
                    <a:moveTo>
                      <a:pt x="50" y="8"/>
                    </a:moveTo>
                    <a:lnTo>
                      <a:pt x="50" y="8"/>
                    </a:lnTo>
                    <a:lnTo>
                      <a:pt x="50" y="6"/>
                    </a:lnTo>
                    <a:lnTo>
                      <a:pt x="50" y="4"/>
                    </a:lnTo>
                    <a:lnTo>
                      <a:pt x="48" y="4"/>
                    </a:lnTo>
                    <a:lnTo>
                      <a:pt x="46" y="4"/>
                    </a:lnTo>
                    <a:lnTo>
                      <a:pt x="44" y="4"/>
                    </a:lnTo>
                    <a:lnTo>
                      <a:pt x="40" y="4"/>
                    </a:lnTo>
                    <a:lnTo>
                      <a:pt x="38" y="4"/>
                    </a:lnTo>
                    <a:lnTo>
                      <a:pt x="36" y="4"/>
                    </a:lnTo>
                    <a:lnTo>
                      <a:pt x="36" y="6"/>
                    </a:lnTo>
                    <a:lnTo>
                      <a:pt x="34" y="8"/>
                    </a:lnTo>
                    <a:lnTo>
                      <a:pt x="32" y="6"/>
                    </a:lnTo>
                    <a:lnTo>
                      <a:pt x="30" y="6"/>
                    </a:lnTo>
                    <a:lnTo>
                      <a:pt x="30" y="4"/>
                    </a:lnTo>
                    <a:lnTo>
                      <a:pt x="28" y="6"/>
                    </a:lnTo>
                    <a:lnTo>
                      <a:pt x="26" y="6"/>
                    </a:lnTo>
                    <a:lnTo>
                      <a:pt x="24" y="6"/>
                    </a:lnTo>
                    <a:lnTo>
                      <a:pt x="24" y="4"/>
                    </a:lnTo>
                    <a:lnTo>
                      <a:pt x="26" y="4"/>
                    </a:lnTo>
                    <a:lnTo>
                      <a:pt x="26" y="2"/>
                    </a:lnTo>
                    <a:lnTo>
                      <a:pt x="26" y="0"/>
                    </a:lnTo>
                    <a:lnTo>
                      <a:pt x="24" y="0"/>
                    </a:lnTo>
                    <a:lnTo>
                      <a:pt x="22" y="0"/>
                    </a:lnTo>
                    <a:lnTo>
                      <a:pt x="18" y="2"/>
                    </a:lnTo>
                    <a:lnTo>
                      <a:pt x="16" y="2"/>
                    </a:lnTo>
                    <a:lnTo>
                      <a:pt x="14" y="4"/>
                    </a:lnTo>
                    <a:lnTo>
                      <a:pt x="14" y="6"/>
                    </a:lnTo>
                    <a:lnTo>
                      <a:pt x="14" y="8"/>
                    </a:lnTo>
                    <a:lnTo>
                      <a:pt x="14" y="12"/>
                    </a:lnTo>
                    <a:lnTo>
                      <a:pt x="16" y="16"/>
                    </a:lnTo>
                    <a:lnTo>
                      <a:pt x="16" y="20"/>
                    </a:lnTo>
                    <a:lnTo>
                      <a:pt x="14" y="22"/>
                    </a:lnTo>
                    <a:lnTo>
                      <a:pt x="14" y="26"/>
                    </a:lnTo>
                    <a:lnTo>
                      <a:pt x="12" y="30"/>
                    </a:lnTo>
                    <a:lnTo>
                      <a:pt x="10" y="34"/>
                    </a:lnTo>
                    <a:lnTo>
                      <a:pt x="10" y="36"/>
                    </a:lnTo>
                    <a:lnTo>
                      <a:pt x="8" y="38"/>
                    </a:lnTo>
                    <a:lnTo>
                      <a:pt x="8" y="40"/>
                    </a:lnTo>
                    <a:lnTo>
                      <a:pt x="6" y="40"/>
                    </a:lnTo>
                    <a:lnTo>
                      <a:pt x="6" y="42"/>
                    </a:lnTo>
                    <a:lnTo>
                      <a:pt x="6" y="44"/>
                    </a:lnTo>
                    <a:lnTo>
                      <a:pt x="6" y="46"/>
                    </a:lnTo>
                    <a:lnTo>
                      <a:pt x="4" y="48"/>
                    </a:lnTo>
                    <a:lnTo>
                      <a:pt x="4" y="50"/>
                    </a:lnTo>
                    <a:lnTo>
                      <a:pt x="4" y="52"/>
                    </a:lnTo>
                    <a:lnTo>
                      <a:pt x="2" y="52"/>
                    </a:lnTo>
                    <a:lnTo>
                      <a:pt x="2" y="54"/>
                    </a:lnTo>
                    <a:lnTo>
                      <a:pt x="2" y="56"/>
                    </a:lnTo>
                    <a:lnTo>
                      <a:pt x="0" y="58"/>
                    </a:lnTo>
                    <a:lnTo>
                      <a:pt x="0" y="60"/>
                    </a:lnTo>
                    <a:lnTo>
                      <a:pt x="0" y="62"/>
                    </a:lnTo>
                    <a:lnTo>
                      <a:pt x="0" y="64"/>
                    </a:lnTo>
                    <a:lnTo>
                      <a:pt x="2" y="64"/>
                    </a:lnTo>
                    <a:lnTo>
                      <a:pt x="4" y="66"/>
                    </a:lnTo>
                    <a:lnTo>
                      <a:pt x="6" y="68"/>
                    </a:lnTo>
                    <a:lnTo>
                      <a:pt x="6" y="72"/>
                    </a:lnTo>
                    <a:lnTo>
                      <a:pt x="8" y="74"/>
                    </a:lnTo>
                    <a:lnTo>
                      <a:pt x="8" y="76"/>
                    </a:lnTo>
                    <a:lnTo>
                      <a:pt x="8" y="80"/>
                    </a:lnTo>
                    <a:lnTo>
                      <a:pt x="10" y="82"/>
                    </a:lnTo>
                    <a:lnTo>
                      <a:pt x="8" y="82"/>
                    </a:lnTo>
                    <a:lnTo>
                      <a:pt x="8" y="84"/>
                    </a:lnTo>
                    <a:lnTo>
                      <a:pt x="8" y="86"/>
                    </a:lnTo>
                    <a:lnTo>
                      <a:pt x="6" y="90"/>
                    </a:lnTo>
                    <a:lnTo>
                      <a:pt x="6" y="92"/>
                    </a:lnTo>
                    <a:lnTo>
                      <a:pt x="6" y="94"/>
                    </a:lnTo>
                    <a:lnTo>
                      <a:pt x="6" y="96"/>
                    </a:lnTo>
                    <a:lnTo>
                      <a:pt x="6" y="98"/>
                    </a:lnTo>
                    <a:lnTo>
                      <a:pt x="8" y="98"/>
                    </a:lnTo>
                    <a:lnTo>
                      <a:pt x="10" y="98"/>
                    </a:lnTo>
                    <a:lnTo>
                      <a:pt x="12" y="98"/>
                    </a:lnTo>
                    <a:lnTo>
                      <a:pt x="14" y="96"/>
                    </a:lnTo>
                    <a:lnTo>
                      <a:pt x="16" y="96"/>
                    </a:lnTo>
                    <a:lnTo>
                      <a:pt x="18" y="96"/>
                    </a:lnTo>
                    <a:lnTo>
                      <a:pt x="18" y="98"/>
                    </a:lnTo>
                    <a:lnTo>
                      <a:pt x="20" y="100"/>
                    </a:lnTo>
                    <a:lnTo>
                      <a:pt x="22" y="100"/>
                    </a:lnTo>
                    <a:lnTo>
                      <a:pt x="24" y="98"/>
                    </a:lnTo>
                    <a:lnTo>
                      <a:pt x="26" y="98"/>
                    </a:lnTo>
                    <a:lnTo>
                      <a:pt x="28" y="96"/>
                    </a:lnTo>
                    <a:lnTo>
                      <a:pt x="30" y="94"/>
                    </a:lnTo>
                    <a:lnTo>
                      <a:pt x="28" y="92"/>
                    </a:lnTo>
                    <a:lnTo>
                      <a:pt x="28" y="90"/>
                    </a:lnTo>
                    <a:lnTo>
                      <a:pt x="28" y="88"/>
                    </a:lnTo>
                    <a:lnTo>
                      <a:pt x="28" y="86"/>
                    </a:lnTo>
                    <a:lnTo>
                      <a:pt x="30" y="82"/>
                    </a:lnTo>
                    <a:lnTo>
                      <a:pt x="32" y="80"/>
                    </a:lnTo>
                    <a:lnTo>
                      <a:pt x="34" y="80"/>
                    </a:lnTo>
                    <a:lnTo>
                      <a:pt x="36" y="78"/>
                    </a:lnTo>
                    <a:lnTo>
                      <a:pt x="38" y="78"/>
                    </a:lnTo>
                    <a:lnTo>
                      <a:pt x="38" y="76"/>
                    </a:lnTo>
                    <a:lnTo>
                      <a:pt x="36" y="74"/>
                    </a:lnTo>
                    <a:lnTo>
                      <a:pt x="34" y="74"/>
                    </a:lnTo>
                    <a:lnTo>
                      <a:pt x="34" y="72"/>
                    </a:lnTo>
                    <a:lnTo>
                      <a:pt x="32" y="70"/>
                    </a:lnTo>
                    <a:lnTo>
                      <a:pt x="32" y="68"/>
                    </a:lnTo>
                    <a:lnTo>
                      <a:pt x="32" y="66"/>
                    </a:lnTo>
                    <a:lnTo>
                      <a:pt x="32" y="64"/>
                    </a:lnTo>
                    <a:lnTo>
                      <a:pt x="34" y="64"/>
                    </a:lnTo>
                    <a:lnTo>
                      <a:pt x="36" y="62"/>
                    </a:lnTo>
                    <a:lnTo>
                      <a:pt x="38" y="60"/>
                    </a:lnTo>
                    <a:lnTo>
                      <a:pt x="40" y="58"/>
                    </a:lnTo>
                    <a:lnTo>
                      <a:pt x="38" y="58"/>
                    </a:lnTo>
                    <a:lnTo>
                      <a:pt x="38" y="56"/>
                    </a:lnTo>
                    <a:lnTo>
                      <a:pt x="36" y="56"/>
                    </a:lnTo>
                    <a:lnTo>
                      <a:pt x="36" y="54"/>
                    </a:lnTo>
                    <a:lnTo>
                      <a:pt x="36" y="52"/>
                    </a:lnTo>
                    <a:lnTo>
                      <a:pt x="34" y="50"/>
                    </a:lnTo>
                    <a:lnTo>
                      <a:pt x="32" y="48"/>
                    </a:lnTo>
                    <a:lnTo>
                      <a:pt x="30" y="48"/>
                    </a:lnTo>
                    <a:lnTo>
                      <a:pt x="30" y="46"/>
                    </a:lnTo>
                    <a:lnTo>
                      <a:pt x="32" y="46"/>
                    </a:lnTo>
                    <a:lnTo>
                      <a:pt x="36" y="46"/>
                    </a:lnTo>
                    <a:lnTo>
                      <a:pt x="38" y="46"/>
                    </a:lnTo>
                    <a:lnTo>
                      <a:pt x="40" y="44"/>
                    </a:lnTo>
                    <a:lnTo>
                      <a:pt x="42" y="42"/>
                    </a:lnTo>
                    <a:lnTo>
                      <a:pt x="42" y="40"/>
                    </a:lnTo>
                    <a:lnTo>
                      <a:pt x="40" y="38"/>
                    </a:lnTo>
                    <a:lnTo>
                      <a:pt x="40" y="36"/>
                    </a:lnTo>
                    <a:lnTo>
                      <a:pt x="42" y="34"/>
                    </a:lnTo>
                    <a:lnTo>
                      <a:pt x="42" y="32"/>
                    </a:lnTo>
                    <a:lnTo>
                      <a:pt x="44" y="30"/>
                    </a:lnTo>
                    <a:lnTo>
                      <a:pt x="44" y="28"/>
                    </a:lnTo>
                    <a:lnTo>
                      <a:pt x="44" y="26"/>
                    </a:lnTo>
                    <a:lnTo>
                      <a:pt x="44" y="24"/>
                    </a:lnTo>
                    <a:lnTo>
                      <a:pt x="42" y="22"/>
                    </a:lnTo>
                    <a:lnTo>
                      <a:pt x="42" y="20"/>
                    </a:lnTo>
                    <a:lnTo>
                      <a:pt x="44" y="18"/>
                    </a:lnTo>
                    <a:lnTo>
                      <a:pt x="46" y="18"/>
                    </a:lnTo>
                    <a:lnTo>
                      <a:pt x="48" y="16"/>
                    </a:lnTo>
                    <a:lnTo>
                      <a:pt x="50" y="14"/>
                    </a:lnTo>
                    <a:lnTo>
                      <a:pt x="52" y="14"/>
                    </a:lnTo>
                    <a:lnTo>
                      <a:pt x="52" y="12"/>
                    </a:lnTo>
                    <a:lnTo>
                      <a:pt x="54" y="10"/>
                    </a:lnTo>
                    <a:lnTo>
                      <a:pt x="52" y="10"/>
                    </a:lnTo>
                    <a:lnTo>
                      <a:pt x="52" y="8"/>
                    </a:lnTo>
                    <a:lnTo>
                      <a:pt x="50" y="8"/>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25" name="Freeform 116">
                <a:extLst>
                  <a:ext uri="{FF2B5EF4-FFF2-40B4-BE49-F238E27FC236}">
                    <a16:creationId xmlns:a16="http://schemas.microsoft.com/office/drawing/2014/main" id="{B4AEF525-C31E-4E59-B5BF-7E6710787D94}"/>
                  </a:ext>
                </a:extLst>
              </p:cNvPr>
              <p:cNvSpPr>
                <a:spLocks noChangeAspect="1"/>
              </p:cNvSpPr>
              <p:nvPr/>
            </p:nvSpPr>
            <p:spPr bwMode="auto">
              <a:xfrm>
                <a:off x="4198924" y="2413961"/>
                <a:ext cx="111817" cy="125565"/>
              </a:xfrm>
              <a:custGeom>
                <a:avLst/>
                <a:gdLst/>
                <a:ahLst/>
                <a:cxnLst>
                  <a:cxn ang="0">
                    <a:pos x="64" y="32"/>
                  </a:cxn>
                  <a:cxn ang="0">
                    <a:pos x="64" y="26"/>
                  </a:cxn>
                  <a:cxn ang="0">
                    <a:pos x="66" y="22"/>
                  </a:cxn>
                  <a:cxn ang="0">
                    <a:pos x="60" y="22"/>
                  </a:cxn>
                  <a:cxn ang="0">
                    <a:pos x="56" y="16"/>
                  </a:cxn>
                  <a:cxn ang="0">
                    <a:pos x="50" y="22"/>
                  </a:cxn>
                  <a:cxn ang="0">
                    <a:pos x="46" y="20"/>
                  </a:cxn>
                  <a:cxn ang="0">
                    <a:pos x="40" y="16"/>
                  </a:cxn>
                  <a:cxn ang="0">
                    <a:pos x="46" y="14"/>
                  </a:cxn>
                  <a:cxn ang="0">
                    <a:pos x="46" y="10"/>
                  </a:cxn>
                  <a:cxn ang="0">
                    <a:pos x="56" y="6"/>
                  </a:cxn>
                  <a:cxn ang="0">
                    <a:pos x="58" y="2"/>
                  </a:cxn>
                  <a:cxn ang="0">
                    <a:pos x="56" y="0"/>
                  </a:cxn>
                  <a:cxn ang="0">
                    <a:pos x="50" y="4"/>
                  </a:cxn>
                  <a:cxn ang="0">
                    <a:pos x="48" y="2"/>
                  </a:cxn>
                  <a:cxn ang="0">
                    <a:pos x="42" y="2"/>
                  </a:cxn>
                  <a:cxn ang="0">
                    <a:pos x="36" y="8"/>
                  </a:cxn>
                  <a:cxn ang="0">
                    <a:pos x="36" y="10"/>
                  </a:cxn>
                  <a:cxn ang="0">
                    <a:pos x="30" y="12"/>
                  </a:cxn>
                  <a:cxn ang="0">
                    <a:pos x="36" y="14"/>
                  </a:cxn>
                  <a:cxn ang="0">
                    <a:pos x="34" y="18"/>
                  </a:cxn>
                  <a:cxn ang="0">
                    <a:pos x="28" y="20"/>
                  </a:cxn>
                  <a:cxn ang="0">
                    <a:pos x="26" y="20"/>
                  </a:cxn>
                  <a:cxn ang="0">
                    <a:pos x="24" y="20"/>
                  </a:cxn>
                  <a:cxn ang="0">
                    <a:pos x="16" y="18"/>
                  </a:cxn>
                  <a:cxn ang="0">
                    <a:pos x="12" y="20"/>
                  </a:cxn>
                  <a:cxn ang="0">
                    <a:pos x="12" y="26"/>
                  </a:cxn>
                  <a:cxn ang="0">
                    <a:pos x="16" y="28"/>
                  </a:cxn>
                  <a:cxn ang="0">
                    <a:pos x="12" y="30"/>
                  </a:cxn>
                  <a:cxn ang="0">
                    <a:pos x="10" y="34"/>
                  </a:cxn>
                  <a:cxn ang="0">
                    <a:pos x="18" y="38"/>
                  </a:cxn>
                  <a:cxn ang="0">
                    <a:pos x="20" y="38"/>
                  </a:cxn>
                  <a:cxn ang="0">
                    <a:pos x="22" y="40"/>
                  </a:cxn>
                  <a:cxn ang="0">
                    <a:pos x="20" y="42"/>
                  </a:cxn>
                  <a:cxn ang="0">
                    <a:pos x="18" y="46"/>
                  </a:cxn>
                  <a:cxn ang="0">
                    <a:pos x="14" y="48"/>
                  </a:cxn>
                  <a:cxn ang="0">
                    <a:pos x="12" y="56"/>
                  </a:cxn>
                  <a:cxn ang="0">
                    <a:pos x="4" y="58"/>
                  </a:cxn>
                  <a:cxn ang="0">
                    <a:pos x="6" y="60"/>
                  </a:cxn>
                  <a:cxn ang="0">
                    <a:pos x="4" y="62"/>
                  </a:cxn>
                  <a:cxn ang="0">
                    <a:pos x="0" y="66"/>
                  </a:cxn>
                  <a:cxn ang="0">
                    <a:pos x="10" y="66"/>
                  </a:cxn>
                  <a:cxn ang="0">
                    <a:pos x="10" y="66"/>
                  </a:cxn>
                  <a:cxn ang="0">
                    <a:pos x="8" y="68"/>
                  </a:cxn>
                  <a:cxn ang="0">
                    <a:pos x="14" y="68"/>
                  </a:cxn>
                  <a:cxn ang="0">
                    <a:pos x="10" y="72"/>
                  </a:cxn>
                  <a:cxn ang="0">
                    <a:pos x="22" y="70"/>
                  </a:cxn>
                  <a:cxn ang="0">
                    <a:pos x="30" y="66"/>
                  </a:cxn>
                  <a:cxn ang="0">
                    <a:pos x="32" y="66"/>
                  </a:cxn>
                  <a:cxn ang="0">
                    <a:pos x="38" y="64"/>
                  </a:cxn>
                  <a:cxn ang="0">
                    <a:pos x="46" y="60"/>
                  </a:cxn>
                  <a:cxn ang="0">
                    <a:pos x="52" y="58"/>
                  </a:cxn>
                  <a:cxn ang="0">
                    <a:pos x="60" y="58"/>
                  </a:cxn>
                  <a:cxn ang="0">
                    <a:pos x="60" y="54"/>
                  </a:cxn>
                  <a:cxn ang="0">
                    <a:pos x="64" y="54"/>
                  </a:cxn>
                  <a:cxn ang="0">
                    <a:pos x="64" y="48"/>
                  </a:cxn>
                  <a:cxn ang="0">
                    <a:pos x="68" y="38"/>
                  </a:cxn>
                </a:cxnLst>
                <a:rect l="0" t="0" r="r" b="b"/>
                <a:pathLst>
                  <a:path w="68" h="72">
                    <a:moveTo>
                      <a:pt x="68" y="38"/>
                    </a:moveTo>
                    <a:lnTo>
                      <a:pt x="68" y="36"/>
                    </a:lnTo>
                    <a:lnTo>
                      <a:pt x="66" y="36"/>
                    </a:lnTo>
                    <a:lnTo>
                      <a:pt x="66" y="34"/>
                    </a:lnTo>
                    <a:lnTo>
                      <a:pt x="64" y="32"/>
                    </a:lnTo>
                    <a:lnTo>
                      <a:pt x="64" y="30"/>
                    </a:lnTo>
                    <a:lnTo>
                      <a:pt x="64" y="28"/>
                    </a:lnTo>
                    <a:lnTo>
                      <a:pt x="64" y="26"/>
                    </a:lnTo>
                    <a:lnTo>
                      <a:pt x="66" y="24"/>
                    </a:lnTo>
                    <a:lnTo>
                      <a:pt x="68" y="24"/>
                    </a:lnTo>
                    <a:lnTo>
                      <a:pt x="66" y="22"/>
                    </a:lnTo>
                    <a:lnTo>
                      <a:pt x="64" y="22"/>
                    </a:lnTo>
                    <a:lnTo>
                      <a:pt x="62" y="22"/>
                    </a:lnTo>
                    <a:lnTo>
                      <a:pt x="60" y="22"/>
                    </a:lnTo>
                    <a:lnTo>
                      <a:pt x="58" y="20"/>
                    </a:lnTo>
                    <a:lnTo>
                      <a:pt x="58" y="18"/>
                    </a:lnTo>
                    <a:lnTo>
                      <a:pt x="56" y="18"/>
                    </a:lnTo>
                    <a:lnTo>
                      <a:pt x="56" y="16"/>
                    </a:lnTo>
                    <a:lnTo>
                      <a:pt x="54" y="18"/>
                    </a:lnTo>
                    <a:lnTo>
                      <a:pt x="52" y="18"/>
                    </a:lnTo>
                    <a:lnTo>
                      <a:pt x="50" y="20"/>
                    </a:lnTo>
                    <a:lnTo>
                      <a:pt x="50" y="22"/>
                    </a:lnTo>
                    <a:lnTo>
                      <a:pt x="48" y="22"/>
                    </a:lnTo>
                    <a:lnTo>
                      <a:pt x="46" y="20"/>
                    </a:lnTo>
                    <a:lnTo>
                      <a:pt x="44" y="20"/>
                    </a:lnTo>
                    <a:lnTo>
                      <a:pt x="42" y="18"/>
                    </a:lnTo>
                    <a:lnTo>
                      <a:pt x="40" y="18"/>
                    </a:lnTo>
                    <a:lnTo>
                      <a:pt x="40" y="16"/>
                    </a:lnTo>
                    <a:lnTo>
                      <a:pt x="42" y="16"/>
                    </a:lnTo>
                    <a:lnTo>
                      <a:pt x="44" y="14"/>
                    </a:lnTo>
                    <a:lnTo>
                      <a:pt x="46" y="14"/>
                    </a:lnTo>
                    <a:lnTo>
                      <a:pt x="46" y="12"/>
                    </a:lnTo>
                    <a:lnTo>
                      <a:pt x="46" y="10"/>
                    </a:lnTo>
                    <a:lnTo>
                      <a:pt x="48" y="10"/>
                    </a:lnTo>
                    <a:lnTo>
                      <a:pt x="50" y="8"/>
                    </a:lnTo>
                    <a:lnTo>
                      <a:pt x="52" y="6"/>
                    </a:lnTo>
                    <a:lnTo>
                      <a:pt x="54" y="6"/>
                    </a:lnTo>
                    <a:lnTo>
                      <a:pt x="56" y="6"/>
                    </a:lnTo>
                    <a:lnTo>
                      <a:pt x="56" y="4"/>
                    </a:lnTo>
                    <a:lnTo>
                      <a:pt x="58" y="4"/>
                    </a:lnTo>
                    <a:lnTo>
                      <a:pt x="58" y="2"/>
                    </a:lnTo>
                    <a:lnTo>
                      <a:pt x="56" y="0"/>
                    </a:lnTo>
                    <a:lnTo>
                      <a:pt x="54" y="0"/>
                    </a:lnTo>
                    <a:lnTo>
                      <a:pt x="52" y="2"/>
                    </a:lnTo>
                    <a:lnTo>
                      <a:pt x="50" y="4"/>
                    </a:lnTo>
                    <a:lnTo>
                      <a:pt x="48" y="4"/>
                    </a:lnTo>
                    <a:lnTo>
                      <a:pt x="48" y="2"/>
                    </a:lnTo>
                    <a:lnTo>
                      <a:pt x="46" y="2"/>
                    </a:lnTo>
                    <a:lnTo>
                      <a:pt x="44" y="2"/>
                    </a:lnTo>
                    <a:lnTo>
                      <a:pt x="42" y="2"/>
                    </a:lnTo>
                    <a:lnTo>
                      <a:pt x="40" y="2"/>
                    </a:lnTo>
                    <a:lnTo>
                      <a:pt x="38" y="4"/>
                    </a:lnTo>
                    <a:lnTo>
                      <a:pt x="38" y="6"/>
                    </a:lnTo>
                    <a:lnTo>
                      <a:pt x="36" y="8"/>
                    </a:lnTo>
                    <a:lnTo>
                      <a:pt x="36" y="10"/>
                    </a:lnTo>
                    <a:lnTo>
                      <a:pt x="34" y="10"/>
                    </a:lnTo>
                    <a:lnTo>
                      <a:pt x="32" y="12"/>
                    </a:lnTo>
                    <a:lnTo>
                      <a:pt x="30" y="12"/>
                    </a:lnTo>
                    <a:lnTo>
                      <a:pt x="30" y="14"/>
                    </a:lnTo>
                    <a:lnTo>
                      <a:pt x="32" y="14"/>
                    </a:lnTo>
                    <a:lnTo>
                      <a:pt x="34" y="14"/>
                    </a:lnTo>
                    <a:lnTo>
                      <a:pt x="36" y="14"/>
                    </a:lnTo>
                    <a:lnTo>
                      <a:pt x="38" y="16"/>
                    </a:lnTo>
                    <a:lnTo>
                      <a:pt x="36" y="16"/>
                    </a:lnTo>
                    <a:lnTo>
                      <a:pt x="36" y="18"/>
                    </a:lnTo>
                    <a:lnTo>
                      <a:pt x="34" y="18"/>
                    </a:lnTo>
                    <a:lnTo>
                      <a:pt x="32" y="20"/>
                    </a:lnTo>
                    <a:lnTo>
                      <a:pt x="30" y="20"/>
                    </a:lnTo>
                    <a:lnTo>
                      <a:pt x="28" y="20"/>
                    </a:lnTo>
                    <a:lnTo>
                      <a:pt x="26" y="20"/>
                    </a:lnTo>
                    <a:lnTo>
                      <a:pt x="26" y="22"/>
                    </a:lnTo>
                    <a:lnTo>
                      <a:pt x="24" y="22"/>
                    </a:lnTo>
                    <a:lnTo>
                      <a:pt x="24" y="20"/>
                    </a:lnTo>
                    <a:lnTo>
                      <a:pt x="22" y="20"/>
                    </a:lnTo>
                    <a:lnTo>
                      <a:pt x="20" y="18"/>
                    </a:lnTo>
                    <a:lnTo>
                      <a:pt x="18" y="18"/>
                    </a:lnTo>
                    <a:lnTo>
                      <a:pt x="16" y="18"/>
                    </a:lnTo>
                    <a:lnTo>
                      <a:pt x="14" y="18"/>
                    </a:lnTo>
                    <a:lnTo>
                      <a:pt x="12" y="18"/>
                    </a:lnTo>
                    <a:lnTo>
                      <a:pt x="12" y="20"/>
                    </a:lnTo>
                    <a:lnTo>
                      <a:pt x="12" y="22"/>
                    </a:lnTo>
                    <a:lnTo>
                      <a:pt x="12" y="24"/>
                    </a:lnTo>
                    <a:lnTo>
                      <a:pt x="12" y="26"/>
                    </a:lnTo>
                    <a:lnTo>
                      <a:pt x="14" y="26"/>
                    </a:lnTo>
                    <a:lnTo>
                      <a:pt x="16" y="26"/>
                    </a:lnTo>
                    <a:lnTo>
                      <a:pt x="16" y="28"/>
                    </a:lnTo>
                    <a:lnTo>
                      <a:pt x="14" y="30"/>
                    </a:lnTo>
                    <a:lnTo>
                      <a:pt x="12" y="30"/>
                    </a:lnTo>
                    <a:lnTo>
                      <a:pt x="12" y="32"/>
                    </a:lnTo>
                    <a:lnTo>
                      <a:pt x="10" y="32"/>
                    </a:lnTo>
                    <a:lnTo>
                      <a:pt x="10" y="34"/>
                    </a:lnTo>
                    <a:lnTo>
                      <a:pt x="10" y="36"/>
                    </a:lnTo>
                    <a:lnTo>
                      <a:pt x="12" y="38"/>
                    </a:lnTo>
                    <a:lnTo>
                      <a:pt x="14" y="38"/>
                    </a:lnTo>
                    <a:lnTo>
                      <a:pt x="16" y="38"/>
                    </a:lnTo>
                    <a:lnTo>
                      <a:pt x="18" y="38"/>
                    </a:lnTo>
                    <a:lnTo>
                      <a:pt x="20" y="38"/>
                    </a:lnTo>
                    <a:lnTo>
                      <a:pt x="22" y="38"/>
                    </a:lnTo>
                    <a:lnTo>
                      <a:pt x="24" y="38"/>
                    </a:lnTo>
                    <a:lnTo>
                      <a:pt x="24" y="40"/>
                    </a:lnTo>
                    <a:lnTo>
                      <a:pt x="22" y="40"/>
                    </a:lnTo>
                    <a:lnTo>
                      <a:pt x="20" y="42"/>
                    </a:lnTo>
                    <a:lnTo>
                      <a:pt x="20" y="44"/>
                    </a:lnTo>
                    <a:lnTo>
                      <a:pt x="20" y="46"/>
                    </a:lnTo>
                    <a:lnTo>
                      <a:pt x="18" y="46"/>
                    </a:lnTo>
                    <a:lnTo>
                      <a:pt x="16" y="46"/>
                    </a:lnTo>
                    <a:lnTo>
                      <a:pt x="14" y="46"/>
                    </a:lnTo>
                    <a:lnTo>
                      <a:pt x="14" y="48"/>
                    </a:lnTo>
                    <a:lnTo>
                      <a:pt x="12" y="50"/>
                    </a:lnTo>
                    <a:lnTo>
                      <a:pt x="12" y="54"/>
                    </a:lnTo>
                    <a:lnTo>
                      <a:pt x="12" y="56"/>
                    </a:lnTo>
                    <a:lnTo>
                      <a:pt x="10" y="56"/>
                    </a:lnTo>
                    <a:lnTo>
                      <a:pt x="8" y="56"/>
                    </a:lnTo>
                    <a:lnTo>
                      <a:pt x="6" y="56"/>
                    </a:lnTo>
                    <a:lnTo>
                      <a:pt x="4" y="58"/>
                    </a:lnTo>
                    <a:lnTo>
                      <a:pt x="2" y="58"/>
                    </a:lnTo>
                    <a:lnTo>
                      <a:pt x="2" y="60"/>
                    </a:lnTo>
                    <a:lnTo>
                      <a:pt x="4" y="60"/>
                    </a:lnTo>
                    <a:lnTo>
                      <a:pt x="6" y="60"/>
                    </a:lnTo>
                    <a:lnTo>
                      <a:pt x="4" y="60"/>
                    </a:lnTo>
                    <a:lnTo>
                      <a:pt x="4" y="62"/>
                    </a:lnTo>
                    <a:lnTo>
                      <a:pt x="2" y="62"/>
                    </a:lnTo>
                    <a:lnTo>
                      <a:pt x="0" y="62"/>
                    </a:lnTo>
                    <a:lnTo>
                      <a:pt x="0" y="64"/>
                    </a:lnTo>
                    <a:lnTo>
                      <a:pt x="0" y="66"/>
                    </a:lnTo>
                    <a:lnTo>
                      <a:pt x="2" y="66"/>
                    </a:lnTo>
                    <a:lnTo>
                      <a:pt x="4" y="66"/>
                    </a:lnTo>
                    <a:lnTo>
                      <a:pt x="6" y="66"/>
                    </a:lnTo>
                    <a:lnTo>
                      <a:pt x="8" y="66"/>
                    </a:lnTo>
                    <a:lnTo>
                      <a:pt x="10" y="66"/>
                    </a:lnTo>
                    <a:lnTo>
                      <a:pt x="12" y="66"/>
                    </a:lnTo>
                    <a:lnTo>
                      <a:pt x="10" y="66"/>
                    </a:lnTo>
                    <a:lnTo>
                      <a:pt x="8" y="68"/>
                    </a:lnTo>
                    <a:lnTo>
                      <a:pt x="10" y="68"/>
                    </a:lnTo>
                    <a:lnTo>
                      <a:pt x="12" y="68"/>
                    </a:lnTo>
                    <a:lnTo>
                      <a:pt x="14" y="68"/>
                    </a:lnTo>
                    <a:lnTo>
                      <a:pt x="12" y="68"/>
                    </a:lnTo>
                    <a:lnTo>
                      <a:pt x="12" y="70"/>
                    </a:lnTo>
                    <a:lnTo>
                      <a:pt x="10" y="70"/>
                    </a:lnTo>
                    <a:lnTo>
                      <a:pt x="10" y="72"/>
                    </a:lnTo>
                    <a:lnTo>
                      <a:pt x="12" y="72"/>
                    </a:lnTo>
                    <a:lnTo>
                      <a:pt x="16" y="72"/>
                    </a:lnTo>
                    <a:lnTo>
                      <a:pt x="20" y="72"/>
                    </a:lnTo>
                    <a:lnTo>
                      <a:pt x="22" y="70"/>
                    </a:lnTo>
                    <a:lnTo>
                      <a:pt x="24" y="70"/>
                    </a:lnTo>
                    <a:lnTo>
                      <a:pt x="26" y="70"/>
                    </a:lnTo>
                    <a:lnTo>
                      <a:pt x="26" y="68"/>
                    </a:lnTo>
                    <a:lnTo>
                      <a:pt x="28" y="68"/>
                    </a:lnTo>
                    <a:lnTo>
                      <a:pt x="28" y="66"/>
                    </a:lnTo>
                    <a:lnTo>
                      <a:pt x="30" y="66"/>
                    </a:lnTo>
                    <a:lnTo>
                      <a:pt x="30" y="64"/>
                    </a:lnTo>
                    <a:lnTo>
                      <a:pt x="32" y="66"/>
                    </a:lnTo>
                    <a:lnTo>
                      <a:pt x="34" y="66"/>
                    </a:lnTo>
                    <a:lnTo>
                      <a:pt x="36" y="66"/>
                    </a:lnTo>
                    <a:lnTo>
                      <a:pt x="38" y="64"/>
                    </a:lnTo>
                    <a:lnTo>
                      <a:pt x="40" y="64"/>
                    </a:lnTo>
                    <a:lnTo>
                      <a:pt x="40" y="62"/>
                    </a:lnTo>
                    <a:lnTo>
                      <a:pt x="42" y="60"/>
                    </a:lnTo>
                    <a:lnTo>
                      <a:pt x="44" y="60"/>
                    </a:lnTo>
                    <a:lnTo>
                      <a:pt x="46" y="60"/>
                    </a:lnTo>
                    <a:lnTo>
                      <a:pt x="48" y="60"/>
                    </a:lnTo>
                    <a:lnTo>
                      <a:pt x="50" y="60"/>
                    </a:lnTo>
                    <a:lnTo>
                      <a:pt x="50" y="58"/>
                    </a:lnTo>
                    <a:lnTo>
                      <a:pt x="52" y="58"/>
                    </a:lnTo>
                    <a:lnTo>
                      <a:pt x="54" y="58"/>
                    </a:lnTo>
                    <a:lnTo>
                      <a:pt x="56" y="58"/>
                    </a:lnTo>
                    <a:lnTo>
                      <a:pt x="58" y="58"/>
                    </a:lnTo>
                    <a:lnTo>
                      <a:pt x="60" y="58"/>
                    </a:lnTo>
                    <a:lnTo>
                      <a:pt x="60" y="56"/>
                    </a:lnTo>
                    <a:lnTo>
                      <a:pt x="60" y="54"/>
                    </a:lnTo>
                    <a:lnTo>
                      <a:pt x="62" y="54"/>
                    </a:lnTo>
                    <a:lnTo>
                      <a:pt x="64" y="54"/>
                    </a:lnTo>
                    <a:lnTo>
                      <a:pt x="64" y="52"/>
                    </a:lnTo>
                    <a:lnTo>
                      <a:pt x="64" y="50"/>
                    </a:lnTo>
                    <a:lnTo>
                      <a:pt x="64" y="48"/>
                    </a:lnTo>
                    <a:lnTo>
                      <a:pt x="64" y="46"/>
                    </a:lnTo>
                    <a:lnTo>
                      <a:pt x="66" y="46"/>
                    </a:lnTo>
                    <a:lnTo>
                      <a:pt x="66" y="42"/>
                    </a:lnTo>
                    <a:lnTo>
                      <a:pt x="66" y="40"/>
                    </a:lnTo>
                    <a:lnTo>
                      <a:pt x="68" y="38"/>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26" name="Freeform 119">
                <a:extLst>
                  <a:ext uri="{FF2B5EF4-FFF2-40B4-BE49-F238E27FC236}">
                    <a16:creationId xmlns:a16="http://schemas.microsoft.com/office/drawing/2014/main" id="{A09872D0-C2C8-46E1-AAA7-1D3346D0F2B1}"/>
                  </a:ext>
                </a:extLst>
              </p:cNvPr>
              <p:cNvSpPr>
                <a:spLocks noChangeAspect="1"/>
              </p:cNvSpPr>
              <p:nvPr/>
            </p:nvSpPr>
            <p:spPr bwMode="auto">
              <a:xfrm>
                <a:off x="4915865" y="2827281"/>
                <a:ext cx="55908" cy="101150"/>
              </a:xfrm>
              <a:custGeom>
                <a:avLst/>
                <a:gdLst/>
                <a:ahLst/>
                <a:cxnLst>
                  <a:cxn ang="0">
                    <a:pos x="24" y="48"/>
                  </a:cxn>
                  <a:cxn ang="0">
                    <a:pos x="26" y="48"/>
                  </a:cxn>
                  <a:cxn ang="0">
                    <a:pos x="28" y="46"/>
                  </a:cxn>
                  <a:cxn ang="0">
                    <a:pos x="28" y="44"/>
                  </a:cxn>
                  <a:cxn ang="0">
                    <a:pos x="28" y="42"/>
                  </a:cxn>
                  <a:cxn ang="0">
                    <a:pos x="34" y="40"/>
                  </a:cxn>
                  <a:cxn ang="0">
                    <a:pos x="34" y="34"/>
                  </a:cxn>
                  <a:cxn ang="0">
                    <a:pos x="30" y="34"/>
                  </a:cxn>
                  <a:cxn ang="0">
                    <a:pos x="26" y="36"/>
                  </a:cxn>
                  <a:cxn ang="0">
                    <a:pos x="26" y="32"/>
                  </a:cxn>
                  <a:cxn ang="0">
                    <a:pos x="26" y="30"/>
                  </a:cxn>
                  <a:cxn ang="0">
                    <a:pos x="24" y="28"/>
                  </a:cxn>
                  <a:cxn ang="0">
                    <a:pos x="24" y="24"/>
                  </a:cxn>
                  <a:cxn ang="0">
                    <a:pos x="24" y="20"/>
                  </a:cxn>
                  <a:cxn ang="0">
                    <a:pos x="22" y="18"/>
                  </a:cxn>
                  <a:cxn ang="0">
                    <a:pos x="24" y="14"/>
                  </a:cxn>
                  <a:cxn ang="0">
                    <a:pos x="24" y="12"/>
                  </a:cxn>
                  <a:cxn ang="0">
                    <a:pos x="24" y="10"/>
                  </a:cxn>
                  <a:cxn ang="0">
                    <a:pos x="22" y="6"/>
                  </a:cxn>
                  <a:cxn ang="0">
                    <a:pos x="20" y="6"/>
                  </a:cxn>
                  <a:cxn ang="0">
                    <a:pos x="18" y="4"/>
                  </a:cxn>
                  <a:cxn ang="0">
                    <a:pos x="16" y="2"/>
                  </a:cxn>
                  <a:cxn ang="0">
                    <a:pos x="14" y="2"/>
                  </a:cxn>
                  <a:cxn ang="0">
                    <a:pos x="10" y="0"/>
                  </a:cxn>
                  <a:cxn ang="0">
                    <a:pos x="8" y="0"/>
                  </a:cxn>
                  <a:cxn ang="0">
                    <a:pos x="8" y="4"/>
                  </a:cxn>
                  <a:cxn ang="0">
                    <a:pos x="6" y="6"/>
                  </a:cxn>
                  <a:cxn ang="0">
                    <a:pos x="4" y="6"/>
                  </a:cxn>
                  <a:cxn ang="0">
                    <a:pos x="0" y="6"/>
                  </a:cxn>
                  <a:cxn ang="0">
                    <a:pos x="2" y="8"/>
                  </a:cxn>
                  <a:cxn ang="0">
                    <a:pos x="4" y="8"/>
                  </a:cxn>
                  <a:cxn ang="0">
                    <a:pos x="6" y="8"/>
                  </a:cxn>
                  <a:cxn ang="0">
                    <a:pos x="6" y="12"/>
                  </a:cxn>
                  <a:cxn ang="0">
                    <a:pos x="4" y="14"/>
                  </a:cxn>
                  <a:cxn ang="0">
                    <a:pos x="4" y="16"/>
                  </a:cxn>
                  <a:cxn ang="0">
                    <a:pos x="8" y="16"/>
                  </a:cxn>
                  <a:cxn ang="0">
                    <a:pos x="10" y="16"/>
                  </a:cxn>
                  <a:cxn ang="0">
                    <a:pos x="10" y="18"/>
                  </a:cxn>
                  <a:cxn ang="0">
                    <a:pos x="10" y="26"/>
                  </a:cxn>
                  <a:cxn ang="0">
                    <a:pos x="8" y="36"/>
                  </a:cxn>
                  <a:cxn ang="0">
                    <a:pos x="6" y="44"/>
                  </a:cxn>
                  <a:cxn ang="0">
                    <a:pos x="8" y="48"/>
                  </a:cxn>
                  <a:cxn ang="0">
                    <a:pos x="14" y="50"/>
                  </a:cxn>
                  <a:cxn ang="0">
                    <a:pos x="14" y="54"/>
                  </a:cxn>
                  <a:cxn ang="0">
                    <a:pos x="14" y="58"/>
                  </a:cxn>
                  <a:cxn ang="0">
                    <a:pos x="18" y="58"/>
                  </a:cxn>
                  <a:cxn ang="0">
                    <a:pos x="22" y="58"/>
                  </a:cxn>
                  <a:cxn ang="0">
                    <a:pos x="22" y="56"/>
                  </a:cxn>
                  <a:cxn ang="0">
                    <a:pos x="22" y="52"/>
                  </a:cxn>
                </a:cxnLst>
                <a:rect l="0" t="0" r="r" b="b"/>
                <a:pathLst>
                  <a:path w="34" h="58">
                    <a:moveTo>
                      <a:pt x="22" y="50"/>
                    </a:moveTo>
                    <a:lnTo>
                      <a:pt x="22" y="50"/>
                    </a:lnTo>
                    <a:lnTo>
                      <a:pt x="22" y="48"/>
                    </a:lnTo>
                    <a:lnTo>
                      <a:pt x="24" y="48"/>
                    </a:lnTo>
                    <a:lnTo>
                      <a:pt x="26" y="48"/>
                    </a:lnTo>
                    <a:lnTo>
                      <a:pt x="28" y="48"/>
                    </a:lnTo>
                    <a:lnTo>
                      <a:pt x="28" y="46"/>
                    </a:lnTo>
                    <a:lnTo>
                      <a:pt x="28" y="44"/>
                    </a:lnTo>
                    <a:lnTo>
                      <a:pt x="28" y="42"/>
                    </a:lnTo>
                    <a:lnTo>
                      <a:pt x="30" y="42"/>
                    </a:lnTo>
                    <a:lnTo>
                      <a:pt x="32" y="42"/>
                    </a:lnTo>
                    <a:lnTo>
                      <a:pt x="34" y="40"/>
                    </a:lnTo>
                    <a:lnTo>
                      <a:pt x="34" y="38"/>
                    </a:lnTo>
                    <a:lnTo>
                      <a:pt x="34" y="36"/>
                    </a:lnTo>
                    <a:lnTo>
                      <a:pt x="34" y="34"/>
                    </a:lnTo>
                    <a:lnTo>
                      <a:pt x="34" y="32"/>
                    </a:lnTo>
                    <a:lnTo>
                      <a:pt x="32" y="34"/>
                    </a:lnTo>
                    <a:lnTo>
                      <a:pt x="30" y="34"/>
                    </a:lnTo>
                    <a:lnTo>
                      <a:pt x="28" y="34"/>
                    </a:lnTo>
                    <a:lnTo>
                      <a:pt x="26" y="36"/>
                    </a:lnTo>
                    <a:lnTo>
                      <a:pt x="26" y="34"/>
                    </a:lnTo>
                    <a:lnTo>
                      <a:pt x="26" y="32"/>
                    </a:lnTo>
                    <a:lnTo>
                      <a:pt x="26" y="30"/>
                    </a:lnTo>
                    <a:lnTo>
                      <a:pt x="24" y="28"/>
                    </a:lnTo>
                    <a:lnTo>
                      <a:pt x="24" y="26"/>
                    </a:lnTo>
                    <a:lnTo>
                      <a:pt x="24" y="24"/>
                    </a:lnTo>
                    <a:lnTo>
                      <a:pt x="24" y="22"/>
                    </a:lnTo>
                    <a:lnTo>
                      <a:pt x="24" y="20"/>
                    </a:lnTo>
                    <a:lnTo>
                      <a:pt x="22" y="20"/>
                    </a:lnTo>
                    <a:lnTo>
                      <a:pt x="22" y="18"/>
                    </a:lnTo>
                    <a:lnTo>
                      <a:pt x="24" y="16"/>
                    </a:lnTo>
                    <a:lnTo>
                      <a:pt x="24" y="14"/>
                    </a:lnTo>
                    <a:lnTo>
                      <a:pt x="24" y="12"/>
                    </a:lnTo>
                    <a:lnTo>
                      <a:pt x="24" y="10"/>
                    </a:lnTo>
                    <a:lnTo>
                      <a:pt x="22" y="8"/>
                    </a:lnTo>
                    <a:lnTo>
                      <a:pt x="22" y="6"/>
                    </a:lnTo>
                    <a:lnTo>
                      <a:pt x="20" y="6"/>
                    </a:lnTo>
                    <a:lnTo>
                      <a:pt x="18" y="6"/>
                    </a:lnTo>
                    <a:lnTo>
                      <a:pt x="18" y="4"/>
                    </a:lnTo>
                    <a:lnTo>
                      <a:pt x="16" y="4"/>
                    </a:lnTo>
                    <a:lnTo>
                      <a:pt x="16" y="2"/>
                    </a:lnTo>
                    <a:lnTo>
                      <a:pt x="16" y="0"/>
                    </a:lnTo>
                    <a:lnTo>
                      <a:pt x="16" y="2"/>
                    </a:lnTo>
                    <a:lnTo>
                      <a:pt x="14" y="2"/>
                    </a:lnTo>
                    <a:lnTo>
                      <a:pt x="14" y="4"/>
                    </a:lnTo>
                    <a:lnTo>
                      <a:pt x="12" y="2"/>
                    </a:lnTo>
                    <a:lnTo>
                      <a:pt x="10" y="0"/>
                    </a:lnTo>
                    <a:lnTo>
                      <a:pt x="8" y="0"/>
                    </a:lnTo>
                    <a:lnTo>
                      <a:pt x="8" y="2"/>
                    </a:lnTo>
                    <a:lnTo>
                      <a:pt x="8" y="4"/>
                    </a:lnTo>
                    <a:lnTo>
                      <a:pt x="6" y="6"/>
                    </a:lnTo>
                    <a:lnTo>
                      <a:pt x="4" y="6"/>
                    </a:lnTo>
                    <a:lnTo>
                      <a:pt x="2" y="6"/>
                    </a:lnTo>
                    <a:lnTo>
                      <a:pt x="0" y="6"/>
                    </a:lnTo>
                    <a:lnTo>
                      <a:pt x="0" y="8"/>
                    </a:lnTo>
                    <a:lnTo>
                      <a:pt x="2" y="8"/>
                    </a:lnTo>
                    <a:lnTo>
                      <a:pt x="4" y="8"/>
                    </a:lnTo>
                    <a:lnTo>
                      <a:pt x="6" y="8"/>
                    </a:lnTo>
                    <a:lnTo>
                      <a:pt x="6" y="10"/>
                    </a:lnTo>
                    <a:lnTo>
                      <a:pt x="6" y="12"/>
                    </a:lnTo>
                    <a:lnTo>
                      <a:pt x="4" y="12"/>
                    </a:lnTo>
                    <a:lnTo>
                      <a:pt x="4" y="14"/>
                    </a:lnTo>
                    <a:lnTo>
                      <a:pt x="4" y="16"/>
                    </a:lnTo>
                    <a:lnTo>
                      <a:pt x="6" y="16"/>
                    </a:lnTo>
                    <a:lnTo>
                      <a:pt x="8" y="16"/>
                    </a:lnTo>
                    <a:lnTo>
                      <a:pt x="10" y="16"/>
                    </a:lnTo>
                    <a:lnTo>
                      <a:pt x="10" y="18"/>
                    </a:lnTo>
                    <a:lnTo>
                      <a:pt x="10" y="20"/>
                    </a:lnTo>
                    <a:lnTo>
                      <a:pt x="10" y="22"/>
                    </a:lnTo>
                    <a:lnTo>
                      <a:pt x="10" y="26"/>
                    </a:lnTo>
                    <a:lnTo>
                      <a:pt x="8" y="30"/>
                    </a:lnTo>
                    <a:lnTo>
                      <a:pt x="8" y="32"/>
                    </a:lnTo>
                    <a:lnTo>
                      <a:pt x="8" y="34"/>
                    </a:lnTo>
                    <a:lnTo>
                      <a:pt x="8" y="36"/>
                    </a:lnTo>
                    <a:lnTo>
                      <a:pt x="8" y="38"/>
                    </a:lnTo>
                    <a:lnTo>
                      <a:pt x="6" y="42"/>
                    </a:lnTo>
                    <a:lnTo>
                      <a:pt x="6" y="44"/>
                    </a:lnTo>
                    <a:lnTo>
                      <a:pt x="6" y="46"/>
                    </a:lnTo>
                    <a:lnTo>
                      <a:pt x="8" y="48"/>
                    </a:lnTo>
                    <a:lnTo>
                      <a:pt x="10" y="48"/>
                    </a:lnTo>
                    <a:lnTo>
                      <a:pt x="12" y="50"/>
                    </a:lnTo>
                    <a:lnTo>
                      <a:pt x="14" y="50"/>
                    </a:lnTo>
                    <a:lnTo>
                      <a:pt x="14" y="52"/>
                    </a:lnTo>
                    <a:lnTo>
                      <a:pt x="14" y="54"/>
                    </a:lnTo>
                    <a:lnTo>
                      <a:pt x="14" y="56"/>
                    </a:lnTo>
                    <a:lnTo>
                      <a:pt x="14" y="58"/>
                    </a:lnTo>
                    <a:lnTo>
                      <a:pt x="16" y="58"/>
                    </a:lnTo>
                    <a:lnTo>
                      <a:pt x="18" y="58"/>
                    </a:lnTo>
                    <a:lnTo>
                      <a:pt x="20" y="58"/>
                    </a:lnTo>
                    <a:lnTo>
                      <a:pt x="22" y="58"/>
                    </a:lnTo>
                    <a:lnTo>
                      <a:pt x="22" y="56"/>
                    </a:lnTo>
                    <a:lnTo>
                      <a:pt x="22" y="54"/>
                    </a:lnTo>
                    <a:lnTo>
                      <a:pt x="22" y="52"/>
                    </a:lnTo>
                    <a:lnTo>
                      <a:pt x="22" y="5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7" name="Freeform 120">
                <a:extLst>
                  <a:ext uri="{FF2B5EF4-FFF2-40B4-BE49-F238E27FC236}">
                    <a16:creationId xmlns:a16="http://schemas.microsoft.com/office/drawing/2014/main" id="{F6F46539-EF5B-4667-B1A8-143B92AE95EA}"/>
                  </a:ext>
                </a:extLst>
              </p:cNvPr>
              <p:cNvSpPr>
                <a:spLocks noChangeAspect="1"/>
              </p:cNvSpPr>
              <p:nvPr/>
            </p:nvSpPr>
            <p:spPr bwMode="auto">
              <a:xfrm>
                <a:off x="4998084" y="2778450"/>
                <a:ext cx="157859" cy="94174"/>
              </a:xfrm>
              <a:custGeom>
                <a:avLst/>
                <a:gdLst/>
                <a:ahLst/>
                <a:cxnLst>
                  <a:cxn ang="0">
                    <a:pos x="82" y="30"/>
                  </a:cxn>
                  <a:cxn ang="0">
                    <a:pos x="84" y="28"/>
                  </a:cxn>
                  <a:cxn ang="0">
                    <a:pos x="84" y="18"/>
                  </a:cxn>
                  <a:cxn ang="0">
                    <a:pos x="92" y="14"/>
                  </a:cxn>
                  <a:cxn ang="0">
                    <a:pos x="96" y="14"/>
                  </a:cxn>
                  <a:cxn ang="0">
                    <a:pos x="90" y="8"/>
                  </a:cxn>
                  <a:cxn ang="0">
                    <a:pos x="84" y="4"/>
                  </a:cxn>
                  <a:cxn ang="0">
                    <a:pos x="78" y="2"/>
                  </a:cxn>
                  <a:cxn ang="0">
                    <a:pos x="68" y="0"/>
                  </a:cxn>
                  <a:cxn ang="0">
                    <a:pos x="66" y="2"/>
                  </a:cxn>
                  <a:cxn ang="0">
                    <a:pos x="62" y="2"/>
                  </a:cxn>
                  <a:cxn ang="0">
                    <a:pos x="60" y="4"/>
                  </a:cxn>
                  <a:cxn ang="0">
                    <a:pos x="54" y="8"/>
                  </a:cxn>
                  <a:cxn ang="0">
                    <a:pos x="44" y="8"/>
                  </a:cxn>
                  <a:cxn ang="0">
                    <a:pos x="38" y="8"/>
                  </a:cxn>
                  <a:cxn ang="0">
                    <a:pos x="36" y="6"/>
                  </a:cxn>
                  <a:cxn ang="0">
                    <a:pos x="34" y="8"/>
                  </a:cxn>
                  <a:cxn ang="0">
                    <a:pos x="26" y="8"/>
                  </a:cxn>
                  <a:cxn ang="0">
                    <a:pos x="20" y="6"/>
                  </a:cxn>
                  <a:cxn ang="0">
                    <a:pos x="16" y="6"/>
                  </a:cxn>
                  <a:cxn ang="0">
                    <a:pos x="14" y="6"/>
                  </a:cxn>
                  <a:cxn ang="0">
                    <a:pos x="10" y="6"/>
                  </a:cxn>
                  <a:cxn ang="0">
                    <a:pos x="12" y="0"/>
                  </a:cxn>
                  <a:cxn ang="0">
                    <a:pos x="6" y="0"/>
                  </a:cxn>
                  <a:cxn ang="0">
                    <a:pos x="4" y="2"/>
                  </a:cxn>
                  <a:cxn ang="0">
                    <a:pos x="0" y="4"/>
                  </a:cxn>
                  <a:cxn ang="0">
                    <a:pos x="2" y="10"/>
                  </a:cxn>
                  <a:cxn ang="0">
                    <a:pos x="6" y="12"/>
                  </a:cxn>
                  <a:cxn ang="0">
                    <a:pos x="8" y="16"/>
                  </a:cxn>
                  <a:cxn ang="0">
                    <a:pos x="10" y="18"/>
                  </a:cxn>
                  <a:cxn ang="0">
                    <a:pos x="8" y="24"/>
                  </a:cxn>
                  <a:cxn ang="0">
                    <a:pos x="4" y="24"/>
                  </a:cxn>
                  <a:cxn ang="0">
                    <a:pos x="4" y="28"/>
                  </a:cxn>
                  <a:cxn ang="0">
                    <a:pos x="2" y="34"/>
                  </a:cxn>
                  <a:cxn ang="0">
                    <a:pos x="4" y="36"/>
                  </a:cxn>
                  <a:cxn ang="0">
                    <a:pos x="6" y="38"/>
                  </a:cxn>
                  <a:cxn ang="0">
                    <a:pos x="8" y="42"/>
                  </a:cxn>
                  <a:cxn ang="0">
                    <a:pos x="12" y="44"/>
                  </a:cxn>
                  <a:cxn ang="0">
                    <a:pos x="12" y="52"/>
                  </a:cxn>
                  <a:cxn ang="0">
                    <a:pos x="20" y="52"/>
                  </a:cxn>
                  <a:cxn ang="0">
                    <a:pos x="26" y="52"/>
                  </a:cxn>
                  <a:cxn ang="0">
                    <a:pos x="28" y="50"/>
                  </a:cxn>
                  <a:cxn ang="0">
                    <a:pos x="34" y="48"/>
                  </a:cxn>
                  <a:cxn ang="0">
                    <a:pos x="36" y="48"/>
                  </a:cxn>
                  <a:cxn ang="0">
                    <a:pos x="42" y="52"/>
                  </a:cxn>
                  <a:cxn ang="0">
                    <a:pos x="46" y="54"/>
                  </a:cxn>
                  <a:cxn ang="0">
                    <a:pos x="52" y="52"/>
                  </a:cxn>
                  <a:cxn ang="0">
                    <a:pos x="56" y="54"/>
                  </a:cxn>
                  <a:cxn ang="0">
                    <a:pos x="62" y="52"/>
                  </a:cxn>
                  <a:cxn ang="0">
                    <a:pos x="60" y="48"/>
                  </a:cxn>
                  <a:cxn ang="0">
                    <a:pos x="64" y="46"/>
                  </a:cxn>
                  <a:cxn ang="0">
                    <a:pos x="68" y="40"/>
                  </a:cxn>
                  <a:cxn ang="0">
                    <a:pos x="74" y="40"/>
                  </a:cxn>
                  <a:cxn ang="0">
                    <a:pos x="78" y="38"/>
                  </a:cxn>
                  <a:cxn ang="0">
                    <a:pos x="80" y="40"/>
                  </a:cxn>
                  <a:cxn ang="0">
                    <a:pos x="84" y="42"/>
                  </a:cxn>
                  <a:cxn ang="0">
                    <a:pos x="88" y="40"/>
                  </a:cxn>
                </a:cxnLst>
                <a:rect l="0" t="0" r="r" b="b"/>
                <a:pathLst>
                  <a:path w="96" h="54">
                    <a:moveTo>
                      <a:pt x="88" y="40"/>
                    </a:moveTo>
                    <a:lnTo>
                      <a:pt x="86" y="38"/>
                    </a:lnTo>
                    <a:lnTo>
                      <a:pt x="84" y="34"/>
                    </a:lnTo>
                    <a:lnTo>
                      <a:pt x="84" y="32"/>
                    </a:lnTo>
                    <a:lnTo>
                      <a:pt x="82" y="32"/>
                    </a:lnTo>
                    <a:lnTo>
                      <a:pt x="82" y="30"/>
                    </a:lnTo>
                    <a:lnTo>
                      <a:pt x="84" y="30"/>
                    </a:lnTo>
                    <a:lnTo>
                      <a:pt x="84" y="28"/>
                    </a:lnTo>
                    <a:lnTo>
                      <a:pt x="86" y="26"/>
                    </a:lnTo>
                    <a:lnTo>
                      <a:pt x="86" y="24"/>
                    </a:lnTo>
                    <a:lnTo>
                      <a:pt x="84" y="22"/>
                    </a:lnTo>
                    <a:lnTo>
                      <a:pt x="84" y="20"/>
                    </a:lnTo>
                    <a:lnTo>
                      <a:pt x="84" y="18"/>
                    </a:lnTo>
                    <a:lnTo>
                      <a:pt x="86" y="18"/>
                    </a:lnTo>
                    <a:lnTo>
                      <a:pt x="86" y="16"/>
                    </a:lnTo>
                    <a:lnTo>
                      <a:pt x="88" y="16"/>
                    </a:lnTo>
                    <a:lnTo>
                      <a:pt x="90" y="16"/>
                    </a:lnTo>
                    <a:lnTo>
                      <a:pt x="92" y="14"/>
                    </a:lnTo>
                    <a:lnTo>
                      <a:pt x="94" y="16"/>
                    </a:lnTo>
                    <a:lnTo>
                      <a:pt x="96" y="16"/>
                    </a:lnTo>
                    <a:lnTo>
                      <a:pt x="96" y="14"/>
                    </a:lnTo>
                    <a:lnTo>
                      <a:pt x="94" y="10"/>
                    </a:lnTo>
                    <a:lnTo>
                      <a:pt x="94" y="8"/>
                    </a:lnTo>
                    <a:lnTo>
                      <a:pt x="92" y="8"/>
                    </a:lnTo>
                    <a:lnTo>
                      <a:pt x="90" y="8"/>
                    </a:lnTo>
                    <a:lnTo>
                      <a:pt x="88" y="8"/>
                    </a:lnTo>
                    <a:lnTo>
                      <a:pt x="86" y="6"/>
                    </a:lnTo>
                    <a:lnTo>
                      <a:pt x="84" y="4"/>
                    </a:lnTo>
                    <a:lnTo>
                      <a:pt x="82" y="4"/>
                    </a:lnTo>
                    <a:lnTo>
                      <a:pt x="78" y="2"/>
                    </a:lnTo>
                    <a:lnTo>
                      <a:pt x="76" y="2"/>
                    </a:lnTo>
                    <a:lnTo>
                      <a:pt x="74" y="2"/>
                    </a:lnTo>
                    <a:lnTo>
                      <a:pt x="72" y="0"/>
                    </a:lnTo>
                    <a:lnTo>
                      <a:pt x="70" y="0"/>
                    </a:lnTo>
                    <a:lnTo>
                      <a:pt x="68" y="0"/>
                    </a:lnTo>
                    <a:lnTo>
                      <a:pt x="68" y="2"/>
                    </a:lnTo>
                    <a:lnTo>
                      <a:pt x="66" y="2"/>
                    </a:lnTo>
                    <a:lnTo>
                      <a:pt x="64" y="2"/>
                    </a:lnTo>
                    <a:lnTo>
                      <a:pt x="62" y="2"/>
                    </a:lnTo>
                    <a:lnTo>
                      <a:pt x="62" y="4"/>
                    </a:lnTo>
                    <a:lnTo>
                      <a:pt x="60" y="4"/>
                    </a:lnTo>
                    <a:lnTo>
                      <a:pt x="58" y="4"/>
                    </a:lnTo>
                    <a:lnTo>
                      <a:pt x="56" y="4"/>
                    </a:lnTo>
                    <a:lnTo>
                      <a:pt x="54" y="8"/>
                    </a:lnTo>
                    <a:lnTo>
                      <a:pt x="54" y="10"/>
                    </a:lnTo>
                    <a:lnTo>
                      <a:pt x="52" y="10"/>
                    </a:lnTo>
                    <a:lnTo>
                      <a:pt x="50" y="10"/>
                    </a:lnTo>
                    <a:lnTo>
                      <a:pt x="48" y="10"/>
                    </a:lnTo>
                    <a:lnTo>
                      <a:pt x="46" y="8"/>
                    </a:lnTo>
                    <a:lnTo>
                      <a:pt x="44" y="8"/>
                    </a:lnTo>
                    <a:lnTo>
                      <a:pt x="42" y="8"/>
                    </a:lnTo>
                    <a:lnTo>
                      <a:pt x="40" y="8"/>
                    </a:lnTo>
                    <a:lnTo>
                      <a:pt x="38" y="8"/>
                    </a:lnTo>
                    <a:lnTo>
                      <a:pt x="38" y="6"/>
                    </a:lnTo>
                    <a:lnTo>
                      <a:pt x="36" y="6"/>
                    </a:lnTo>
                    <a:lnTo>
                      <a:pt x="34" y="6"/>
                    </a:lnTo>
                    <a:lnTo>
                      <a:pt x="34" y="8"/>
                    </a:lnTo>
                    <a:lnTo>
                      <a:pt x="32" y="8"/>
                    </a:lnTo>
                    <a:lnTo>
                      <a:pt x="30" y="8"/>
                    </a:lnTo>
                    <a:lnTo>
                      <a:pt x="28" y="8"/>
                    </a:lnTo>
                    <a:lnTo>
                      <a:pt x="26" y="8"/>
                    </a:lnTo>
                    <a:lnTo>
                      <a:pt x="24" y="8"/>
                    </a:lnTo>
                    <a:lnTo>
                      <a:pt x="22" y="6"/>
                    </a:lnTo>
                    <a:lnTo>
                      <a:pt x="20" y="6"/>
                    </a:lnTo>
                    <a:lnTo>
                      <a:pt x="18" y="6"/>
                    </a:lnTo>
                    <a:lnTo>
                      <a:pt x="18" y="4"/>
                    </a:lnTo>
                    <a:lnTo>
                      <a:pt x="16" y="4"/>
                    </a:lnTo>
                    <a:lnTo>
                      <a:pt x="16" y="6"/>
                    </a:lnTo>
                    <a:lnTo>
                      <a:pt x="14" y="6"/>
                    </a:lnTo>
                    <a:lnTo>
                      <a:pt x="12" y="6"/>
                    </a:lnTo>
                    <a:lnTo>
                      <a:pt x="10" y="6"/>
                    </a:lnTo>
                    <a:lnTo>
                      <a:pt x="8" y="6"/>
                    </a:lnTo>
                    <a:lnTo>
                      <a:pt x="10" y="6"/>
                    </a:lnTo>
                    <a:lnTo>
                      <a:pt x="10" y="4"/>
                    </a:lnTo>
                    <a:lnTo>
                      <a:pt x="12" y="2"/>
                    </a:lnTo>
                    <a:lnTo>
                      <a:pt x="12" y="0"/>
                    </a:lnTo>
                    <a:lnTo>
                      <a:pt x="10" y="0"/>
                    </a:lnTo>
                    <a:lnTo>
                      <a:pt x="8" y="0"/>
                    </a:lnTo>
                    <a:lnTo>
                      <a:pt x="6" y="0"/>
                    </a:lnTo>
                    <a:lnTo>
                      <a:pt x="4" y="0"/>
                    </a:lnTo>
                    <a:lnTo>
                      <a:pt x="4" y="2"/>
                    </a:lnTo>
                    <a:lnTo>
                      <a:pt x="2" y="4"/>
                    </a:lnTo>
                    <a:lnTo>
                      <a:pt x="0" y="4"/>
                    </a:lnTo>
                    <a:lnTo>
                      <a:pt x="0" y="6"/>
                    </a:lnTo>
                    <a:lnTo>
                      <a:pt x="2" y="6"/>
                    </a:lnTo>
                    <a:lnTo>
                      <a:pt x="2" y="8"/>
                    </a:lnTo>
                    <a:lnTo>
                      <a:pt x="2" y="10"/>
                    </a:lnTo>
                    <a:lnTo>
                      <a:pt x="4" y="10"/>
                    </a:lnTo>
                    <a:lnTo>
                      <a:pt x="4" y="12"/>
                    </a:lnTo>
                    <a:lnTo>
                      <a:pt x="6" y="12"/>
                    </a:lnTo>
                    <a:lnTo>
                      <a:pt x="4" y="12"/>
                    </a:lnTo>
                    <a:lnTo>
                      <a:pt x="4" y="14"/>
                    </a:lnTo>
                    <a:lnTo>
                      <a:pt x="6" y="14"/>
                    </a:lnTo>
                    <a:lnTo>
                      <a:pt x="8" y="16"/>
                    </a:lnTo>
                    <a:lnTo>
                      <a:pt x="10" y="16"/>
                    </a:lnTo>
                    <a:lnTo>
                      <a:pt x="10" y="18"/>
                    </a:lnTo>
                    <a:lnTo>
                      <a:pt x="10" y="20"/>
                    </a:lnTo>
                    <a:lnTo>
                      <a:pt x="10" y="22"/>
                    </a:lnTo>
                    <a:lnTo>
                      <a:pt x="8" y="22"/>
                    </a:lnTo>
                    <a:lnTo>
                      <a:pt x="8" y="24"/>
                    </a:lnTo>
                    <a:lnTo>
                      <a:pt x="6" y="24"/>
                    </a:lnTo>
                    <a:lnTo>
                      <a:pt x="4" y="24"/>
                    </a:lnTo>
                    <a:lnTo>
                      <a:pt x="4" y="26"/>
                    </a:lnTo>
                    <a:lnTo>
                      <a:pt x="4" y="28"/>
                    </a:lnTo>
                    <a:lnTo>
                      <a:pt x="4" y="30"/>
                    </a:lnTo>
                    <a:lnTo>
                      <a:pt x="4" y="32"/>
                    </a:lnTo>
                    <a:lnTo>
                      <a:pt x="2" y="34"/>
                    </a:lnTo>
                    <a:lnTo>
                      <a:pt x="2" y="36"/>
                    </a:lnTo>
                    <a:lnTo>
                      <a:pt x="4" y="36"/>
                    </a:lnTo>
                    <a:lnTo>
                      <a:pt x="6" y="36"/>
                    </a:lnTo>
                    <a:lnTo>
                      <a:pt x="6" y="38"/>
                    </a:lnTo>
                    <a:lnTo>
                      <a:pt x="6" y="40"/>
                    </a:lnTo>
                    <a:lnTo>
                      <a:pt x="8" y="40"/>
                    </a:lnTo>
                    <a:lnTo>
                      <a:pt x="8" y="42"/>
                    </a:lnTo>
                    <a:lnTo>
                      <a:pt x="10" y="42"/>
                    </a:lnTo>
                    <a:lnTo>
                      <a:pt x="10" y="44"/>
                    </a:lnTo>
                    <a:lnTo>
                      <a:pt x="12" y="44"/>
                    </a:lnTo>
                    <a:lnTo>
                      <a:pt x="12" y="46"/>
                    </a:lnTo>
                    <a:lnTo>
                      <a:pt x="14" y="46"/>
                    </a:lnTo>
                    <a:lnTo>
                      <a:pt x="14" y="48"/>
                    </a:lnTo>
                    <a:lnTo>
                      <a:pt x="12" y="50"/>
                    </a:lnTo>
                    <a:lnTo>
                      <a:pt x="12" y="52"/>
                    </a:lnTo>
                    <a:lnTo>
                      <a:pt x="14" y="54"/>
                    </a:lnTo>
                    <a:lnTo>
                      <a:pt x="16" y="54"/>
                    </a:lnTo>
                    <a:lnTo>
                      <a:pt x="18" y="54"/>
                    </a:lnTo>
                    <a:lnTo>
                      <a:pt x="20" y="52"/>
                    </a:lnTo>
                    <a:lnTo>
                      <a:pt x="22" y="50"/>
                    </a:lnTo>
                    <a:lnTo>
                      <a:pt x="24" y="52"/>
                    </a:lnTo>
                    <a:lnTo>
                      <a:pt x="26" y="52"/>
                    </a:lnTo>
                    <a:lnTo>
                      <a:pt x="28" y="52"/>
                    </a:lnTo>
                    <a:lnTo>
                      <a:pt x="28" y="50"/>
                    </a:lnTo>
                    <a:lnTo>
                      <a:pt x="28" y="48"/>
                    </a:lnTo>
                    <a:lnTo>
                      <a:pt x="30" y="48"/>
                    </a:lnTo>
                    <a:lnTo>
                      <a:pt x="32" y="48"/>
                    </a:lnTo>
                    <a:lnTo>
                      <a:pt x="34" y="48"/>
                    </a:lnTo>
                    <a:lnTo>
                      <a:pt x="36" y="48"/>
                    </a:lnTo>
                    <a:lnTo>
                      <a:pt x="36" y="50"/>
                    </a:lnTo>
                    <a:lnTo>
                      <a:pt x="38" y="52"/>
                    </a:lnTo>
                    <a:lnTo>
                      <a:pt x="40" y="52"/>
                    </a:lnTo>
                    <a:lnTo>
                      <a:pt x="42" y="52"/>
                    </a:lnTo>
                    <a:lnTo>
                      <a:pt x="44" y="52"/>
                    </a:lnTo>
                    <a:lnTo>
                      <a:pt x="46" y="54"/>
                    </a:lnTo>
                    <a:lnTo>
                      <a:pt x="48" y="54"/>
                    </a:lnTo>
                    <a:lnTo>
                      <a:pt x="50" y="54"/>
                    </a:lnTo>
                    <a:lnTo>
                      <a:pt x="52" y="52"/>
                    </a:lnTo>
                    <a:lnTo>
                      <a:pt x="54" y="52"/>
                    </a:lnTo>
                    <a:lnTo>
                      <a:pt x="56" y="54"/>
                    </a:lnTo>
                    <a:lnTo>
                      <a:pt x="58" y="54"/>
                    </a:lnTo>
                    <a:lnTo>
                      <a:pt x="60" y="54"/>
                    </a:lnTo>
                    <a:lnTo>
                      <a:pt x="62" y="52"/>
                    </a:lnTo>
                    <a:lnTo>
                      <a:pt x="62" y="50"/>
                    </a:lnTo>
                    <a:lnTo>
                      <a:pt x="62" y="48"/>
                    </a:lnTo>
                    <a:lnTo>
                      <a:pt x="60" y="48"/>
                    </a:lnTo>
                    <a:lnTo>
                      <a:pt x="62" y="48"/>
                    </a:lnTo>
                    <a:lnTo>
                      <a:pt x="62" y="46"/>
                    </a:lnTo>
                    <a:lnTo>
                      <a:pt x="64" y="46"/>
                    </a:lnTo>
                    <a:lnTo>
                      <a:pt x="66" y="44"/>
                    </a:lnTo>
                    <a:lnTo>
                      <a:pt x="66" y="42"/>
                    </a:lnTo>
                    <a:lnTo>
                      <a:pt x="66" y="40"/>
                    </a:lnTo>
                    <a:lnTo>
                      <a:pt x="68" y="40"/>
                    </a:lnTo>
                    <a:lnTo>
                      <a:pt x="70" y="40"/>
                    </a:lnTo>
                    <a:lnTo>
                      <a:pt x="72" y="40"/>
                    </a:lnTo>
                    <a:lnTo>
                      <a:pt x="74" y="40"/>
                    </a:lnTo>
                    <a:lnTo>
                      <a:pt x="74" y="42"/>
                    </a:lnTo>
                    <a:lnTo>
                      <a:pt x="76" y="40"/>
                    </a:lnTo>
                    <a:lnTo>
                      <a:pt x="76" y="38"/>
                    </a:lnTo>
                    <a:lnTo>
                      <a:pt x="78" y="38"/>
                    </a:lnTo>
                    <a:lnTo>
                      <a:pt x="80" y="38"/>
                    </a:lnTo>
                    <a:lnTo>
                      <a:pt x="80" y="40"/>
                    </a:lnTo>
                    <a:lnTo>
                      <a:pt x="82" y="42"/>
                    </a:lnTo>
                    <a:lnTo>
                      <a:pt x="84" y="42"/>
                    </a:lnTo>
                    <a:lnTo>
                      <a:pt x="86" y="42"/>
                    </a:lnTo>
                    <a:lnTo>
                      <a:pt x="90" y="42"/>
                    </a:lnTo>
                    <a:lnTo>
                      <a:pt x="88" y="42"/>
                    </a:lnTo>
                    <a:lnTo>
                      <a:pt x="88" y="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8" name="Freeform 121">
                <a:extLst>
                  <a:ext uri="{FF2B5EF4-FFF2-40B4-BE49-F238E27FC236}">
                    <a16:creationId xmlns:a16="http://schemas.microsoft.com/office/drawing/2014/main" id="{1907EC89-89B2-4EC9-A1F7-27CE4A37326F}"/>
                  </a:ext>
                </a:extLst>
              </p:cNvPr>
              <p:cNvSpPr>
                <a:spLocks noChangeAspect="1"/>
              </p:cNvSpPr>
              <p:nvPr/>
            </p:nvSpPr>
            <p:spPr bwMode="auto">
              <a:xfrm>
                <a:off x="4952042" y="2837744"/>
                <a:ext cx="65775" cy="52319"/>
              </a:xfrm>
              <a:custGeom>
                <a:avLst/>
                <a:gdLst/>
                <a:ahLst/>
                <a:cxnLst>
                  <a:cxn ang="0">
                    <a:pos x="34" y="8"/>
                  </a:cxn>
                  <a:cxn ang="0">
                    <a:pos x="32" y="6"/>
                  </a:cxn>
                  <a:cxn ang="0">
                    <a:pos x="32" y="4"/>
                  </a:cxn>
                  <a:cxn ang="0">
                    <a:pos x="32" y="2"/>
                  </a:cxn>
                  <a:cxn ang="0">
                    <a:pos x="30" y="2"/>
                  </a:cxn>
                  <a:cxn ang="0">
                    <a:pos x="30" y="0"/>
                  </a:cxn>
                  <a:cxn ang="0">
                    <a:pos x="28" y="0"/>
                  </a:cxn>
                  <a:cxn ang="0">
                    <a:pos x="24" y="0"/>
                  </a:cxn>
                  <a:cxn ang="0">
                    <a:pos x="20" y="0"/>
                  </a:cxn>
                  <a:cxn ang="0">
                    <a:pos x="18" y="0"/>
                  </a:cxn>
                  <a:cxn ang="0">
                    <a:pos x="18" y="2"/>
                  </a:cxn>
                  <a:cxn ang="0">
                    <a:pos x="16" y="2"/>
                  </a:cxn>
                  <a:cxn ang="0">
                    <a:pos x="14" y="2"/>
                  </a:cxn>
                  <a:cxn ang="0">
                    <a:pos x="14" y="2"/>
                  </a:cxn>
                  <a:cxn ang="0">
                    <a:pos x="14" y="4"/>
                  </a:cxn>
                  <a:cxn ang="0">
                    <a:pos x="10" y="4"/>
                  </a:cxn>
                  <a:cxn ang="0">
                    <a:pos x="8" y="4"/>
                  </a:cxn>
                  <a:cxn ang="0">
                    <a:pos x="6" y="8"/>
                  </a:cxn>
                  <a:cxn ang="0">
                    <a:pos x="4" y="8"/>
                  </a:cxn>
                  <a:cxn ang="0">
                    <a:pos x="2" y="10"/>
                  </a:cxn>
                  <a:cxn ang="0">
                    <a:pos x="2" y="12"/>
                  </a:cxn>
                  <a:cxn ang="0">
                    <a:pos x="0" y="14"/>
                  </a:cxn>
                  <a:cxn ang="0">
                    <a:pos x="0" y="14"/>
                  </a:cxn>
                  <a:cxn ang="0">
                    <a:pos x="2" y="16"/>
                  </a:cxn>
                  <a:cxn ang="0">
                    <a:pos x="2" y="18"/>
                  </a:cxn>
                  <a:cxn ang="0">
                    <a:pos x="2" y="20"/>
                  </a:cxn>
                  <a:cxn ang="0">
                    <a:pos x="2" y="24"/>
                  </a:cxn>
                  <a:cxn ang="0">
                    <a:pos x="4" y="24"/>
                  </a:cxn>
                  <a:cxn ang="0">
                    <a:pos x="4" y="28"/>
                  </a:cxn>
                  <a:cxn ang="0">
                    <a:pos x="4" y="30"/>
                  </a:cxn>
                  <a:cxn ang="0">
                    <a:pos x="8" y="28"/>
                  </a:cxn>
                  <a:cxn ang="0">
                    <a:pos x="12" y="28"/>
                  </a:cxn>
                  <a:cxn ang="0">
                    <a:pos x="12" y="28"/>
                  </a:cxn>
                  <a:cxn ang="0">
                    <a:pos x="12" y="30"/>
                  </a:cxn>
                  <a:cxn ang="0">
                    <a:pos x="14" y="28"/>
                  </a:cxn>
                  <a:cxn ang="0">
                    <a:pos x="16" y="28"/>
                  </a:cxn>
                  <a:cxn ang="0">
                    <a:pos x="18" y="30"/>
                  </a:cxn>
                  <a:cxn ang="0">
                    <a:pos x="22" y="28"/>
                  </a:cxn>
                  <a:cxn ang="0">
                    <a:pos x="24" y="24"/>
                  </a:cxn>
                  <a:cxn ang="0">
                    <a:pos x="24" y="24"/>
                  </a:cxn>
                  <a:cxn ang="0">
                    <a:pos x="28" y="24"/>
                  </a:cxn>
                  <a:cxn ang="0">
                    <a:pos x="34" y="24"/>
                  </a:cxn>
                  <a:cxn ang="0">
                    <a:pos x="40" y="18"/>
                  </a:cxn>
                  <a:cxn ang="0">
                    <a:pos x="40" y="14"/>
                  </a:cxn>
                  <a:cxn ang="0">
                    <a:pos x="40" y="12"/>
                  </a:cxn>
                  <a:cxn ang="0">
                    <a:pos x="38" y="10"/>
                  </a:cxn>
                </a:cxnLst>
                <a:rect l="0" t="0" r="r" b="b"/>
                <a:pathLst>
                  <a:path w="40" h="30">
                    <a:moveTo>
                      <a:pt x="38" y="10"/>
                    </a:moveTo>
                    <a:lnTo>
                      <a:pt x="36" y="8"/>
                    </a:lnTo>
                    <a:lnTo>
                      <a:pt x="34" y="8"/>
                    </a:lnTo>
                    <a:lnTo>
                      <a:pt x="34" y="6"/>
                    </a:lnTo>
                    <a:lnTo>
                      <a:pt x="32" y="6"/>
                    </a:lnTo>
                    <a:lnTo>
                      <a:pt x="32" y="4"/>
                    </a:lnTo>
                    <a:lnTo>
                      <a:pt x="32" y="2"/>
                    </a:lnTo>
                    <a:lnTo>
                      <a:pt x="30" y="2"/>
                    </a:lnTo>
                    <a:lnTo>
                      <a:pt x="30" y="0"/>
                    </a:lnTo>
                    <a:lnTo>
                      <a:pt x="28" y="0"/>
                    </a:lnTo>
                    <a:lnTo>
                      <a:pt x="24" y="0"/>
                    </a:lnTo>
                    <a:lnTo>
                      <a:pt x="22" y="0"/>
                    </a:lnTo>
                    <a:lnTo>
                      <a:pt x="20" y="0"/>
                    </a:lnTo>
                    <a:lnTo>
                      <a:pt x="18" y="0"/>
                    </a:lnTo>
                    <a:lnTo>
                      <a:pt x="18" y="2"/>
                    </a:lnTo>
                    <a:lnTo>
                      <a:pt x="16" y="2"/>
                    </a:lnTo>
                    <a:lnTo>
                      <a:pt x="14" y="2"/>
                    </a:lnTo>
                    <a:lnTo>
                      <a:pt x="14" y="4"/>
                    </a:lnTo>
                    <a:lnTo>
                      <a:pt x="12" y="4"/>
                    </a:lnTo>
                    <a:lnTo>
                      <a:pt x="10" y="4"/>
                    </a:lnTo>
                    <a:lnTo>
                      <a:pt x="8" y="4"/>
                    </a:lnTo>
                    <a:lnTo>
                      <a:pt x="6" y="6"/>
                    </a:lnTo>
                    <a:lnTo>
                      <a:pt x="6" y="8"/>
                    </a:lnTo>
                    <a:lnTo>
                      <a:pt x="4" y="8"/>
                    </a:lnTo>
                    <a:lnTo>
                      <a:pt x="2" y="8"/>
                    </a:lnTo>
                    <a:lnTo>
                      <a:pt x="2" y="10"/>
                    </a:lnTo>
                    <a:lnTo>
                      <a:pt x="2" y="12"/>
                    </a:lnTo>
                    <a:lnTo>
                      <a:pt x="0" y="12"/>
                    </a:lnTo>
                    <a:lnTo>
                      <a:pt x="0" y="14"/>
                    </a:lnTo>
                    <a:lnTo>
                      <a:pt x="2" y="16"/>
                    </a:lnTo>
                    <a:lnTo>
                      <a:pt x="2" y="18"/>
                    </a:lnTo>
                    <a:lnTo>
                      <a:pt x="2" y="20"/>
                    </a:lnTo>
                    <a:lnTo>
                      <a:pt x="2" y="22"/>
                    </a:lnTo>
                    <a:lnTo>
                      <a:pt x="2" y="24"/>
                    </a:lnTo>
                    <a:lnTo>
                      <a:pt x="4" y="24"/>
                    </a:lnTo>
                    <a:lnTo>
                      <a:pt x="4" y="26"/>
                    </a:lnTo>
                    <a:lnTo>
                      <a:pt x="4" y="28"/>
                    </a:lnTo>
                    <a:lnTo>
                      <a:pt x="4" y="30"/>
                    </a:lnTo>
                    <a:lnTo>
                      <a:pt x="6" y="28"/>
                    </a:lnTo>
                    <a:lnTo>
                      <a:pt x="8" y="28"/>
                    </a:lnTo>
                    <a:lnTo>
                      <a:pt x="10" y="28"/>
                    </a:lnTo>
                    <a:lnTo>
                      <a:pt x="12" y="28"/>
                    </a:lnTo>
                    <a:lnTo>
                      <a:pt x="12" y="30"/>
                    </a:lnTo>
                    <a:lnTo>
                      <a:pt x="14" y="28"/>
                    </a:lnTo>
                    <a:lnTo>
                      <a:pt x="16" y="28"/>
                    </a:lnTo>
                    <a:lnTo>
                      <a:pt x="18" y="30"/>
                    </a:lnTo>
                    <a:lnTo>
                      <a:pt x="20" y="30"/>
                    </a:lnTo>
                    <a:lnTo>
                      <a:pt x="22" y="30"/>
                    </a:lnTo>
                    <a:lnTo>
                      <a:pt x="22" y="28"/>
                    </a:lnTo>
                    <a:lnTo>
                      <a:pt x="24" y="26"/>
                    </a:lnTo>
                    <a:lnTo>
                      <a:pt x="24" y="24"/>
                    </a:lnTo>
                    <a:lnTo>
                      <a:pt x="26" y="24"/>
                    </a:lnTo>
                    <a:lnTo>
                      <a:pt x="28" y="24"/>
                    </a:lnTo>
                    <a:lnTo>
                      <a:pt x="30" y="24"/>
                    </a:lnTo>
                    <a:lnTo>
                      <a:pt x="32" y="24"/>
                    </a:lnTo>
                    <a:lnTo>
                      <a:pt x="34" y="24"/>
                    </a:lnTo>
                    <a:lnTo>
                      <a:pt x="36" y="22"/>
                    </a:lnTo>
                    <a:lnTo>
                      <a:pt x="38" y="20"/>
                    </a:lnTo>
                    <a:lnTo>
                      <a:pt x="40" y="18"/>
                    </a:lnTo>
                    <a:lnTo>
                      <a:pt x="40" y="16"/>
                    </a:lnTo>
                    <a:lnTo>
                      <a:pt x="40" y="14"/>
                    </a:lnTo>
                    <a:lnTo>
                      <a:pt x="40" y="12"/>
                    </a:lnTo>
                    <a:lnTo>
                      <a:pt x="38"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29" name="Freeform 122">
                <a:extLst>
                  <a:ext uri="{FF2B5EF4-FFF2-40B4-BE49-F238E27FC236}">
                    <a16:creationId xmlns:a16="http://schemas.microsoft.com/office/drawing/2014/main" id="{99F44AAA-59AE-4ED6-B6F6-C670224494B2}"/>
                  </a:ext>
                </a:extLst>
              </p:cNvPr>
              <p:cNvSpPr>
                <a:spLocks noChangeAspect="1"/>
              </p:cNvSpPr>
              <p:nvPr/>
            </p:nvSpPr>
            <p:spPr bwMode="auto">
              <a:xfrm>
                <a:off x="4942176" y="2640676"/>
                <a:ext cx="240077" cy="155213"/>
              </a:xfrm>
              <a:custGeom>
                <a:avLst/>
                <a:gdLst/>
                <a:ahLst/>
                <a:cxnLst>
                  <a:cxn ang="0">
                    <a:pos x="128" y="80"/>
                  </a:cxn>
                  <a:cxn ang="0">
                    <a:pos x="136" y="66"/>
                  </a:cxn>
                  <a:cxn ang="0">
                    <a:pos x="142" y="68"/>
                  </a:cxn>
                  <a:cxn ang="0">
                    <a:pos x="142" y="54"/>
                  </a:cxn>
                  <a:cxn ang="0">
                    <a:pos x="134" y="54"/>
                  </a:cxn>
                  <a:cxn ang="0">
                    <a:pos x="124" y="56"/>
                  </a:cxn>
                  <a:cxn ang="0">
                    <a:pos x="120" y="48"/>
                  </a:cxn>
                  <a:cxn ang="0">
                    <a:pos x="120" y="36"/>
                  </a:cxn>
                  <a:cxn ang="0">
                    <a:pos x="118" y="34"/>
                  </a:cxn>
                  <a:cxn ang="0">
                    <a:pos x="118" y="26"/>
                  </a:cxn>
                  <a:cxn ang="0">
                    <a:pos x="114" y="22"/>
                  </a:cxn>
                  <a:cxn ang="0">
                    <a:pos x="112" y="18"/>
                  </a:cxn>
                  <a:cxn ang="0">
                    <a:pos x="108" y="14"/>
                  </a:cxn>
                  <a:cxn ang="0">
                    <a:pos x="102" y="10"/>
                  </a:cxn>
                  <a:cxn ang="0">
                    <a:pos x="102" y="8"/>
                  </a:cxn>
                  <a:cxn ang="0">
                    <a:pos x="98" y="2"/>
                  </a:cxn>
                  <a:cxn ang="0">
                    <a:pos x="88" y="2"/>
                  </a:cxn>
                  <a:cxn ang="0">
                    <a:pos x="80" y="6"/>
                  </a:cxn>
                  <a:cxn ang="0">
                    <a:pos x="74" y="8"/>
                  </a:cxn>
                  <a:cxn ang="0">
                    <a:pos x="72" y="8"/>
                  </a:cxn>
                  <a:cxn ang="0">
                    <a:pos x="68" y="10"/>
                  </a:cxn>
                  <a:cxn ang="0">
                    <a:pos x="60" y="4"/>
                  </a:cxn>
                  <a:cxn ang="0">
                    <a:pos x="52" y="6"/>
                  </a:cxn>
                  <a:cxn ang="0">
                    <a:pos x="48" y="6"/>
                  </a:cxn>
                  <a:cxn ang="0">
                    <a:pos x="44" y="4"/>
                  </a:cxn>
                  <a:cxn ang="0">
                    <a:pos x="38" y="4"/>
                  </a:cxn>
                  <a:cxn ang="0">
                    <a:pos x="26" y="10"/>
                  </a:cxn>
                  <a:cxn ang="0">
                    <a:pos x="24" y="18"/>
                  </a:cxn>
                  <a:cxn ang="0">
                    <a:pos x="24" y="22"/>
                  </a:cxn>
                  <a:cxn ang="0">
                    <a:pos x="16" y="30"/>
                  </a:cxn>
                  <a:cxn ang="0">
                    <a:pos x="16" y="34"/>
                  </a:cxn>
                  <a:cxn ang="0">
                    <a:pos x="8" y="36"/>
                  </a:cxn>
                  <a:cxn ang="0">
                    <a:pos x="6" y="40"/>
                  </a:cxn>
                  <a:cxn ang="0">
                    <a:pos x="0" y="42"/>
                  </a:cxn>
                  <a:cxn ang="0">
                    <a:pos x="4" y="46"/>
                  </a:cxn>
                  <a:cxn ang="0">
                    <a:pos x="8" y="46"/>
                  </a:cxn>
                  <a:cxn ang="0">
                    <a:pos x="10" y="56"/>
                  </a:cxn>
                  <a:cxn ang="0">
                    <a:pos x="14" y="56"/>
                  </a:cxn>
                  <a:cxn ang="0">
                    <a:pos x="20" y="58"/>
                  </a:cxn>
                  <a:cxn ang="0">
                    <a:pos x="20" y="66"/>
                  </a:cxn>
                  <a:cxn ang="0">
                    <a:pos x="24" y="68"/>
                  </a:cxn>
                  <a:cxn ang="0">
                    <a:pos x="28" y="70"/>
                  </a:cxn>
                  <a:cxn ang="0">
                    <a:pos x="32" y="68"/>
                  </a:cxn>
                  <a:cxn ang="0">
                    <a:pos x="38" y="70"/>
                  </a:cxn>
                  <a:cxn ang="0">
                    <a:pos x="38" y="72"/>
                  </a:cxn>
                  <a:cxn ang="0">
                    <a:pos x="38" y="76"/>
                  </a:cxn>
                  <a:cxn ang="0">
                    <a:pos x="40" y="78"/>
                  </a:cxn>
                  <a:cxn ang="0">
                    <a:pos x="44" y="78"/>
                  </a:cxn>
                  <a:cxn ang="0">
                    <a:pos x="42" y="84"/>
                  </a:cxn>
                  <a:cxn ang="0">
                    <a:pos x="48" y="86"/>
                  </a:cxn>
                  <a:cxn ang="0">
                    <a:pos x="52" y="84"/>
                  </a:cxn>
                  <a:cxn ang="0">
                    <a:pos x="56" y="86"/>
                  </a:cxn>
                  <a:cxn ang="0">
                    <a:pos x="66" y="86"/>
                  </a:cxn>
                  <a:cxn ang="0">
                    <a:pos x="70" y="84"/>
                  </a:cxn>
                  <a:cxn ang="0">
                    <a:pos x="74" y="86"/>
                  </a:cxn>
                  <a:cxn ang="0">
                    <a:pos x="78" y="88"/>
                  </a:cxn>
                  <a:cxn ang="0">
                    <a:pos x="88" y="84"/>
                  </a:cxn>
                  <a:cxn ang="0">
                    <a:pos x="96" y="80"/>
                  </a:cxn>
                  <a:cxn ang="0">
                    <a:pos x="100" y="80"/>
                  </a:cxn>
                  <a:cxn ang="0">
                    <a:pos x="102" y="78"/>
                  </a:cxn>
                  <a:cxn ang="0">
                    <a:pos x="112" y="80"/>
                  </a:cxn>
                  <a:cxn ang="0">
                    <a:pos x="118" y="82"/>
                  </a:cxn>
                </a:cxnLst>
                <a:rect l="0" t="0" r="r" b="b"/>
                <a:pathLst>
                  <a:path w="146" h="88">
                    <a:moveTo>
                      <a:pt x="122" y="86"/>
                    </a:moveTo>
                    <a:lnTo>
                      <a:pt x="122" y="86"/>
                    </a:lnTo>
                    <a:lnTo>
                      <a:pt x="124" y="86"/>
                    </a:lnTo>
                    <a:lnTo>
                      <a:pt x="126" y="86"/>
                    </a:lnTo>
                    <a:lnTo>
                      <a:pt x="128" y="86"/>
                    </a:lnTo>
                    <a:lnTo>
                      <a:pt x="128" y="82"/>
                    </a:lnTo>
                    <a:lnTo>
                      <a:pt x="128" y="80"/>
                    </a:lnTo>
                    <a:lnTo>
                      <a:pt x="128" y="78"/>
                    </a:lnTo>
                    <a:lnTo>
                      <a:pt x="130" y="74"/>
                    </a:lnTo>
                    <a:lnTo>
                      <a:pt x="132" y="72"/>
                    </a:lnTo>
                    <a:lnTo>
                      <a:pt x="134" y="70"/>
                    </a:lnTo>
                    <a:lnTo>
                      <a:pt x="134" y="68"/>
                    </a:lnTo>
                    <a:lnTo>
                      <a:pt x="136" y="68"/>
                    </a:lnTo>
                    <a:lnTo>
                      <a:pt x="136" y="66"/>
                    </a:lnTo>
                    <a:lnTo>
                      <a:pt x="138" y="66"/>
                    </a:lnTo>
                    <a:lnTo>
                      <a:pt x="140" y="68"/>
                    </a:lnTo>
                    <a:lnTo>
                      <a:pt x="142" y="68"/>
                    </a:lnTo>
                    <a:lnTo>
                      <a:pt x="144" y="66"/>
                    </a:lnTo>
                    <a:lnTo>
                      <a:pt x="144" y="64"/>
                    </a:lnTo>
                    <a:lnTo>
                      <a:pt x="146" y="64"/>
                    </a:lnTo>
                    <a:lnTo>
                      <a:pt x="144" y="62"/>
                    </a:lnTo>
                    <a:lnTo>
                      <a:pt x="144" y="58"/>
                    </a:lnTo>
                    <a:lnTo>
                      <a:pt x="142" y="56"/>
                    </a:lnTo>
                    <a:lnTo>
                      <a:pt x="142" y="54"/>
                    </a:lnTo>
                    <a:lnTo>
                      <a:pt x="142" y="52"/>
                    </a:lnTo>
                    <a:lnTo>
                      <a:pt x="140" y="54"/>
                    </a:lnTo>
                    <a:lnTo>
                      <a:pt x="138" y="54"/>
                    </a:lnTo>
                    <a:lnTo>
                      <a:pt x="136" y="54"/>
                    </a:lnTo>
                    <a:lnTo>
                      <a:pt x="134" y="54"/>
                    </a:lnTo>
                    <a:lnTo>
                      <a:pt x="134" y="56"/>
                    </a:lnTo>
                    <a:lnTo>
                      <a:pt x="132" y="56"/>
                    </a:lnTo>
                    <a:lnTo>
                      <a:pt x="130" y="56"/>
                    </a:lnTo>
                    <a:lnTo>
                      <a:pt x="128" y="56"/>
                    </a:lnTo>
                    <a:lnTo>
                      <a:pt x="126" y="56"/>
                    </a:lnTo>
                    <a:lnTo>
                      <a:pt x="124" y="56"/>
                    </a:lnTo>
                    <a:lnTo>
                      <a:pt x="122" y="56"/>
                    </a:lnTo>
                    <a:lnTo>
                      <a:pt x="120" y="54"/>
                    </a:lnTo>
                    <a:lnTo>
                      <a:pt x="120" y="52"/>
                    </a:lnTo>
                    <a:lnTo>
                      <a:pt x="120" y="50"/>
                    </a:lnTo>
                    <a:lnTo>
                      <a:pt x="120" y="48"/>
                    </a:lnTo>
                    <a:lnTo>
                      <a:pt x="118" y="46"/>
                    </a:lnTo>
                    <a:lnTo>
                      <a:pt x="118" y="44"/>
                    </a:lnTo>
                    <a:lnTo>
                      <a:pt x="118" y="42"/>
                    </a:lnTo>
                    <a:lnTo>
                      <a:pt x="118" y="40"/>
                    </a:lnTo>
                    <a:lnTo>
                      <a:pt x="118" y="38"/>
                    </a:lnTo>
                    <a:lnTo>
                      <a:pt x="120" y="36"/>
                    </a:lnTo>
                    <a:lnTo>
                      <a:pt x="118" y="34"/>
                    </a:lnTo>
                    <a:lnTo>
                      <a:pt x="118" y="32"/>
                    </a:lnTo>
                    <a:lnTo>
                      <a:pt x="118" y="30"/>
                    </a:lnTo>
                    <a:lnTo>
                      <a:pt x="118" y="26"/>
                    </a:lnTo>
                    <a:lnTo>
                      <a:pt x="118" y="24"/>
                    </a:lnTo>
                    <a:lnTo>
                      <a:pt x="116" y="24"/>
                    </a:lnTo>
                    <a:lnTo>
                      <a:pt x="114" y="22"/>
                    </a:lnTo>
                    <a:lnTo>
                      <a:pt x="112" y="20"/>
                    </a:lnTo>
                    <a:lnTo>
                      <a:pt x="112" y="18"/>
                    </a:lnTo>
                    <a:lnTo>
                      <a:pt x="110" y="18"/>
                    </a:lnTo>
                    <a:lnTo>
                      <a:pt x="108" y="16"/>
                    </a:lnTo>
                    <a:lnTo>
                      <a:pt x="108" y="14"/>
                    </a:lnTo>
                    <a:lnTo>
                      <a:pt x="106" y="12"/>
                    </a:lnTo>
                    <a:lnTo>
                      <a:pt x="104" y="12"/>
                    </a:lnTo>
                    <a:lnTo>
                      <a:pt x="104" y="10"/>
                    </a:lnTo>
                    <a:lnTo>
                      <a:pt x="102" y="10"/>
                    </a:lnTo>
                    <a:lnTo>
                      <a:pt x="102" y="8"/>
                    </a:lnTo>
                    <a:lnTo>
                      <a:pt x="102" y="6"/>
                    </a:lnTo>
                    <a:lnTo>
                      <a:pt x="100" y="4"/>
                    </a:lnTo>
                    <a:lnTo>
                      <a:pt x="98" y="2"/>
                    </a:lnTo>
                    <a:lnTo>
                      <a:pt x="96" y="0"/>
                    </a:lnTo>
                    <a:lnTo>
                      <a:pt x="94" y="0"/>
                    </a:lnTo>
                    <a:lnTo>
                      <a:pt x="92" y="0"/>
                    </a:lnTo>
                    <a:lnTo>
                      <a:pt x="90" y="0"/>
                    </a:lnTo>
                    <a:lnTo>
                      <a:pt x="90" y="2"/>
                    </a:lnTo>
                    <a:lnTo>
                      <a:pt x="88" y="2"/>
                    </a:lnTo>
                    <a:lnTo>
                      <a:pt x="88" y="4"/>
                    </a:lnTo>
                    <a:lnTo>
                      <a:pt x="86" y="6"/>
                    </a:lnTo>
                    <a:lnTo>
                      <a:pt x="82" y="6"/>
                    </a:lnTo>
                    <a:lnTo>
                      <a:pt x="80" y="6"/>
                    </a:lnTo>
                    <a:lnTo>
                      <a:pt x="78" y="8"/>
                    </a:lnTo>
                    <a:lnTo>
                      <a:pt x="76" y="8"/>
                    </a:lnTo>
                    <a:lnTo>
                      <a:pt x="74" y="8"/>
                    </a:lnTo>
                    <a:lnTo>
                      <a:pt x="74" y="6"/>
                    </a:lnTo>
                    <a:lnTo>
                      <a:pt x="72" y="6"/>
                    </a:lnTo>
                    <a:lnTo>
                      <a:pt x="72" y="8"/>
                    </a:lnTo>
                    <a:lnTo>
                      <a:pt x="72" y="10"/>
                    </a:lnTo>
                    <a:lnTo>
                      <a:pt x="70" y="10"/>
                    </a:lnTo>
                    <a:lnTo>
                      <a:pt x="68" y="10"/>
                    </a:lnTo>
                    <a:lnTo>
                      <a:pt x="66" y="8"/>
                    </a:lnTo>
                    <a:lnTo>
                      <a:pt x="64" y="8"/>
                    </a:lnTo>
                    <a:lnTo>
                      <a:pt x="64" y="6"/>
                    </a:lnTo>
                    <a:lnTo>
                      <a:pt x="62" y="6"/>
                    </a:lnTo>
                    <a:lnTo>
                      <a:pt x="62" y="4"/>
                    </a:lnTo>
                    <a:lnTo>
                      <a:pt x="60" y="4"/>
                    </a:lnTo>
                    <a:lnTo>
                      <a:pt x="60" y="6"/>
                    </a:lnTo>
                    <a:lnTo>
                      <a:pt x="56" y="6"/>
                    </a:lnTo>
                    <a:lnTo>
                      <a:pt x="54" y="8"/>
                    </a:lnTo>
                    <a:lnTo>
                      <a:pt x="52" y="6"/>
                    </a:lnTo>
                    <a:lnTo>
                      <a:pt x="50" y="6"/>
                    </a:lnTo>
                    <a:lnTo>
                      <a:pt x="48" y="6"/>
                    </a:lnTo>
                    <a:lnTo>
                      <a:pt x="46" y="6"/>
                    </a:lnTo>
                    <a:lnTo>
                      <a:pt x="46" y="4"/>
                    </a:lnTo>
                    <a:lnTo>
                      <a:pt x="44" y="4"/>
                    </a:lnTo>
                    <a:lnTo>
                      <a:pt x="42" y="4"/>
                    </a:lnTo>
                    <a:lnTo>
                      <a:pt x="40" y="4"/>
                    </a:lnTo>
                    <a:lnTo>
                      <a:pt x="38" y="4"/>
                    </a:lnTo>
                    <a:lnTo>
                      <a:pt x="38" y="6"/>
                    </a:lnTo>
                    <a:lnTo>
                      <a:pt x="36" y="6"/>
                    </a:lnTo>
                    <a:lnTo>
                      <a:pt x="34" y="8"/>
                    </a:lnTo>
                    <a:lnTo>
                      <a:pt x="32" y="8"/>
                    </a:lnTo>
                    <a:lnTo>
                      <a:pt x="30" y="8"/>
                    </a:lnTo>
                    <a:lnTo>
                      <a:pt x="26" y="10"/>
                    </a:lnTo>
                    <a:lnTo>
                      <a:pt x="24" y="10"/>
                    </a:lnTo>
                    <a:lnTo>
                      <a:pt x="24" y="12"/>
                    </a:lnTo>
                    <a:lnTo>
                      <a:pt x="24" y="14"/>
                    </a:lnTo>
                    <a:lnTo>
                      <a:pt x="24" y="16"/>
                    </a:lnTo>
                    <a:lnTo>
                      <a:pt x="24" y="18"/>
                    </a:lnTo>
                    <a:lnTo>
                      <a:pt x="24" y="20"/>
                    </a:lnTo>
                    <a:lnTo>
                      <a:pt x="24" y="22"/>
                    </a:lnTo>
                    <a:lnTo>
                      <a:pt x="24" y="24"/>
                    </a:lnTo>
                    <a:lnTo>
                      <a:pt x="22" y="24"/>
                    </a:lnTo>
                    <a:lnTo>
                      <a:pt x="20" y="26"/>
                    </a:lnTo>
                    <a:lnTo>
                      <a:pt x="18" y="28"/>
                    </a:lnTo>
                    <a:lnTo>
                      <a:pt x="16" y="28"/>
                    </a:lnTo>
                    <a:lnTo>
                      <a:pt x="16" y="30"/>
                    </a:lnTo>
                    <a:lnTo>
                      <a:pt x="18" y="32"/>
                    </a:lnTo>
                    <a:lnTo>
                      <a:pt x="16" y="32"/>
                    </a:lnTo>
                    <a:lnTo>
                      <a:pt x="16" y="34"/>
                    </a:lnTo>
                    <a:lnTo>
                      <a:pt x="14" y="36"/>
                    </a:lnTo>
                    <a:lnTo>
                      <a:pt x="12" y="36"/>
                    </a:lnTo>
                    <a:lnTo>
                      <a:pt x="10" y="38"/>
                    </a:lnTo>
                    <a:lnTo>
                      <a:pt x="8" y="38"/>
                    </a:lnTo>
                    <a:lnTo>
                      <a:pt x="8" y="36"/>
                    </a:lnTo>
                    <a:lnTo>
                      <a:pt x="6" y="36"/>
                    </a:lnTo>
                    <a:lnTo>
                      <a:pt x="6" y="38"/>
                    </a:lnTo>
                    <a:lnTo>
                      <a:pt x="6" y="40"/>
                    </a:lnTo>
                    <a:lnTo>
                      <a:pt x="4" y="40"/>
                    </a:lnTo>
                    <a:lnTo>
                      <a:pt x="2" y="40"/>
                    </a:lnTo>
                    <a:lnTo>
                      <a:pt x="0" y="42"/>
                    </a:lnTo>
                    <a:lnTo>
                      <a:pt x="2" y="44"/>
                    </a:lnTo>
                    <a:lnTo>
                      <a:pt x="4" y="46"/>
                    </a:lnTo>
                    <a:lnTo>
                      <a:pt x="6" y="48"/>
                    </a:lnTo>
                    <a:lnTo>
                      <a:pt x="6" y="46"/>
                    </a:lnTo>
                    <a:lnTo>
                      <a:pt x="8" y="46"/>
                    </a:lnTo>
                    <a:lnTo>
                      <a:pt x="8" y="50"/>
                    </a:lnTo>
                    <a:lnTo>
                      <a:pt x="10" y="52"/>
                    </a:lnTo>
                    <a:lnTo>
                      <a:pt x="10" y="54"/>
                    </a:lnTo>
                    <a:lnTo>
                      <a:pt x="10" y="56"/>
                    </a:lnTo>
                    <a:lnTo>
                      <a:pt x="12" y="56"/>
                    </a:lnTo>
                    <a:lnTo>
                      <a:pt x="14" y="56"/>
                    </a:lnTo>
                    <a:lnTo>
                      <a:pt x="16" y="56"/>
                    </a:lnTo>
                    <a:lnTo>
                      <a:pt x="18" y="56"/>
                    </a:lnTo>
                    <a:lnTo>
                      <a:pt x="20" y="58"/>
                    </a:lnTo>
                    <a:lnTo>
                      <a:pt x="20" y="60"/>
                    </a:lnTo>
                    <a:lnTo>
                      <a:pt x="18" y="62"/>
                    </a:lnTo>
                    <a:lnTo>
                      <a:pt x="18" y="64"/>
                    </a:lnTo>
                    <a:lnTo>
                      <a:pt x="20" y="66"/>
                    </a:lnTo>
                    <a:lnTo>
                      <a:pt x="22" y="68"/>
                    </a:lnTo>
                    <a:lnTo>
                      <a:pt x="24" y="68"/>
                    </a:lnTo>
                    <a:lnTo>
                      <a:pt x="26" y="68"/>
                    </a:lnTo>
                    <a:lnTo>
                      <a:pt x="26" y="70"/>
                    </a:lnTo>
                    <a:lnTo>
                      <a:pt x="28" y="70"/>
                    </a:lnTo>
                    <a:lnTo>
                      <a:pt x="30" y="70"/>
                    </a:lnTo>
                    <a:lnTo>
                      <a:pt x="30" y="68"/>
                    </a:lnTo>
                    <a:lnTo>
                      <a:pt x="32" y="68"/>
                    </a:lnTo>
                    <a:lnTo>
                      <a:pt x="34" y="68"/>
                    </a:lnTo>
                    <a:lnTo>
                      <a:pt x="36" y="68"/>
                    </a:lnTo>
                    <a:lnTo>
                      <a:pt x="38" y="68"/>
                    </a:lnTo>
                    <a:lnTo>
                      <a:pt x="38" y="70"/>
                    </a:lnTo>
                    <a:lnTo>
                      <a:pt x="40" y="70"/>
                    </a:lnTo>
                    <a:lnTo>
                      <a:pt x="38" y="70"/>
                    </a:lnTo>
                    <a:lnTo>
                      <a:pt x="38" y="72"/>
                    </a:lnTo>
                    <a:lnTo>
                      <a:pt x="36" y="74"/>
                    </a:lnTo>
                    <a:lnTo>
                      <a:pt x="38" y="76"/>
                    </a:lnTo>
                    <a:lnTo>
                      <a:pt x="38" y="78"/>
                    </a:lnTo>
                    <a:lnTo>
                      <a:pt x="40" y="78"/>
                    </a:lnTo>
                    <a:lnTo>
                      <a:pt x="42" y="78"/>
                    </a:lnTo>
                    <a:lnTo>
                      <a:pt x="44" y="78"/>
                    </a:lnTo>
                    <a:lnTo>
                      <a:pt x="44" y="80"/>
                    </a:lnTo>
                    <a:lnTo>
                      <a:pt x="44" y="82"/>
                    </a:lnTo>
                    <a:lnTo>
                      <a:pt x="42" y="82"/>
                    </a:lnTo>
                    <a:lnTo>
                      <a:pt x="42" y="84"/>
                    </a:lnTo>
                    <a:lnTo>
                      <a:pt x="44" y="84"/>
                    </a:lnTo>
                    <a:lnTo>
                      <a:pt x="44" y="86"/>
                    </a:lnTo>
                    <a:lnTo>
                      <a:pt x="46" y="86"/>
                    </a:lnTo>
                    <a:lnTo>
                      <a:pt x="48" y="86"/>
                    </a:lnTo>
                    <a:lnTo>
                      <a:pt x="48" y="84"/>
                    </a:lnTo>
                    <a:lnTo>
                      <a:pt x="50" y="84"/>
                    </a:lnTo>
                    <a:lnTo>
                      <a:pt x="50" y="82"/>
                    </a:lnTo>
                    <a:lnTo>
                      <a:pt x="52" y="84"/>
                    </a:lnTo>
                    <a:lnTo>
                      <a:pt x="54" y="84"/>
                    </a:lnTo>
                    <a:lnTo>
                      <a:pt x="56" y="84"/>
                    </a:lnTo>
                    <a:lnTo>
                      <a:pt x="56" y="86"/>
                    </a:lnTo>
                    <a:lnTo>
                      <a:pt x="58" y="86"/>
                    </a:lnTo>
                    <a:lnTo>
                      <a:pt x="62" y="86"/>
                    </a:lnTo>
                    <a:lnTo>
                      <a:pt x="64" y="88"/>
                    </a:lnTo>
                    <a:lnTo>
                      <a:pt x="66" y="86"/>
                    </a:lnTo>
                    <a:lnTo>
                      <a:pt x="68" y="86"/>
                    </a:lnTo>
                    <a:lnTo>
                      <a:pt x="68" y="84"/>
                    </a:lnTo>
                    <a:lnTo>
                      <a:pt x="70" y="84"/>
                    </a:lnTo>
                    <a:lnTo>
                      <a:pt x="70" y="86"/>
                    </a:lnTo>
                    <a:lnTo>
                      <a:pt x="72" y="86"/>
                    </a:lnTo>
                    <a:lnTo>
                      <a:pt x="74" y="86"/>
                    </a:lnTo>
                    <a:lnTo>
                      <a:pt x="76" y="86"/>
                    </a:lnTo>
                    <a:lnTo>
                      <a:pt x="78" y="86"/>
                    </a:lnTo>
                    <a:lnTo>
                      <a:pt x="78" y="88"/>
                    </a:lnTo>
                    <a:lnTo>
                      <a:pt x="82" y="88"/>
                    </a:lnTo>
                    <a:lnTo>
                      <a:pt x="84" y="88"/>
                    </a:lnTo>
                    <a:lnTo>
                      <a:pt x="86" y="88"/>
                    </a:lnTo>
                    <a:lnTo>
                      <a:pt x="88" y="86"/>
                    </a:lnTo>
                    <a:lnTo>
                      <a:pt x="88" y="84"/>
                    </a:lnTo>
                    <a:lnTo>
                      <a:pt x="90" y="82"/>
                    </a:lnTo>
                    <a:lnTo>
                      <a:pt x="92" y="82"/>
                    </a:lnTo>
                    <a:lnTo>
                      <a:pt x="94" y="82"/>
                    </a:lnTo>
                    <a:lnTo>
                      <a:pt x="96" y="82"/>
                    </a:lnTo>
                    <a:lnTo>
                      <a:pt x="96" y="80"/>
                    </a:lnTo>
                    <a:lnTo>
                      <a:pt x="98" y="80"/>
                    </a:lnTo>
                    <a:lnTo>
                      <a:pt x="100" y="80"/>
                    </a:lnTo>
                    <a:lnTo>
                      <a:pt x="102" y="80"/>
                    </a:lnTo>
                    <a:lnTo>
                      <a:pt x="100" y="80"/>
                    </a:lnTo>
                    <a:lnTo>
                      <a:pt x="102" y="78"/>
                    </a:lnTo>
                    <a:lnTo>
                      <a:pt x="104" y="78"/>
                    </a:lnTo>
                    <a:lnTo>
                      <a:pt x="106" y="78"/>
                    </a:lnTo>
                    <a:lnTo>
                      <a:pt x="108" y="80"/>
                    </a:lnTo>
                    <a:lnTo>
                      <a:pt x="110" y="80"/>
                    </a:lnTo>
                    <a:lnTo>
                      <a:pt x="112" y="80"/>
                    </a:lnTo>
                    <a:lnTo>
                      <a:pt x="112" y="82"/>
                    </a:lnTo>
                    <a:lnTo>
                      <a:pt x="116" y="82"/>
                    </a:lnTo>
                    <a:lnTo>
                      <a:pt x="118" y="82"/>
                    </a:lnTo>
                    <a:lnTo>
                      <a:pt x="120" y="84"/>
                    </a:lnTo>
                    <a:lnTo>
                      <a:pt x="122" y="8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0" name="Freeform 123">
                <a:extLst>
                  <a:ext uri="{FF2B5EF4-FFF2-40B4-BE49-F238E27FC236}">
                    <a16:creationId xmlns:a16="http://schemas.microsoft.com/office/drawing/2014/main" id="{E8339C47-9F37-442C-9DC8-29DCA0478A9E}"/>
                  </a:ext>
                </a:extLst>
              </p:cNvPr>
              <p:cNvSpPr>
                <a:spLocks noChangeAspect="1"/>
              </p:cNvSpPr>
              <p:nvPr/>
            </p:nvSpPr>
            <p:spPr bwMode="auto">
              <a:xfrm>
                <a:off x="4827071" y="2738338"/>
                <a:ext cx="101950" cy="99406"/>
              </a:xfrm>
              <a:custGeom>
                <a:avLst/>
                <a:gdLst/>
                <a:ahLst/>
                <a:cxnLst>
                  <a:cxn ang="0">
                    <a:pos x="54" y="20"/>
                  </a:cxn>
                  <a:cxn ang="0">
                    <a:pos x="54" y="16"/>
                  </a:cxn>
                  <a:cxn ang="0">
                    <a:pos x="54" y="16"/>
                  </a:cxn>
                  <a:cxn ang="0">
                    <a:pos x="58" y="10"/>
                  </a:cxn>
                  <a:cxn ang="0">
                    <a:pos x="58" y="8"/>
                  </a:cxn>
                  <a:cxn ang="0">
                    <a:pos x="52" y="8"/>
                  </a:cxn>
                  <a:cxn ang="0">
                    <a:pos x="50" y="8"/>
                  </a:cxn>
                  <a:cxn ang="0">
                    <a:pos x="48" y="8"/>
                  </a:cxn>
                  <a:cxn ang="0">
                    <a:pos x="46" y="6"/>
                  </a:cxn>
                  <a:cxn ang="0">
                    <a:pos x="46" y="4"/>
                  </a:cxn>
                  <a:cxn ang="0">
                    <a:pos x="42" y="4"/>
                  </a:cxn>
                  <a:cxn ang="0">
                    <a:pos x="34" y="4"/>
                  </a:cxn>
                  <a:cxn ang="0">
                    <a:pos x="30" y="2"/>
                  </a:cxn>
                  <a:cxn ang="0">
                    <a:pos x="28" y="2"/>
                  </a:cxn>
                  <a:cxn ang="0">
                    <a:pos x="26" y="4"/>
                  </a:cxn>
                  <a:cxn ang="0">
                    <a:pos x="22" y="2"/>
                  </a:cxn>
                  <a:cxn ang="0">
                    <a:pos x="18" y="2"/>
                  </a:cxn>
                  <a:cxn ang="0">
                    <a:pos x="16" y="2"/>
                  </a:cxn>
                  <a:cxn ang="0">
                    <a:pos x="12" y="2"/>
                  </a:cxn>
                  <a:cxn ang="0">
                    <a:pos x="10" y="4"/>
                  </a:cxn>
                  <a:cxn ang="0">
                    <a:pos x="6" y="0"/>
                  </a:cxn>
                  <a:cxn ang="0">
                    <a:pos x="4" y="2"/>
                  </a:cxn>
                  <a:cxn ang="0">
                    <a:pos x="4" y="6"/>
                  </a:cxn>
                  <a:cxn ang="0">
                    <a:pos x="0" y="8"/>
                  </a:cxn>
                  <a:cxn ang="0">
                    <a:pos x="2" y="10"/>
                  </a:cxn>
                  <a:cxn ang="0">
                    <a:pos x="6" y="12"/>
                  </a:cxn>
                  <a:cxn ang="0">
                    <a:pos x="8" y="12"/>
                  </a:cxn>
                  <a:cxn ang="0">
                    <a:pos x="8" y="14"/>
                  </a:cxn>
                  <a:cxn ang="0">
                    <a:pos x="10" y="16"/>
                  </a:cxn>
                  <a:cxn ang="0">
                    <a:pos x="10" y="22"/>
                  </a:cxn>
                  <a:cxn ang="0">
                    <a:pos x="14" y="22"/>
                  </a:cxn>
                  <a:cxn ang="0">
                    <a:pos x="16" y="24"/>
                  </a:cxn>
                  <a:cxn ang="0">
                    <a:pos x="18" y="28"/>
                  </a:cxn>
                  <a:cxn ang="0">
                    <a:pos x="18" y="30"/>
                  </a:cxn>
                  <a:cxn ang="0">
                    <a:pos x="22" y="32"/>
                  </a:cxn>
                  <a:cxn ang="0">
                    <a:pos x="30" y="38"/>
                  </a:cxn>
                  <a:cxn ang="0">
                    <a:pos x="30" y="42"/>
                  </a:cxn>
                  <a:cxn ang="0">
                    <a:pos x="32" y="44"/>
                  </a:cxn>
                  <a:cxn ang="0">
                    <a:pos x="34" y="46"/>
                  </a:cxn>
                  <a:cxn ang="0">
                    <a:pos x="42" y="52"/>
                  </a:cxn>
                  <a:cxn ang="0">
                    <a:pos x="48" y="52"/>
                  </a:cxn>
                  <a:cxn ang="0">
                    <a:pos x="50" y="50"/>
                  </a:cxn>
                  <a:cxn ang="0">
                    <a:pos x="46" y="48"/>
                  </a:cxn>
                  <a:cxn ang="0">
                    <a:pos x="44" y="46"/>
                  </a:cxn>
                  <a:cxn ang="0">
                    <a:pos x="46" y="44"/>
                  </a:cxn>
                  <a:cxn ang="0">
                    <a:pos x="46" y="44"/>
                  </a:cxn>
                  <a:cxn ang="0">
                    <a:pos x="50" y="38"/>
                  </a:cxn>
                  <a:cxn ang="0">
                    <a:pos x="54" y="38"/>
                  </a:cxn>
                  <a:cxn ang="0">
                    <a:pos x="54" y="36"/>
                  </a:cxn>
                  <a:cxn ang="0">
                    <a:pos x="54" y="32"/>
                  </a:cxn>
                  <a:cxn ang="0">
                    <a:pos x="56" y="32"/>
                  </a:cxn>
                  <a:cxn ang="0">
                    <a:pos x="60" y="32"/>
                  </a:cxn>
                  <a:cxn ang="0">
                    <a:pos x="60" y="28"/>
                  </a:cxn>
                  <a:cxn ang="0">
                    <a:pos x="56" y="24"/>
                  </a:cxn>
                  <a:cxn ang="0">
                    <a:pos x="60" y="24"/>
                  </a:cxn>
                  <a:cxn ang="0">
                    <a:pos x="62" y="24"/>
                  </a:cxn>
                  <a:cxn ang="0">
                    <a:pos x="58" y="20"/>
                  </a:cxn>
                </a:cxnLst>
                <a:rect l="0" t="0" r="r" b="b"/>
                <a:pathLst>
                  <a:path w="62" h="56">
                    <a:moveTo>
                      <a:pt x="58" y="20"/>
                    </a:moveTo>
                    <a:lnTo>
                      <a:pt x="56" y="20"/>
                    </a:lnTo>
                    <a:lnTo>
                      <a:pt x="54" y="20"/>
                    </a:lnTo>
                    <a:lnTo>
                      <a:pt x="54" y="18"/>
                    </a:lnTo>
                    <a:lnTo>
                      <a:pt x="54" y="16"/>
                    </a:lnTo>
                    <a:lnTo>
                      <a:pt x="54" y="14"/>
                    </a:lnTo>
                    <a:lnTo>
                      <a:pt x="56" y="14"/>
                    </a:lnTo>
                    <a:lnTo>
                      <a:pt x="56" y="12"/>
                    </a:lnTo>
                    <a:lnTo>
                      <a:pt x="58" y="10"/>
                    </a:lnTo>
                    <a:lnTo>
                      <a:pt x="58" y="8"/>
                    </a:lnTo>
                    <a:lnTo>
                      <a:pt x="56" y="8"/>
                    </a:lnTo>
                    <a:lnTo>
                      <a:pt x="54" y="8"/>
                    </a:lnTo>
                    <a:lnTo>
                      <a:pt x="52" y="8"/>
                    </a:lnTo>
                    <a:lnTo>
                      <a:pt x="50" y="8"/>
                    </a:lnTo>
                    <a:lnTo>
                      <a:pt x="48" y="8"/>
                    </a:lnTo>
                    <a:lnTo>
                      <a:pt x="48" y="6"/>
                    </a:lnTo>
                    <a:lnTo>
                      <a:pt x="46" y="6"/>
                    </a:lnTo>
                    <a:lnTo>
                      <a:pt x="46" y="4"/>
                    </a:lnTo>
                    <a:lnTo>
                      <a:pt x="44" y="4"/>
                    </a:lnTo>
                    <a:lnTo>
                      <a:pt x="42" y="4"/>
                    </a:lnTo>
                    <a:lnTo>
                      <a:pt x="40" y="2"/>
                    </a:lnTo>
                    <a:lnTo>
                      <a:pt x="38" y="2"/>
                    </a:lnTo>
                    <a:lnTo>
                      <a:pt x="36" y="2"/>
                    </a:lnTo>
                    <a:lnTo>
                      <a:pt x="34" y="4"/>
                    </a:lnTo>
                    <a:lnTo>
                      <a:pt x="32" y="4"/>
                    </a:lnTo>
                    <a:lnTo>
                      <a:pt x="30" y="2"/>
                    </a:lnTo>
                    <a:lnTo>
                      <a:pt x="28" y="2"/>
                    </a:lnTo>
                    <a:lnTo>
                      <a:pt x="26" y="4"/>
                    </a:lnTo>
                    <a:lnTo>
                      <a:pt x="24" y="2"/>
                    </a:lnTo>
                    <a:lnTo>
                      <a:pt x="22" y="2"/>
                    </a:lnTo>
                    <a:lnTo>
                      <a:pt x="20" y="2"/>
                    </a:lnTo>
                    <a:lnTo>
                      <a:pt x="18" y="2"/>
                    </a:lnTo>
                    <a:lnTo>
                      <a:pt x="16" y="2"/>
                    </a:lnTo>
                    <a:lnTo>
                      <a:pt x="14" y="2"/>
                    </a:lnTo>
                    <a:lnTo>
                      <a:pt x="12" y="2"/>
                    </a:lnTo>
                    <a:lnTo>
                      <a:pt x="12" y="4"/>
                    </a:lnTo>
                    <a:lnTo>
                      <a:pt x="10" y="4"/>
                    </a:lnTo>
                    <a:lnTo>
                      <a:pt x="10" y="2"/>
                    </a:lnTo>
                    <a:lnTo>
                      <a:pt x="8" y="2"/>
                    </a:lnTo>
                    <a:lnTo>
                      <a:pt x="6" y="0"/>
                    </a:lnTo>
                    <a:lnTo>
                      <a:pt x="4" y="0"/>
                    </a:lnTo>
                    <a:lnTo>
                      <a:pt x="4" y="2"/>
                    </a:lnTo>
                    <a:lnTo>
                      <a:pt x="4" y="4"/>
                    </a:lnTo>
                    <a:lnTo>
                      <a:pt x="4" y="6"/>
                    </a:lnTo>
                    <a:lnTo>
                      <a:pt x="2" y="6"/>
                    </a:lnTo>
                    <a:lnTo>
                      <a:pt x="0" y="8"/>
                    </a:lnTo>
                    <a:lnTo>
                      <a:pt x="2" y="10"/>
                    </a:lnTo>
                    <a:lnTo>
                      <a:pt x="4" y="10"/>
                    </a:lnTo>
                    <a:lnTo>
                      <a:pt x="6" y="12"/>
                    </a:lnTo>
                    <a:lnTo>
                      <a:pt x="8" y="12"/>
                    </a:lnTo>
                    <a:lnTo>
                      <a:pt x="8" y="14"/>
                    </a:lnTo>
                    <a:lnTo>
                      <a:pt x="8" y="16"/>
                    </a:lnTo>
                    <a:lnTo>
                      <a:pt x="10" y="16"/>
                    </a:lnTo>
                    <a:lnTo>
                      <a:pt x="10" y="18"/>
                    </a:lnTo>
                    <a:lnTo>
                      <a:pt x="10" y="20"/>
                    </a:lnTo>
                    <a:lnTo>
                      <a:pt x="10" y="22"/>
                    </a:lnTo>
                    <a:lnTo>
                      <a:pt x="12" y="22"/>
                    </a:lnTo>
                    <a:lnTo>
                      <a:pt x="14" y="22"/>
                    </a:lnTo>
                    <a:lnTo>
                      <a:pt x="16" y="24"/>
                    </a:lnTo>
                    <a:lnTo>
                      <a:pt x="16" y="26"/>
                    </a:lnTo>
                    <a:lnTo>
                      <a:pt x="16" y="28"/>
                    </a:lnTo>
                    <a:lnTo>
                      <a:pt x="18" y="28"/>
                    </a:lnTo>
                    <a:lnTo>
                      <a:pt x="18" y="30"/>
                    </a:lnTo>
                    <a:lnTo>
                      <a:pt x="20" y="30"/>
                    </a:lnTo>
                    <a:lnTo>
                      <a:pt x="20" y="32"/>
                    </a:lnTo>
                    <a:lnTo>
                      <a:pt x="22" y="32"/>
                    </a:lnTo>
                    <a:lnTo>
                      <a:pt x="24" y="34"/>
                    </a:lnTo>
                    <a:lnTo>
                      <a:pt x="28" y="36"/>
                    </a:lnTo>
                    <a:lnTo>
                      <a:pt x="28" y="38"/>
                    </a:lnTo>
                    <a:lnTo>
                      <a:pt x="30" y="38"/>
                    </a:lnTo>
                    <a:lnTo>
                      <a:pt x="30" y="40"/>
                    </a:lnTo>
                    <a:lnTo>
                      <a:pt x="30" y="42"/>
                    </a:lnTo>
                    <a:lnTo>
                      <a:pt x="30" y="44"/>
                    </a:lnTo>
                    <a:lnTo>
                      <a:pt x="32" y="44"/>
                    </a:lnTo>
                    <a:lnTo>
                      <a:pt x="32" y="46"/>
                    </a:lnTo>
                    <a:lnTo>
                      <a:pt x="34" y="46"/>
                    </a:lnTo>
                    <a:lnTo>
                      <a:pt x="36" y="46"/>
                    </a:lnTo>
                    <a:lnTo>
                      <a:pt x="38" y="48"/>
                    </a:lnTo>
                    <a:lnTo>
                      <a:pt x="40" y="50"/>
                    </a:lnTo>
                    <a:lnTo>
                      <a:pt x="42" y="52"/>
                    </a:lnTo>
                    <a:lnTo>
                      <a:pt x="44" y="54"/>
                    </a:lnTo>
                    <a:lnTo>
                      <a:pt x="46" y="56"/>
                    </a:lnTo>
                    <a:lnTo>
                      <a:pt x="46" y="54"/>
                    </a:lnTo>
                    <a:lnTo>
                      <a:pt x="48" y="52"/>
                    </a:lnTo>
                    <a:lnTo>
                      <a:pt x="48" y="50"/>
                    </a:lnTo>
                    <a:lnTo>
                      <a:pt x="50" y="50"/>
                    </a:lnTo>
                    <a:lnTo>
                      <a:pt x="48" y="50"/>
                    </a:lnTo>
                    <a:lnTo>
                      <a:pt x="46" y="48"/>
                    </a:lnTo>
                    <a:lnTo>
                      <a:pt x="46" y="46"/>
                    </a:lnTo>
                    <a:lnTo>
                      <a:pt x="44" y="46"/>
                    </a:lnTo>
                    <a:lnTo>
                      <a:pt x="44" y="44"/>
                    </a:lnTo>
                    <a:lnTo>
                      <a:pt x="46" y="44"/>
                    </a:lnTo>
                    <a:lnTo>
                      <a:pt x="46" y="42"/>
                    </a:lnTo>
                    <a:lnTo>
                      <a:pt x="48" y="42"/>
                    </a:lnTo>
                    <a:lnTo>
                      <a:pt x="48" y="40"/>
                    </a:lnTo>
                    <a:lnTo>
                      <a:pt x="50" y="38"/>
                    </a:lnTo>
                    <a:lnTo>
                      <a:pt x="52" y="38"/>
                    </a:lnTo>
                    <a:lnTo>
                      <a:pt x="54" y="38"/>
                    </a:lnTo>
                    <a:lnTo>
                      <a:pt x="54" y="36"/>
                    </a:lnTo>
                    <a:lnTo>
                      <a:pt x="54" y="34"/>
                    </a:lnTo>
                    <a:lnTo>
                      <a:pt x="54" y="32"/>
                    </a:lnTo>
                    <a:lnTo>
                      <a:pt x="56" y="32"/>
                    </a:lnTo>
                    <a:lnTo>
                      <a:pt x="58" y="34"/>
                    </a:lnTo>
                    <a:lnTo>
                      <a:pt x="60" y="32"/>
                    </a:lnTo>
                    <a:lnTo>
                      <a:pt x="62" y="32"/>
                    </a:lnTo>
                    <a:lnTo>
                      <a:pt x="62" y="30"/>
                    </a:lnTo>
                    <a:lnTo>
                      <a:pt x="60" y="30"/>
                    </a:lnTo>
                    <a:lnTo>
                      <a:pt x="60" y="28"/>
                    </a:lnTo>
                    <a:lnTo>
                      <a:pt x="60" y="26"/>
                    </a:lnTo>
                    <a:lnTo>
                      <a:pt x="58" y="26"/>
                    </a:lnTo>
                    <a:lnTo>
                      <a:pt x="58" y="24"/>
                    </a:lnTo>
                    <a:lnTo>
                      <a:pt x="56" y="24"/>
                    </a:lnTo>
                    <a:lnTo>
                      <a:pt x="58" y="24"/>
                    </a:lnTo>
                    <a:lnTo>
                      <a:pt x="60" y="24"/>
                    </a:lnTo>
                    <a:lnTo>
                      <a:pt x="62" y="24"/>
                    </a:lnTo>
                    <a:lnTo>
                      <a:pt x="62" y="22"/>
                    </a:lnTo>
                    <a:lnTo>
                      <a:pt x="60" y="22"/>
                    </a:lnTo>
                    <a:lnTo>
                      <a:pt x="60" y="20"/>
                    </a:lnTo>
                    <a:lnTo>
                      <a:pt x="58" y="2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1" name="Freeform 124">
                <a:extLst>
                  <a:ext uri="{FF2B5EF4-FFF2-40B4-BE49-F238E27FC236}">
                    <a16:creationId xmlns:a16="http://schemas.microsoft.com/office/drawing/2014/main" id="{C799AB94-F9D8-4276-88EF-6E0EF898E6B2}"/>
                  </a:ext>
                </a:extLst>
              </p:cNvPr>
              <p:cNvSpPr>
                <a:spLocks noChangeAspect="1"/>
              </p:cNvSpPr>
              <p:nvPr/>
            </p:nvSpPr>
            <p:spPr bwMode="auto">
              <a:xfrm>
                <a:off x="4777739" y="2696483"/>
                <a:ext cx="141415" cy="120333"/>
              </a:xfrm>
              <a:custGeom>
                <a:avLst/>
                <a:gdLst/>
                <a:ahLst/>
                <a:cxnLst>
                  <a:cxn ang="0">
                    <a:pos x="82" y="28"/>
                  </a:cxn>
                  <a:cxn ang="0">
                    <a:pos x="86" y="26"/>
                  </a:cxn>
                  <a:cxn ang="0">
                    <a:pos x="80" y="24"/>
                  </a:cxn>
                  <a:cxn ang="0">
                    <a:pos x="82" y="20"/>
                  </a:cxn>
                  <a:cxn ang="0">
                    <a:pos x="78" y="18"/>
                  </a:cxn>
                  <a:cxn ang="0">
                    <a:pos x="78" y="14"/>
                  </a:cxn>
                  <a:cxn ang="0">
                    <a:pos x="76" y="14"/>
                  </a:cxn>
                  <a:cxn ang="0">
                    <a:pos x="66" y="16"/>
                  </a:cxn>
                  <a:cxn ang="0">
                    <a:pos x="64" y="14"/>
                  </a:cxn>
                  <a:cxn ang="0">
                    <a:pos x="60" y="14"/>
                  </a:cxn>
                  <a:cxn ang="0">
                    <a:pos x="56" y="12"/>
                  </a:cxn>
                  <a:cxn ang="0">
                    <a:pos x="50" y="6"/>
                  </a:cxn>
                  <a:cxn ang="0">
                    <a:pos x="44" y="0"/>
                  </a:cxn>
                  <a:cxn ang="0">
                    <a:pos x="40" y="0"/>
                  </a:cxn>
                  <a:cxn ang="0">
                    <a:pos x="38" y="4"/>
                  </a:cxn>
                  <a:cxn ang="0">
                    <a:pos x="32" y="6"/>
                  </a:cxn>
                  <a:cxn ang="0">
                    <a:pos x="30" y="8"/>
                  </a:cxn>
                  <a:cxn ang="0">
                    <a:pos x="30" y="12"/>
                  </a:cxn>
                  <a:cxn ang="0">
                    <a:pos x="26" y="16"/>
                  </a:cxn>
                  <a:cxn ang="0">
                    <a:pos x="26" y="16"/>
                  </a:cxn>
                  <a:cxn ang="0">
                    <a:pos x="22" y="20"/>
                  </a:cxn>
                  <a:cxn ang="0">
                    <a:pos x="16" y="20"/>
                  </a:cxn>
                  <a:cxn ang="0">
                    <a:pos x="12" y="18"/>
                  </a:cxn>
                  <a:cxn ang="0">
                    <a:pos x="8" y="20"/>
                  </a:cxn>
                  <a:cxn ang="0">
                    <a:pos x="6" y="18"/>
                  </a:cxn>
                  <a:cxn ang="0">
                    <a:pos x="4" y="22"/>
                  </a:cxn>
                  <a:cxn ang="0">
                    <a:pos x="2" y="24"/>
                  </a:cxn>
                  <a:cxn ang="0">
                    <a:pos x="0" y="26"/>
                  </a:cxn>
                  <a:cxn ang="0">
                    <a:pos x="2" y="32"/>
                  </a:cxn>
                  <a:cxn ang="0">
                    <a:pos x="8" y="26"/>
                  </a:cxn>
                  <a:cxn ang="0">
                    <a:pos x="12" y="30"/>
                  </a:cxn>
                  <a:cxn ang="0">
                    <a:pos x="16" y="32"/>
                  </a:cxn>
                  <a:cxn ang="0">
                    <a:pos x="18" y="32"/>
                  </a:cxn>
                  <a:cxn ang="0">
                    <a:pos x="20" y="40"/>
                  </a:cxn>
                  <a:cxn ang="0">
                    <a:pos x="24" y="44"/>
                  </a:cxn>
                  <a:cxn ang="0">
                    <a:pos x="32" y="50"/>
                  </a:cxn>
                  <a:cxn ang="0">
                    <a:pos x="34" y="54"/>
                  </a:cxn>
                  <a:cxn ang="0">
                    <a:pos x="34" y="58"/>
                  </a:cxn>
                  <a:cxn ang="0">
                    <a:pos x="44" y="60"/>
                  </a:cxn>
                  <a:cxn ang="0">
                    <a:pos x="50" y="60"/>
                  </a:cxn>
                  <a:cxn ang="0">
                    <a:pos x="52" y="66"/>
                  </a:cxn>
                  <a:cxn ang="0">
                    <a:pos x="58" y="68"/>
                  </a:cxn>
                  <a:cxn ang="0">
                    <a:pos x="60" y="64"/>
                  </a:cxn>
                  <a:cxn ang="0">
                    <a:pos x="52" y="56"/>
                  </a:cxn>
                  <a:cxn ang="0">
                    <a:pos x="46" y="54"/>
                  </a:cxn>
                  <a:cxn ang="0">
                    <a:pos x="42" y="46"/>
                  </a:cxn>
                  <a:cxn ang="0">
                    <a:pos x="38" y="46"/>
                  </a:cxn>
                  <a:cxn ang="0">
                    <a:pos x="38" y="40"/>
                  </a:cxn>
                  <a:cxn ang="0">
                    <a:pos x="36" y="36"/>
                  </a:cxn>
                  <a:cxn ang="0">
                    <a:pos x="32" y="34"/>
                  </a:cxn>
                  <a:cxn ang="0">
                    <a:pos x="30" y="32"/>
                  </a:cxn>
                  <a:cxn ang="0">
                    <a:pos x="32" y="30"/>
                  </a:cxn>
                  <a:cxn ang="0">
                    <a:pos x="34" y="24"/>
                  </a:cxn>
                  <a:cxn ang="0">
                    <a:pos x="40" y="28"/>
                  </a:cxn>
                  <a:cxn ang="0">
                    <a:pos x="44" y="26"/>
                  </a:cxn>
                  <a:cxn ang="0">
                    <a:pos x="50" y="24"/>
                  </a:cxn>
                  <a:cxn ang="0">
                    <a:pos x="54" y="28"/>
                  </a:cxn>
                  <a:cxn ang="0">
                    <a:pos x="58" y="26"/>
                  </a:cxn>
                  <a:cxn ang="0">
                    <a:pos x="62" y="26"/>
                  </a:cxn>
                  <a:cxn ang="0">
                    <a:pos x="70" y="26"/>
                  </a:cxn>
                  <a:cxn ang="0">
                    <a:pos x="76" y="30"/>
                  </a:cxn>
                  <a:cxn ang="0">
                    <a:pos x="80" y="30"/>
                  </a:cxn>
                </a:cxnLst>
                <a:rect l="0" t="0" r="r" b="b"/>
                <a:pathLst>
                  <a:path w="86" h="68">
                    <a:moveTo>
                      <a:pt x="80" y="30"/>
                    </a:moveTo>
                    <a:lnTo>
                      <a:pt x="82" y="30"/>
                    </a:lnTo>
                    <a:lnTo>
                      <a:pt x="82" y="28"/>
                    </a:lnTo>
                    <a:lnTo>
                      <a:pt x="84" y="28"/>
                    </a:lnTo>
                    <a:lnTo>
                      <a:pt x="86" y="28"/>
                    </a:lnTo>
                    <a:lnTo>
                      <a:pt x="86" y="26"/>
                    </a:lnTo>
                    <a:lnTo>
                      <a:pt x="84" y="24"/>
                    </a:lnTo>
                    <a:lnTo>
                      <a:pt x="82" y="24"/>
                    </a:lnTo>
                    <a:lnTo>
                      <a:pt x="80" y="24"/>
                    </a:lnTo>
                    <a:lnTo>
                      <a:pt x="80" y="22"/>
                    </a:lnTo>
                    <a:lnTo>
                      <a:pt x="82" y="20"/>
                    </a:lnTo>
                    <a:lnTo>
                      <a:pt x="80" y="20"/>
                    </a:lnTo>
                    <a:lnTo>
                      <a:pt x="78" y="18"/>
                    </a:lnTo>
                    <a:lnTo>
                      <a:pt x="78" y="16"/>
                    </a:lnTo>
                    <a:lnTo>
                      <a:pt x="78" y="14"/>
                    </a:lnTo>
                    <a:lnTo>
                      <a:pt x="76" y="12"/>
                    </a:lnTo>
                    <a:lnTo>
                      <a:pt x="76" y="14"/>
                    </a:lnTo>
                    <a:lnTo>
                      <a:pt x="74" y="14"/>
                    </a:lnTo>
                    <a:lnTo>
                      <a:pt x="72" y="14"/>
                    </a:lnTo>
                    <a:lnTo>
                      <a:pt x="68" y="16"/>
                    </a:lnTo>
                    <a:lnTo>
                      <a:pt x="66" y="16"/>
                    </a:lnTo>
                    <a:lnTo>
                      <a:pt x="64" y="16"/>
                    </a:lnTo>
                    <a:lnTo>
                      <a:pt x="64" y="14"/>
                    </a:lnTo>
                    <a:lnTo>
                      <a:pt x="62" y="14"/>
                    </a:lnTo>
                    <a:lnTo>
                      <a:pt x="60" y="14"/>
                    </a:lnTo>
                    <a:lnTo>
                      <a:pt x="58" y="12"/>
                    </a:lnTo>
                    <a:lnTo>
                      <a:pt x="56" y="12"/>
                    </a:lnTo>
                    <a:lnTo>
                      <a:pt x="54" y="10"/>
                    </a:lnTo>
                    <a:lnTo>
                      <a:pt x="52" y="8"/>
                    </a:lnTo>
                    <a:lnTo>
                      <a:pt x="50" y="6"/>
                    </a:lnTo>
                    <a:lnTo>
                      <a:pt x="48" y="4"/>
                    </a:lnTo>
                    <a:lnTo>
                      <a:pt x="46" y="2"/>
                    </a:lnTo>
                    <a:lnTo>
                      <a:pt x="44" y="0"/>
                    </a:lnTo>
                    <a:lnTo>
                      <a:pt x="42" y="0"/>
                    </a:lnTo>
                    <a:lnTo>
                      <a:pt x="40" y="0"/>
                    </a:lnTo>
                    <a:lnTo>
                      <a:pt x="40" y="2"/>
                    </a:lnTo>
                    <a:lnTo>
                      <a:pt x="38" y="4"/>
                    </a:lnTo>
                    <a:lnTo>
                      <a:pt x="36" y="4"/>
                    </a:lnTo>
                    <a:lnTo>
                      <a:pt x="34" y="6"/>
                    </a:lnTo>
                    <a:lnTo>
                      <a:pt x="32" y="6"/>
                    </a:lnTo>
                    <a:lnTo>
                      <a:pt x="30" y="6"/>
                    </a:lnTo>
                    <a:lnTo>
                      <a:pt x="30" y="8"/>
                    </a:lnTo>
                    <a:lnTo>
                      <a:pt x="30" y="10"/>
                    </a:lnTo>
                    <a:lnTo>
                      <a:pt x="30" y="12"/>
                    </a:lnTo>
                    <a:lnTo>
                      <a:pt x="28" y="14"/>
                    </a:lnTo>
                    <a:lnTo>
                      <a:pt x="28" y="16"/>
                    </a:lnTo>
                    <a:lnTo>
                      <a:pt x="26" y="16"/>
                    </a:lnTo>
                    <a:lnTo>
                      <a:pt x="24" y="16"/>
                    </a:lnTo>
                    <a:lnTo>
                      <a:pt x="26" y="16"/>
                    </a:lnTo>
                    <a:lnTo>
                      <a:pt x="26" y="18"/>
                    </a:lnTo>
                    <a:lnTo>
                      <a:pt x="26" y="20"/>
                    </a:lnTo>
                    <a:lnTo>
                      <a:pt x="24" y="20"/>
                    </a:lnTo>
                    <a:lnTo>
                      <a:pt x="22" y="20"/>
                    </a:lnTo>
                    <a:lnTo>
                      <a:pt x="20" y="20"/>
                    </a:lnTo>
                    <a:lnTo>
                      <a:pt x="18" y="20"/>
                    </a:lnTo>
                    <a:lnTo>
                      <a:pt x="16" y="20"/>
                    </a:lnTo>
                    <a:lnTo>
                      <a:pt x="14" y="20"/>
                    </a:lnTo>
                    <a:lnTo>
                      <a:pt x="14" y="18"/>
                    </a:lnTo>
                    <a:lnTo>
                      <a:pt x="12" y="18"/>
                    </a:lnTo>
                    <a:lnTo>
                      <a:pt x="12" y="20"/>
                    </a:lnTo>
                    <a:lnTo>
                      <a:pt x="10" y="20"/>
                    </a:lnTo>
                    <a:lnTo>
                      <a:pt x="8" y="20"/>
                    </a:lnTo>
                    <a:lnTo>
                      <a:pt x="6" y="20"/>
                    </a:lnTo>
                    <a:lnTo>
                      <a:pt x="6" y="18"/>
                    </a:lnTo>
                    <a:lnTo>
                      <a:pt x="4" y="20"/>
                    </a:lnTo>
                    <a:lnTo>
                      <a:pt x="4" y="22"/>
                    </a:lnTo>
                    <a:lnTo>
                      <a:pt x="2" y="22"/>
                    </a:lnTo>
                    <a:lnTo>
                      <a:pt x="2" y="24"/>
                    </a:lnTo>
                    <a:lnTo>
                      <a:pt x="0" y="24"/>
                    </a:lnTo>
                    <a:lnTo>
                      <a:pt x="0" y="26"/>
                    </a:lnTo>
                    <a:lnTo>
                      <a:pt x="0" y="28"/>
                    </a:lnTo>
                    <a:lnTo>
                      <a:pt x="0" y="30"/>
                    </a:lnTo>
                    <a:lnTo>
                      <a:pt x="0" y="32"/>
                    </a:lnTo>
                    <a:lnTo>
                      <a:pt x="2" y="32"/>
                    </a:lnTo>
                    <a:lnTo>
                      <a:pt x="4" y="32"/>
                    </a:lnTo>
                    <a:lnTo>
                      <a:pt x="4" y="30"/>
                    </a:lnTo>
                    <a:lnTo>
                      <a:pt x="6" y="28"/>
                    </a:lnTo>
                    <a:lnTo>
                      <a:pt x="6" y="26"/>
                    </a:lnTo>
                    <a:lnTo>
                      <a:pt x="8" y="26"/>
                    </a:lnTo>
                    <a:lnTo>
                      <a:pt x="10" y="26"/>
                    </a:lnTo>
                    <a:lnTo>
                      <a:pt x="12" y="26"/>
                    </a:lnTo>
                    <a:lnTo>
                      <a:pt x="12" y="28"/>
                    </a:lnTo>
                    <a:lnTo>
                      <a:pt x="12" y="30"/>
                    </a:lnTo>
                    <a:lnTo>
                      <a:pt x="12" y="32"/>
                    </a:lnTo>
                    <a:lnTo>
                      <a:pt x="12" y="34"/>
                    </a:lnTo>
                    <a:lnTo>
                      <a:pt x="14" y="32"/>
                    </a:lnTo>
                    <a:lnTo>
                      <a:pt x="16" y="32"/>
                    </a:lnTo>
                    <a:lnTo>
                      <a:pt x="18" y="32"/>
                    </a:lnTo>
                    <a:lnTo>
                      <a:pt x="20" y="32"/>
                    </a:lnTo>
                    <a:lnTo>
                      <a:pt x="18" y="32"/>
                    </a:lnTo>
                    <a:lnTo>
                      <a:pt x="18" y="34"/>
                    </a:lnTo>
                    <a:lnTo>
                      <a:pt x="18" y="36"/>
                    </a:lnTo>
                    <a:lnTo>
                      <a:pt x="18" y="38"/>
                    </a:lnTo>
                    <a:lnTo>
                      <a:pt x="20" y="38"/>
                    </a:lnTo>
                    <a:lnTo>
                      <a:pt x="20" y="40"/>
                    </a:lnTo>
                    <a:lnTo>
                      <a:pt x="22" y="40"/>
                    </a:lnTo>
                    <a:lnTo>
                      <a:pt x="22" y="42"/>
                    </a:lnTo>
                    <a:lnTo>
                      <a:pt x="24" y="42"/>
                    </a:lnTo>
                    <a:lnTo>
                      <a:pt x="24" y="44"/>
                    </a:lnTo>
                    <a:lnTo>
                      <a:pt x="24" y="46"/>
                    </a:lnTo>
                    <a:lnTo>
                      <a:pt x="26" y="46"/>
                    </a:lnTo>
                    <a:lnTo>
                      <a:pt x="28" y="46"/>
                    </a:lnTo>
                    <a:lnTo>
                      <a:pt x="30" y="48"/>
                    </a:lnTo>
                    <a:lnTo>
                      <a:pt x="32" y="50"/>
                    </a:lnTo>
                    <a:lnTo>
                      <a:pt x="32" y="52"/>
                    </a:lnTo>
                    <a:lnTo>
                      <a:pt x="34" y="52"/>
                    </a:lnTo>
                    <a:lnTo>
                      <a:pt x="34" y="54"/>
                    </a:lnTo>
                    <a:lnTo>
                      <a:pt x="34" y="56"/>
                    </a:lnTo>
                    <a:lnTo>
                      <a:pt x="34" y="58"/>
                    </a:lnTo>
                    <a:lnTo>
                      <a:pt x="38" y="58"/>
                    </a:lnTo>
                    <a:lnTo>
                      <a:pt x="40" y="58"/>
                    </a:lnTo>
                    <a:lnTo>
                      <a:pt x="42" y="58"/>
                    </a:lnTo>
                    <a:lnTo>
                      <a:pt x="44" y="60"/>
                    </a:lnTo>
                    <a:lnTo>
                      <a:pt x="46" y="60"/>
                    </a:lnTo>
                    <a:lnTo>
                      <a:pt x="48" y="60"/>
                    </a:lnTo>
                    <a:lnTo>
                      <a:pt x="50" y="60"/>
                    </a:lnTo>
                    <a:lnTo>
                      <a:pt x="52" y="62"/>
                    </a:lnTo>
                    <a:lnTo>
                      <a:pt x="52" y="64"/>
                    </a:lnTo>
                    <a:lnTo>
                      <a:pt x="52" y="66"/>
                    </a:lnTo>
                    <a:lnTo>
                      <a:pt x="52" y="68"/>
                    </a:lnTo>
                    <a:lnTo>
                      <a:pt x="54" y="68"/>
                    </a:lnTo>
                    <a:lnTo>
                      <a:pt x="56" y="68"/>
                    </a:lnTo>
                    <a:lnTo>
                      <a:pt x="58" y="68"/>
                    </a:lnTo>
                    <a:lnTo>
                      <a:pt x="60" y="66"/>
                    </a:lnTo>
                    <a:lnTo>
                      <a:pt x="60" y="64"/>
                    </a:lnTo>
                    <a:lnTo>
                      <a:pt x="58" y="62"/>
                    </a:lnTo>
                    <a:lnTo>
                      <a:pt x="56" y="60"/>
                    </a:lnTo>
                    <a:lnTo>
                      <a:pt x="52" y="58"/>
                    </a:lnTo>
                    <a:lnTo>
                      <a:pt x="52" y="56"/>
                    </a:lnTo>
                    <a:lnTo>
                      <a:pt x="50" y="56"/>
                    </a:lnTo>
                    <a:lnTo>
                      <a:pt x="48" y="54"/>
                    </a:lnTo>
                    <a:lnTo>
                      <a:pt x="46" y="54"/>
                    </a:lnTo>
                    <a:lnTo>
                      <a:pt x="46" y="50"/>
                    </a:lnTo>
                    <a:lnTo>
                      <a:pt x="44" y="48"/>
                    </a:lnTo>
                    <a:lnTo>
                      <a:pt x="44" y="46"/>
                    </a:lnTo>
                    <a:lnTo>
                      <a:pt x="42" y="46"/>
                    </a:lnTo>
                    <a:lnTo>
                      <a:pt x="40" y="46"/>
                    </a:lnTo>
                    <a:lnTo>
                      <a:pt x="38" y="46"/>
                    </a:lnTo>
                    <a:lnTo>
                      <a:pt x="38" y="44"/>
                    </a:lnTo>
                    <a:lnTo>
                      <a:pt x="40" y="44"/>
                    </a:lnTo>
                    <a:lnTo>
                      <a:pt x="40" y="42"/>
                    </a:lnTo>
                    <a:lnTo>
                      <a:pt x="38" y="40"/>
                    </a:lnTo>
                    <a:lnTo>
                      <a:pt x="36" y="38"/>
                    </a:lnTo>
                    <a:lnTo>
                      <a:pt x="36" y="36"/>
                    </a:lnTo>
                    <a:lnTo>
                      <a:pt x="34" y="34"/>
                    </a:lnTo>
                    <a:lnTo>
                      <a:pt x="32" y="34"/>
                    </a:lnTo>
                    <a:lnTo>
                      <a:pt x="30" y="32"/>
                    </a:lnTo>
                    <a:lnTo>
                      <a:pt x="30" y="30"/>
                    </a:lnTo>
                    <a:lnTo>
                      <a:pt x="32" y="30"/>
                    </a:lnTo>
                    <a:lnTo>
                      <a:pt x="32" y="28"/>
                    </a:lnTo>
                    <a:lnTo>
                      <a:pt x="32" y="26"/>
                    </a:lnTo>
                    <a:lnTo>
                      <a:pt x="34" y="24"/>
                    </a:lnTo>
                    <a:lnTo>
                      <a:pt x="36" y="24"/>
                    </a:lnTo>
                    <a:lnTo>
                      <a:pt x="38" y="26"/>
                    </a:lnTo>
                    <a:lnTo>
                      <a:pt x="40" y="26"/>
                    </a:lnTo>
                    <a:lnTo>
                      <a:pt x="40" y="28"/>
                    </a:lnTo>
                    <a:lnTo>
                      <a:pt x="42" y="26"/>
                    </a:lnTo>
                    <a:lnTo>
                      <a:pt x="44" y="26"/>
                    </a:lnTo>
                    <a:lnTo>
                      <a:pt x="46" y="26"/>
                    </a:lnTo>
                    <a:lnTo>
                      <a:pt x="48" y="26"/>
                    </a:lnTo>
                    <a:lnTo>
                      <a:pt x="50" y="24"/>
                    </a:lnTo>
                    <a:lnTo>
                      <a:pt x="52" y="26"/>
                    </a:lnTo>
                    <a:lnTo>
                      <a:pt x="54" y="26"/>
                    </a:lnTo>
                    <a:lnTo>
                      <a:pt x="54" y="28"/>
                    </a:lnTo>
                    <a:lnTo>
                      <a:pt x="56" y="26"/>
                    </a:lnTo>
                    <a:lnTo>
                      <a:pt x="58" y="26"/>
                    </a:lnTo>
                    <a:lnTo>
                      <a:pt x="60" y="26"/>
                    </a:lnTo>
                    <a:lnTo>
                      <a:pt x="62" y="26"/>
                    </a:lnTo>
                    <a:lnTo>
                      <a:pt x="62" y="28"/>
                    </a:lnTo>
                    <a:lnTo>
                      <a:pt x="64" y="26"/>
                    </a:lnTo>
                    <a:lnTo>
                      <a:pt x="66" y="26"/>
                    </a:lnTo>
                    <a:lnTo>
                      <a:pt x="68" y="26"/>
                    </a:lnTo>
                    <a:lnTo>
                      <a:pt x="70" y="26"/>
                    </a:lnTo>
                    <a:lnTo>
                      <a:pt x="72" y="26"/>
                    </a:lnTo>
                    <a:lnTo>
                      <a:pt x="74" y="28"/>
                    </a:lnTo>
                    <a:lnTo>
                      <a:pt x="76" y="28"/>
                    </a:lnTo>
                    <a:lnTo>
                      <a:pt x="76" y="30"/>
                    </a:lnTo>
                    <a:lnTo>
                      <a:pt x="78" y="32"/>
                    </a:lnTo>
                    <a:lnTo>
                      <a:pt x="80" y="3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2" name="Freeform 125">
                <a:extLst>
                  <a:ext uri="{FF2B5EF4-FFF2-40B4-BE49-F238E27FC236}">
                    <a16:creationId xmlns:a16="http://schemas.microsoft.com/office/drawing/2014/main" id="{FBEDBBAD-1402-4BB4-917B-23F9555368A7}"/>
                  </a:ext>
                </a:extLst>
              </p:cNvPr>
              <p:cNvSpPr>
                <a:spLocks noChangeAspect="1"/>
              </p:cNvSpPr>
              <p:nvPr/>
            </p:nvSpPr>
            <p:spPr bwMode="auto">
              <a:xfrm>
                <a:off x="4840225" y="2630212"/>
                <a:ext cx="164436" cy="94174"/>
              </a:xfrm>
              <a:custGeom>
                <a:avLst/>
                <a:gdLst/>
                <a:ahLst/>
                <a:cxnLst>
                  <a:cxn ang="0">
                    <a:pos x="6" y="16"/>
                  </a:cxn>
                  <a:cxn ang="0">
                    <a:pos x="6" y="18"/>
                  </a:cxn>
                  <a:cxn ang="0">
                    <a:pos x="6" y="20"/>
                  </a:cxn>
                  <a:cxn ang="0">
                    <a:pos x="6" y="22"/>
                  </a:cxn>
                  <a:cxn ang="0">
                    <a:pos x="6" y="26"/>
                  </a:cxn>
                  <a:cxn ang="0">
                    <a:pos x="6" y="30"/>
                  </a:cxn>
                  <a:cxn ang="0">
                    <a:pos x="0" y="30"/>
                  </a:cxn>
                  <a:cxn ang="0">
                    <a:pos x="0" y="32"/>
                  </a:cxn>
                  <a:cxn ang="0">
                    <a:pos x="2" y="34"/>
                  </a:cxn>
                  <a:cxn ang="0">
                    <a:pos x="4" y="38"/>
                  </a:cxn>
                  <a:cxn ang="0">
                    <a:pos x="6" y="38"/>
                  </a:cxn>
                  <a:cxn ang="0">
                    <a:pos x="12" y="42"/>
                  </a:cxn>
                  <a:cxn ang="0">
                    <a:pos x="14" y="46"/>
                  </a:cxn>
                  <a:cxn ang="0">
                    <a:pos x="18" y="50"/>
                  </a:cxn>
                  <a:cxn ang="0">
                    <a:pos x="22" y="52"/>
                  </a:cxn>
                  <a:cxn ang="0">
                    <a:pos x="26" y="52"/>
                  </a:cxn>
                  <a:cxn ang="0">
                    <a:pos x="28" y="54"/>
                  </a:cxn>
                  <a:cxn ang="0">
                    <a:pos x="38" y="52"/>
                  </a:cxn>
                  <a:cxn ang="0">
                    <a:pos x="38" y="50"/>
                  </a:cxn>
                  <a:cxn ang="0">
                    <a:pos x="40" y="50"/>
                  </a:cxn>
                  <a:cxn ang="0">
                    <a:pos x="44" y="50"/>
                  </a:cxn>
                  <a:cxn ang="0">
                    <a:pos x="46" y="50"/>
                  </a:cxn>
                  <a:cxn ang="0">
                    <a:pos x="52" y="46"/>
                  </a:cxn>
                  <a:cxn ang="0">
                    <a:pos x="56" y="44"/>
                  </a:cxn>
                  <a:cxn ang="0">
                    <a:pos x="62" y="46"/>
                  </a:cxn>
                  <a:cxn ang="0">
                    <a:pos x="64" y="46"/>
                  </a:cxn>
                  <a:cxn ang="0">
                    <a:pos x="68" y="46"/>
                  </a:cxn>
                  <a:cxn ang="0">
                    <a:pos x="68" y="42"/>
                  </a:cxn>
                  <a:cxn ang="0">
                    <a:pos x="72" y="44"/>
                  </a:cxn>
                  <a:cxn ang="0">
                    <a:pos x="76" y="42"/>
                  </a:cxn>
                  <a:cxn ang="0">
                    <a:pos x="78" y="36"/>
                  </a:cxn>
                  <a:cxn ang="0">
                    <a:pos x="80" y="34"/>
                  </a:cxn>
                  <a:cxn ang="0">
                    <a:pos x="86" y="28"/>
                  </a:cxn>
                  <a:cxn ang="0">
                    <a:pos x="86" y="24"/>
                  </a:cxn>
                  <a:cxn ang="0">
                    <a:pos x="86" y="20"/>
                  </a:cxn>
                  <a:cxn ang="0">
                    <a:pos x="90" y="16"/>
                  </a:cxn>
                  <a:cxn ang="0">
                    <a:pos x="100" y="12"/>
                  </a:cxn>
                  <a:cxn ang="0">
                    <a:pos x="100" y="10"/>
                  </a:cxn>
                  <a:cxn ang="0">
                    <a:pos x="92" y="8"/>
                  </a:cxn>
                  <a:cxn ang="0">
                    <a:pos x="88" y="4"/>
                  </a:cxn>
                  <a:cxn ang="0">
                    <a:pos x="80" y="4"/>
                  </a:cxn>
                  <a:cxn ang="0">
                    <a:pos x="78" y="4"/>
                  </a:cxn>
                  <a:cxn ang="0">
                    <a:pos x="74" y="0"/>
                  </a:cxn>
                  <a:cxn ang="0">
                    <a:pos x="74" y="4"/>
                  </a:cxn>
                  <a:cxn ang="0">
                    <a:pos x="70" y="4"/>
                  </a:cxn>
                  <a:cxn ang="0">
                    <a:pos x="68" y="0"/>
                  </a:cxn>
                  <a:cxn ang="0">
                    <a:pos x="64" y="0"/>
                  </a:cxn>
                  <a:cxn ang="0">
                    <a:pos x="62" y="2"/>
                  </a:cxn>
                  <a:cxn ang="0">
                    <a:pos x="60" y="6"/>
                  </a:cxn>
                  <a:cxn ang="0">
                    <a:pos x="54" y="8"/>
                  </a:cxn>
                  <a:cxn ang="0">
                    <a:pos x="48" y="10"/>
                  </a:cxn>
                  <a:cxn ang="0">
                    <a:pos x="42" y="10"/>
                  </a:cxn>
                  <a:cxn ang="0">
                    <a:pos x="38" y="10"/>
                  </a:cxn>
                  <a:cxn ang="0">
                    <a:pos x="38" y="14"/>
                  </a:cxn>
                  <a:cxn ang="0">
                    <a:pos x="34" y="16"/>
                  </a:cxn>
                  <a:cxn ang="0">
                    <a:pos x="20" y="16"/>
                  </a:cxn>
                  <a:cxn ang="0">
                    <a:pos x="16" y="12"/>
                  </a:cxn>
                  <a:cxn ang="0">
                    <a:pos x="14" y="14"/>
                  </a:cxn>
                  <a:cxn ang="0">
                    <a:pos x="12" y="14"/>
                  </a:cxn>
                  <a:cxn ang="0">
                    <a:pos x="12" y="16"/>
                  </a:cxn>
                </a:cxnLst>
                <a:rect l="0" t="0" r="r" b="b"/>
                <a:pathLst>
                  <a:path w="100" h="54">
                    <a:moveTo>
                      <a:pt x="12" y="16"/>
                    </a:moveTo>
                    <a:lnTo>
                      <a:pt x="10" y="16"/>
                    </a:lnTo>
                    <a:lnTo>
                      <a:pt x="8" y="16"/>
                    </a:lnTo>
                    <a:lnTo>
                      <a:pt x="6" y="16"/>
                    </a:lnTo>
                    <a:lnTo>
                      <a:pt x="6" y="18"/>
                    </a:lnTo>
                    <a:lnTo>
                      <a:pt x="6" y="20"/>
                    </a:lnTo>
                    <a:lnTo>
                      <a:pt x="8" y="20"/>
                    </a:lnTo>
                    <a:lnTo>
                      <a:pt x="6" y="22"/>
                    </a:lnTo>
                    <a:lnTo>
                      <a:pt x="6" y="24"/>
                    </a:lnTo>
                    <a:lnTo>
                      <a:pt x="6" y="26"/>
                    </a:lnTo>
                    <a:lnTo>
                      <a:pt x="6" y="28"/>
                    </a:lnTo>
                    <a:lnTo>
                      <a:pt x="6" y="30"/>
                    </a:lnTo>
                    <a:lnTo>
                      <a:pt x="4" y="30"/>
                    </a:lnTo>
                    <a:lnTo>
                      <a:pt x="2" y="30"/>
                    </a:lnTo>
                    <a:lnTo>
                      <a:pt x="0" y="30"/>
                    </a:lnTo>
                    <a:lnTo>
                      <a:pt x="0" y="32"/>
                    </a:lnTo>
                    <a:lnTo>
                      <a:pt x="2" y="32"/>
                    </a:lnTo>
                    <a:lnTo>
                      <a:pt x="2" y="34"/>
                    </a:lnTo>
                    <a:lnTo>
                      <a:pt x="2" y="36"/>
                    </a:lnTo>
                    <a:lnTo>
                      <a:pt x="4" y="36"/>
                    </a:lnTo>
                    <a:lnTo>
                      <a:pt x="4" y="38"/>
                    </a:lnTo>
                    <a:lnTo>
                      <a:pt x="6" y="38"/>
                    </a:lnTo>
                    <a:lnTo>
                      <a:pt x="8" y="38"/>
                    </a:lnTo>
                    <a:lnTo>
                      <a:pt x="8" y="40"/>
                    </a:lnTo>
                    <a:lnTo>
                      <a:pt x="10" y="40"/>
                    </a:lnTo>
                    <a:lnTo>
                      <a:pt x="12" y="42"/>
                    </a:lnTo>
                    <a:lnTo>
                      <a:pt x="12" y="44"/>
                    </a:lnTo>
                    <a:lnTo>
                      <a:pt x="14" y="44"/>
                    </a:lnTo>
                    <a:lnTo>
                      <a:pt x="14" y="46"/>
                    </a:lnTo>
                    <a:lnTo>
                      <a:pt x="16" y="48"/>
                    </a:lnTo>
                    <a:lnTo>
                      <a:pt x="18" y="48"/>
                    </a:lnTo>
                    <a:lnTo>
                      <a:pt x="18" y="50"/>
                    </a:lnTo>
                    <a:lnTo>
                      <a:pt x="20" y="50"/>
                    </a:lnTo>
                    <a:lnTo>
                      <a:pt x="22" y="52"/>
                    </a:lnTo>
                    <a:lnTo>
                      <a:pt x="24" y="52"/>
                    </a:lnTo>
                    <a:lnTo>
                      <a:pt x="26" y="52"/>
                    </a:lnTo>
                    <a:lnTo>
                      <a:pt x="28" y="54"/>
                    </a:lnTo>
                    <a:lnTo>
                      <a:pt x="30" y="54"/>
                    </a:lnTo>
                    <a:lnTo>
                      <a:pt x="34" y="54"/>
                    </a:lnTo>
                    <a:lnTo>
                      <a:pt x="36" y="54"/>
                    </a:lnTo>
                    <a:lnTo>
                      <a:pt x="36" y="52"/>
                    </a:lnTo>
                    <a:lnTo>
                      <a:pt x="38" y="52"/>
                    </a:lnTo>
                    <a:lnTo>
                      <a:pt x="38" y="50"/>
                    </a:lnTo>
                    <a:lnTo>
                      <a:pt x="40" y="50"/>
                    </a:lnTo>
                    <a:lnTo>
                      <a:pt x="42" y="50"/>
                    </a:lnTo>
                    <a:lnTo>
                      <a:pt x="44" y="50"/>
                    </a:lnTo>
                    <a:lnTo>
                      <a:pt x="46" y="50"/>
                    </a:lnTo>
                    <a:lnTo>
                      <a:pt x="48" y="50"/>
                    </a:lnTo>
                    <a:lnTo>
                      <a:pt x="48" y="48"/>
                    </a:lnTo>
                    <a:lnTo>
                      <a:pt x="50" y="46"/>
                    </a:lnTo>
                    <a:lnTo>
                      <a:pt x="52" y="46"/>
                    </a:lnTo>
                    <a:lnTo>
                      <a:pt x="52" y="44"/>
                    </a:lnTo>
                    <a:lnTo>
                      <a:pt x="54" y="44"/>
                    </a:lnTo>
                    <a:lnTo>
                      <a:pt x="56" y="44"/>
                    </a:lnTo>
                    <a:lnTo>
                      <a:pt x="58" y="46"/>
                    </a:lnTo>
                    <a:lnTo>
                      <a:pt x="60" y="46"/>
                    </a:lnTo>
                    <a:lnTo>
                      <a:pt x="62" y="46"/>
                    </a:lnTo>
                    <a:lnTo>
                      <a:pt x="62" y="48"/>
                    </a:lnTo>
                    <a:lnTo>
                      <a:pt x="64" y="48"/>
                    </a:lnTo>
                    <a:lnTo>
                      <a:pt x="64" y="46"/>
                    </a:lnTo>
                    <a:lnTo>
                      <a:pt x="66" y="46"/>
                    </a:lnTo>
                    <a:lnTo>
                      <a:pt x="68" y="46"/>
                    </a:lnTo>
                    <a:lnTo>
                      <a:pt x="68" y="44"/>
                    </a:lnTo>
                    <a:lnTo>
                      <a:pt x="68" y="42"/>
                    </a:lnTo>
                    <a:lnTo>
                      <a:pt x="70" y="44"/>
                    </a:lnTo>
                    <a:lnTo>
                      <a:pt x="72" y="44"/>
                    </a:lnTo>
                    <a:lnTo>
                      <a:pt x="74" y="42"/>
                    </a:lnTo>
                    <a:lnTo>
                      <a:pt x="76" y="42"/>
                    </a:lnTo>
                    <a:lnTo>
                      <a:pt x="78" y="40"/>
                    </a:lnTo>
                    <a:lnTo>
                      <a:pt x="78" y="38"/>
                    </a:lnTo>
                    <a:lnTo>
                      <a:pt x="80" y="38"/>
                    </a:lnTo>
                    <a:lnTo>
                      <a:pt x="78" y="36"/>
                    </a:lnTo>
                    <a:lnTo>
                      <a:pt x="80" y="34"/>
                    </a:lnTo>
                    <a:lnTo>
                      <a:pt x="82" y="32"/>
                    </a:lnTo>
                    <a:lnTo>
                      <a:pt x="84" y="30"/>
                    </a:lnTo>
                    <a:lnTo>
                      <a:pt x="86" y="30"/>
                    </a:lnTo>
                    <a:lnTo>
                      <a:pt x="86" y="28"/>
                    </a:lnTo>
                    <a:lnTo>
                      <a:pt x="86" y="26"/>
                    </a:lnTo>
                    <a:lnTo>
                      <a:pt x="86" y="24"/>
                    </a:lnTo>
                    <a:lnTo>
                      <a:pt x="86" y="22"/>
                    </a:lnTo>
                    <a:lnTo>
                      <a:pt x="86" y="20"/>
                    </a:lnTo>
                    <a:lnTo>
                      <a:pt x="86" y="18"/>
                    </a:lnTo>
                    <a:lnTo>
                      <a:pt x="86" y="16"/>
                    </a:lnTo>
                    <a:lnTo>
                      <a:pt x="88" y="16"/>
                    </a:lnTo>
                    <a:lnTo>
                      <a:pt x="90" y="16"/>
                    </a:lnTo>
                    <a:lnTo>
                      <a:pt x="94" y="16"/>
                    </a:lnTo>
                    <a:lnTo>
                      <a:pt x="94" y="14"/>
                    </a:lnTo>
                    <a:lnTo>
                      <a:pt x="96" y="14"/>
                    </a:lnTo>
                    <a:lnTo>
                      <a:pt x="98" y="14"/>
                    </a:lnTo>
                    <a:lnTo>
                      <a:pt x="100" y="12"/>
                    </a:lnTo>
                    <a:lnTo>
                      <a:pt x="100" y="10"/>
                    </a:lnTo>
                    <a:lnTo>
                      <a:pt x="98" y="10"/>
                    </a:lnTo>
                    <a:lnTo>
                      <a:pt x="94" y="8"/>
                    </a:lnTo>
                    <a:lnTo>
                      <a:pt x="92" y="8"/>
                    </a:lnTo>
                    <a:lnTo>
                      <a:pt x="92" y="6"/>
                    </a:lnTo>
                    <a:lnTo>
                      <a:pt x="90" y="6"/>
                    </a:lnTo>
                    <a:lnTo>
                      <a:pt x="88" y="4"/>
                    </a:lnTo>
                    <a:lnTo>
                      <a:pt x="86" y="2"/>
                    </a:lnTo>
                    <a:lnTo>
                      <a:pt x="82" y="4"/>
                    </a:lnTo>
                    <a:lnTo>
                      <a:pt x="80" y="4"/>
                    </a:lnTo>
                    <a:lnTo>
                      <a:pt x="78" y="4"/>
                    </a:lnTo>
                    <a:lnTo>
                      <a:pt x="76" y="2"/>
                    </a:lnTo>
                    <a:lnTo>
                      <a:pt x="76" y="0"/>
                    </a:lnTo>
                    <a:lnTo>
                      <a:pt x="74" y="0"/>
                    </a:lnTo>
                    <a:lnTo>
                      <a:pt x="74" y="2"/>
                    </a:lnTo>
                    <a:lnTo>
                      <a:pt x="74" y="4"/>
                    </a:lnTo>
                    <a:lnTo>
                      <a:pt x="72" y="4"/>
                    </a:lnTo>
                    <a:lnTo>
                      <a:pt x="70" y="4"/>
                    </a:lnTo>
                    <a:lnTo>
                      <a:pt x="70" y="2"/>
                    </a:lnTo>
                    <a:lnTo>
                      <a:pt x="68" y="2"/>
                    </a:lnTo>
                    <a:lnTo>
                      <a:pt x="68" y="0"/>
                    </a:lnTo>
                    <a:lnTo>
                      <a:pt x="66" y="0"/>
                    </a:lnTo>
                    <a:lnTo>
                      <a:pt x="64" y="0"/>
                    </a:lnTo>
                    <a:lnTo>
                      <a:pt x="62" y="0"/>
                    </a:lnTo>
                    <a:lnTo>
                      <a:pt x="62" y="2"/>
                    </a:lnTo>
                    <a:lnTo>
                      <a:pt x="62" y="4"/>
                    </a:lnTo>
                    <a:lnTo>
                      <a:pt x="60" y="6"/>
                    </a:lnTo>
                    <a:lnTo>
                      <a:pt x="60" y="8"/>
                    </a:lnTo>
                    <a:lnTo>
                      <a:pt x="58" y="8"/>
                    </a:lnTo>
                    <a:lnTo>
                      <a:pt x="56" y="8"/>
                    </a:lnTo>
                    <a:lnTo>
                      <a:pt x="54" y="8"/>
                    </a:lnTo>
                    <a:lnTo>
                      <a:pt x="52" y="8"/>
                    </a:lnTo>
                    <a:lnTo>
                      <a:pt x="50" y="8"/>
                    </a:lnTo>
                    <a:lnTo>
                      <a:pt x="50" y="10"/>
                    </a:lnTo>
                    <a:lnTo>
                      <a:pt x="48" y="10"/>
                    </a:lnTo>
                    <a:lnTo>
                      <a:pt x="48" y="12"/>
                    </a:lnTo>
                    <a:lnTo>
                      <a:pt x="44" y="10"/>
                    </a:lnTo>
                    <a:lnTo>
                      <a:pt x="42" y="10"/>
                    </a:lnTo>
                    <a:lnTo>
                      <a:pt x="40" y="10"/>
                    </a:lnTo>
                    <a:lnTo>
                      <a:pt x="38" y="10"/>
                    </a:lnTo>
                    <a:lnTo>
                      <a:pt x="38" y="12"/>
                    </a:lnTo>
                    <a:lnTo>
                      <a:pt x="38" y="14"/>
                    </a:lnTo>
                    <a:lnTo>
                      <a:pt x="38" y="16"/>
                    </a:lnTo>
                    <a:lnTo>
                      <a:pt x="36" y="16"/>
                    </a:lnTo>
                    <a:lnTo>
                      <a:pt x="34" y="16"/>
                    </a:lnTo>
                    <a:lnTo>
                      <a:pt x="32" y="16"/>
                    </a:lnTo>
                    <a:lnTo>
                      <a:pt x="30" y="16"/>
                    </a:lnTo>
                    <a:lnTo>
                      <a:pt x="28" y="16"/>
                    </a:lnTo>
                    <a:lnTo>
                      <a:pt x="22" y="16"/>
                    </a:lnTo>
                    <a:lnTo>
                      <a:pt x="20" y="16"/>
                    </a:lnTo>
                    <a:lnTo>
                      <a:pt x="18" y="16"/>
                    </a:lnTo>
                    <a:lnTo>
                      <a:pt x="18" y="14"/>
                    </a:lnTo>
                    <a:lnTo>
                      <a:pt x="16" y="14"/>
                    </a:lnTo>
                    <a:lnTo>
                      <a:pt x="16" y="12"/>
                    </a:lnTo>
                    <a:lnTo>
                      <a:pt x="14" y="12"/>
                    </a:lnTo>
                    <a:lnTo>
                      <a:pt x="14" y="14"/>
                    </a:lnTo>
                    <a:lnTo>
                      <a:pt x="12" y="14"/>
                    </a:lnTo>
                    <a:lnTo>
                      <a:pt x="12" y="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3" name="Freeform 126">
                <a:extLst>
                  <a:ext uri="{FF2B5EF4-FFF2-40B4-BE49-F238E27FC236}">
                    <a16:creationId xmlns:a16="http://schemas.microsoft.com/office/drawing/2014/main" id="{CB809633-8A7D-421D-8406-4AE24ED7252A}"/>
                  </a:ext>
                </a:extLst>
              </p:cNvPr>
              <p:cNvSpPr>
                <a:spLocks noChangeAspect="1"/>
              </p:cNvSpPr>
              <p:nvPr/>
            </p:nvSpPr>
            <p:spPr bwMode="auto">
              <a:xfrm>
                <a:off x="4586994" y="2654627"/>
                <a:ext cx="118394" cy="69759"/>
              </a:xfrm>
              <a:custGeom>
                <a:avLst/>
                <a:gdLst/>
                <a:ahLst/>
                <a:cxnLst>
                  <a:cxn ang="0">
                    <a:pos x="30" y="6"/>
                  </a:cxn>
                  <a:cxn ang="0">
                    <a:pos x="26" y="6"/>
                  </a:cxn>
                  <a:cxn ang="0">
                    <a:pos x="24" y="6"/>
                  </a:cxn>
                  <a:cxn ang="0">
                    <a:pos x="24" y="10"/>
                  </a:cxn>
                  <a:cxn ang="0">
                    <a:pos x="20" y="6"/>
                  </a:cxn>
                  <a:cxn ang="0">
                    <a:pos x="18" y="10"/>
                  </a:cxn>
                  <a:cxn ang="0">
                    <a:pos x="16" y="12"/>
                  </a:cxn>
                  <a:cxn ang="0">
                    <a:pos x="10" y="16"/>
                  </a:cxn>
                  <a:cxn ang="0">
                    <a:pos x="10" y="18"/>
                  </a:cxn>
                  <a:cxn ang="0">
                    <a:pos x="4" y="24"/>
                  </a:cxn>
                  <a:cxn ang="0">
                    <a:pos x="2" y="26"/>
                  </a:cxn>
                  <a:cxn ang="0">
                    <a:pos x="2" y="28"/>
                  </a:cxn>
                  <a:cxn ang="0">
                    <a:pos x="0" y="32"/>
                  </a:cxn>
                  <a:cxn ang="0">
                    <a:pos x="4" y="30"/>
                  </a:cxn>
                  <a:cxn ang="0">
                    <a:pos x="10" y="26"/>
                  </a:cxn>
                  <a:cxn ang="0">
                    <a:pos x="14" y="30"/>
                  </a:cxn>
                  <a:cxn ang="0">
                    <a:pos x="14" y="34"/>
                  </a:cxn>
                  <a:cxn ang="0">
                    <a:pos x="16" y="38"/>
                  </a:cxn>
                  <a:cxn ang="0">
                    <a:pos x="20" y="38"/>
                  </a:cxn>
                  <a:cxn ang="0">
                    <a:pos x="24" y="34"/>
                  </a:cxn>
                  <a:cxn ang="0">
                    <a:pos x="28" y="38"/>
                  </a:cxn>
                  <a:cxn ang="0">
                    <a:pos x="34" y="32"/>
                  </a:cxn>
                  <a:cxn ang="0">
                    <a:pos x="34" y="30"/>
                  </a:cxn>
                  <a:cxn ang="0">
                    <a:pos x="38" y="28"/>
                  </a:cxn>
                  <a:cxn ang="0">
                    <a:pos x="40" y="32"/>
                  </a:cxn>
                  <a:cxn ang="0">
                    <a:pos x="42" y="34"/>
                  </a:cxn>
                  <a:cxn ang="0">
                    <a:pos x="48" y="38"/>
                  </a:cxn>
                  <a:cxn ang="0">
                    <a:pos x="48" y="36"/>
                  </a:cxn>
                  <a:cxn ang="0">
                    <a:pos x="48" y="34"/>
                  </a:cxn>
                  <a:cxn ang="0">
                    <a:pos x="50" y="30"/>
                  </a:cxn>
                  <a:cxn ang="0">
                    <a:pos x="52" y="26"/>
                  </a:cxn>
                  <a:cxn ang="0">
                    <a:pos x="54" y="30"/>
                  </a:cxn>
                  <a:cxn ang="0">
                    <a:pos x="58" y="30"/>
                  </a:cxn>
                  <a:cxn ang="0">
                    <a:pos x="62" y="30"/>
                  </a:cxn>
                  <a:cxn ang="0">
                    <a:pos x="64" y="30"/>
                  </a:cxn>
                  <a:cxn ang="0">
                    <a:pos x="64" y="28"/>
                  </a:cxn>
                  <a:cxn ang="0">
                    <a:pos x="64" y="24"/>
                  </a:cxn>
                  <a:cxn ang="0">
                    <a:pos x="68" y="24"/>
                  </a:cxn>
                  <a:cxn ang="0">
                    <a:pos x="70" y="20"/>
                  </a:cxn>
                  <a:cxn ang="0">
                    <a:pos x="72" y="20"/>
                  </a:cxn>
                  <a:cxn ang="0">
                    <a:pos x="68" y="16"/>
                  </a:cxn>
                  <a:cxn ang="0">
                    <a:pos x="64" y="20"/>
                  </a:cxn>
                  <a:cxn ang="0">
                    <a:pos x="60" y="20"/>
                  </a:cxn>
                  <a:cxn ang="0">
                    <a:pos x="58" y="16"/>
                  </a:cxn>
                  <a:cxn ang="0">
                    <a:pos x="56" y="16"/>
                  </a:cxn>
                  <a:cxn ang="0">
                    <a:pos x="52" y="14"/>
                  </a:cxn>
                  <a:cxn ang="0">
                    <a:pos x="56" y="10"/>
                  </a:cxn>
                  <a:cxn ang="0">
                    <a:pos x="56" y="6"/>
                  </a:cxn>
                  <a:cxn ang="0">
                    <a:pos x="54" y="6"/>
                  </a:cxn>
                  <a:cxn ang="0">
                    <a:pos x="52" y="4"/>
                  </a:cxn>
                  <a:cxn ang="0">
                    <a:pos x="48" y="2"/>
                  </a:cxn>
                  <a:cxn ang="0">
                    <a:pos x="46" y="2"/>
                  </a:cxn>
                  <a:cxn ang="0">
                    <a:pos x="42" y="0"/>
                  </a:cxn>
                  <a:cxn ang="0">
                    <a:pos x="38" y="2"/>
                  </a:cxn>
                  <a:cxn ang="0">
                    <a:pos x="38" y="4"/>
                  </a:cxn>
                  <a:cxn ang="0">
                    <a:pos x="34" y="6"/>
                  </a:cxn>
                </a:cxnLst>
                <a:rect l="0" t="0" r="r" b="b"/>
                <a:pathLst>
                  <a:path w="72" h="40">
                    <a:moveTo>
                      <a:pt x="34" y="6"/>
                    </a:moveTo>
                    <a:lnTo>
                      <a:pt x="32" y="6"/>
                    </a:lnTo>
                    <a:lnTo>
                      <a:pt x="30" y="6"/>
                    </a:lnTo>
                    <a:lnTo>
                      <a:pt x="28" y="6"/>
                    </a:lnTo>
                    <a:lnTo>
                      <a:pt x="26" y="6"/>
                    </a:lnTo>
                    <a:lnTo>
                      <a:pt x="24" y="6"/>
                    </a:lnTo>
                    <a:lnTo>
                      <a:pt x="24" y="8"/>
                    </a:lnTo>
                    <a:lnTo>
                      <a:pt x="24" y="10"/>
                    </a:lnTo>
                    <a:lnTo>
                      <a:pt x="22" y="8"/>
                    </a:lnTo>
                    <a:lnTo>
                      <a:pt x="20" y="8"/>
                    </a:lnTo>
                    <a:lnTo>
                      <a:pt x="20" y="6"/>
                    </a:lnTo>
                    <a:lnTo>
                      <a:pt x="18" y="6"/>
                    </a:lnTo>
                    <a:lnTo>
                      <a:pt x="18" y="8"/>
                    </a:lnTo>
                    <a:lnTo>
                      <a:pt x="18" y="10"/>
                    </a:lnTo>
                    <a:lnTo>
                      <a:pt x="16" y="10"/>
                    </a:lnTo>
                    <a:lnTo>
                      <a:pt x="16" y="12"/>
                    </a:lnTo>
                    <a:lnTo>
                      <a:pt x="14" y="14"/>
                    </a:lnTo>
                    <a:lnTo>
                      <a:pt x="12" y="16"/>
                    </a:lnTo>
                    <a:lnTo>
                      <a:pt x="10" y="16"/>
                    </a:lnTo>
                    <a:lnTo>
                      <a:pt x="8" y="16"/>
                    </a:lnTo>
                    <a:lnTo>
                      <a:pt x="10" y="18"/>
                    </a:lnTo>
                    <a:lnTo>
                      <a:pt x="8" y="18"/>
                    </a:lnTo>
                    <a:lnTo>
                      <a:pt x="8" y="20"/>
                    </a:lnTo>
                    <a:lnTo>
                      <a:pt x="6" y="22"/>
                    </a:lnTo>
                    <a:lnTo>
                      <a:pt x="4" y="24"/>
                    </a:lnTo>
                    <a:lnTo>
                      <a:pt x="2" y="24"/>
                    </a:lnTo>
                    <a:lnTo>
                      <a:pt x="2" y="26"/>
                    </a:lnTo>
                    <a:lnTo>
                      <a:pt x="0" y="26"/>
                    </a:lnTo>
                    <a:lnTo>
                      <a:pt x="2" y="26"/>
                    </a:lnTo>
                    <a:lnTo>
                      <a:pt x="2" y="28"/>
                    </a:lnTo>
                    <a:lnTo>
                      <a:pt x="4" y="28"/>
                    </a:lnTo>
                    <a:lnTo>
                      <a:pt x="2" y="28"/>
                    </a:lnTo>
                    <a:lnTo>
                      <a:pt x="2" y="30"/>
                    </a:lnTo>
                    <a:lnTo>
                      <a:pt x="0" y="32"/>
                    </a:lnTo>
                    <a:lnTo>
                      <a:pt x="2" y="32"/>
                    </a:lnTo>
                    <a:lnTo>
                      <a:pt x="4" y="32"/>
                    </a:lnTo>
                    <a:lnTo>
                      <a:pt x="4" y="30"/>
                    </a:lnTo>
                    <a:lnTo>
                      <a:pt x="6" y="28"/>
                    </a:lnTo>
                    <a:lnTo>
                      <a:pt x="8" y="26"/>
                    </a:lnTo>
                    <a:lnTo>
                      <a:pt x="10" y="26"/>
                    </a:lnTo>
                    <a:lnTo>
                      <a:pt x="12" y="26"/>
                    </a:lnTo>
                    <a:lnTo>
                      <a:pt x="14" y="26"/>
                    </a:lnTo>
                    <a:lnTo>
                      <a:pt x="14" y="30"/>
                    </a:lnTo>
                    <a:lnTo>
                      <a:pt x="14" y="32"/>
                    </a:lnTo>
                    <a:lnTo>
                      <a:pt x="14" y="34"/>
                    </a:lnTo>
                    <a:lnTo>
                      <a:pt x="14" y="36"/>
                    </a:lnTo>
                    <a:lnTo>
                      <a:pt x="16" y="36"/>
                    </a:lnTo>
                    <a:lnTo>
                      <a:pt x="16" y="38"/>
                    </a:lnTo>
                    <a:lnTo>
                      <a:pt x="18" y="38"/>
                    </a:lnTo>
                    <a:lnTo>
                      <a:pt x="20" y="38"/>
                    </a:lnTo>
                    <a:lnTo>
                      <a:pt x="20" y="36"/>
                    </a:lnTo>
                    <a:lnTo>
                      <a:pt x="22" y="36"/>
                    </a:lnTo>
                    <a:lnTo>
                      <a:pt x="24" y="36"/>
                    </a:lnTo>
                    <a:lnTo>
                      <a:pt x="24" y="34"/>
                    </a:lnTo>
                    <a:lnTo>
                      <a:pt x="24" y="36"/>
                    </a:lnTo>
                    <a:lnTo>
                      <a:pt x="26" y="38"/>
                    </a:lnTo>
                    <a:lnTo>
                      <a:pt x="28" y="38"/>
                    </a:lnTo>
                    <a:lnTo>
                      <a:pt x="30" y="38"/>
                    </a:lnTo>
                    <a:lnTo>
                      <a:pt x="30" y="36"/>
                    </a:lnTo>
                    <a:lnTo>
                      <a:pt x="32" y="36"/>
                    </a:lnTo>
                    <a:lnTo>
                      <a:pt x="32" y="34"/>
                    </a:lnTo>
                    <a:lnTo>
                      <a:pt x="34" y="32"/>
                    </a:lnTo>
                    <a:lnTo>
                      <a:pt x="34" y="30"/>
                    </a:lnTo>
                    <a:lnTo>
                      <a:pt x="34" y="28"/>
                    </a:lnTo>
                    <a:lnTo>
                      <a:pt x="36" y="28"/>
                    </a:lnTo>
                    <a:lnTo>
                      <a:pt x="38" y="26"/>
                    </a:lnTo>
                    <a:lnTo>
                      <a:pt x="38" y="28"/>
                    </a:lnTo>
                    <a:lnTo>
                      <a:pt x="40" y="30"/>
                    </a:lnTo>
                    <a:lnTo>
                      <a:pt x="40" y="32"/>
                    </a:lnTo>
                    <a:lnTo>
                      <a:pt x="42" y="32"/>
                    </a:lnTo>
                    <a:lnTo>
                      <a:pt x="42" y="34"/>
                    </a:lnTo>
                    <a:lnTo>
                      <a:pt x="44" y="36"/>
                    </a:lnTo>
                    <a:lnTo>
                      <a:pt x="46" y="36"/>
                    </a:lnTo>
                    <a:lnTo>
                      <a:pt x="46" y="38"/>
                    </a:lnTo>
                    <a:lnTo>
                      <a:pt x="48" y="38"/>
                    </a:lnTo>
                    <a:lnTo>
                      <a:pt x="48" y="40"/>
                    </a:lnTo>
                    <a:lnTo>
                      <a:pt x="48" y="38"/>
                    </a:lnTo>
                    <a:lnTo>
                      <a:pt x="48" y="36"/>
                    </a:lnTo>
                    <a:lnTo>
                      <a:pt x="48" y="34"/>
                    </a:lnTo>
                    <a:lnTo>
                      <a:pt x="48" y="32"/>
                    </a:lnTo>
                    <a:lnTo>
                      <a:pt x="50" y="32"/>
                    </a:lnTo>
                    <a:lnTo>
                      <a:pt x="50" y="30"/>
                    </a:lnTo>
                    <a:lnTo>
                      <a:pt x="50" y="28"/>
                    </a:lnTo>
                    <a:lnTo>
                      <a:pt x="52" y="26"/>
                    </a:lnTo>
                    <a:lnTo>
                      <a:pt x="52" y="28"/>
                    </a:lnTo>
                    <a:lnTo>
                      <a:pt x="54" y="28"/>
                    </a:lnTo>
                    <a:lnTo>
                      <a:pt x="54" y="30"/>
                    </a:lnTo>
                    <a:lnTo>
                      <a:pt x="56" y="30"/>
                    </a:lnTo>
                    <a:lnTo>
                      <a:pt x="58" y="30"/>
                    </a:lnTo>
                    <a:lnTo>
                      <a:pt x="58" y="28"/>
                    </a:lnTo>
                    <a:lnTo>
                      <a:pt x="60" y="28"/>
                    </a:lnTo>
                    <a:lnTo>
                      <a:pt x="60" y="30"/>
                    </a:lnTo>
                    <a:lnTo>
                      <a:pt x="62" y="30"/>
                    </a:lnTo>
                    <a:lnTo>
                      <a:pt x="64" y="30"/>
                    </a:lnTo>
                    <a:lnTo>
                      <a:pt x="66" y="28"/>
                    </a:lnTo>
                    <a:lnTo>
                      <a:pt x="64" y="28"/>
                    </a:lnTo>
                    <a:lnTo>
                      <a:pt x="62" y="26"/>
                    </a:lnTo>
                    <a:lnTo>
                      <a:pt x="62" y="24"/>
                    </a:lnTo>
                    <a:lnTo>
                      <a:pt x="64" y="24"/>
                    </a:lnTo>
                    <a:lnTo>
                      <a:pt x="66" y="24"/>
                    </a:lnTo>
                    <a:lnTo>
                      <a:pt x="68" y="24"/>
                    </a:lnTo>
                    <a:lnTo>
                      <a:pt x="70" y="22"/>
                    </a:lnTo>
                    <a:lnTo>
                      <a:pt x="70" y="20"/>
                    </a:lnTo>
                    <a:lnTo>
                      <a:pt x="72" y="20"/>
                    </a:lnTo>
                    <a:lnTo>
                      <a:pt x="70" y="18"/>
                    </a:lnTo>
                    <a:lnTo>
                      <a:pt x="70" y="16"/>
                    </a:lnTo>
                    <a:lnTo>
                      <a:pt x="68" y="16"/>
                    </a:lnTo>
                    <a:lnTo>
                      <a:pt x="66" y="16"/>
                    </a:lnTo>
                    <a:lnTo>
                      <a:pt x="64" y="16"/>
                    </a:lnTo>
                    <a:lnTo>
                      <a:pt x="64" y="18"/>
                    </a:lnTo>
                    <a:lnTo>
                      <a:pt x="64" y="20"/>
                    </a:lnTo>
                    <a:lnTo>
                      <a:pt x="62" y="20"/>
                    </a:lnTo>
                    <a:lnTo>
                      <a:pt x="60" y="20"/>
                    </a:lnTo>
                    <a:lnTo>
                      <a:pt x="60" y="18"/>
                    </a:lnTo>
                    <a:lnTo>
                      <a:pt x="60" y="16"/>
                    </a:lnTo>
                    <a:lnTo>
                      <a:pt x="58" y="16"/>
                    </a:lnTo>
                    <a:lnTo>
                      <a:pt x="56" y="16"/>
                    </a:lnTo>
                    <a:lnTo>
                      <a:pt x="54" y="16"/>
                    </a:lnTo>
                    <a:lnTo>
                      <a:pt x="52" y="16"/>
                    </a:lnTo>
                    <a:lnTo>
                      <a:pt x="52" y="14"/>
                    </a:lnTo>
                    <a:lnTo>
                      <a:pt x="52" y="12"/>
                    </a:lnTo>
                    <a:lnTo>
                      <a:pt x="54" y="12"/>
                    </a:lnTo>
                    <a:lnTo>
                      <a:pt x="56" y="10"/>
                    </a:lnTo>
                    <a:lnTo>
                      <a:pt x="56" y="8"/>
                    </a:lnTo>
                    <a:lnTo>
                      <a:pt x="56" y="6"/>
                    </a:lnTo>
                    <a:lnTo>
                      <a:pt x="54" y="6"/>
                    </a:lnTo>
                    <a:lnTo>
                      <a:pt x="52" y="4"/>
                    </a:lnTo>
                    <a:lnTo>
                      <a:pt x="50" y="4"/>
                    </a:lnTo>
                    <a:lnTo>
                      <a:pt x="50" y="2"/>
                    </a:lnTo>
                    <a:lnTo>
                      <a:pt x="48" y="2"/>
                    </a:lnTo>
                    <a:lnTo>
                      <a:pt x="46" y="2"/>
                    </a:lnTo>
                    <a:lnTo>
                      <a:pt x="44" y="2"/>
                    </a:lnTo>
                    <a:lnTo>
                      <a:pt x="44" y="0"/>
                    </a:lnTo>
                    <a:lnTo>
                      <a:pt x="42" y="0"/>
                    </a:lnTo>
                    <a:lnTo>
                      <a:pt x="40" y="0"/>
                    </a:lnTo>
                    <a:lnTo>
                      <a:pt x="38" y="0"/>
                    </a:lnTo>
                    <a:lnTo>
                      <a:pt x="38" y="2"/>
                    </a:lnTo>
                    <a:lnTo>
                      <a:pt x="38" y="4"/>
                    </a:lnTo>
                    <a:lnTo>
                      <a:pt x="34" y="6"/>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34" name="Freeform 127">
                <a:extLst>
                  <a:ext uri="{FF2B5EF4-FFF2-40B4-BE49-F238E27FC236}">
                    <a16:creationId xmlns:a16="http://schemas.microsoft.com/office/drawing/2014/main" id="{70A71F9D-AA8C-4FC2-BC77-7045FF1FF3AD}"/>
                  </a:ext>
                </a:extLst>
              </p:cNvPr>
              <p:cNvSpPr>
                <a:spLocks noChangeAspect="1"/>
              </p:cNvSpPr>
              <p:nvPr/>
            </p:nvSpPr>
            <p:spPr bwMode="auto">
              <a:xfrm>
                <a:off x="4639613" y="2876111"/>
                <a:ext cx="46042" cy="73247"/>
              </a:xfrm>
              <a:custGeom>
                <a:avLst/>
                <a:gdLst/>
                <a:ahLst/>
                <a:cxnLst>
                  <a:cxn ang="0">
                    <a:pos x="18" y="0"/>
                  </a:cxn>
                  <a:cxn ang="0">
                    <a:pos x="16" y="2"/>
                  </a:cxn>
                  <a:cxn ang="0">
                    <a:pos x="12" y="4"/>
                  </a:cxn>
                  <a:cxn ang="0">
                    <a:pos x="10" y="6"/>
                  </a:cxn>
                  <a:cxn ang="0">
                    <a:pos x="8" y="6"/>
                  </a:cxn>
                  <a:cxn ang="0">
                    <a:pos x="4" y="4"/>
                  </a:cxn>
                  <a:cxn ang="0">
                    <a:pos x="2" y="2"/>
                  </a:cxn>
                  <a:cxn ang="0">
                    <a:pos x="2" y="2"/>
                  </a:cxn>
                  <a:cxn ang="0">
                    <a:pos x="0" y="4"/>
                  </a:cxn>
                  <a:cxn ang="0">
                    <a:pos x="0" y="6"/>
                  </a:cxn>
                  <a:cxn ang="0">
                    <a:pos x="0" y="6"/>
                  </a:cxn>
                  <a:cxn ang="0">
                    <a:pos x="2" y="6"/>
                  </a:cxn>
                  <a:cxn ang="0">
                    <a:pos x="4" y="8"/>
                  </a:cxn>
                  <a:cxn ang="0">
                    <a:pos x="4" y="12"/>
                  </a:cxn>
                  <a:cxn ang="0">
                    <a:pos x="6" y="14"/>
                  </a:cxn>
                  <a:cxn ang="0">
                    <a:pos x="6" y="20"/>
                  </a:cxn>
                  <a:cxn ang="0">
                    <a:pos x="4" y="22"/>
                  </a:cxn>
                  <a:cxn ang="0">
                    <a:pos x="4" y="24"/>
                  </a:cxn>
                  <a:cxn ang="0">
                    <a:pos x="6" y="26"/>
                  </a:cxn>
                  <a:cxn ang="0">
                    <a:pos x="6" y="26"/>
                  </a:cxn>
                  <a:cxn ang="0">
                    <a:pos x="4" y="28"/>
                  </a:cxn>
                  <a:cxn ang="0">
                    <a:pos x="4" y="28"/>
                  </a:cxn>
                  <a:cxn ang="0">
                    <a:pos x="4" y="30"/>
                  </a:cxn>
                  <a:cxn ang="0">
                    <a:pos x="4" y="34"/>
                  </a:cxn>
                  <a:cxn ang="0">
                    <a:pos x="6" y="38"/>
                  </a:cxn>
                  <a:cxn ang="0">
                    <a:pos x="6" y="40"/>
                  </a:cxn>
                  <a:cxn ang="0">
                    <a:pos x="6" y="40"/>
                  </a:cxn>
                  <a:cxn ang="0">
                    <a:pos x="4" y="40"/>
                  </a:cxn>
                  <a:cxn ang="0">
                    <a:pos x="2" y="40"/>
                  </a:cxn>
                  <a:cxn ang="0">
                    <a:pos x="4" y="40"/>
                  </a:cxn>
                  <a:cxn ang="0">
                    <a:pos x="6" y="42"/>
                  </a:cxn>
                  <a:cxn ang="0">
                    <a:pos x="6" y="42"/>
                  </a:cxn>
                  <a:cxn ang="0">
                    <a:pos x="8" y="42"/>
                  </a:cxn>
                  <a:cxn ang="0">
                    <a:pos x="12" y="40"/>
                  </a:cxn>
                  <a:cxn ang="0">
                    <a:pos x="14" y="38"/>
                  </a:cxn>
                  <a:cxn ang="0">
                    <a:pos x="14" y="36"/>
                  </a:cxn>
                  <a:cxn ang="0">
                    <a:pos x="14" y="36"/>
                  </a:cxn>
                  <a:cxn ang="0">
                    <a:pos x="16" y="38"/>
                  </a:cxn>
                  <a:cxn ang="0">
                    <a:pos x="18" y="40"/>
                  </a:cxn>
                  <a:cxn ang="0">
                    <a:pos x="20" y="40"/>
                  </a:cxn>
                  <a:cxn ang="0">
                    <a:pos x="22" y="38"/>
                  </a:cxn>
                  <a:cxn ang="0">
                    <a:pos x="24" y="36"/>
                  </a:cxn>
                  <a:cxn ang="0">
                    <a:pos x="24" y="32"/>
                  </a:cxn>
                  <a:cxn ang="0">
                    <a:pos x="24" y="30"/>
                  </a:cxn>
                  <a:cxn ang="0">
                    <a:pos x="24" y="28"/>
                  </a:cxn>
                  <a:cxn ang="0">
                    <a:pos x="24" y="28"/>
                  </a:cxn>
                  <a:cxn ang="0">
                    <a:pos x="24" y="26"/>
                  </a:cxn>
                  <a:cxn ang="0">
                    <a:pos x="24" y="24"/>
                  </a:cxn>
                  <a:cxn ang="0">
                    <a:pos x="24" y="22"/>
                  </a:cxn>
                  <a:cxn ang="0">
                    <a:pos x="24" y="20"/>
                  </a:cxn>
                  <a:cxn ang="0">
                    <a:pos x="24" y="20"/>
                  </a:cxn>
                  <a:cxn ang="0">
                    <a:pos x="24" y="20"/>
                  </a:cxn>
                  <a:cxn ang="0">
                    <a:pos x="22" y="18"/>
                  </a:cxn>
                  <a:cxn ang="0">
                    <a:pos x="24" y="16"/>
                  </a:cxn>
                  <a:cxn ang="0">
                    <a:pos x="26" y="16"/>
                  </a:cxn>
                  <a:cxn ang="0">
                    <a:pos x="28" y="14"/>
                  </a:cxn>
                  <a:cxn ang="0">
                    <a:pos x="26" y="10"/>
                  </a:cxn>
                  <a:cxn ang="0">
                    <a:pos x="26" y="6"/>
                  </a:cxn>
                  <a:cxn ang="0">
                    <a:pos x="22" y="2"/>
                  </a:cxn>
                  <a:cxn ang="0">
                    <a:pos x="20" y="0"/>
                  </a:cxn>
                  <a:cxn ang="0">
                    <a:pos x="20" y="0"/>
                  </a:cxn>
                </a:cxnLst>
                <a:rect l="0" t="0" r="r" b="b"/>
                <a:pathLst>
                  <a:path w="28" h="42">
                    <a:moveTo>
                      <a:pt x="20" y="0"/>
                    </a:moveTo>
                    <a:lnTo>
                      <a:pt x="18" y="0"/>
                    </a:lnTo>
                    <a:lnTo>
                      <a:pt x="16" y="0"/>
                    </a:lnTo>
                    <a:lnTo>
                      <a:pt x="16" y="2"/>
                    </a:lnTo>
                    <a:lnTo>
                      <a:pt x="14" y="2"/>
                    </a:lnTo>
                    <a:lnTo>
                      <a:pt x="12" y="4"/>
                    </a:lnTo>
                    <a:lnTo>
                      <a:pt x="12" y="6"/>
                    </a:lnTo>
                    <a:lnTo>
                      <a:pt x="10" y="6"/>
                    </a:lnTo>
                    <a:lnTo>
                      <a:pt x="8" y="6"/>
                    </a:lnTo>
                    <a:lnTo>
                      <a:pt x="6" y="6"/>
                    </a:lnTo>
                    <a:lnTo>
                      <a:pt x="4" y="4"/>
                    </a:lnTo>
                    <a:lnTo>
                      <a:pt x="2" y="2"/>
                    </a:lnTo>
                    <a:lnTo>
                      <a:pt x="2" y="4"/>
                    </a:lnTo>
                    <a:lnTo>
                      <a:pt x="0" y="4"/>
                    </a:lnTo>
                    <a:lnTo>
                      <a:pt x="0" y="6"/>
                    </a:lnTo>
                    <a:lnTo>
                      <a:pt x="2" y="6"/>
                    </a:lnTo>
                    <a:lnTo>
                      <a:pt x="2" y="8"/>
                    </a:lnTo>
                    <a:lnTo>
                      <a:pt x="4" y="8"/>
                    </a:lnTo>
                    <a:lnTo>
                      <a:pt x="4" y="10"/>
                    </a:lnTo>
                    <a:lnTo>
                      <a:pt x="4" y="12"/>
                    </a:lnTo>
                    <a:lnTo>
                      <a:pt x="6" y="14"/>
                    </a:lnTo>
                    <a:lnTo>
                      <a:pt x="6" y="16"/>
                    </a:lnTo>
                    <a:lnTo>
                      <a:pt x="6" y="20"/>
                    </a:lnTo>
                    <a:lnTo>
                      <a:pt x="4" y="22"/>
                    </a:lnTo>
                    <a:lnTo>
                      <a:pt x="4" y="24"/>
                    </a:lnTo>
                    <a:lnTo>
                      <a:pt x="6" y="26"/>
                    </a:lnTo>
                    <a:lnTo>
                      <a:pt x="4" y="28"/>
                    </a:lnTo>
                    <a:lnTo>
                      <a:pt x="4" y="30"/>
                    </a:lnTo>
                    <a:lnTo>
                      <a:pt x="4" y="32"/>
                    </a:lnTo>
                    <a:lnTo>
                      <a:pt x="4" y="34"/>
                    </a:lnTo>
                    <a:lnTo>
                      <a:pt x="4" y="36"/>
                    </a:lnTo>
                    <a:lnTo>
                      <a:pt x="6" y="38"/>
                    </a:lnTo>
                    <a:lnTo>
                      <a:pt x="6" y="40"/>
                    </a:lnTo>
                    <a:lnTo>
                      <a:pt x="4" y="40"/>
                    </a:lnTo>
                    <a:lnTo>
                      <a:pt x="2" y="40"/>
                    </a:lnTo>
                    <a:lnTo>
                      <a:pt x="4" y="40"/>
                    </a:lnTo>
                    <a:lnTo>
                      <a:pt x="4" y="42"/>
                    </a:lnTo>
                    <a:lnTo>
                      <a:pt x="6" y="42"/>
                    </a:lnTo>
                    <a:lnTo>
                      <a:pt x="8" y="42"/>
                    </a:lnTo>
                    <a:lnTo>
                      <a:pt x="10" y="42"/>
                    </a:lnTo>
                    <a:lnTo>
                      <a:pt x="12" y="40"/>
                    </a:lnTo>
                    <a:lnTo>
                      <a:pt x="14" y="38"/>
                    </a:lnTo>
                    <a:lnTo>
                      <a:pt x="14" y="36"/>
                    </a:lnTo>
                    <a:lnTo>
                      <a:pt x="16" y="36"/>
                    </a:lnTo>
                    <a:lnTo>
                      <a:pt x="16" y="38"/>
                    </a:lnTo>
                    <a:lnTo>
                      <a:pt x="18" y="40"/>
                    </a:lnTo>
                    <a:lnTo>
                      <a:pt x="20" y="40"/>
                    </a:lnTo>
                    <a:lnTo>
                      <a:pt x="22" y="40"/>
                    </a:lnTo>
                    <a:lnTo>
                      <a:pt x="22" y="38"/>
                    </a:lnTo>
                    <a:lnTo>
                      <a:pt x="24" y="36"/>
                    </a:lnTo>
                    <a:lnTo>
                      <a:pt x="24" y="34"/>
                    </a:lnTo>
                    <a:lnTo>
                      <a:pt x="24" y="32"/>
                    </a:lnTo>
                    <a:lnTo>
                      <a:pt x="24" y="30"/>
                    </a:lnTo>
                    <a:lnTo>
                      <a:pt x="24" y="28"/>
                    </a:lnTo>
                    <a:lnTo>
                      <a:pt x="24" y="26"/>
                    </a:lnTo>
                    <a:lnTo>
                      <a:pt x="24" y="24"/>
                    </a:lnTo>
                    <a:lnTo>
                      <a:pt x="24" y="22"/>
                    </a:lnTo>
                    <a:lnTo>
                      <a:pt x="24" y="20"/>
                    </a:lnTo>
                    <a:lnTo>
                      <a:pt x="24" y="18"/>
                    </a:lnTo>
                    <a:lnTo>
                      <a:pt x="22" y="18"/>
                    </a:lnTo>
                    <a:lnTo>
                      <a:pt x="24" y="16"/>
                    </a:lnTo>
                    <a:lnTo>
                      <a:pt x="26" y="16"/>
                    </a:lnTo>
                    <a:lnTo>
                      <a:pt x="28" y="14"/>
                    </a:lnTo>
                    <a:lnTo>
                      <a:pt x="28" y="12"/>
                    </a:lnTo>
                    <a:lnTo>
                      <a:pt x="26" y="10"/>
                    </a:lnTo>
                    <a:lnTo>
                      <a:pt x="26" y="8"/>
                    </a:lnTo>
                    <a:lnTo>
                      <a:pt x="26" y="6"/>
                    </a:lnTo>
                    <a:lnTo>
                      <a:pt x="24" y="4"/>
                    </a:lnTo>
                    <a:lnTo>
                      <a:pt x="22" y="2"/>
                    </a:lnTo>
                    <a:lnTo>
                      <a:pt x="22" y="0"/>
                    </a:lnTo>
                    <a:lnTo>
                      <a:pt x="20" y="0"/>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35" name="Freeform 128">
                <a:extLst>
                  <a:ext uri="{FF2B5EF4-FFF2-40B4-BE49-F238E27FC236}">
                    <a16:creationId xmlns:a16="http://schemas.microsoft.com/office/drawing/2014/main" id="{6EFD1175-188C-4A7A-B10D-D714108114CA}"/>
                  </a:ext>
                </a:extLst>
              </p:cNvPr>
              <p:cNvSpPr>
                <a:spLocks noChangeAspect="1"/>
              </p:cNvSpPr>
              <p:nvPr/>
            </p:nvSpPr>
            <p:spPr bwMode="auto">
              <a:xfrm>
                <a:off x="4741563" y="2549991"/>
                <a:ext cx="161147" cy="83710"/>
              </a:xfrm>
              <a:custGeom>
                <a:avLst/>
                <a:gdLst/>
                <a:ahLst/>
                <a:cxnLst>
                  <a:cxn ang="0">
                    <a:pos x="94" y="24"/>
                  </a:cxn>
                  <a:cxn ang="0">
                    <a:pos x="92" y="22"/>
                  </a:cxn>
                  <a:cxn ang="0">
                    <a:pos x="86" y="18"/>
                  </a:cxn>
                  <a:cxn ang="0">
                    <a:pos x="84" y="20"/>
                  </a:cxn>
                  <a:cxn ang="0">
                    <a:pos x="78" y="16"/>
                  </a:cxn>
                  <a:cxn ang="0">
                    <a:pos x="76" y="14"/>
                  </a:cxn>
                  <a:cxn ang="0">
                    <a:pos x="72" y="14"/>
                  </a:cxn>
                  <a:cxn ang="0">
                    <a:pos x="68" y="16"/>
                  </a:cxn>
                  <a:cxn ang="0">
                    <a:pos x="62" y="14"/>
                  </a:cxn>
                  <a:cxn ang="0">
                    <a:pos x="60" y="12"/>
                  </a:cxn>
                  <a:cxn ang="0">
                    <a:pos x="60" y="8"/>
                  </a:cxn>
                  <a:cxn ang="0">
                    <a:pos x="58" y="8"/>
                  </a:cxn>
                  <a:cxn ang="0">
                    <a:pos x="54" y="6"/>
                  </a:cxn>
                  <a:cxn ang="0">
                    <a:pos x="48" y="4"/>
                  </a:cxn>
                  <a:cxn ang="0">
                    <a:pos x="44" y="2"/>
                  </a:cxn>
                  <a:cxn ang="0">
                    <a:pos x="40" y="0"/>
                  </a:cxn>
                  <a:cxn ang="0">
                    <a:pos x="38" y="4"/>
                  </a:cxn>
                  <a:cxn ang="0">
                    <a:pos x="32" y="0"/>
                  </a:cxn>
                  <a:cxn ang="0">
                    <a:pos x="28" y="4"/>
                  </a:cxn>
                  <a:cxn ang="0">
                    <a:pos x="26" y="4"/>
                  </a:cxn>
                  <a:cxn ang="0">
                    <a:pos x="22" y="8"/>
                  </a:cxn>
                  <a:cxn ang="0">
                    <a:pos x="18" y="8"/>
                  </a:cxn>
                  <a:cxn ang="0">
                    <a:pos x="14" y="10"/>
                  </a:cxn>
                  <a:cxn ang="0">
                    <a:pos x="12" y="12"/>
                  </a:cxn>
                  <a:cxn ang="0">
                    <a:pos x="10" y="12"/>
                  </a:cxn>
                  <a:cxn ang="0">
                    <a:pos x="6" y="12"/>
                  </a:cxn>
                  <a:cxn ang="0">
                    <a:pos x="4" y="14"/>
                  </a:cxn>
                  <a:cxn ang="0">
                    <a:pos x="0" y="12"/>
                  </a:cxn>
                  <a:cxn ang="0">
                    <a:pos x="0" y="18"/>
                  </a:cxn>
                  <a:cxn ang="0">
                    <a:pos x="2" y="20"/>
                  </a:cxn>
                  <a:cxn ang="0">
                    <a:pos x="4" y="22"/>
                  </a:cxn>
                  <a:cxn ang="0">
                    <a:pos x="4" y="26"/>
                  </a:cxn>
                  <a:cxn ang="0">
                    <a:pos x="6" y="28"/>
                  </a:cxn>
                  <a:cxn ang="0">
                    <a:pos x="8" y="30"/>
                  </a:cxn>
                  <a:cxn ang="0">
                    <a:pos x="10" y="32"/>
                  </a:cxn>
                  <a:cxn ang="0">
                    <a:pos x="14" y="36"/>
                  </a:cxn>
                  <a:cxn ang="0">
                    <a:pos x="16" y="36"/>
                  </a:cxn>
                  <a:cxn ang="0">
                    <a:pos x="18" y="38"/>
                  </a:cxn>
                  <a:cxn ang="0">
                    <a:pos x="24" y="42"/>
                  </a:cxn>
                  <a:cxn ang="0">
                    <a:pos x="28" y="48"/>
                  </a:cxn>
                  <a:cxn ang="0">
                    <a:pos x="36" y="46"/>
                  </a:cxn>
                  <a:cxn ang="0">
                    <a:pos x="38" y="46"/>
                  </a:cxn>
                  <a:cxn ang="0">
                    <a:pos x="40" y="42"/>
                  </a:cxn>
                  <a:cxn ang="0">
                    <a:pos x="42" y="38"/>
                  </a:cxn>
                  <a:cxn ang="0">
                    <a:pos x="48" y="40"/>
                  </a:cxn>
                  <a:cxn ang="0">
                    <a:pos x="52" y="42"/>
                  </a:cxn>
                  <a:cxn ang="0">
                    <a:pos x="54" y="40"/>
                  </a:cxn>
                  <a:cxn ang="0">
                    <a:pos x="58" y="44"/>
                  </a:cxn>
                  <a:cxn ang="0">
                    <a:pos x="60" y="42"/>
                  </a:cxn>
                  <a:cxn ang="0">
                    <a:pos x="70" y="44"/>
                  </a:cxn>
                  <a:cxn ang="0">
                    <a:pos x="74" y="42"/>
                  </a:cxn>
                  <a:cxn ang="0">
                    <a:pos x="78" y="42"/>
                  </a:cxn>
                  <a:cxn ang="0">
                    <a:pos x="88" y="38"/>
                  </a:cxn>
                  <a:cxn ang="0">
                    <a:pos x="90" y="34"/>
                  </a:cxn>
                  <a:cxn ang="0">
                    <a:pos x="92" y="32"/>
                  </a:cxn>
                  <a:cxn ang="0">
                    <a:pos x="98" y="30"/>
                  </a:cxn>
                  <a:cxn ang="0">
                    <a:pos x="96" y="26"/>
                  </a:cxn>
                </a:cxnLst>
                <a:rect l="0" t="0" r="r" b="b"/>
                <a:pathLst>
                  <a:path w="98" h="48">
                    <a:moveTo>
                      <a:pt x="96" y="26"/>
                    </a:moveTo>
                    <a:lnTo>
                      <a:pt x="94" y="26"/>
                    </a:lnTo>
                    <a:lnTo>
                      <a:pt x="94" y="24"/>
                    </a:lnTo>
                    <a:lnTo>
                      <a:pt x="94" y="22"/>
                    </a:lnTo>
                    <a:lnTo>
                      <a:pt x="92" y="22"/>
                    </a:lnTo>
                    <a:lnTo>
                      <a:pt x="90" y="22"/>
                    </a:lnTo>
                    <a:lnTo>
                      <a:pt x="88" y="22"/>
                    </a:lnTo>
                    <a:lnTo>
                      <a:pt x="88" y="20"/>
                    </a:lnTo>
                    <a:lnTo>
                      <a:pt x="86" y="18"/>
                    </a:lnTo>
                    <a:lnTo>
                      <a:pt x="84" y="20"/>
                    </a:lnTo>
                    <a:lnTo>
                      <a:pt x="82" y="18"/>
                    </a:lnTo>
                    <a:lnTo>
                      <a:pt x="80" y="16"/>
                    </a:lnTo>
                    <a:lnTo>
                      <a:pt x="78" y="16"/>
                    </a:lnTo>
                    <a:lnTo>
                      <a:pt x="78" y="14"/>
                    </a:lnTo>
                    <a:lnTo>
                      <a:pt x="76" y="14"/>
                    </a:lnTo>
                    <a:lnTo>
                      <a:pt x="74" y="14"/>
                    </a:lnTo>
                    <a:lnTo>
                      <a:pt x="72" y="14"/>
                    </a:lnTo>
                    <a:lnTo>
                      <a:pt x="70" y="16"/>
                    </a:lnTo>
                    <a:lnTo>
                      <a:pt x="68" y="16"/>
                    </a:lnTo>
                    <a:lnTo>
                      <a:pt x="66" y="16"/>
                    </a:lnTo>
                    <a:lnTo>
                      <a:pt x="64" y="16"/>
                    </a:lnTo>
                    <a:lnTo>
                      <a:pt x="62" y="16"/>
                    </a:lnTo>
                    <a:lnTo>
                      <a:pt x="62" y="14"/>
                    </a:lnTo>
                    <a:lnTo>
                      <a:pt x="62" y="12"/>
                    </a:lnTo>
                    <a:lnTo>
                      <a:pt x="60" y="12"/>
                    </a:lnTo>
                    <a:lnTo>
                      <a:pt x="62" y="10"/>
                    </a:lnTo>
                    <a:lnTo>
                      <a:pt x="60" y="8"/>
                    </a:lnTo>
                    <a:lnTo>
                      <a:pt x="58" y="8"/>
                    </a:lnTo>
                    <a:lnTo>
                      <a:pt x="56" y="8"/>
                    </a:lnTo>
                    <a:lnTo>
                      <a:pt x="54" y="8"/>
                    </a:lnTo>
                    <a:lnTo>
                      <a:pt x="54" y="6"/>
                    </a:lnTo>
                    <a:lnTo>
                      <a:pt x="52" y="6"/>
                    </a:lnTo>
                    <a:lnTo>
                      <a:pt x="50" y="6"/>
                    </a:lnTo>
                    <a:lnTo>
                      <a:pt x="50" y="4"/>
                    </a:lnTo>
                    <a:lnTo>
                      <a:pt x="48" y="4"/>
                    </a:lnTo>
                    <a:lnTo>
                      <a:pt x="46" y="4"/>
                    </a:lnTo>
                    <a:lnTo>
                      <a:pt x="46" y="2"/>
                    </a:lnTo>
                    <a:lnTo>
                      <a:pt x="44" y="2"/>
                    </a:lnTo>
                    <a:lnTo>
                      <a:pt x="42" y="0"/>
                    </a:lnTo>
                    <a:lnTo>
                      <a:pt x="40" y="0"/>
                    </a:lnTo>
                    <a:lnTo>
                      <a:pt x="40" y="2"/>
                    </a:lnTo>
                    <a:lnTo>
                      <a:pt x="38" y="2"/>
                    </a:lnTo>
                    <a:lnTo>
                      <a:pt x="38" y="4"/>
                    </a:lnTo>
                    <a:lnTo>
                      <a:pt x="36" y="4"/>
                    </a:lnTo>
                    <a:lnTo>
                      <a:pt x="34" y="2"/>
                    </a:lnTo>
                    <a:lnTo>
                      <a:pt x="34" y="0"/>
                    </a:lnTo>
                    <a:lnTo>
                      <a:pt x="32" y="0"/>
                    </a:lnTo>
                    <a:lnTo>
                      <a:pt x="30" y="2"/>
                    </a:lnTo>
                    <a:lnTo>
                      <a:pt x="30" y="4"/>
                    </a:lnTo>
                    <a:lnTo>
                      <a:pt x="28" y="4"/>
                    </a:lnTo>
                    <a:lnTo>
                      <a:pt x="26" y="4"/>
                    </a:lnTo>
                    <a:lnTo>
                      <a:pt x="26" y="6"/>
                    </a:lnTo>
                    <a:lnTo>
                      <a:pt x="24" y="6"/>
                    </a:lnTo>
                    <a:lnTo>
                      <a:pt x="24" y="8"/>
                    </a:lnTo>
                    <a:lnTo>
                      <a:pt x="22" y="8"/>
                    </a:lnTo>
                    <a:lnTo>
                      <a:pt x="20" y="8"/>
                    </a:lnTo>
                    <a:lnTo>
                      <a:pt x="18" y="8"/>
                    </a:lnTo>
                    <a:lnTo>
                      <a:pt x="18" y="10"/>
                    </a:lnTo>
                    <a:lnTo>
                      <a:pt x="16" y="10"/>
                    </a:lnTo>
                    <a:lnTo>
                      <a:pt x="14" y="10"/>
                    </a:lnTo>
                    <a:lnTo>
                      <a:pt x="14" y="12"/>
                    </a:lnTo>
                    <a:lnTo>
                      <a:pt x="12" y="12"/>
                    </a:lnTo>
                    <a:lnTo>
                      <a:pt x="10" y="12"/>
                    </a:lnTo>
                    <a:lnTo>
                      <a:pt x="8" y="12"/>
                    </a:lnTo>
                    <a:lnTo>
                      <a:pt x="6" y="12"/>
                    </a:lnTo>
                    <a:lnTo>
                      <a:pt x="4" y="12"/>
                    </a:lnTo>
                    <a:lnTo>
                      <a:pt x="4" y="14"/>
                    </a:lnTo>
                    <a:lnTo>
                      <a:pt x="2" y="14"/>
                    </a:lnTo>
                    <a:lnTo>
                      <a:pt x="0" y="12"/>
                    </a:lnTo>
                    <a:lnTo>
                      <a:pt x="0" y="14"/>
                    </a:lnTo>
                    <a:lnTo>
                      <a:pt x="0" y="16"/>
                    </a:lnTo>
                    <a:lnTo>
                      <a:pt x="0" y="18"/>
                    </a:lnTo>
                    <a:lnTo>
                      <a:pt x="2" y="18"/>
                    </a:lnTo>
                    <a:lnTo>
                      <a:pt x="2" y="20"/>
                    </a:lnTo>
                    <a:lnTo>
                      <a:pt x="4" y="20"/>
                    </a:lnTo>
                    <a:lnTo>
                      <a:pt x="4" y="22"/>
                    </a:lnTo>
                    <a:lnTo>
                      <a:pt x="2" y="24"/>
                    </a:lnTo>
                    <a:lnTo>
                      <a:pt x="4" y="26"/>
                    </a:lnTo>
                    <a:lnTo>
                      <a:pt x="6" y="26"/>
                    </a:lnTo>
                    <a:lnTo>
                      <a:pt x="6" y="28"/>
                    </a:lnTo>
                    <a:lnTo>
                      <a:pt x="6" y="30"/>
                    </a:lnTo>
                    <a:lnTo>
                      <a:pt x="8" y="30"/>
                    </a:lnTo>
                    <a:lnTo>
                      <a:pt x="8" y="32"/>
                    </a:lnTo>
                    <a:lnTo>
                      <a:pt x="10" y="32"/>
                    </a:lnTo>
                    <a:lnTo>
                      <a:pt x="12" y="32"/>
                    </a:lnTo>
                    <a:lnTo>
                      <a:pt x="14" y="32"/>
                    </a:lnTo>
                    <a:lnTo>
                      <a:pt x="14" y="34"/>
                    </a:lnTo>
                    <a:lnTo>
                      <a:pt x="14" y="36"/>
                    </a:lnTo>
                    <a:lnTo>
                      <a:pt x="16" y="36"/>
                    </a:lnTo>
                    <a:lnTo>
                      <a:pt x="18" y="36"/>
                    </a:lnTo>
                    <a:lnTo>
                      <a:pt x="18" y="38"/>
                    </a:lnTo>
                    <a:lnTo>
                      <a:pt x="20" y="38"/>
                    </a:lnTo>
                    <a:lnTo>
                      <a:pt x="22" y="38"/>
                    </a:lnTo>
                    <a:lnTo>
                      <a:pt x="24" y="40"/>
                    </a:lnTo>
                    <a:lnTo>
                      <a:pt x="24" y="42"/>
                    </a:lnTo>
                    <a:lnTo>
                      <a:pt x="26" y="44"/>
                    </a:lnTo>
                    <a:lnTo>
                      <a:pt x="26" y="46"/>
                    </a:lnTo>
                    <a:lnTo>
                      <a:pt x="28" y="46"/>
                    </a:lnTo>
                    <a:lnTo>
                      <a:pt x="28" y="48"/>
                    </a:lnTo>
                    <a:lnTo>
                      <a:pt x="30" y="48"/>
                    </a:lnTo>
                    <a:lnTo>
                      <a:pt x="32" y="48"/>
                    </a:lnTo>
                    <a:lnTo>
                      <a:pt x="32" y="46"/>
                    </a:lnTo>
                    <a:lnTo>
                      <a:pt x="34" y="46"/>
                    </a:lnTo>
                    <a:lnTo>
                      <a:pt x="36" y="46"/>
                    </a:lnTo>
                    <a:lnTo>
                      <a:pt x="38" y="48"/>
                    </a:lnTo>
                    <a:lnTo>
                      <a:pt x="38" y="46"/>
                    </a:lnTo>
                    <a:lnTo>
                      <a:pt x="38" y="44"/>
                    </a:lnTo>
                    <a:lnTo>
                      <a:pt x="38" y="42"/>
                    </a:lnTo>
                    <a:lnTo>
                      <a:pt x="40" y="42"/>
                    </a:lnTo>
                    <a:lnTo>
                      <a:pt x="40" y="40"/>
                    </a:lnTo>
                    <a:lnTo>
                      <a:pt x="42" y="38"/>
                    </a:lnTo>
                    <a:lnTo>
                      <a:pt x="44" y="38"/>
                    </a:lnTo>
                    <a:lnTo>
                      <a:pt x="46" y="38"/>
                    </a:lnTo>
                    <a:lnTo>
                      <a:pt x="48" y="40"/>
                    </a:lnTo>
                    <a:lnTo>
                      <a:pt x="50" y="40"/>
                    </a:lnTo>
                    <a:lnTo>
                      <a:pt x="50" y="42"/>
                    </a:lnTo>
                    <a:lnTo>
                      <a:pt x="52" y="42"/>
                    </a:lnTo>
                    <a:lnTo>
                      <a:pt x="54" y="42"/>
                    </a:lnTo>
                    <a:lnTo>
                      <a:pt x="54" y="40"/>
                    </a:lnTo>
                    <a:lnTo>
                      <a:pt x="56" y="42"/>
                    </a:lnTo>
                    <a:lnTo>
                      <a:pt x="56" y="44"/>
                    </a:lnTo>
                    <a:lnTo>
                      <a:pt x="58" y="44"/>
                    </a:lnTo>
                    <a:lnTo>
                      <a:pt x="60" y="44"/>
                    </a:lnTo>
                    <a:lnTo>
                      <a:pt x="60" y="42"/>
                    </a:lnTo>
                    <a:lnTo>
                      <a:pt x="62" y="42"/>
                    </a:lnTo>
                    <a:lnTo>
                      <a:pt x="64" y="42"/>
                    </a:lnTo>
                    <a:lnTo>
                      <a:pt x="66" y="42"/>
                    </a:lnTo>
                    <a:lnTo>
                      <a:pt x="68" y="44"/>
                    </a:lnTo>
                    <a:lnTo>
                      <a:pt x="70" y="44"/>
                    </a:lnTo>
                    <a:lnTo>
                      <a:pt x="72" y="42"/>
                    </a:lnTo>
                    <a:lnTo>
                      <a:pt x="74" y="42"/>
                    </a:lnTo>
                    <a:lnTo>
                      <a:pt x="76" y="42"/>
                    </a:lnTo>
                    <a:lnTo>
                      <a:pt x="78" y="42"/>
                    </a:lnTo>
                    <a:lnTo>
                      <a:pt x="80" y="42"/>
                    </a:lnTo>
                    <a:lnTo>
                      <a:pt x="82" y="42"/>
                    </a:lnTo>
                    <a:lnTo>
                      <a:pt x="84" y="40"/>
                    </a:lnTo>
                    <a:lnTo>
                      <a:pt x="86" y="40"/>
                    </a:lnTo>
                    <a:lnTo>
                      <a:pt x="88" y="38"/>
                    </a:lnTo>
                    <a:lnTo>
                      <a:pt x="90" y="38"/>
                    </a:lnTo>
                    <a:lnTo>
                      <a:pt x="90" y="36"/>
                    </a:lnTo>
                    <a:lnTo>
                      <a:pt x="90" y="34"/>
                    </a:lnTo>
                    <a:lnTo>
                      <a:pt x="90" y="32"/>
                    </a:lnTo>
                    <a:lnTo>
                      <a:pt x="92" y="32"/>
                    </a:lnTo>
                    <a:lnTo>
                      <a:pt x="94" y="32"/>
                    </a:lnTo>
                    <a:lnTo>
                      <a:pt x="96" y="30"/>
                    </a:lnTo>
                    <a:lnTo>
                      <a:pt x="98" y="30"/>
                    </a:lnTo>
                    <a:lnTo>
                      <a:pt x="98" y="28"/>
                    </a:lnTo>
                    <a:lnTo>
                      <a:pt x="96" y="28"/>
                    </a:lnTo>
                    <a:lnTo>
                      <a:pt x="96"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6" name="Freeform 129">
                <a:extLst>
                  <a:ext uri="{FF2B5EF4-FFF2-40B4-BE49-F238E27FC236}">
                    <a16:creationId xmlns:a16="http://schemas.microsoft.com/office/drawing/2014/main" id="{DB538E03-7090-40F8-9D71-6FEF3A7434BA}"/>
                  </a:ext>
                </a:extLst>
              </p:cNvPr>
              <p:cNvSpPr>
                <a:spLocks noChangeAspect="1"/>
              </p:cNvSpPr>
              <p:nvPr/>
            </p:nvSpPr>
            <p:spPr bwMode="auto">
              <a:xfrm>
                <a:off x="4675789" y="2616260"/>
                <a:ext cx="180880" cy="83710"/>
              </a:xfrm>
              <a:custGeom>
                <a:avLst/>
                <a:gdLst/>
                <a:ahLst/>
                <a:cxnLst>
                  <a:cxn ang="0">
                    <a:pos x="110" y="18"/>
                  </a:cxn>
                  <a:cxn ang="0">
                    <a:pos x="108" y="12"/>
                  </a:cxn>
                  <a:cxn ang="0">
                    <a:pos x="110" y="8"/>
                  </a:cxn>
                  <a:cxn ang="0">
                    <a:pos x="104" y="4"/>
                  </a:cxn>
                  <a:cxn ang="0">
                    <a:pos x="98" y="6"/>
                  </a:cxn>
                  <a:cxn ang="0">
                    <a:pos x="94" y="2"/>
                  </a:cxn>
                  <a:cxn ang="0">
                    <a:pos x="90" y="4"/>
                  </a:cxn>
                  <a:cxn ang="0">
                    <a:pos x="86" y="0"/>
                  </a:cxn>
                  <a:cxn ang="0">
                    <a:pos x="80" y="4"/>
                  </a:cxn>
                  <a:cxn ang="0">
                    <a:pos x="78" y="6"/>
                  </a:cxn>
                  <a:cxn ang="0">
                    <a:pos x="74" y="8"/>
                  </a:cxn>
                  <a:cxn ang="0">
                    <a:pos x="68" y="10"/>
                  </a:cxn>
                  <a:cxn ang="0">
                    <a:pos x="62" y="6"/>
                  </a:cxn>
                  <a:cxn ang="0">
                    <a:pos x="58" y="10"/>
                  </a:cxn>
                  <a:cxn ang="0">
                    <a:pos x="58" y="12"/>
                  </a:cxn>
                  <a:cxn ang="0">
                    <a:pos x="58" y="16"/>
                  </a:cxn>
                  <a:cxn ang="0">
                    <a:pos x="52" y="16"/>
                  </a:cxn>
                  <a:cxn ang="0">
                    <a:pos x="50" y="20"/>
                  </a:cxn>
                  <a:cxn ang="0">
                    <a:pos x="52" y="24"/>
                  </a:cxn>
                  <a:cxn ang="0">
                    <a:pos x="52" y="30"/>
                  </a:cxn>
                  <a:cxn ang="0">
                    <a:pos x="48" y="26"/>
                  </a:cxn>
                  <a:cxn ang="0">
                    <a:pos x="42" y="24"/>
                  </a:cxn>
                  <a:cxn ang="0">
                    <a:pos x="38" y="26"/>
                  </a:cxn>
                  <a:cxn ang="0">
                    <a:pos x="32" y="28"/>
                  </a:cxn>
                  <a:cxn ang="0">
                    <a:pos x="28" y="30"/>
                  </a:cxn>
                  <a:cxn ang="0">
                    <a:pos x="18" y="28"/>
                  </a:cxn>
                  <a:cxn ang="0">
                    <a:pos x="14" y="26"/>
                  </a:cxn>
                  <a:cxn ang="0">
                    <a:pos x="12" y="30"/>
                  </a:cxn>
                  <a:cxn ang="0">
                    <a:pos x="8" y="30"/>
                  </a:cxn>
                  <a:cxn ang="0">
                    <a:pos x="0" y="30"/>
                  </a:cxn>
                  <a:cxn ang="0">
                    <a:pos x="2" y="36"/>
                  </a:cxn>
                  <a:cxn ang="0">
                    <a:pos x="4" y="38"/>
                  </a:cxn>
                  <a:cxn ang="0">
                    <a:pos x="6" y="42"/>
                  </a:cxn>
                  <a:cxn ang="0">
                    <a:pos x="12" y="38"/>
                  </a:cxn>
                  <a:cxn ang="0">
                    <a:pos x="18" y="42"/>
                  </a:cxn>
                  <a:cxn ang="0">
                    <a:pos x="22" y="42"/>
                  </a:cxn>
                  <a:cxn ang="0">
                    <a:pos x="30" y="40"/>
                  </a:cxn>
                  <a:cxn ang="0">
                    <a:pos x="34" y="38"/>
                  </a:cxn>
                  <a:cxn ang="0">
                    <a:pos x="42" y="40"/>
                  </a:cxn>
                  <a:cxn ang="0">
                    <a:pos x="42" y="42"/>
                  </a:cxn>
                  <a:cxn ang="0">
                    <a:pos x="44" y="46"/>
                  </a:cxn>
                  <a:cxn ang="0">
                    <a:pos x="50" y="46"/>
                  </a:cxn>
                  <a:cxn ang="0">
                    <a:pos x="58" y="46"/>
                  </a:cxn>
                  <a:cxn ang="0">
                    <a:pos x="62" y="48"/>
                  </a:cxn>
                  <a:cxn ang="0">
                    <a:pos x="68" y="46"/>
                  </a:cxn>
                  <a:cxn ang="0">
                    <a:pos x="74" y="48"/>
                  </a:cxn>
                  <a:cxn ang="0">
                    <a:pos x="80" y="46"/>
                  </a:cxn>
                  <a:cxn ang="0">
                    <a:pos x="90" y="46"/>
                  </a:cxn>
                  <a:cxn ang="0">
                    <a:pos x="94" y="46"/>
                  </a:cxn>
                  <a:cxn ang="0">
                    <a:pos x="98" y="46"/>
                  </a:cxn>
                  <a:cxn ang="0">
                    <a:pos x="98" y="40"/>
                  </a:cxn>
                  <a:cxn ang="0">
                    <a:pos x="104" y="38"/>
                  </a:cxn>
                  <a:cxn ang="0">
                    <a:pos x="104" y="32"/>
                  </a:cxn>
                  <a:cxn ang="0">
                    <a:pos x="108" y="28"/>
                  </a:cxn>
                  <a:cxn ang="0">
                    <a:pos x="104" y="26"/>
                  </a:cxn>
                  <a:cxn ang="0">
                    <a:pos x="110" y="24"/>
                  </a:cxn>
                </a:cxnLst>
                <a:rect l="0" t="0" r="r" b="b"/>
                <a:pathLst>
                  <a:path w="110" h="48">
                    <a:moveTo>
                      <a:pt x="110" y="24"/>
                    </a:moveTo>
                    <a:lnTo>
                      <a:pt x="110" y="24"/>
                    </a:lnTo>
                    <a:lnTo>
                      <a:pt x="110" y="22"/>
                    </a:lnTo>
                    <a:lnTo>
                      <a:pt x="110" y="20"/>
                    </a:lnTo>
                    <a:lnTo>
                      <a:pt x="110" y="18"/>
                    </a:lnTo>
                    <a:lnTo>
                      <a:pt x="110" y="16"/>
                    </a:lnTo>
                    <a:lnTo>
                      <a:pt x="108" y="16"/>
                    </a:lnTo>
                    <a:lnTo>
                      <a:pt x="108" y="14"/>
                    </a:lnTo>
                    <a:lnTo>
                      <a:pt x="108" y="12"/>
                    </a:lnTo>
                    <a:lnTo>
                      <a:pt x="108" y="10"/>
                    </a:lnTo>
                    <a:lnTo>
                      <a:pt x="108" y="8"/>
                    </a:lnTo>
                    <a:lnTo>
                      <a:pt x="110" y="8"/>
                    </a:lnTo>
                    <a:lnTo>
                      <a:pt x="110" y="6"/>
                    </a:lnTo>
                    <a:lnTo>
                      <a:pt x="108" y="6"/>
                    </a:lnTo>
                    <a:lnTo>
                      <a:pt x="106" y="4"/>
                    </a:lnTo>
                    <a:lnTo>
                      <a:pt x="104" y="4"/>
                    </a:lnTo>
                    <a:lnTo>
                      <a:pt x="102" y="4"/>
                    </a:lnTo>
                    <a:lnTo>
                      <a:pt x="100" y="4"/>
                    </a:lnTo>
                    <a:lnTo>
                      <a:pt x="100" y="6"/>
                    </a:lnTo>
                    <a:lnTo>
                      <a:pt x="98" y="6"/>
                    </a:lnTo>
                    <a:lnTo>
                      <a:pt x="96" y="6"/>
                    </a:lnTo>
                    <a:lnTo>
                      <a:pt x="96" y="4"/>
                    </a:lnTo>
                    <a:lnTo>
                      <a:pt x="94" y="4"/>
                    </a:lnTo>
                    <a:lnTo>
                      <a:pt x="94" y="2"/>
                    </a:lnTo>
                    <a:lnTo>
                      <a:pt x="92" y="4"/>
                    </a:lnTo>
                    <a:lnTo>
                      <a:pt x="90" y="4"/>
                    </a:lnTo>
                    <a:lnTo>
                      <a:pt x="90" y="2"/>
                    </a:lnTo>
                    <a:lnTo>
                      <a:pt x="88" y="2"/>
                    </a:lnTo>
                    <a:lnTo>
                      <a:pt x="86" y="0"/>
                    </a:lnTo>
                    <a:lnTo>
                      <a:pt x="84" y="0"/>
                    </a:lnTo>
                    <a:lnTo>
                      <a:pt x="82" y="0"/>
                    </a:lnTo>
                    <a:lnTo>
                      <a:pt x="80" y="2"/>
                    </a:lnTo>
                    <a:lnTo>
                      <a:pt x="80" y="4"/>
                    </a:lnTo>
                    <a:lnTo>
                      <a:pt x="78" y="4"/>
                    </a:lnTo>
                    <a:lnTo>
                      <a:pt x="78" y="6"/>
                    </a:lnTo>
                    <a:lnTo>
                      <a:pt x="76" y="8"/>
                    </a:lnTo>
                    <a:lnTo>
                      <a:pt x="76" y="10"/>
                    </a:lnTo>
                    <a:lnTo>
                      <a:pt x="74" y="8"/>
                    </a:lnTo>
                    <a:lnTo>
                      <a:pt x="72" y="8"/>
                    </a:lnTo>
                    <a:lnTo>
                      <a:pt x="70" y="10"/>
                    </a:lnTo>
                    <a:lnTo>
                      <a:pt x="68" y="10"/>
                    </a:lnTo>
                    <a:lnTo>
                      <a:pt x="66" y="8"/>
                    </a:lnTo>
                    <a:lnTo>
                      <a:pt x="64" y="6"/>
                    </a:lnTo>
                    <a:lnTo>
                      <a:pt x="64" y="4"/>
                    </a:lnTo>
                    <a:lnTo>
                      <a:pt x="62" y="6"/>
                    </a:lnTo>
                    <a:lnTo>
                      <a:pt x="62" y="8"/>
                    </a:lnTo>
                    <a:lnTo>
                      <a:pt x="60" y="10"/>
                    </a:lnTo>
                    <a:lnTo>
                      <a:pt x="58" y="10"/>
                    </a:lnTo>
                    <a:lnTo>
                      <a:pt x="56" y="10"/>
                    </a:lnTo>
                    <a:lnTo>
                      <a:pt x="58" y="10"/>
                    </a:lnTo>
                    <a:lnTo>
                      <a:pt x="58" y="12"/>
                    </a:lnTo>
                    <a:lnTo>
                      <a:pt x="58" y="14"/>
                    </a:lnTo>
                    <a:lnTo>
                      <a:pt x="58" y="16"/>
                    </a:lnTo>
                    <a:lnTo>
                      <a:pt x="56" y="16"/>
                    </a:lnTo>
                    <a:lnTo>
                      <a:pt x="54" y="16"/>
                    </a:lnTo>
                    <a:lnTo>
                      <a:pt x="52" y="16"/>
                    </a:lnTo>
                    <a:lnTo>
                      <a:pt x="50" y="16"/>
                    </a:lnTo>
                    <a:lnTo>
                      <a:pt x="50" y="18"/>
                    </a:lnTo>
                    <a:lnTo>
                      <a:pt x="48" y="20"/>
                    </a:lnTo>
                    <a:lnTo>
                      <a:pt x="50" y="20"/>
                    </a:lnTo>
                    <a:lnTo>
                      <a:pt x="50" y="22"/>
                    </a:lnTo>
                    <a:lnTo>
                      <a:pt x="52" y="22"/>
                    </a:lnTo>
                    <a:lnTo>
                      <a:pt x="52" y="24"/>
                    </a:lnTo>
                    <a:lnTo>
                      <a:pt x="52" y="26"/>
                    </a:lnTo>
                    <a:lnTo>
                      <a:pt x="52" y="28"/>
                    </a:lnTo>
                    <a:lnTo>
                      <a:pt x="52" y="30"/>
                    </a:lnTo>
                    <a:lnTo>
                      <a:pt x="50" y="30"/>
                    </a:lnTo>
                    <a:lnTo>
                      <a:pt x="48" y="30"/>
                    </a:lnTo>
                    <a:lnTo>
                      <a:pt x="48" y="28"/>
                    </a:lnTo>
                    <a:lnTo>
                      <a:pt x="48" y="26"/>
                    </a:lnTo>
                    <a:lnTo>
                      <a:pt x="46" y="26"/>
                    </a:lnTo>
                    <a:lnTo>
                      <a:pt x="44" y="26"/>
                    </a:lnTo>
                    <a:lnTo>
                      <a:pt x="42" y="26"/>
                    </a:lnTo>
                    <a:lnTo>
                      <a:pt x="42" y="24"/>
                    </a:lnTo>
                    <a:lnTo>
                      <a:pt x="40" y="24"/>
                    </a:lnTo>
                    <a:lnTo>
                      <a:pt x="38" y="26"/>
                    </a:lnTo>
                    <a:lnTo>
                      <a:pt x="36" y="26"/>
                    </a:lnTo>
                    <a:lnTo>
                      <a:pt x="34" y="26"/>
                    </a:lnTo>
                    <a:lnTo>
                      <a:pt x="32" y="26"/>
                    </a:lnTo>
                    <a:lnTo>
                      <a:pt x="32" y="28"/>
                    </a:lnTo>
                    <a:lnTo>
                      <a:pt x="30" y="28"/>
                    </a:lnTo>
                    <a:lnTo>
                      <a:pt x="28" y="28"/>
                    </a:lnTo>
                    <a:lnTo>
                      <a:pt x="28" y="30"/>
                    </a:lnTo>
                    <a:lnTo>
                      <a:pt x="26" y="30"/>
                    </a:lnTo>
                    <a:lnTo>
                      <a:pt x="24" y="30"/>
                    </a:lnTo>
                    <a:lnTo>
                      <a:pt x="22" y="30"/>
                    </a:lnTo>
                    <a:lnTo>
                      <a:pt x="20" y="30"/>
                    </a:lnTo>
                    <a:lnTo>
                      <a:pt x="18" y="28"/>
                    </a:lnTo>
                    <a:lnTo>
                      <a:pt x="18" y="26"/>
                    </a:lnTo>
                    <a:lnTo>
                      <a:pt x="16" y="26"/>
                    </a:lnTo>
                    <a:lnTo>
                      <a:pt x="14" y="26"/>
                    </a:lnTo>
                    <a:lnTo>
                      <a:pt x="12" y="26"/>
                    </a:lnTo>
                    <a:lnTo>
                      <a:pt x="12" y="28"/>
                    </a:lnTo>
                    <a:lnTo>
                      <a:pt x="12" y="30"/>
                    </a:lnTo>
                    <a:lnTo>
                      <a:pt x="12" y="32"/>
                    </a:lnTo>
                    <a:lnTo>
                      <a:pt x="10" y="32"/>
                    </a:lnTo>
                    <a:lnTo>
                      <a:pt x="8" y="30"/>
                    </a:lnTo>
                    <a:lnTo>
                      <a:pt x="6" y="28"/>
                    </a:lnTo>
                    <a:lnTo>
                      <a:pt x="4" y="28"/>
                    </a:lnTo>
                    <a:lnTo>
                      <a:pt x="2" y="28"/>
                    </a:lnTo>
                    <a:lnTo>
                      <a:pt x="0" y="30"/>
                    </a:lnTo>
                    <a:lnTo>
                      <a:pt x="0" y="32"/>
                    </a:lnTo>
                    <a:lnTo>
                      <a:pt x="2" y="34"/>
                    </a:lnTo>
                    <a:lnTo>
                      <a:pt x="2" y="36"/>
                    </a:lnTo>
                    <a:lnTo>
                      <a:pt x="2" y="38"/>
                    </a:lnTo>
                    <a:lnTo>
                      <a:pt x="4" y="38"/>
                    </a:lnTo>
                    <a:lnTo>
                      <a:pt x="4" y="40"/>
                    </a:lnTo>
                    <a:lnTo>
                      <a:pt x="4" y="42"/>
                    </a:lnTo>
                    <a:lnTo>
                      <a:pt x="6" y="42"/>
                    </a:lnTo>
                    <a:lnTo>
                      <a:pt x="8" y="42"/>
                    </a:lnTo>
                    <a:lnTo>
                      <a:pt x="8" y="40"/>
                    </a:lnTo>
                    <a:lnTo>
                      <a:pt x="10" y="38"/>
                    </a:lnTo>
                    <a:lnTo>
                      <a:pt x="12" y="38"/>
                    </a:lnTo>
                    <a:lnTo>
                      <a:pt x="14" y="38"/>
                    </a:lnTo>
                    <a:lnTo>
                      <a:pt x="14" y="40"/>
                    </a:lnTo>
                    <a:lnTo>
                      <a:pt x="16" y="40"/>
                    </a:lnTo>
                    <a:lnTo>
                      <a:pt x="16" y="42"/>
                    </a:lnTo>
                    <a:lnTo>
                      <a:pt x="18" y="42"/>
                    </a:lnTo>
                    <a:lnTo>
                      <a:pt x="20" y="42"/>
                    </a:lnTo>
                    <a:lnTo>
                      <a:pt x="20" y="44"/>
                    </a:lnTo>
                    <a:lnTo>
                      <a:pt x="22" y="42"/>
                    </a:lnTo>
                    <a:lnTo>
                      <a:pt x="22" y="40"/>
                    </a:lnTo>
                    <a:lnTo>
                      <a:pt x="24" y="40"/>
                    </a:lnTo>
                    <a:lnTo>
                      <a:pt x="24" y="38"/>
                    </a:lnTo>
                    <a:lnTo>
                      <a:pt x="28" y="38"/>
                    </a:lnTo>
                    <a:lnTo>
                      <a:pt x="30" y="40"/>
                    </a:lnTo>
                    <a:lnTo>
                      <a:pt x="32" y="40"/>
                    </a:lnTo>
                    <a:lnTo>
                      <a:pt x="34" y="40"/>
                    </a:lnTo>
                    <a:lnTo>
                      <a:pt x="34" y="38"/>
                    </a:lnTo>
                    <a:lnTo>
                      <a:pt x="36" y="36"/>
                    </a:lnTo>
                    <a:lnTo>
                      <a:pt x="38" y="36"/>
                    </a:lnTo>
                    <a:lnTo>
                      <a:pt x="40" y="36"/>
                    </a:lnTo>
                    <a:lnTo>
                      <a:pt x="40" y="38"/>
                    </a:lnTo>
                    <a:lnTo>
                      <a:pt x="42" y="40"/>
                    </a:lnTo>
                    <a:lnTo>
                      <a:pt x="42" y="42"/>
                    </a:lnTo>
                    <a:lnTo>
                      <a:pt x="44" y="44"/>
                    </a:lnTo>
                    <a:lnTo>
                      <a:pt x="44" y="46"/>
                    </a:lnTo>
                    <a:lnTo>
                      <a:pt x="46" y="46"/>
                    </a:lnTo>
                    <a:lnTo>
                      <a:pt x="48" y="46"/>
                    </a:lnTo>
                    <a:lnTo>
                      <a:pt x="50" y="46"/>
                    </a:lnTo>
                    <a:lnTo>
                      <a:pt x="52" y="46"/>
                    </a:lnTo>
                    <a:lnTo>
                      <a:pt x="54" y="46"/>
                    </a:lnTo>
                    <a:lnTo>
                      <a:pt x="56" y="46"/>
                    </a:lnTo>
                    <a:lnTo>
                      <a:pt x="58" y="46"/>
                    </a:lnTo>
                    <a:lnTo>
                      <a:pt x="58" y="48"/>
                    </a:lnTo>
                    <a:lnTo>
                      <a:pt x="60" y="48"/>
                    </a:lnTo>
                    <a:lnTo>
                      <a:pt x="62" y="48"/>
                    </a:lnTo>
                    <a:lnTo>
                      <a:pt x="64" y="46"/>
                    </a:lnTo>
                    <a:lnTo>
                      <a:pt x="66" y="46"/>
                    </a:lnTo>
                    <a:lnTo>
                      <a:pt x="68" y="46"/>
                    </a:lnTo>
                    <a:lnTo>
                      <a:pt x="68" y="48"/>
                    </a:lnTo>
                    <a:lnTo>
                      <a:pt x="70" y="48"/>
                    </a:lnTo>
                    <a:lnTo>
                      <a:pt x="72" y="48"/>
                    </a:lnTo>
                    <a:lnTo>
                      <a:pt x="74" y="48"/>
                    </a:lnTo>
                    <a:lnTo>
                      <a:pt x="76" y="48"/>
                    </a:lnTo>
                    <a:lnTo>
                      <a:pt x="76" y="46"/>
                    </a:lnTo>
                    <a:lnTo>
                      <a:pt x="78" y="46"/>
                    </a:lnTo>
                    <a:lnTo>
                      <a:pt x="80" y="46"/>
                    </a:lnTo>
                    <a:lnTo>
                      <a:pt x="82" y="46"/>
                    </a:lnTo>
                    <a:lnTo>
                      <a:pt x="84" y="46"/>
                    </a:lnTo>
                    <a:lnTo>
                      <a:pt x="86" y="46"/>
                    </a:lnTo>
                    <a:lnTo>
                      <a:pt x="88" y="46"/>
                    </a:lnTo>
                    <a:lnTo>
                      <a:pt x="90" y="46"/>
                    </a:lnTo>
                    <a:lnTo>
                      <a:pt x="90" y="44"/>
                    </a:lnTo>
                    <a:lnTo>
                      <a:pt x="92" y="44"/>
                    </a:lnTo>
                    <a:lnTo>
                      <a:pt x="94" y="46"/>
                    </a:lnTo>
                    <a:lnTo>
                      <a:pt x="96" y="46"/>
                    </a:lnTo>
                    <a:lnTo>
                      <a:pt x="98" y="46"/>
                    </a:lnTo>
                    <a:lnTo>
                      <a:pt x="98" y="44"/>
                    </a:lnTo>
                    <a:lnTo>
                      <a:pt x="98" y="42"/>
                    </a:lnTo>
                    <a:lnTo>
                      <a:pt x="98" y="40"/>
                    </a:lnTo>
                    <a:lnTo>
                      <a:pt x="100" y="38"/>
                    </a:lnTo>
                    <a:lnTo>
                      <a:pt x="102" y="38"/>
                    </a:lnTo>
                    <a:lnTo>
                      <a:pt x="104" y="38"/>
                    </a:lnTo>
                    <a:lnTo>
                      <a:pt x="104" y="36"/>
                    </a:lnTo>
                    <a:lnTo>
                      <a:pt x="104" y="34"/>
                    </a:lnTo>
                    <a:lnTo>
                      <a:pt x="104" y="32"/>
                    </a:lnTo>
                    <a:lnTo>
                      <a:pt x="106" y="30"/>
                    </a:lnTo>
                    <a:lnTo>
                      <a:pt x="106" y="28"/>
                    </a:lnTo>
                    <a:lnTo>
                      <a:pt x="108" y="28"/>
                    </a:lnTo>
                    <a:lnTo>
                      <a:pt x="106" y="28"/>
                    </a:lnTo>
                    <a:lnTo>
                      <a:pt x="104" y="28"/>
                    </a:lnTo>
                    <a:lnTo>
                      <a:pt x="104" y="26"/>
                    </a:lnTo>
                    <a:lnTo>
                      <a:pt x="104" y="24"/>
                    </a:lnTo>
                    <a:lnTo>
                      <a:pt x="110" y="2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37" name="Freeform 130">
                <a:extLst>
                  <a:ext uri="{FF2B5EF4-FFF2-40B4-BE49-F238E27FC236}">
                    <a16:creationId xmlns:a16="http://schemas.microsoft.com/office/drawing/2014/main" id="{1C46D6B5-A5D2-4787-9C9D-0DE5B174B3D2}"/>
                  </a:ext>
                </a:extLst>
              </p:cNvPr>
              <p:cNvSpPr>
                <a:spLocks noChangeAspect="1"/>
              </p:cNvSpPr>
              <p:nvPr/>
            </p:nvSpPr>
            <p:spPr bwMode="auto">
              <a:xfrm>
                <a:off x="4517931" y="2473256"/>
                <a:ext cx="108527" cy="90686"/>
              </a:xfrm>
              <a:custGeom>
                <a:avLst/>
                <a:gdLst/>
                <a:ahLst/>
                <a:cxnLst>
                  <a:cxn ang="0">
                    <a:pos x="0" y="42"/>
                  </a:cxn>
                  <a:cxn ang="0">
                    <a:pos x="2" y="40"/>
                  </a:cxn>
                  <a:cxn ang="0">
                    <a:pos x="4" y="40"/>
                  </a:cxn>
                  <a:cxn ang="0">
                    <a:pos x="6" y="40"/>
                  </a:cxn>
                  <a:cxn ang="0">
                    <a:pos x="8" y="42"/>
                  </a:cxn>
                  <a:cxn ang="0">
                    <a:pos x="12" y="40"/>
                  </a:cxn>
                  <a:cxn ang="0">
                    <a:pos x="16" y="42"/>
                  </a:cxn>
                  <a:cxn ang="0">
                    <a:pos x="18" y="40"/>
                  </a:cxn>
                  <a:cxn ang="0">
                    <a:pos x="20" y="40"/>
                  </a:cxn>
                  <a:cxn ang="0">
                    <a:pos x="22" y="38"/>
                  </a:cxn>
                  <a:cxn ang="0">
                    <a:pos x="24" y="38"/>
                  </a:cxn>
                  <a:cxn ang="0">
                    <a:pos x="30" y="38"/>
                  </a:cxn>
                  <a:cxn ang="0">
                    <a:pos x="32" y="38"/>
                  </a:cxn>
                  <a:cxn ang="0">
                    <a:pos x="34" y="42"/>
                  </a:cxn>
                  <a:cxn ang="0">
                    <a:pos x="38" y="42"/>
                  </a:cxn>
                  <a:cxn ang="0">
                    <a:pos x="42" y="44"/>
                  </a:cxn>
                  <a:cxn ang="0">
                    <a:pos x="42" y="48"/>
                  </a:cxn>
                  <a:cxn ang="0">
                    <a:pos x="40" y="52"/>
                  </a:cxn>
                  <a:cxn ang="0">
                    <a:pos x="44" y="52"/>
                  </a:cxn>
                  <a:cxn ang="0">
                    <a:pos x="44" y="48"/>
                  </a:cxn>
                  <a:cxn ang="0">
                    <a:pos x="44" y="44"/>
                  </a:cxn>
                  <a:cxn ang="0">
                    <a:pos x="46" y="40"/>
                  </a:cxn>
                  <a:cxn ang="0">
                    <a:pos x="46" y="36"/>
                  </a:cxn>
                  <a:cxn ang="0">
                    <a:pos x="44" y="32"/>
                  </a:cxn>
                  <a:cxn ang="0">
                    <a:pos x="44" y="30"/>
                  </a:cxn>
                  <a:cxn ang="0">
                    <a:pos x="50" y="32"/>
                  </a:cxn>
                  <a:cxn ang="0">
                    <a:pos x="54" y="30"/>
                  </a:cxn>
                  <a:cxn ang="0">
                    <a:pos x="56" y="30"/>
                  </a:cxn>
                  <a:cxn ang="0">
                    <a:pos x="56" y="26"/>
                  </a:cxn>
                  <a:cxn ang="0">
                    <a:pos x="58" y="24"/>
                  </a:cxn>
                  <a:cxn ang="0">
                    <a:pos x="60" y="20"/>
                  </a:cxn>
                  <a:cxn ang="0">
                    <a:pos x="54" y="18"/>
                  </a:cxn>
                  <a:cxn ang="0">
                    <a:pos x="58" y="14"/>
                  </a:cxn>
                  <a:cxn ang="0">
                    <a:pos x="62" y="14"/>
                  </a:cxn>
                  <a:cxn ang="0">
                    <a:pos x="60" y="12"/>
                  </a:cxn>
                  <a:cxn ang="0">
                    <a:pos x="64" y="8"/>
                  </a:cxn>
                  <a:cxn ang="0">
                    <a:pos x="64" y="6"/>
                  </a:cxn>
                  <a:cxn ang="0">
                    <a:pos x="64" y="4"/>
                  </a:cxn>
                  <a:cxn ang="0">
                    <a:pos x="62" y="4"/>
                  </a:cxn>
                  <a:cxn ang="0">
                    <a:pos x="56" y="2"/>
                  </a:cxn>
                  <a:cxn ang="0">
                    <a:pos x="48" y="2"/>
                  </a:cxn>
                  <a:cxn ang="0">
                    <a:pos x="44" y="0"/>
                  </a:cxn>
                  <a:cxn ang="0">
                    <a:pos x="36" y="4"/>
                  </a:cxn>
                  <a:cxn ang="0">
                    <a:pos x="38" y="10"/>
                  </a:cxn>
                  <a:cxn ang="0">
                    <a:pos x="40" y="12"/>
                  </a:cxn>
                  <a:cxn ang="0">
                    <a:pos x="42" y="16"/>
                  </a:cxn>
                  <a:cxn ang="0">
                    <a:pos x="42" y="20"/>
                  </a:cxn>
                  <a:cxn ang="0">
                    <a:pos x="34" y="22"/>
                  </a:cxn>
                  <a:cxn ang="0">
                    <a:pos x="32" y="18"/>
                  </a:cxn>
                  <a:cxn ang="0">
                    <a:pos x="36" y="12"/>
                  </a:cxn>
                  <a:cxn ang="0">
                    <a:pos x="36" y="8"/>
                  </a:cxn>
                  <a:cxn ang="0">
                    <a:pos x="30" y="10"/>
                  </a:cxn>
                  <a:cxn ang="0">
                    <a:pos x="26" y="12"/>
                  </a:cxn>
                  <a:cxn ang="0">
                    <a:pos x="22" y="18"/>
                  </a:cxn>
                  <a:cxn ang="0">
                    <a:pos x="20" y="26"/>
                  </a:cxn>
                  <a:cxn ang="0">
                    <a:pos x="16" y="32"/>
                  </a:cxn>
                  <a:cxn ang="0">
                    <a:pos x="16" y="34"/>
                  </a:cxn>
                  <a:cxn ang="0">
                    <a:pos x="14" y="36"/>
                  </a:cxn>
                  <a:cxn ang="0">
                    <a:pos x="12" y="36"/>
                  </a:cxn>
                </a:cxnLst>
                <a:rect l="0" t="0" r="r" b="b"/>
                <a:pathLst>
                  <a:path w="66" h="52">
                    <a:moveTo>
                      <a:pt x="4" y="38"/>
                    </a:moveTo>
                    <a:lnTo>
                      <a:pt x="4" y="40"/>
                    </a:lnTo>
                    <a:lnTo>
                      <a:pt x="2" y="40"/>
                    </a:lnTo>
                    <a:lnTo>
                      <a:pt x="0" y="42"/>
                    </a:lnTo>
                    <a:lnTo>
                      <a:pt x="2" y="40"/>
                    </a:lnTo>
                    <a:lnTo>
                      <a:pt x="4" y="40"/>
                    </a:lnTo>
                    <a:lnTo>
                      <a:pt x="6" y="40"/>
                    </a:lnTo>
                    <a:lnTo>
                      <a:pt x="8" y="40"/>
                    </a:lnTo>
                    <a:lnTo>
                      <a:pt x="8" y="42"/>
                    </a:lnTo>
                    <a:lnTo>
                      <a:pt x="10" y="42"/>
                    </a:lnTo>
                    <a:lnTo>
                      <a:pt x="12" y="40"/>
                    </a:lnTo>
                    <a:lnTo>
                      <a:pt x="14" y="42"/>
                    </a:lnTo>
                    <a:lnTo>
                      <a:pt x="16" y="42"/>
                    </a:lnTo>
                    <a:lnTo>
                      <a:pt x="16" y="40"/>
                    </a:lnTo>
                    <a:lnTo>
                      <a:pt x="18" y="40"/>
                    </a:lnTo>
                    <a:lnTo>
                      <a:pt x="20" y="40"/>
                    </a:lnTo>
                    <a:lnTo>
                      <a:pt x="20" y="38"/>
                    </a:lnTo>
                    <a:lnTo>
                      <a:pt x="22" y="38"/>
                    </a:lnTo>
                    <a:lnTo>
                      <a:pt x="22" y="40"/>
                    </a:lnTo>
                    <a:lnTo>
                      <a:pt x="24" y="38"/>
                    </a:lnTo>
                    <a:lnTo>
                      <a:pt x="26" y="38"/>
                    </a:lnTo>
                    <a:lnTo>
                      <a:pt x="30" y="38"/>
                    </a:lnTo>
                    <a:lnTo>
                      <a:pt x="32" y="38"/>
                    </a:lnTo>
                    <a:lnTo>
                      <a:pt x="32" y="40"/>
                    </a:lnTo>
                    <a:lnTo>
                      <a:pt x="34" y="42"/>
                    </a:lnTo>
                    <a:lnTo>
                      <a:pt x="36" y="42"/>
                    </a:lnTo>
                    <a:lnTo>
                      <a:pt x="38" y="42"/>
                    </a:lnTo>
                    <a:lnTo>
                      <a:pt x="40" y="42"/>
                    </a:lnTo>
                    <a:lnTo>
                      <a:pt x="42" y="42"/>
                    </a:lnTo>
                    <a:lnTo>
                      <a:pt x="42" y="44"/>
                    </a:lnTo>
                    <a:lnTo>
                      <a:pt x="42" y="46"/>
                    </a:lnTo>
                    <a:lnTo>
                      <a:pt x="42" y="48"/>
                    </a:lnTo>
                    <a:lnTo>
                      <a:pt x="40" y="48"/>
                    </a:lnTo>
                    <a:lnTo>
                      <a:pt x="40" y="50"/>
                    </a:lnTo>
                    <a:lnTo>
                      <a:pt x="40" y="52"/>
                    </a:lnTo>
                    <a:lnTo>
                      <a:pt x="42" y="52"/>
                    </a:lnTo>
                    <a:lnTo>
                      <a:pt x="44" y="52"/>
                    </a:lnTo>
                    <a:lnTo>
                      <a:pt x="44" y="50"/>
                    </a:lnTo>
                    <a:lnTo>
                      <a:pt x="44" y="48"/>
                    </a:lnTo>
                    <a:lnTo>
                      <a:pt x="44" y="46"/>
                    </a:lnTo>
                    <a:lnTo>
                      <a:pt x="44" y="44"/>
                    </a:lnTo>
                    <a:lnTo>
                      <a:pt x="44" y="42"/>
                    </a:lnTo>
                    <a:lnTo>
                      <a:pt x="46" y="40"/>
                    </a:lnTo>
                    <a:lnTo>
                      <a:pt x="48" y="40"/>
                    </a:lnTo>
                    <a:lnTo>
                      <a:pt x="48" y="38"/>
                    </a:lnTo>
                    <a:lnTo>
                      <a:pt x="46" y="36"/>
                    </a:lnTo>
                    <a:lnTo>
                      <a:pt x="46" y="34"/>
                    </a:lnTo>
                    <a:lnTo>
                      <a:pt x="46" y="32"/>
                    </a:lnTo>
                    <a:lnTo>
                      <a:pt x="44" y="32"/>
                    </a:lnTo>
                    <a:lnTo>
                      <a:pt x="44" y="30"/>
                    </a:lnTo>
                    <a:lnTo>
                      <a:pt x="46" y="30"/>
                    </a:lnTo>
                    <a:lnTo>
                      <a:pt x="48" y="32"/>
                    </a:lnTo>
                    <a:lnTo>
                      <a:pt x="50" y="32"/>
                    </a:lnTo>
                    <a:lnTo>
                      <a:pt x="52" y="32"/>
                    </a:lnTo>
                    <a:lnTo>
                      <a:pt x="54" y="30"/>
                    </a:lnTo>
                    <a:lnTo>
                      <a:pt x="54" y="28"/>
                    </a:lnTo>
                    <a:lnTo>
                      <a:pt x="56" y="28"/>
                    </a:lnTo>
                    <a:lnTo>
                      <a:pt x="56" y="30"/>
                    </a:lnTo>
                    <a:lnTo>
                      <a:pt x="56" y="28"/>
                    </a:lnTo>
                    <a:lnTo>
                      <a:pt x="56" y="26"/>
                    </a:lnTo>
                    <a:lnTo>
                      <a:pt x="58" y="26"/>
                    </a:lnTo>
                    <a:lnTo>
                      <a:pt x="58" y="24"/>
                    </a:lnTo>
                    <a:lnTo>
                      <a:pt x="60" y="24"/>
                    </a:lnTo>
                    <a:lnTo>
                      <a:pt x="60" y="22"/>
                    </a:lnTo>
                    <a:lnTo>
                      <a:pt x="60" y="20"/>
                    </a:lnTo>
                    <a:lnTo>
                      <a:pt x="58" y="20"/>
                    </a:lnTo>
                    <a:lnTo>
                      <a:pt x="56" y="18"/>
                    </a:lnTo>
                    <a:lnTo>
                      <a:pt x="54" y="18"/>
                    </a:lnTo>
                    <a:lnTo>
                      <a:pt x="54" y="16"/>
                    </a:lnTo>
                    <a:lnTo>
                      <a:pt x="56" y="16"/>
                    </a:lnTo>
                    <a:lnTo>
                      <a:pt x="58" y="16"/>
                    </a:lnTo>
                    <a:lnTo>
                      <a:pt x="58" y="14"/>
                    </a:lnTo>
                    <a:lnTo>
                      <a:pt x="60" y="14"/>
                    </a:lnTo>
                    <a:lnTo>
                      <a:pt x="62" y="14"/>
                    </a:lnTo>
                    <a:lnTo>
                      <a:pt x="60" y="14"/>
                    </a:lnTo>
                    <a:lnTo>
                      <a:pt x="60" y="12"/>
                    </a:lnTo>
                    <a:lnTo>
                      <a:pt x="60" y="10"/>
                    </a:lnTo>
                    <a:lnTo>
                      <a:pt x="62" y="10"/>
                    </a:lnTo>
                    <a:lnTo>
                      <a:pt x="64" y="8"/>
                    </a:lnTo>
                    <a:lnTo>
                      <a:pt x="66" y="8"/>
                    </a:lnTo>
                    <a:lnTo>
                      <a:pt x="64" y="8"/>
                    </a:lnTo>
                    <a:lnTo>
                      <a:pt x="64" y="6"/>
                    </a:lnTo>
                    <a:lnTo>
                      <a:pt x="64" y="4"/>
                    </a:lnTo>
                    <a:lnTo>
                      <a:pt x="62" y="4"/>
                    </a:lnTo>
                    <a:lnTo>
                      <a:pt x="62" y="2"/>
                    </a:lnTo>
                    <a:lnTo>
                      <a:pt x="60" y="2"/>
                    </a:lnTo>
                    <a:lnTo>
                      <a:pt x="58" y="2"/>
                    </a:lnTo>
                    <a:lnTo>
                      <a:pt x="56" y="2"/>
                    </a:lnTo>
                    <a:lnTo>
                      <a:pt x="54" y="2"/>
                    </a:lnTo>
                    <a:lnTo>
                      <a:pt x="52" y="2"/>
                    </a:lnTo>
                    <a:lnTo>
                      <a:pt x="50" y="2"/>
                    </a:lnTo>
                    <a:lnTo>
                      <a:pt x="48" y="2"/>
                    </a:lnTo>
                    <a:lnTo>
                      <a:pt x="46" y="2"/>
                    </a:lnTo>
                    <a:lnTo>
                      <a:pt x="46" y="0"/>
                    </a:lnTo>
                    <a:lnTo>
                      <a:pt x="44" y="0"/>
                    </a:lnTo>
                    <a:lnTo>
                      <a:pt x="44" y="2"/>
                    </a:lnTo>
                    <a:lnTo>
                      <a:pt x="42" y="2"/>
                    </a:lnTo>
                    <a:lnTo>
                      <a:pt x="40" y="4"/>
                    </a:lnTo>
                    <a:lnTo>
                      <a:pt x="36" y="4"/>
                    </a:lnTo>
                    <a:lnTo>
                      <a:pt x="38" y="6"/>
                    </a:lnTo>
                    <a:lnTo>
                      <a:pt x="38" y="8"/>
                    </a:lnTo>
                    <a:lnTo>
                      <a:pt x="38" y="10"/>
                    </a:lnTo>
                    <a:lnTo>
                      <a:pt x="40" y="10"/>
                    </a:lnTo>
                    <a:lnTo>
                      <a:pt x="40" y="12"/>
                    </a:lnTo>
                    <a:lnTo>
                      <a:pt x="40" y="14"/>
                    </a:lnTo>
                    <a:lnTo>
                      <a:pt x="42" y="14"/>
                    </a:lnTo>
                    <a:lnTo>
                      <a:pt x="42" y="16"/>
                    </a:lnTo>
                    <a:lnTo>
                      <a:pt x="42" y="18"/>
                    </a:lnTo>
                    <a:lnTo>
                      <a:pt x="42" y="20"/>
                    </a:lnTo>
                    <a:lnTo>
                      <a:pt x="40" y="22"/>
                    </a:lnTo>
                    <a:lnTo>
                      <a:pt x="38" y="22"/>
                    </a:lnTo>
                    <a:lnTo>
                      <a:pt x="36" y="22"/>
                    </a:lnTo>
                    <a:lnTo>
                      <a:pt x="34" y="22"/>
                    </a:lnTo>
                    <a:lnTo>
                      <a:pt x="34" y="20"/>
                    </a:lnTo>
                    <a:lnTo>
                      <a:pt x="32" y="20"/>
                    </a:lnTo>
                    <a:lnTo>
                      <a:pt x="32" y="18"/>
                    </a:lnTo>
                    <a:lnTo>
                      <a:pt x="34" y="16"/>
                    </a:lnTo>
                    <a:lnTo>
                      <a:pt x="36" y="14"/>
                    </a:lnTo>
                    <a:lnTo>
                      <a:pt x="36" y="12"/>
                    </a:lnTo>
                    <a:lnTo>
                      <a:pt x="36" y="10"/>
                    </a:lnTo>
                    <a:lnTo>
                      <a:pt x="36" y="8"/>
                    </a:lnTo>
                    <a:lnTo>
                      <a:pt x="34" y="6"/>
                    </a:lnTo>
                    <a:lnTo>
                      <a:pt x="32" y="8"/>
                    </a:lnTo>
                    <a:lnTo>
                      <a:pt x="30" y="10"/>
                    </a:lnTo>
                    <a:lnTo>
                      <a:pt x="28" y="12"/>
                    </a:lnTo>
                    <a:lnTo>
                      <a:pt x="26" y="12"/>
                    </a:lnTo>
                    <a:lnTo>
                      <a:pt x="26" y="14"/>
                    </a:lnTo>
                    <a:lnTo>
                      <a:pt x="24" y="14"/>
                    </a:lnTo>
                    <a:lnTo>
                      <a:pt x="24" y="16"/>
                    </a:lnTo>
                    <a:lnTo>
                      <a:pt x="22" y="18"/>
                    </a:lnTo>
                    <a:lnTo>
                      <a:pt x="22" y="20"/>
                    </a:lnTo>
                    <a:lnTo>
                      <a:pt x="22" y="24"/>
                    </a:lnTo>
                    <a:lnTo>
                      <a:pt x="20" y="26"/>
                    </a:lnTo>
                    <a:lnTo>
                      <a:pt x="18" y="28"/>
                    </a:lnTo>
                    <a:lnTo>
                      <a:pt x="18" y="30"/>
                    </a:lnTo>
                    <a:lnTo>
                      <a:pt x="16" y="32"/>
                    </a:lnTo>
                    <a:lnTo>
                      <a:pt x="16" y="34"/>
                    </a:lnTo>
                    <a:lnTo>
                      <a:pt x="18" y="34"/>
                    </a:lnTo>
                    <a:lnTo>
                      <a:pt x="18" y="36"/>
                    </a:lnTo>
                    <a:lnTo>
                      <a:pt x="16" y="36"/>
                    </a:lnTo>
                    <a:lnTo>
                      <a:pt x="14" y="36"/>
                    </a:lnTo>
                    <a:lnTo>
                      <a:pt x="12" y="36"/>
                    </a:lnTo>
                    <a:lnTo>
                      <a:pt x="4" y="38"/>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38" name="Freeform 131">
                <a:extLst>
                  <a:ext uri="{FF2B5EF4-FFF2-40B4-BE49-F238E27FC236}">
                    <a16:creationId xmlns:a16="http://schemas.microsoft.com/office/drawing/2014/main" id="{EF582AC5-C2D0-4512-A9B2-E7CAFCF866B9}"/>
                  </a:ext>
                </a:extLst>
              </p:cNvPr>
              <p:cNvSpPr>
                <a:spLocks noChangeAspect="1"/>
              </p:cNvSpPr>
              <p:nvPr/>
            </p:nvSpPr>
            <p:spPr bwMode="auto">
              <a:xfrm>
                <a:off x="4514641" y="2539526"/>
                <a:ext cx="85506" cy="62783"/>
              </a:xfrm>
              <a:custGeom>
                <a:avLst/>
                <a:gdLst/>
                <a:ahLst/>
                <a:cxnLst>
                  <a:cxn ang="0">
                    <a:pos x="2" y="14"/>
                  </a:cxn>
                  <a:cxn ang="0">
                    <a:pos x="4" y="16"/>
                  </a:cxn>
                  <a:cxn ang="0">
                    <a:pos x="8" y="16"/>
                  </a:cxn>
                  <a:cxn ang="0">
                    <a:pos x="10" y="18"/>
                  </a:cxn>
                  <a:cxn ang="0">
                    <a:pos x="12" y="18"/>
                  </a:cxn>
                  <a:cxn ang="0">
                    <a:pos x="18" y="20"/>
                  </a:cxn>
                  <a:cxn ang="0">
                    <a:pos x="20" y="24"/>
                  </a:cxn>
                  <a:cxn ang="0">
                    <a:pos x="20" y="28"/>
                  </a:cxn>
                  <a:cxn ang="0">
                    <a:pos x="24" y="28"/>
                  </a:cxn>
                  <a:cxn ang="0">
                    <a:pos x="26" y="26"/>
                  </a:cxn>
                  <a:cxn ang="0">
                    <a:pos x="28" y="24"/>
                  </a:cxn>
                  <a:cxn ang="0">
                    <a:pos x="28" y="30"/>
                  </a:cxn>
                  <a:cxn ang="0">
                    <a:pos x="28" y="30"/>
                  </a:cxn>
                  <a:cxn ang="0">
                    <a:pos x="34" y="32"/>
                  </a:cxn>
                  <a:cxn ang="0">
                    <a:pos x="38" y="34"/>
                  </a:cxn>
                  <a:cxn ang="0">
                    <a:pos x="40" y="34"/>
                  </a:cxn>
                  <a:cxn ang="0">
                    <a:pos x="44" y="34"/>
                  </a:cxn>
                  <a:cxn ang="0">
                    <a:pos x="44" y="36"/>
                  </a:cxn>
                  <a:cxn ang="0">
                    <a:pos x="46" y="36"/>
                  </a:cxn>
                  <a:cxn ang="0">
                    <a:pos x="42" y="30"/>
                  </a:cxn>
                  <a:cxn ang="0">
                    <a:pos x="44" y="26"/>
                  </a:cxn>
                  <a:cxn ang="0">
                    <a:pos x="48" y="24"/>
                  </a:cxn>
                  <a:cxn ang="0">
                    <a:pos x="50" y="22"/>
                  </a:cxn>
                  <a:cxn ang="0">
                    <a:pos x="52" y="20"/>
                  </a:cxn>
                  <a:cxn ang="0">
                    <a:pos x="52" y="20"/>
                  </a:cxn>
                  <a:cxn ang="0">
                    <a:pos x="50" y="16"/>
                  </a:cxn>
                  <a:cxn ang="0">
                    <a:pos x="48" y="14"/>
                  </a:cxn>
                  <a:cxn ang="0">
                    <a:pos x="46" y="14"/>
                  </a:cxn>
                  <a:cxn ang="0">
                    <a:pos x="44" y="14"/>
                  </a:cxn>
                  <a:cxn ang="0">
                    <a:pos x="42" y="10"/>
                  </a:cxn>
                  <a:cxn ang="0">
                    <a:pos x="44" y="10"/>
                  </a:cxn>
                  <a:cxn ang="0">
                    <a:pos x="44" y="6"/>
                  </a:cxn>
                  <a:cxn ang="0">
                    <a:pos x="42" y="4"/>
                  </a:cxn>
                  <a:cxn ang="0">
                    <a:pos x="40" y="4"/>
                  </a:cxn>
                  <a:cxn ang="0">
                    <a:pos x="36" y="4"/>
                  </a:cxn>
                  <a:cxn ang="0">
                    <a:pos x="34" y="0"/>
                  </a:cxn>
                  <a:cxn ang="0">
                    <a:pos x="32" y="0"/>
                  </a:cxn>
                  <a:cxn ang="0">
                    <a:pos x="26" y="0"/>
                  </a:cxn>
                  <a:cxn ang="0">
                    <a:pos x="24" y="2"/>
                  </a:cxn>
                  <a:cxn ang="0">
                    <a:pos x="22" y="2"/>
                  </a:cxn>
                  <a:cxn ang="0">
                    <a:pos x="22" y="4"/>
                  </a:cxn>
                  <a:cxn ang="0">
                    <a:pos x="20" y="2"/>
                  </a:cxn>
                  <a:cxn ang="0">
                    <a:pos x="18" y="4"/>
                  </a:cxn>
                  <a:cxn ang="0">
                    <a:pos x="18" y="4"/>
                  </a:cxn>
                  <a:cxn ang="0">
                    <a:pos x="12" y="4"/>
                  </a:cxn>
                  <a:cxn ang="0">
                    <a:pos x="10" y="2"/>
                  </a:cxn>
                  <a:cxn ang="0">
                    <a:pos x="8" y="2"/>
                  </a:cxn>
                  <a:cxn ang="0">
                    <a:pos x="6" y="2"/>
                  </a:cxn>
                  <a:cxn ang="0">
                    <a:pos x="4" y="4"/>
                  </a:cxn>
                  <a:cxn ang="0">
                    <a:pos x="0" y="6"/>
                  </a:cxn>
                  <a:cxn ang="0">
                    <a:pos x="0" y="10"/>
                  </a:cxn>
                </a:cxnLst>
                <a:rect l="0" t="0" r="r" b="b"/>
                <a:pathLst>
                  <a:path w="52" h="36">
                    <a:moveTo>
                      <a:pt x="0" y="10"/>
                    </a:moveTo>
                    <a:lnTo>
                      <a:pt x="0" y="12"/>
                    </a:lnTo>
                    <a:lnTo>
                      <a:pt x="0" y="14"/>
                    </a:lnTo>
                    <a:lnTo>
                      <a:pt x="2" y="14"/>
                    </a:lnTo>
                    <a:lnTo>
                      <a:pt x="2" y="16"/>
                    </a:lnTo>
                    <a:lnTo>
                      <a:pt x="4" y="16"/>
                    </a:lnTo>
                    <a:lnTo>
                      <a:pt x="6" y="16"/>
                    </a:lnTo>
                    <a:lnTo>
                      <a:pt x="8" y="16"/>
                    </a:lnTo>
                    <a:lnTo>
                      <a:pt x="10" y="18"/>
                    </a:lnTo>
                    <a:lnTo>
                      <a:pt x="12" y="18"/>
                    </a:lnTo>
                    <a:lnTo>
                      <a:pt x="14" y="18"/>
                    </a:lnTo>
                    <a:lnTo>
                      <a:pt x="16" y="20"/>
                    </a:lnTo>
                    <a:lnTo>
                      <a:pt x="18" y="20"/>
                    </a:lnTo>
                    <a:lnTo>
                      <a:pt x="20" y="20"/>
                    </a:lnTo>
                    <a:lnTo>
                      <a:pt x="20" y="22"/>
                    </a:lnTo>
                    <a:lnTo>
                      <a:pt x="20" y="24"/>
                    </a:lnTo>
                    <a:lnTo>
                      <a:pt x="20" y="26"/>
                    </a:lnTo>
                    <a:lnTo>
                      <a:pt x="20" y="28"/>
                    </a:lnTo>
                    <a:lnTo>
                      <a:pt x="22" y="28"/>
                    </a:lnTo>
                    <a:lnTo>
                      <a:pt x="24" y="28"/>
                    </a:lnTo>
                    <a:lnTo>
                      <a:pt x="26" y="28"/>
                    </a:lnTo>
                    <a:lnTo>
                      <a:pt x="26" y="26"/>
                    </a:lnTo>
                    <a:lnTo>
                      <a:pt x="28" y="26"/>
                    </a:lnTo>
                    <a:lnTo>
                      <a:pt x="28" y="24"/>
                    </a:lnTo>
                    <a:lnTo>
                      <a:pt x="28" y="26"/>
                    </a:lnTo>
                    <a:lnTo>
                      <a:pt x="28" y="28"/>
                    </a:lnTo>
                    <a:lnTo>
                      <a:pt x="28" y="30"/>
                    </a:lnTo>
                    <a:lnTo>
                      <a:pt x="30" y="30"/>
                    </a:lnTo>
                    <a:lnTo>
                      <a:pt x="32" y="32"/>
                    </a:lnTo>
                    <a:lnTo>
                      <a:pt x="34" y="32"/>
                    </a:lnTo>
                    <a:lnTo>
                      <a:pt x="36" y="32"/>
                    </a:lnTo>
                    <a:lnTo>
                      <a:pt x="38" y="32"/>
                    </a:lnTo>
                    <a:lnTo>
                      <a:pt x="38" y="34"/>
                    </a:lnTo>
                    <a:lnTo>
                      <a:pt x="40" y="34"/>
                    </a:lnTo>
                    <a:lnTo>
                      <a:pt x="42" y="34"/>
                    </a:lnTo>
                    <a:lnTo>
                      <a:pt x="44" y="34"/>
                    </a:lnTo>
                    <a:lnTo>
                      <a:pt x="44" y="36"/>
                    </a:lnTo>
                    <a:lnTo>
                      <a:pt x="46" y="36"/>
                    </a:lnTo>
                    <a:lnTo>
                      <a:pt x="44" y="34"/>
                    </a:lnTo>
                    <a:lnTo>
                      <a:pt x="44" y="32"/>
                    </a:lnTo>
                    <a:lnTo>
                      <a:pt x="44" y="30"/>
                    </a:lnTo>
                    <a:lnTo>
                      <a:pt x="42" y="30"/>
                    </a:lnTo>
                    <a:lnTo>
                      <a:pt x="42" y="28"/>
                    </a:lnTo>
                    <a:lnTo>
                      <a:pt x="44" y="28"/>
                    </a:lnTo>
                    <a:lnTo>
                      <a:pt x="44" y="26"/>
                    </a:lnTo>
                    <a:lnTo>
                      <a:pt x="46" y="26"/>
                    </a:lnTo>
                    <a:lnTo>
                      <a:pt x="48" y="24"/>
                    </a:lnTo>
                    <a:lnTo>
                      <a:pt x="50" y="22"/>
                    </a:lnTo>
                    <a:lnTo>
                      <a:pt x="52" y="22"/>
                    </a:lnTo>
                    <a:lnTo>
                      <a:pt x="52" y="20"/>
                    </a:lnTo>
                    <a:lnTo>
                      <a:pt x="52" y="18"/>
                    </a:lnTo>
                    <a:lnTo>
                      <a:pt x="52" y="16"/>
                    </a:lnTo>
                    <a:lnTo>
                      <a:pt x="50" y="16"/>
                    </a:lnTo>
                    <a:lnTo>
                      <a:pt x="50" y="14"/>
                    </a:lnTo>
                    <a:lnTo>
                      <a:pt x="48" y="14"/>
                    </a:lnTo>
                    <a:lnTo>
                      <a:pt x="46" y="14"/>
                    </a:lnTo>
                    <a:lnTo>
                      <a:pt x="44" y="14"/>
                    </a:lnTo>
                    <a:lnTo>
                      <a:pt x="42" y="14"/>
                    </a:lnTo>
                    <a:lnTo>
                      <a:pt x="42" y="12"/>
                    </a:lnTo>
                    <a:lnTo>
                      <a:pt x="42" y="10"/>
                    </a:lnTo>
                    <a:lnTo>
                      <a:pt x="44" y="10"/>
                    </a:lnTo>
                    <a:lnTo>
                      <a:pt x="44" y="8"/>
                    </a:lnTo>
                    <a:lnTo>
                      <a:pt x="44" y="6"/>
                    </a:lnTo>
                    <a:lnTo>
                      <a:pt x="44" y="4"/>
                    </a:lnTo>
                    <a:lnTo>
                      <a:pt x="42" y="4"/>
                    </a:lnTo>
                    <a:lnTo>
                      <a:pt x="40" y="4"/>
                    </a:lnTo>
                    <a:lnTo>
                      <a:pt x="38" y="4"/>
                    </a:lnTo>
                    <a:lnTo>
                      <a:pt x="36" y="4"/>
                    </a:lnTo>
                    <a:lnTo>
                      <a:pt x="36" y="2"/>
                    </a:lnTo>
                    <a:lnTo>
                      <a:pt x="34" y="0"/>
                    </a:lnTo>
                    <a:lnTo>
                      <a:pt x="32" y="0"/>
                    </a:lnTo>
                    <a:lnTo>
                      <a:pt x="30" y="0"/>
                    </a:lnTo>
                    <a:lnTo>
                      <a:pt x="28" y="0"/>
                    </a:lnTo>
                    <a:lnTo>
                      <a:pt x="26" y="0"/>
                    </a:lnTo>
                    <a:lnTo>
                      <a:pt x="26" y="2"/>
                    </a:lnTo>
                    <a:lnTo>
                      <a:pt x="24" y="2"/>
                    </a:lnTo>
                    <a:lnTo>
                      <a:pt x="22" y="2"/>
                    </a:lnTo>
                    <a:lnTo>
                      <a:pt x="22" y="4"/>
                    </a:lnTo>
                    <a:lnTo>
                      <a:pt x="20" y="2"/>
                    </a:lnTo>
                    <a:lnTo>
                      <a:pt x="18" y="4"/>
                    </a:lnTo>
                    <a:lnTo>
                      <a:pt x="18" y="6"/>
                    </a:lnTo>
                    <a:lnTo>
                      <a:pt x="18" y="4"/>
                    </a:lnTo>
                    <a:lnTo>
                      <a:pt x="16" y="4"/>
                    </a:lnTo>
                    <a:lnTo>
                      <a:pt x="14" y="4"/>
                    </a:lnTo>
                    <a:lnTo>
                      <a:pt x="12" y="4"/>
                    </a:lnTo>
                    <a:lnTo>
                      <a:pt x="10" y="4"/>
                    </a:lnTo>
                    <a:lnTo>
                      <a:pt x="10" y="2"/>
                    </a:lnTo>
                    <a:lnTo>
                      <a:pt x="8" y="2"/>
                    </a:lnTo>
                    <a:lnTo>
                      <a:pt x="6" y="2"/>
                    </a:lnTo>
                    <a:lnTo>
                      <a:pt x="4" y="4"/>
                    </a:lnTo>
                    <a:lnTo>
                      <a:pt x="2" y="4"/>
                    </a:lnTo>
                    <a:lnTo>
                      <a:pt x="2" y="6"/>
                    </a:lnTo>
                    <a:lnTo>
                      <a:pt x="0" y="6"/>
                    </a:lnTo>
                    <a:lnTo>
                      <a:pt x="0" y="10"/>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39" name="Freeform 132">
                <a:extLst>
                  <a:ext uri="{FF2B5EF4-FFF2-40B4-BE49-F238E27FC236}">
                    <a16:creationId xmlns:a16="http://schemas.microsoft.com/office/drawing/2014/main" id="{95126380-4990-4365-BE32-3CE9E203D8E8}"/>
                  </a:ext>
                </a:extLst>
              </p:cNvPr>
              <p:cNvSpPr>
                <a:spLocks noChangeAspect="1"/>
              </p:cNvSpPr>
              <p:nvPr/>
            </p:nvSpPr>
            <p:spPr bwMode="auto">
              <a:xfrm>
                <a:off x="4652768" y="2816817"/>
                <a:ext cx="23021" cy="52319"/>
              </a:xfrm>
              <a:custGeom>
                <a:avLst/>
                <a:gdLst/>
                <a:ahLst/>
                <a:cxnLst>
                  <a:cxn ang="0">
                    <a:pos x="12" y="6"/>
                  </a:cxn>
                  <a:cxn ang="0">
                    <a:pos x="12" y="6"/>
                  </a:cxn>
                  <a:cxn ang="0">
                    <a:pos x="12" y="6"/>
                  </a:cxn>
                  <a:cxn ang="0">
                    <a:pos x="12" y="4"/>
                  </a:cxn>
                  <a:cxn ang="0">
                    <a:pos x="14" y="2"/>
                  </a:cxn>
                  <a:cxn ang="0">
                    <a:pos x="12" y="0"/>
                  </a:cxn>
                  <a:cxn ang="0">
                    <a:pos x="10" y="0"/>
                  </a:cxn>
                  <a:cxn ang="0">
                    <a:pos x="10" y="2"/>
                  </a:cxn>
                  <a:cxn ang="0">
                    <a:pos x="8" y="4"/>
                  </a:cxn>
                  <a:cxn ang="0">
                    <a:pos x="8" y="4"/>
                  </a:cxn>
                  <a:cxn ang="0">
                    <a:pos x="8" y="4"/>
                  </a:cxn>
                  <a:cxn ang="0">
                    <a:pos x="4" y="6"/>
                  </a:cxn>
                  <a:cxn ang="0">
                    <a:pos x="0" y="10"/>
                  </a:cxn>
                  <a:cxn ang="0">
                    <a:pos x="0" y="12"/>
                  </a:cxn>
                  <a:cxn ang="0">
                    <a:pos x="0" y="16"/>
                  </a:cxn>
                  <a:cxn ang="0">
                    <a:pos x="2" y="18"/>
                  </a:cxn>
                  <a:cxn ang="0">
                    <a:pos x="2" y="20"/>
                  </a:cxn>
                  <a:cxn ang="0">
                    <a:pos x="4" y="22"/>
                  </a:cxn>
                  <a:cxn ang="0">
                    <a:pos x="2" y="22"/>
                  </a:cxn>
                  <a:cxn ang="0">
                    <a:pos x="2" y="24"/>
                  </a:cxn>
                  <a:cxn ang="0">
                    <a:pos x="2" y="26"/>
                  </a:cxn>
                  <a:cxn ang="0">
                    <a:pos x="6" y="28"/>
                  </a:cxn>
                  <a:cxn ang="0">
                    <a:pos x="8" y="30"/>
                  </a:cxn>
                  <a:cxn ang="0">
                    <a:pos x="8" y="30"/>
                  </a:cxn>
                  <a:cxn ang="0">
                    <a:pos x="8" y="30"/>
                  </a:cxn>
                  <a:cxn ang="0">
                    <a:pos x="12" y="26"/>
                  </a:cxn>
                  <a:cxn ang="0">
                    <a:pos x="12" y="24"/>
                  </a:cxn>
                  <a:cxn ang="0">
                    <a:pos x="12" y="22"/>
                  </a:cxn>
                  <a:cxn ang="0">
                    <a:pos x="12" y="20"/>
                  </a:cxn>
                  <a:cxn ang="0">
                    <a:pos x="12" y="18"/>
                  </a:cxn>
                  <a:cxn ang="0">
                    <a:pos x="14" y="18"/>
                  </a:cxn>
                  <a:cxn ang="0">
                    <a:pos x="14" y="18"/>
                  </a:cxn>
                  <a:cxn ang="0">
                    <a:pos x="14" y="6"/>
                  </a:cxn>
                </a:cxnLst>
                <a:rect l="0" t="0" r="r" b="b"/>
                <a:pathLst>
                  <a:path w="14" h="30">
                    <a:moveTo>
                      <a:pt x="14" y="6"/>
                    </a:moveTo>
                    <a:lnTo>
                      <a:pt x="12" y="6"/>
                    </a:lnTo>
                    <a:lnTo>
                      <a:pt x="12" y="4"/>
                    </a:lnTo>
                    <a:lnTo>
                      <a:pt x="14" y="2"/>
                    </a:lnTo>
                    <a:lnTo>
                      <a:pt x="12" y="0"/>
                    </a:lnTo>
                    <a:lnTo>
                      <a:pt x="10" y="0"/>
                    </a:lnTo>
                    <a:lnTo>
                      <a:pt x="10" y="2"/>
                    </a:lnTo>
                    <a:lnTo>
                      <a:pt x="8" y="2"/>
                    </a:lnTo>
                    <a:lnTo>
                      <a:pt x="8" y="4"/>
                    </a:lnTo>
                    <a:lnTo>
                      <a:pt x="6" y="6"/>
                    </a:lnTo>
                    <a:lnTo>
                      <a:pt x="4" y="6"/>
                    </a:lnTo>
                    <a:lnTo>
                      <a:pt x="2" y="8"/>
                    </a:lnTo>
                    <a:lnTo>
                      <a:pt x="0" y="10"/>
                    </a:lnTo>
                    <a:lnTo>
                      <a:pt x="0" y="12"/>
                    </a:lnTo>
                    <a:lnTo>
                      <a:pt x="0" y="14"/>
                    </a:lnTo>
                    <a:lnTo>
                      <a:pt x="0" y="16"/>
                    </a:lnTo>
                    <a:lnTo>
                      <a:pt x="0" y="18"/>
                    </a:lnTo>
                    <a:lnTo>
                      <a:pt x="2" y="18"/>
                    </a:lnTo>
                    <a:lnTo>
                      <a:pt x="2" y="20"/>
                    </a:lnTo>
                    <a:lnTo>
                      <a:pt x="4" y="22"/>
                    </a:lnTo>
                    <a:lnTo>
                      <a:pt x="2" y="22"/>
                    </a:lnTo>
                    <a:lnTo>
                      <a:pt x="2" y="24"/>
                    </a:lnTo>
                    <a:lnTo>
                      <a:pt x="2" y="26"/>
                    </a:lnTo>
                    <a:lnTo>
                      <a:pt x="2" y="28"/>
                    </a:lnTo>
                    <a:lnTo>
                      <a:pt x="6" y="28"/>
                    </a:lnTo>
                    <a:lnTo>
                      <a:pt x="8" y="30"/>
                    </a:lnTo>
                    <a:lnTo>
                      <a:pt x="10" y="28"/>
                    </a:lnTo>
                    <a:lnTo>
                      <a:pt x="12" y="26"/>
                    </a:lnTo>
                    <a:lnTo>
                      <a:pt x="12" y="24"/>
                    </a:lnTo>
                    <a:lnTo>
                      <a:pt x="12" y="22"/>
                    </a:lnTo>
                    <a:lnTo>
                      <a:pt x="12" y="20"/>
                    </a:lnTo>
                    <a:lnTo>
                      <a:pt x="12" y="18"/>
                    </a:lnTo>
                    <a:lnTo>
                      <a:pt x="14" y="18"/>
                    </a:lnTo>
                    <a:lnTo>
                      <a:pt x="14" y="6"/>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40" name="Freeform 133">
                <a:extLst>
                  <a:ext uri="{FF2B5EF4-FFF2-40B4-BE49-F238E27FC236}">
                    <a16:creationId xmlns:a16="http://schemas.microsoft.com/office/drawing/2014/main" id="{4CC79FD5-023C-42FB-BEB8-6F9711A58522}"/>
                  </a:ext>
                </a:extLst>
              </p:cNvPr>
              <p:cNvSpPr>
                <a:spLocks noChangeAspect="1"/>
              </p:cNvSpPr>
              <p:nvPr/>
            </p:nvSpPr>
            <p:spPr bwMode="auto">
              <a:xfrm>
                <a:off x="4264699" y="2417449"/>
                <a:ext cx="59197" cy="34879"/>
              </a:xfrm>
              <a:custGeom>
                <a:avLst/>
                <a:gdLst/>
                <a:ahLst/>
                <a:cxnLst>
                  <a:cxn ang="0">
                    <a:pos x="30" y="18"/>
                  </a:cxn>
                  <a:cxn ang="0">
                    <a:pos x="30" y="16"/>
                  </a:cxn>
                  <a:cxn ang="0">
                    <a:pos x="30" y="16"/>
                  </a:cxn>
                  <a:cxn ang="0">
                    <a:pos x="32" y="18"/>
                  </a:cxn>
                  <a:cxn ang="0">
                    <a:pos x="34" y="18"/>
                  </a:cxn>
                  <a:cxn ang="0">
                    <a:pos x="34" y="16"/>
                  </a:cxn>
                  <a:cxn ang="0">
                    <a:pos x="36" y="12"/>
                  </a:cxn>
                  <a:cxn ang="0">
                    <a:pos x="36" y="10"/>
                  </a:cxn>
                  <a:cxn ang="0">
                    <a:pos x="34" y="8"/>
                  </a:cxn>
                  <a:cxn ang="0">
                    <a:pos x="32" y="4"/>
                  </a:cxn>
                  <a:cxn ang="0">
                    <a:pos x="32" y="4"/>
                  </a:cxn>
                  <a:cxn ang="0">
                    <a:pos x="30" y="4"/>
                  </a:cxn>
                  <a:cxn ang="0">
                    <a:pos x="30" y="4"/>
                  </a:cxn>
                  <a:cxn ang="0">
                    <a:pos x="30" y="4"/>
                  </a:cxn>
                  <a:cxn ang="0">
                    <a:pos x="28" y="0"/>
                  </a:cxn>
                  <a:cxn ang="0">
                    <a:pos x="26" y="0"/>
                  </a:cxn>
                  <a:cxn ang="0">
                    <a:pos x="24" y="0"/>
                  </a:cxn>
                  <a:cxn ang="0">
                    <a:pos x="20" y="0"/>
                  </a:cxn>
                  <a:cxn ang="0">
                    <a:pos x="18" y="0"/>
                  </a:cxn>
                  <a:cxn ang="0">
                    <a:pos x="18" y="0"/>
                  </a:cxn>
                  <a:cxn ang="0">
                    <a:pos x="16" y="2"/>
                  </a:cxn>
                  <a:cxn ang="0">
                    <a:pos x="16" y="2"/>
                  </a:cxn>
                  <a:cxn ang="0">
                    <a:pos x="14" y="4"/>
                  </a:cxn>
                  <a:cxn ang="0">
                    <a:pos x="10" y="6"/>
                  </a:cxn>
                  <a:cxn ang="0">
                    <a:pos x="6" y="6"/>
                  </a:cxn>
                  <a:cxn ang="0">
                    <a:pos x="6" y="8"/>
                  </a:cxn>
                  <a:cxn ang="0">
                    <a:pos x="6" y="8"/>
                  </a:cxn>
                  <a:cxn ang="0">
                    <a:pos x="6" y="10"/>
                  </a:cxn>
                  <a:cxn ang="0">
                    <a:pos x="6" y="10"/>
                  </a:cxn>
                  <a:cxn ang="0">
                    <a:pos x="6" y="12"/>
                  </a:cxn>
                  <a:cxn ang="0">
                    <a:pos x="6" y="12"/>
                  </a:cxn>
                  <a:cxn ang="0">
                    <a:pos x="4" y="12"/>
                  </a:cxn>
                  <a:cxn ang="0">
                    <a:pos x="0" y="14"/>
                  </a:cxn>
                  <a:cxn ang="0">
                    <a:pos x="0" y="14"/>
                  </a:cxn>
                  <a:cxn ang="0">
                    <a:pos x="0" y="16"/>
                  </a:cxn>
                  <a:cxn ang="0">
                    <a:pos x="4" y="16"/>
                  </a:cxn>
                  <a:cxn ang="0">
                    <a:pos x="8" y="18"/>
                  </a:cxn>
                  <a:cxn ang="0">
                    <a:pos x="8" y="18"/>
                  </a:cxn>
                  <a:cxn ang="0">
                    <a:pos x="12" y="16"/>
                  </a:cxn>
                  <a:cxn ang="0">
                    <a:pos x="14" y="16"/>
                  </a:cxn>
                  <a:cxn ang="0">
                    <a:pos x="14" y="14"/>
                  </a:cxn>
                  <a:cxn ang="0">
                    <a:pos x="16" y="14"/>
                  </a:cxn>
                  <a:cxn ang="0">
                    <a:pos x="18" y="16"/>
                  </a:cxn>
                  <a:cxn ang="0">
                    <a:pos x="20" y="18"/>
                  </a:cxn>
                  <a:cxn ang="0">
                    <a:pos x="20" y="18"/>
                  </a:cxn>
                  <a:cxn ang="0">
                    <a:pos x="22" y="20"/>
                  </a:cxn>
                  <a:cxn ang="0">
                    <a:pos x="26" y="20"/>
                  </a:cxn>
                  <a:cxn ang="0">
                    <a:pos x="28" y="20"/>
                  </a:cxn>
                  <a:cxn ang="0">
                    <a:pos x="28" y="20"/>
                  </a:cxn>
                  <a:cxn ang="0">
                    <a:pos x="28" y="20"/>
                  </a:cxn>
                  <a:cxn ang="0">
                    <a:pos x="28" y="20"/>
                  </a:cxn>
                </a:cxnLst>
                <a:rect l="0" t="0" r="r" b="b"/>
                <a:pathLst>
                  <a:path w="36" h="20">
                    <a:moveTo>
                      <a:pt x="28" y="20"/>
                    </a:moveTo>
                    <a:lnTo>
                      <a:pt x="30" y="18"/>
                    </a:lnTo>
                    <a:lnTo>
                      <a:pt x="30" y="16"/>
                    </a:lnTo>
                    <a:lnTo>
                      <a:pt x="32" y="18"/>
                    </a:lnTo>
                    <a:lnTo>
                      <a:pt x="34" y="18"/>
                    </a:lnTo>
                    <a:lnTo>
                      <a:pt x="34" y="16"/>
                    </a:lnTo>
                    <a:lnTo>
                      <a:pt x="36" y="14"/>
                    </a:lnTo>
                    <a:lnTo>
                      <a:pt x="36" y="12"/>
                    </a:lnTo>
                    <a:lnTo>
                      <a:pt x="36" y="10"/>
                    </a:lnTo>
                    <a:lnTo>
                      <a:pt x="34" y="10"/>
                    </a:lnTo>
                    <a:lnTo>
                      <a:pt x="34" y="8"/>
                    </a:lnTo>
                    <a:lnTo>
                      <a:pt x="32" y="6"/>
                    </a:lnTo>
                    <a:lnTo>
                      <a:pt x="32" y="4"/>
                    </a:lnTo>
                    <a:lnTo>
                      <a:pt x="30" y="4"/>
                    </a:lnTo>
                    <a:lnTo>
                      <a:pt x="30" y="2"/>
                    </a:lnTo>
                    <a:lnTo>
                      <a:pt x="28" y="0"/>
                    </a:lnTo>
                    <a:lnTo>
                      <a:pt x="26" y="0"/>
                    </a:lnTo>
                    <a:lnTo>
                      <a:pt x="24" y="0"/>
                    </a:lnTo>
                    <a:lnTo>
                      <a:pt x="22" y="0"/>
                    </a:lnTo>
                    <a:lnTo>
                      <a:pt x="20" y="0"/>
                    </a:lnTo>
                    <a:lnTo>
                      <a:pt x="18" y="0"/>
                    </a:lnTo>
                    <a:lnTo>
                      <a:pt x="16" y="2"/>
                    </a:lnTo>
                    <a:lnTo>
                      <a:pt x="14" y="4"/>
                    </a:lnTo>
                    <a:lnTo>
                      <a:pt x="12" y="4"/>
                    </a:lnTo>
                    <a:lnTo>
                      <a:pt x="10" y="6"/>
                    </a:lnTo>
                    <a:lnTo>
                      <a:pt x="8" y="6"/>
                    </a:lnTo>
                    <a:lnTo>
                      <a:pt x="6" y="6"/>
                    </a:lnTo>
                    <a:lnTo>
                      <a:pt x="6" y="8"/>
                    </a:lnTo>
                    <a:lnTo>
                      <a:pt x="6" y="10"/>
                    </a:lnTo>
                    <a:lnTo>
                      <a:pt x="6" y="12"/>
                    </a:lnTo>
                    <a:lnTo>
                      <a:pt x="4" y="12"/>
                    </a:lnTo>
                    <a:lnTo>
                      <a:pt x="2" y="12"/>
                    </a:lnTo>
                    <a:lnTo>
                      <a:pt x="0" y="14"/>
                    </a:lnTo>
                    <a:lnTo>
                      <a:pt x="0" y="16"/>
                    </a:lnTo>
                    <a:lnTo>
                      <a:pt x="4" y="16"/>
                    </a:lnTo>
                    <a:lnTo>
                      <a:pt x="6" y="18"/>
                    </a:lnTo>
                    <a:lnTo>
                      <a:pt x="8" y="18"/>
                    </a:lnTo>
                    <a:lnTo>
                      <a:pt x="12" y="16"/>
                    </a:lnTo>
                    <a:lnTo>
                      <a:pt x="14" y="16"/>
                    </a:lnTo>
                    <a:lnTo>
                      <a:pt x="14" y="14"/>
                    </a:lnTo>
                    <a:lnTo>
                      <a:pt x="16" y="14"/>
                    </a:lnTo>
                    <a:lnTo>
                      <a:pt x="16" y="16"/>
                    </a:lnTo>
                    <a:lnTo>
                      <a:pt x="18" y="16"/>
                    </a:lnTo>
                    <a:lnTo>
                      <a:pt x="18" y="18"/>
                    </a:lnTo>
                    <a:lnTo>
                      <a:pt x="20" y="18"/>
                    </a:lnTo>
                    <a:lnTo>
                      <a:pt x="22" y="20"/>
                    </a:lnTo>
                    <a:lnTo>
                      <a:pt x="24" y="20"/>
                    </a:lnTo>
                    <a:lnTo>
                      <a:pt x="26" y="20"/>
                    </a:lnTo>
                    <a:lnTo>
                      <a:pt x="28" y="20"/>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41" name="Freeform 134">
                <a:extLst>
                  <a:ext uri="{FF2B5EF4-FFF2-40B4-BE49-F238E27FC236}">
                    <a16:creationId xmlns:a16="http://schemas.microsoft.com/office/drawing/2014/main" id="{9F59848A-8101-4BD0-80FF-0F4439EF8F1F}"/>
                  </a:ext>
                </a:extLst>
              </p:cNvPr>
              <p:cNvSpPr>
                <a:spLocks noChangeAspect="1"/>
              </p:cNvSpPr>
              <p:nvPr/>
            </p:nvSpPr>
            <p:spPr bwMode="auto">
              <a:xfrm>
                <a:off x="4642902" y="2340714"/>
                <a:ext cx="62485" cy="90686"/>
              </a:xfrm>
              <a:custGeom>
                <a:avLst/>
                <a:gdLst/>
                <a:ahLst/>
                <a:cxnLst>
                  <a:cxn ang="0">
                    <a:pos x="34" y="8"/>
                  </a:cxn>
                  <a:cxn ang="0">
                    <a:pos x="34" y="4"/>
                  </a:cxn>
                  <a:cxn ang="0">
                    <a:pos x="32" y="0"/>
                  </a:cxn>
                  <a:cxn ang="0">
                    <a:pos x="28" y="0"/>
                  </a:cxn>
                  <a:cxn ang="0">
                    <a:pos x="26" y="0"/>
                  </a:cxn>
                  <a:cxn ang="0">
                    <a:pos x="20" y="6"/>
                  </a:cxn>
                  <a:cxn ang="0">
                    <a:pos x="18" y="12"/>
                  </a:cxn>
                  <a:cxn ang="0">
                    <a:pos x="18" y="18"/>
                  </a:cxn>
                  <a:cxn ang="0">
                    <a:pos x="16" y="16"/>
                  </a:cxn>
                  <a:cxn ang="0">
                    <a:pos x="14" y="14"/>
                  </a:cxn>
                  <a:cxn ang="0">
                    <a:pos x="12" y="8"/>
                  </a:cxn>
                  <a:cxn ang="0">
                    <a:pos x="12" y="8"/>
                  </a:cxn>
                  <a:cxn ang="0">
                    <a:pos x="6" y="12"/>
                  </a:cxn>
                  <a:cxn ang="0">
                    <a:pos x="4" y="14"/>
                  </a:cxn>
                  <a:cxn ang="0">
                    <a:pos x="8" y="14"/>
                  </a:cxn>
                  <a:cxn ang="0">
                    <a:pos x="10" y="18"/>
                  </a:cxn>
                  <a:cxn ang="0">
                    <a:pos x="12" y="22"/>
                  </a:cxn>
                  <a:cxn ang="0">
                    <a:pos x="6" y="20"/>
                  </a:cxn>
                  <a:cxn ang="0">
                    <a:pos x="4" y="20"/>
                  </a:cxn>
                  <a:cxn ang="0">
                    <a:pos x="0" y="26"/>
                  </a:cxn>
                  <a:cxn ang="0">
                    <a:pos x="2" y="30"/>
                  </a:cxn>
                  <a:cxn ang="0">
                    <a:pos x="6" y="32"/>
                  </a:cxn>
                  <a:cxn ang="0">
                    <a:pos x="6" y="32"/>
                  </a:cxn>
                  <a:cxn ang="0">
                    <a:pos x="2" y="36"/>
                  </a:cxn>
                  <a:cxn ang="0">
                    <a:pos x="4" y="38"/>
                  </a:cxn>
                  <a:cxn ang="0">
                    <a:pos x="8" y="38"/>
                  </a:cxn>
                  <a:cxn ang="0">
                    <a:pos x="8" y="42"/>
                  </a:cxn>
                  <a:cxn ang="0">
                    <a:pos x="8" y="44"/>
                  </a:cxn>
                  <a:cxn ang="0">
                    <a:pos x="6" y="48"/>
                  </a:cxn>
                  <a:cxn ang="0">
                    <a:pos x="8" y="48"/>
                  </a:cxn>
                  <a:cxn ang="0">
                    <a:pos x="8" y="50"/>
                  </a:cxn>
                  <a:cxn ang="0">
                    <a:pos x="12" y="50"/>
                  </a:cxn>
                  <a:cxn ang="0">
                    <a:pos x="16" y="52"/>
                  </a:cxn>
                  <a:cxn ang="0">
                    <a:pos x="18" y="50"/>
                  </a:cxn>
                  <a:cxn ang="0">
                    <a:pos x="24" y="52"/>
                  </a:cxn>
                  <a:cxn ang="0">
                    <a:pos x="24" y="50"/>
                  </a:cxn>
                  <a:cxn ang="0">
                    <a:pos x="22" y="44"/>
                  </a:cxn>
                  <a:cxn ang="0">
                    <a:pos x="26" y="40"/>
                  </a:cxn>
                  <a:cxn ang="0">
                    <a:pos x="24" y="40"/>
                  </a:cxn>
                  <a:cxn ang="0">
                    <a:pos x="22" y="36"/>
                  </a:cxn>
                  <a:cxn ang="0">
                    <a:pos x="28" y="32"/>
                  </a:cxn>
                  <a:cxn ang="0">
                    <a:pos x="30" y="30"/>
                  </a:cxn>
                  <a:cxn ang="0">
                    <a:pos x="30" y="24"/>
                  </a:cxn>
                  <a:cxn ang="0">
                    <a:pos x="34" y="24"/>
                  </a:cxn>
                  <a:cxn ang="0">
                    <a:pos x="36" y="24"/>
                  </a:cxn>
                  <a:cxn ang="0">
                    <a:pos x="38" y="20"/>
                  </a:cxn>
                  <a:cxn ang="0">
                    <a:pos x="36" y="18"/>
                  </a:cxn>
                  <a:cxn ang="0">
                    <a:pos x="30" y="18"/>
                  </a:cxn>
                  <a:cxn ang="0">
                    <a:pos x="30" y="18"/>
                  </a:cxn>
                  <a:cxn ang="0">
                    <a:pos x="30" y="14"/>
                  </a:cxn>
                </a:cxnLst>
                <a:rect l="0" t="0" r="r" b="b"/>
                <a:pathLst>
                  <a:path w="38" h="52">
                    <a:moveTo>
                      <a:pt x="30" y="12"/>
                    </a:moveTo>
                    <a:lnTo>
                      <a:pt x="30" y="12"/>
                    </a:lnTo>
                    <a:lnTo>
                      <a:pt x="32" y="12"/>
                    </a:lnTo>
                    <a:lnTo>
                      <a:pt x="34" y="8"/>
                    </a:lnTo>
                    <a:lnTo>
                      <a:pt x="34" y="6"/>
                    </a:lnTo>
                    <a:lnTo>
                      <a:pt x="34" y="4"/>
                    </a:lnTo>
                    <a:lnTo>
                      <a:pt x="32" y="2"/>
                    </a:lnTo>
                    <a:lnTo>
                      <a:pt x="32" y="0"/>
                    </a:lnTo>
                    <a:lnTo>
                      <a:pt x="30" y="0"/>
                    </a:lnTo>
                    <a:lnTo>
                      <a:pt x="28" y="0"/>
                    </a:lnTo>
                    <a:lnTo>
                      <a:pt x="26" y="0"/>
                    </a:lnTo>
                    <a:lnTo>
                      <a:pt x="24" y="2"/>
                    </a:lnTo>
                    <a:lnTo>
                      <a:pt x="22" y="4"/>
                    </a:lnTo>
                    <a:lnTo>
                      <a:pt x="20" y="6"/>
                    </a:lnTo>
                    <a:lnTo>
                      <a:pt x="20" y="8"/>
                    </a:lnTo>
                    <a:lnTo>
                      <a:pt x="18" y="10"/>
                    </a:lnTo>
                    <a:lnTo>
                      <a:pt x="18" y="12"/>
                    </a:lnTo>
                    <a:lnTo>
                      <a:pt x="18" y="14"/>
                    </a:lnTo>
                    <a:lnTo>
                      <a:pt x="18" y="16"/>
                    </a:lnTo>
                    <a:lnTo>
                      <a:pt x="18" y="18"/>
                    </a:lnTo>
                    <a:lnTo>
                      <a:pt x="16" y="16"/>
                    </a:lnTo>
                    <a:lnTo>
                      <a:pt x="14" y="14"/>
                    </a:lnTo>
                    <a:lnTo>
                      <a:pt x="14" y="12"/>
                    </a:lnTo>
                    <a:lnTo>
                      <a:pt x="14" y="10"/>
                    </a:lnTo>
                    <a:lnTo>
                      <a:pt x="12" y="10"/>
                    </a:lnTo>
                    <a:lnTo>
                      <a:pt x="12" y="8"/>
                    </a:lnTo>
                    <a:lnTo>
                      <a:pt x="10" y="8"/>
                    </a:lnTo>
                    <a:lnTo>
                      <a:pt x="10" y="10"/>
                    </a:lnTo>
                    <a:lnTo>
                      <a:pt x="8" y="10"/>
                    </a:lnTo>
                    <a:lnTo>
                      <a:pt x="6" y="12"/>
                    </a:lnTo>
                    <a:lnTo>
                      <a:pt x="4" y="12"/>
                    </a:lnTo>
                    <a:lnTo>
                      <a:pt x="4" y="14"/>
                    </a:lnTo>
                    <a:lnTo>
                      <a:pt x="6" y="14"/>
                    </a:lnTo>
                    <a:lnTo>
                      <a:pt x="8" y="14"/>
                    </a:lnTo>
                    <a:lnTo>
                      <a:pt x="10" y="16"/>
                    </a:lnTo>
                    <a:lnTo>
                      <a:pt x="10" y="18"/>
                    </a:lnTo>
                    <a:lnTo>
                      <a:pt x="12" y="20"/>
                    </a:lnTo>
                    <a:lnTo>
                      <a:pt x="12" y="22"/>
                    </a:lnTo>
                    <a:lnTo>
                      <a:pt x="10" y="20"/>
                    </a:lnTo>
                    <a:lnTo>
                      <a:pt x="8" y="20"/>
                    </a:lnTo>
                    <a:lnTo>
                      <a:pt x="6" y="20"/>
                    </a:lnTo>
                    <a:lnTo>
                      <a:pt x="4" y="20"/>
                    </a:lnTo>
                    <a:lnTo>
                      <a:pt x="2" y="22"/>
                    </a:lnTo>
                    <a:lnTo>
                      <a:pt x="0" y="26"/>
                    </a:lnTo>
                    <a:lnTo>
                      <a:pt x="0" y="28"/>
                    </a:lnTo>
                    <a:lnTo>
                      <a:pt x="0" y="30"/>
                    </a:lnTo>
                    <a:lnTo>
                      <a:pt x="2" y="30"/>
                    </a:lnTo>
                    <a:lnTo>
                      <a:pt x="4" y="32"/>
                    </a:lnTo>
                    <a:lnTo>
                      <a:pt x="6" y="32"/>
                    </a:lnTo>
                    <a:lnTo>
                      <a:pt x="4" y="34"/>
                    </a:lnTo>
                    <a:lnTo>
                      <a:pt x="2" y="36"/>
                    </a:lnTo>
                    <a:lnTo>
                      <a:pt x="2" y="38"/>
                    </a:lnTo>
                    <a:lnTo>
                      <a:pt x="4" y="38"/>
                    </a:lnTo>
                    <a:lnTo>
                      <a:pt x="6" y="38"/>
                    </a:lnTo>
                    <a:lnTo>
                      <a:pt x="8" y="38"/>
                    </a:lnTo>
                    <a:lnTo>
                      <a:pt x="8" y="40"/>
                    </a:lnTo>
                    <a:lnTo>
                      <a:pt x="8" y="42"/>
                    </a:lnTo>
                    <a:lnTo>
                      <a:pt x="8" y="44"/>
                    </a:lnTo>
                    <a:lnTo>
                      <a:pt x="8" y="46"/>
                    </a:lnTo>
                    <a:lnTo>
                      <a:pt x="6" y="46"/>
                    </a:lnTo>
                    <a:lnTo>
                      <a:pt x="6" y="48"/>
                    </a:lnTo>
                    <a:lnTo>
                      <a:pt x="8" y="48"/>
                    </a:lnTo>
                    <a:lnTo>
                      <a:pt x="8" y="50"/>
                    </a:lnTo>
                    <a:lnTo>
                      <a:pt x="10" y="50"/>
                    </a:lnTo>
                    <a:lnTo>
                      <a:pt x="12" y="50"/>
                    </a:lnTo>
                    <a:lnTo>
                      <a:pt x="14" y="50"/>
                    </a:lnTo>
                    <a:lnTo>
                      <a:pt x="16" y="50"/>
                    </a:lnTo>
                    <a:lnTo>
                      <a:pt x="16" y="52"/>
                    </a:lnTo>
                    <a:lnTo>
                      <a:pt x="18" y="50"/>
                    </a:lnTo>
                    <a:lnTo>
                      <a:pt x="20" y="50"/>
                    </a:lnTo>
                    <a:lnTo>
                      <a:pt x="22" y="50"/>
                    </a:lnTo>
                    <a:lnTo>
                      <a:pt x="24" y="52"/>
                    </a:lnTo>
                    <a:lnTo>
                      <a:pt x="24" y="50"/>
                    </a:lnTo>
                    <a:lnTo>
                      <a:pt x="24" y="48"/>
                    </a:lnTo>
                    <a:lnTo>
                      <a:pt x="22" y="46"/>
                    </a:lnTo>
                    <a:lnTo>
                      <a:pt x="22" y="44"/>
                    </a:lnTo>
                    <a:lnTo>
                      <a:pt x="24" y="44"/>
                    </a:lnTo>
                    <a:lnTo>
                      <a:pt x="24" y="42"/>
                    </a:lnTo>
                    <a:lnTo>
                      <a:pt x="26" y="40"/>
                    </a:lnTo>
                    <a:lnTo>
                      <a:pt x="24" y="40"/>
                    </a:lnTo>
                    <a:lnTo>
                      <a:pt x="24" y="38"/>
                    </a:lnTo>
                    <a:lnTo>
                      <a:pt x="22" y="38"/>
                    </a:lnTo>
                    <a:lnTo>
                      <a:pt x="22" y="36"/>
                    </a:lnTo>
                    <a:lnTo>
                      <a:pt x="22" y="34"/>
                    </a:lnTo>
                    <a:lnTo>
                      <a:pt x="26" y="34"/>
                    </a:lnTo>
                    <a:lnTo>
                      <a:pt x="28" y="32"/>
                    </a:lnTo>
                    <a:lnTo>
                      <a:pt x="30" y="32"/>
                    </a:lnTo>
                    <a:lnTo>
                      <a:pt x="30" y="30"/>
                    </a:lnTo>
                    <a:lnTo>
                      <a:pt x="30" y="28"/>
                    </a:lnTo>
                    <a:lnTo>
                      <a:pt x="30" y="26"/>
                    </a:lnTo>
                    <a:lnTo>
                      <a:pt x="30" y="24"/>
                    </a:lnTo>
                    <a:lnTo>
                      <a:pt x="32" y="24"/>
                    </a:lnTo>
                    <a:lnTo>
                      <a:pt x="34" y="24"/>
                    </a:lnTo>
                    <a:lnTo>
                      <a:pt x="36" y="24"/>
                    </a:lnTo>
                    <a:lnTo>
                      <a:pt x="36" y="22"/>
                    </a:lnTo>
                    <a:lnTo>
                      <a:pt x="38" y="22"/>
                    </a:lnTo>
                    <a:lnTo>
                      <a:pt x="38" y="20"/>
                    </a:lnTo>
                    <a:lnTo>
                      <a:pt x="38" y="18"/>
                    </a:lnTo>
                    <a:lnTo>
                      <a:pt x="36" y="18"/>
                    </a:lnTo>
                    <a:lnTo>
                      <a:pt x="34" y="18"/>
                    </a:lnTo>
                    <a:lnTo>
                      <a:pt x="32" y="18"/>
                    </a:lnTo>
                    <a:lnTo>
                      <a:pt x="30" y="18"/>
                    </a:lnTo>
                    <a:lnTo>
                      <a:pt x="30" y="16"/>
                    </a:lnTo>
                    <a:lnTo>
                      <a:pt x="28" y="16"/>
                    </a:lnTo>
                    <a:lnTo>
                      <a:pt x="28" y="14"/>
                    </a:lnTo>
                    <a:lnTo>
                      <a:pt x="30" y="14"/>
                    </a:lnTo>
                    <a:lnTo>
                      <a:pt x="30" y="1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2" name="Freeform 135">
                <a:extLst>
                  <a:ext uri="{FF2B5EF4-FFF2-40B4-BE49-F238E27FC236}">
                    <a16:creationId xmlns:a16="http://schemas.microsoft.com/office/drawing/2014/main" id="{D9F92303-35E8-479F-9911-AF025F9D4F9D}"/>
                  </a:ext>
                </a:extLst>
              </p:cNvPr>
              <p:cNvSpPr>
                <a:spLocks noChangeAspect="1"/>
              </p:cNvSpPr>
              <p:nvPr/>
            </p:nvSpPr>
            <p:spPr bwMode="auto">
              <a:xfrm>
                <a:off x="4711965" y="2424424"/>
                <a:ext cx="39464" cy="13951"/>
              </a:xfrm>
              <a:custGeom>
                <a:avLst/>
                <a:gdLst/>
                <a:ahLst/>
                <a:cxnLst>
                  <a:cxn ang="0">
                    <a:pos x="22" y="0"/>
                  </a:cxn>
                  <a:cxn ang="0">
                    <a:pos x="20" y="0"/>
                  </a:cxn>
                  <a:cxn ang="0">
                    <a:pos x="20" y="2"/>
                  </a:cxn>
                  <a:cxn ang="0">
                    <a:pos x="18" y="2"/>
                  </a:cxn>
                  <a:cxn ang="0">
                    <a:pos x="18" y="2"/>
                  </a:cxn>
                  <a:cxn ang="0">
                    <a:pos x="16" y="2"/>
                  </a:cxn>
                  <a:cxn ang="0">
                    <a:pos x="16" y="2"/>
                  </a:cxn>
                  <a:cxn ang="0">
                    <a:pos x="16" y="2"/>
                  </a:cxn>
                  <a:cxn ang="0">
                    <a:pos x="16" y="2"/>
                  </a:cxn>
                  <a:cxn ang="0">
                    <a:pos x="16" y="2"/>
                  </a:cxn>
                  <a:cxn ang="0">
                    <a:pos x="14" y="2"/>
                  </a:cxn>
                  <a:cxn ang="0">
                    <a:pos x="12" y="4"/>
                  </a:cxn>
                  <a:cxn ang="0">
                    <a:pos x="12" y="4"/>
                  </a:cxn>
                  <a:cxn ang="0">
                    <a:pos x="10" y="4"/>
                  </a:cxn>
                  <a:cxn ang="0">
                    <a:pos x="10" y="2"/>
                  </a:cxn>
                  <a:cxn ang="0">
                    <a:pos x="6" y="2"/>
                  </a:cxn>
                  <a:cxn ang="0">
                    <a:pos x="4" y="2"/>
                  </a:cxn>
                  <a:cxn ang="0">
                    <a:pos x="4" y="0"/>
                  </a:cxn>
                  <a:cxn ang="0">
                    <a:pos x="2" y="0"/>
                  </a:cxn>
                  <a:cxn ang="0">
                    <a:pos x="0" y="0"/>
                  </a:cxn>
                  <a:cxn ang="0">
                    <a:pos x="0" y="2"/>
                  </a:cxn>
                  <a:cxn ang="0">
                    <a:pos x="0" y="2"/>
                  </a:cxn>
                  <a:cxn ang="0">
                    <a:pos x="0" y="2"/>
                  </a:cxn>
                  <a:cxn ang="0">
                    <a:pos x="0" y="4"/>
                  </a:cxn>
                  <a:cxn ang="0">
                    <a:pos x="0" y="4"/>
                  </a:cxn>
                  <a:cxn ang="0">
                    <a:pos x="2" y="4"/>
                  </a:cxn>
                  <a:cxn ang="0">
                    <a:pos x="2" y="4"/>
                  </a:cxn>
                  <a:cxn ang="0">
                    <a:pos x="4" y="4"/>
                  </a:cxn>
                  <a:cxn ang="0">
                    <a:pos x="4" y="4"/>
                  </a:cxn>
                  <a:cxn ang="0">
                    <a:pos x="6" y="6"/>
                  </a:cxn>
                  <a:cxn ang="0">
                    <a:pos x="6" y="6"/>
                  </a:cxn>
                  <a:cxn ang="0">
                    <a:pos x="8" y="6"/>
                  </a:cxn>
                  <a:cxn ang="0">
                    <a:pos x="8" y="8"/>
                  </a:cxn>
                  <a:cxn ang="0">
                    <a:pos x="10" y="8"/>
                  </a:cxn>
                  <a:cxn ang="0">
                    <a:pos x="10" y="8"/>
                  </a:cxn>
                  <a:cxn ang="0">
                    <a:pos x="10" y="8"/>
                  </a:cxn>
                  <a:cxn ang="0">
                    <a:pos x="10" y="8"/>
                  </a:cxn>
                  <a:cxn ang="0">
                    <a:pos x="12" y="8"/>
                  </a:cxn>
                  <a:cxn ang="0">
                    <a:pos x="14" y="8"/>
                  </a:cxn>
                  <a:cxn ang="0">
                    <a:pos x="16" y="6"/>
                  </a:cxn>
                  <a:cxn ang="0">
                    <a:pos x="18" y="6"/>
                  </a:cxn>
                  <a:cxn ang="0">
                    <a:pos x="20" y="6"/>
                  </a:cxn>
                  <a:cxn ang="0">
                    <a:pos x="22" y="6"/>
                  </a:cxn>
                  <a:cxn ang="0">
                    <a:pos x="22" y="4"/>
                  </a:cxn>
                  <a:cxn ang="0">
                    <a:pos x="24" y="4"/>
                  </a:cxn>
                  <a:cxn ang="0">
                    <a:pos x="24" y="4"/>
                  </a:cxn>
                  <a:cxn ang="0">
                    <a:pos x="24" y="2"/>
                  </a:cxn>
                  <a:cxn ang="0">
                    <a:pos x="24" y="2"/>
                  </a:cxn>
                  <a:cxn ang="0">
                    <a:pos x="22" y="0"/>
                  </a:cxn>
                  <a:cxn ang="0">
                    <a:pos x="22" y="0"/>
                  </a:cxn>
                  <a:cxn ang="0">
                    <a:pos x="22" y="0"/>
                  </a:cxn>
                  <a:cxn ang="0">
                    <a:pos x="22" y="0"/>
                  </a:cxn>
                  <a:cxn ang="0">
                    <a:pos x="22" y="0"/>
                  </a:cxn>
                </a:cxnLst>
                <a:rect l="0" t="0" r="r" b="b"/>
                <a:pathLst>
                  <a:path w="24" h="8">
                    <a:moveTo>
                      <a:pt x="22" y="0"/>
                    </a:moveTo>
                    <a:lnTo>
                      <a:pt x="20" y="0"/>
                    </a:lnTo>
                    <a:lnTo>
                      <a:pt x="20" y="2"/>
                    </a:lnTo>
                    <a:lnTo>
                      <a:pt x="18" y="2"/>
                    </a:lnTo>
                    <a:lnTo>
                      <a:pt x="16" y="2"/>
                    </a:lnTo>
                    <a:lnTo>
                      <a:pt x="14" y="2"/>
                    </a:lnTo>
                    <a:lnTo>
                      <a:pt x="12" y="4"/>
                    </a:lnTo>
                    <a:lnTo>
                      <a:pt x="10" y="4"/>
                    </a:lnTo>
                    <a:lnTo>
                      <a:pt x="10" y="2"/>
                    </a:lnTo>
                    <a:lnTo>
                      <a:pt x="6" y="2"/>
                    </a:lnTo>
                    <a:lnTo>
                      <a:pt x="4" y="2"/>
                    </a:lnTo>
                    <a:lnTo>
                      <a:pt x="4" y="0"/>
                    </a:lnTo>
                    <a:lnTo>
                      <a:pt x="2" y="0"/>
                    </a:lnTo>
                    <a:lnTo>
                      <a:pt x="0" y="0"/>
                    </a:lnTo>
                    <a:lnTo>
                      <a:pt x="0" y="2"/>
                    </a:lnTo>
                    <a:lnTo>
                      <a:pt x="0" y="4"/>
                    </a:lnTo>
                    <a:lnTo>
                      <a:pt x="2" y="4"/>
                    </a:lnTo>
                    <a:lnTo>
                      <a:pt x="4" y="4"/>
                    </a:lnTo>
                    <a:lnTo>
                      <a:pt x="6" y="6"/>
                    </a:lnTo>
                    <a:lnTo>
                      <a:pt x="8" y="6"/>
                    </a:lnTo>
                    <a:lnTo>
                      <a:pt x="8" y="8"/>
                    </a:lnTo>
                    <a:lnTo>
                      <a:pt x="10" y="8"/>
                    </a:lnTo>
                    <a:lnTo>
                      <a:pt x="12" y="8"/>
                    </a:lnTo>
                    <a:lnTo>
                      <a:pt x="14" y="8"/>
                    </a:lnTo>
                    <a:lnTo>
                      <a:pt x="16" y="6"/>
                    </a:lnTo>
                    <a:lnTo>
                      <a:pt x="18" y="6"/>
                    </a:lnTo>
                    <a:lnTo>
                      <a:pt x="20" y="6"/>
                    </a:lnTo>
                    <a:lnTo>
                      <a:pt x="22" y="6"/>
                    </a:lnTo>
                    <a:lnTo>
                      <a:pt x="22" y="4"/>
                    </a:lnTo>
                    <a:lnTo>
                      <a:pt x="24" y="4"/>
                    </a:lnTo>
                    <a:lnTo>
                      <a:pt x="24" y="2"/>
                    </a:lnTo>
                    <a:lnTo>
                      <a:pt x="2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3" name="Freeform 136">
                <a:extLst>
                  <a:ext uri="{FF2B5EF4-FFF2-40B4-BE49-F238E27FC236}">
                    <a16:creationId xmlns:a16="http://schemas.microsoft.com/office/drawing/2014/main" id="{CCFCE515-6D33-4C2E-92D3-86E8D8911E04}"/>
                  </a:ext>
                </a:extLst>
              </p:cNvPr>
              <p:cNvSpPr>
                <a:spLocks noChangeAspect="1"/>
              </p:cNvSpPr>
              <p:nvPr/>
            </p:nvSpPr>
            <p:spPr bwMode="auto">
              <a:xfrm>
                <a:off x="4906000" y="2706947"/>
                <a:ext cx="108527" cy="148237"/>
              </a:xfrm>
              <a:custGeom>
                <a:avLst/>
                <a:gdLst/>
                <a:ahLst/>
                <a:cxnLst>
                  <a:cxn ang="0">
                    <a:pos x="26" y="76"/>
                  </a:cxn>
                  <a:cxn ang="0">
                    <a:pos x="28" y="76"/>
                  </a:cxn>
                  <a:cxn ang="0">
                    <a:pos x="30" y="80"/>
                  </a:cxn>
                  <a:cxn ang="0">
                    <a:pos x="30" y="84"/>
                  </a:cxn>
                  <a:cxn ang="0">
                    <a:pos x="34" y="82"/>
                  </a:cxn>
                  <a:cxn ang="0">
                    <a:pos x="38" y="80"/>
                  </a:cxn>
                  <a:cxn ang="0">
                    <a:pos x="42" y="80"/>
                  </a:cxn>
                  <a:cxn ang="0">
                    <a:pos x="44" y="76"/>
                  </a:cxn>
                  <a:cxn ang="0">
                    <a:pos x="46" y="76"/>
                  </a:cxn>
                  <a:cxn ang="0">
                    <a:pos x="54" y="74"/>
                  </a:cxn>
                  <a:cxn ang="0">
                    <a:pos x="58" y="74"/>
                  </a:cxn>
                  <a:cxn ang="0">
                    <a:pos x="60" y="70"/>
                  </a:cxn>
                  <a:cxn ang="0">
                    <a:pos x="58" y="66"/>
                  </a:cxn>
                  <a:cxn ang="0">
                    <a:pos x="64" y="64"/>
                  </a:cxn>
                  <a:cxn ang="0">
                    <a:pos x="66" y="62"/>
                  </a:cxn>
                  <a:cxn ang="0">
                    <a:pos x="62" y="56"/>
                  </a:cxn>
                  <a:cxn ang="0">
                    <a:pos x="62" y="52"/>
                  </a:cxn>
                  <a:cxn ang="0">
                    <a:pos x="58" y="50"/>
                  </a:cxn>
                  <a:cxn ang="0">
                    <a:pos x="56" y="46"/>
                  </a:cxn>
                  <a:cxn ang="0">
                    <a:pos x="60" y="42"/>
                  </a:cxn>
                  <a:cxn ang="0">
                    <a:pos x="60" y="38"/>
                  </a:cxn>
                  <a:cxn ang="0">
                    <a:pos x="60" y="36"/>
                  </a:cxn>
                  <a:cxn ang="0">
                    <a:pos x="62" y="32"/>
                  </a:cxn>
                  <a:cxn ang="0">
                    <a:pos x="56" y="30"/>
                  </a:cxn>
                  <a:cxn ang="0">
                    <a:pos x="52" y="32"/>
                  </a:cxn>
                  <a:cxn ang="0">
                    <a:pos x="48" y="30"/>
                  </a:cxn>
                  <a:cxn ang="0">
                    <a:pos x="44" y="30"/>
                  </a:cxn>
                  <a:cxn ang="0">
                    <a:pos x="42" y="26"/>
                  </a:cxn>
                  <a:cxn ang="0">
                    <a:pos x="42" y="24"/>
                  </a:cxn>
                  <a:cxn ang="0">
                    <a:pos x="36" y="18"/>
                  </a:cxn>
                  <a:cxn ang="0">
                    <a:pos x="34" y="18"/>
                  </a:cxn>
                  <a:cxn ang="0">
                    <a:pos x="30" y="12"/>
                  </a:cxn>
                  <a:cxn ang="0">
                    <a:pos x="28" y="10"/>
                  </a:cxn>
                  <a:cxn ang="0">
                    <a:pos x="22" y="6"/>
                  </a:cxn>
                  <a:cxn ang="0">
                    <a:pos x="18" y="2"/>
                  </a:cxn>
                  <a:cxn ang="0">
                    <a:pos x="16" y="2"/>
                  </a:cxn>
                  <a:cxn ang="0">
                    <a:pos x="10" y="4"/>
                  </a:cxn>
                  <a:cxn ang="0">
                    <a:pos x="2" y="6"/>
                  </a:cxn>
                  <a:cxn ang="0">
                    <a:pos x="0" y="6"/>
                  </a:cxn>
                  <a:cxn ang="0">
                    <a:pos x="0" y="10"/>
                  </a:cxn>
                  <a:cxn ang="0">
                    <a:pos x="2" y="14"/>
                  </a:cxn>
                  <a:cxn ang="0">
                    <a:pos x="2" y="18"/>
                  </a:cxn>
                  <a:cxn ang="0">
                    <a:pos x="4" y="18"/>
                  </a:cxn>
                  <a:cxn ang="0">
                    <a:pos x="8" y="20"/>
                  </a:cxn>
                  <a:cxn ang="0">
                    <a:pos x="4" y="22"/>
                  </a:cxn>
                  <a:cxn ang="0">
                    <a:pos x="4" y="26"/>
                  </a:cxn>
                  <a:cxn ang="0">
                    <a:pos x="2" y="28"/>
                  </a:cxn>
                  <a:cxn ang="0">
                    <a:pos x="6" y="26"/>
                  </a:cxn>
                  <a:cxn ang="0">
                    <a:pos x="8" y="28"/>
                  </a:cxn>
                  <a:cxn ang="0">
                    <a:pos x="6" y="36"/>
                  </a:cxn>
                  <a:cxn ang="0">
                    <a:pos x="6" y="38"/>
                  </a:cxn>
                  <a:cxn ang="0">
                    <a:pos x="12" y="40"/>
                  </a:cxn>
                  <a:cxn ang="0">
                    <a:pos x="10" y="42"/>
                  </a:cxn>
                  <a:cxn ang="0">
                    <a:pos x="8" y="44"/>
                  </a:cxn>
                  <a:cxn ang="0">
                    <a:pos x="12" y="50"/>
                  </a:cxn>
                  <a:cxn ang="0">
                    <a:pos x="10" y="52"/>
                  </a:cxn>
                  <a:cxn ang="0">
                    <a:pos x="20" y="60"/>
                  </a:cxn>
                  <a:cxn ang="0">
                    <a:pos x="26" y="64"/>
                  </a:cxn>
                  <a:cxn ang="0">
                    <a:pos x="24" y="66"/>
                  </a:cxn>
                  <a:cxn ang="0">
                    <a:pos x="22" y="68"/>
                  </a:cxn>
                  <a:cxn ang="0">
                    <a:pos x="22" y="72"/>
                  </a:cxn>
                </a:cxnLst>
                <a:rect l="0" t="0" r="r" b="b"/>
                <a:pathLst>
                  <a:path w="66" h="84">
                    <a:moveTo>
                      <a:pt x="22" y="72"/>
                    </a:moveTo>
                    <a:lnTo>
                      <a:pt x="24" y="72"/>
                    </a:lnTo>
                    <a:lnTo>
                      <a:pt x="24" y="74"/>
                    </a:lnTo>
                    <a:lnTo>
                      <a:pt x="24" y="76"/>
                    </a:lnTo>
                    <a:lnTo>
                      <a:pt x="26" y="76"/>
                    </a:lnTo>
                    <a:lnTo>
                      <a:pt x="28" y="76"/>
                    </a:lnTo>
                    <a:lnTo>
                      <a:pt x="30" y="76"/>
                    </a:lnTo>
                    <a:lnTo>
                      <a:pt x="30" y="78"/>
                    </a:lnTo>
                    <a:lnTo>
                      <a:pt x="30" y="80"/>
                    </a:lnTo>
                    <a:lnTo>
                      <a:pt x="30" y="82"/>
                    </a:lnTo>
                    <a:lnTo>
                      <a:pt x="30" y="84"/>
                    </a:lnTo>
                    <a:lnTo>
                      <a:pt x="32" y="84"/>
                    </a:lnTo>
                    <a:lnTo>
                      <a:pt x="34" y="82"/>
                    </a:lnTo>
                    <a:lnTo>
                      <a:pt x="36" y="80"/>
                    </a:lnTo>
                    <a:lnTo>
                      <a:pt x="38" y="80"/>
                    </a:lnTo>
                    <a:lnTo>
                      <a:pt x="40" y="80"/>
                    </a:lnTo>
                    <a:lnTo>
                      <a:pt x="42" y="80"/>
                    </a:lnTo>
                    <a:lnTo>
                      <a:pt x="42" y="78"/>
                    </a:lnTo>
                    <a:lnTo>
                      <a:pt x="42" y="76"/>
                    </a:lnTo>
                    <a:lnTo>
                      <a:pt x="44" y="76"/>
                    </a:lnTo>
                    <a:lnTo>
                      <a:pt x="46" y="76"/>
                    </a:lnTo>
                    <a:lnTo>
                      <a:pt x="48" y="76"/>
                    </a:lnTo>
                    <a:lnTo>
                      <a:pt x="50" y="74"/>
                    </a:lnTo>
                    <a:lnTo>
                      <a:pt x="52" y="74"/>
                    </a:lnTo>
                    <a:lnTo>
                      <a:pt x="54" y="74"/>
                    </a:lnTo>
                    <a:lnTo>
                      <a:pt x="56" y="74"/>
                    </a:lnTo>
                    <a:lnTo>
                      <a:pt x="58" y="74"/>
                    </a:lnTo>
                    <a:lnTo>
                      <a:pt x="60" y="74"/>
                    </a:lnTo>
                    <a:lnTo>
                      <a:pt x="60" y="72"/>
                    </a:lnTo>
                    <a:lnTo>
                      <a:pt x="60" y="70"/>
                    </a:lnTo>
                    <a:lnTo>
                      <a:pt x="60" y="68"/>
                    </a:lnTo>
                    <a:lnTo>
                      <a:pt x="58" y="66"/>
                    </a:lnTo>
                    <a:lnTo>
                      <a:pt x="60" y="64"/>
                    </a:lnTo>
                    <a:lnTo>
                      <a:pt x="62" y="64"/>
                    </a:lnTo>
                    <a:lnTo>
                      <a:pt x="64" y="64"/>
                    </a:lnTo>
                    <a:lnTo>
                      <a:pt x="66" y="64"/>
                    </a:lnTo>
                    <a:lnTo>
                      <a:pt x="66" y="62"/>
                    </a:lnTo>
                    <a:lnTo>
                      <a:pt x="66" y="60"/>
                    </a:lnTo>
                    <a:lnTo>
                      <a:pt x="66" y="58"/>
                    </a:lnTo>
                    <a:lnTo>
                      <a:pt x="64" y="56"/>
                    </a:lnTo>
                    <a:lnTo>
                      <a:pt x="62" y="56"/>
                    </a:lnTo>
                    <a:lnTo>
                      <a:pt x="62" y="54"/>
                    </a:lnTo>
                    <a:lnTo>
                      <a:pt x="60" y="54"/>
                    </a:lnTo>
                    <a:lnTo>
                      <a:pt x="62" y="52"/>
                    </a:lnTo>
                    <a:lnTo>
                      <a:pt x="60" y="52"/>
                    </a:lnTo>
                    <a:lnTo>
                      <a:pt x="60" y="50"/>
                    </a:lnTo>
                    <a:lnTo>
                      <a:pt x="58" y="50"/>
                    </a:lnTo>
                    <a:lnTo>
                      <a:pt x="58" y="48"/>
                    </a:lnTo>
                    <a:lnTo>
                      <a:pt x="56" y="46"/>
                    </a:lnTo>
                    <a:lnTo>
                      <a:pt x="58" y="44"/>
                    </a:lnTo>
                    <a:lnTo>
                      <a:pt x="60" y="44"/>
                    </a:lnTo>
                    <a:lnTo>
                      <a:pt x="60" y="42"/>
                    </a:lnTo>
                    <a:lnTo>
                      <a:pt x="60" y="40"/>
                    </a:lnTo>
                    <a:lnTo>
                      <a:pt x="60" y="38"/>
                    </a:lnTo>
                    <a:lnTo>
                      <a:pt x="58" y="36"/>
                    </a:lnTo>
                    <a:lnTo>
                      <a:pt x="60" y="36"/>
                    </a:lnTo>
                    <a:lnTo>
                      <a:pt x="60" y="34"/>
                    </a:lnTo>
                    <a:lnTo>
                      <a:pt x="62" y="32"/>
                    </a:lnTo>
                    <a:lnTo>
                      <a:pt x="60" y="32"/>
                    </a:lnTo>
                    <a:lnTo>
                      <a:pt x="58" y="30"/>
                    </a:lnTo>
                    <a:lnTo>
                      <a:pt x="56" y="30"/>
                    </a:lnTo>
                    <a:lnTo>
                      <a:pt x="54" y="30"/>
                    </a:lnTo>
                    <a:lnTo>
                      <a:pt x="52" y="32"/>
                    </a:lnTo>
                    <a:lnTo>
                      <a:pt x="50" y="32"/>
                    </a:lnTo>
                    <a:lnTo>
                      <a:pt x="48" y="32"/>
                    </a:lnTo>
                    <a:lnTo>
                      <a:pt x="48" y="30"/>
                    </a:lnTo>
                    <a:lnTo>
                      <a:pt x="46" y="30"/>
                    </a:lnTo>
                    <a:lnTo>
                      <a:pt x="44" y="30"/>
                    </a:lnTo>
                    <a:lnTo>
                      <a:pt x="42" y="30"/>
                    </a:lnTo>
                    <a:lnTo>
                      <a:pt x="42" y="28"/>
                    </a:lnTo>
                    <a:lnTo>
                      <a:pt x="42" y="26"/>
                    </a:lnTo>
                    <a:lnTo>
                      <a:pt x="40" y="26"/>
                    </a:lnTo>
                    <a:lnTo>
                      <a:pt x="40" y="24"/>
                    </a:lnTo>
                    <a:lnTo>
                      <a:pt x="42" y="24"/>
                    </a:lnTo>
                    <a:lnTo>
                      <a:pt x="42" y="22"/>
                    </a:lnTo>
                    <a:lnTo>
                      <a:pt x="42" y="20"/>
                    </a:lnTo>
                    <a:lnTo>
                      <a:pt x="42" y="18"/>
                    </a:lnTo>
                    <a:lnTo>
                      <a:pt x="40" y="18"/>
                    </a:lnTo>
                    <a:lnTo>
                      <a:pt x="38" y="18"/>
                    </a:lnTo>
                    <a:lnTo>
                      <a:pt x="36" y="18"/>
                    </a:lnTo>
                    <a:lnTo>
                      <a:pt x="36" y="20"/>
                    </a:lnTo>
                    <a:lnTo>
                      <a:pt x="34" y="18"/>
                    </a:lnTo>
                    <a:lnTo>
                      <a:pt x="32" y="18"/>
                    </a:lnTo>
                    <a:lnTo>
                      <a:pt x="32" y="14"/>
                    </a:lnTo>
                    <a:lnTo>
                      <a:pt x="30" y="12"/>
                    </a:lnTo>
                    <a:lnTo>
                      <a:pt x="30" y="10"/>
                    </a:lnTo>
                    <a:lnTo>
                      <a:pt x="30" y="8"/>
                    </a:lnTo>
                    <a:lnTo>
                      <a:pt x="28" y="10"/>
                    </a:lnTo>
                    <a:lnTo>
                      <a:pt x="26" y="8"/>
                    </a:lnTo>
                    <a:lnTo>
                      <a:pt x="24" y="6"/>
                    </a:lnTo>
                    <a:lnTo>
                      <a:pt x="22" y="6"/>
                    </a:lnTo>
                    <a:lnTo>
                      <a:pt x="22" y="4"/>
                    </a:lnTo>
                    <a:lnTo>
                      <a:pt x="20" y="2"/>
                    </a:lnTo>
                    <a:lnTo>
                      <a:pt x="18" y="2"/>
                    </a:lnTo>
                    <a:lnTo>
                      <a:pt x="16" y="2"/>
                    </a:lnTo>
                    <a:lnTo>
                      <a:pt x="14" y="0"/>
                    </a:lnTo>
                    <a:lnTo>
                      <a:pt x="12" y="0"/>
                    </a:lnTo>
                    <a:lnTo>
                      <a:pt x="12" y="2"/>
                    </a:lnTo>
                    <a:lnTo>
                      <a:pt x="10" y="2"/>
                    </a:lnTo>
                    <a:lnTo>
                      <a:pt x="10" y="4"/>
                    </a:lnTo>
                    <a:lnTo>
                      <a:pt x="8" y="4"/>
                    </a:lnTo>
                    <a:lnTo>
                      <a:pt x="6" y="6"/>
                    </a:lnTo>
                    <a:lnTo>
                      <a:pt x="4" y="6"/>
                    </a:lnTo>
                    <a:lnTo>
                      <a:pt x="2" y="6"/>
                    </a:lnTo>
                    <a:lnTo>
                      <a:pt x="0" y="6"/>
                    </a:lnTo>
                    <a:lnTo>
                      <a:pt x="0" y="8"/>
                    </a:lnTo>
                    <a:lnTo>
                      <a:pt x="0" y="10"/>
                    </a:lnTo>
                    <a:lnTo>
                      <a:pt x="0" y="12"/>
                    </a:lnTo>
                    <a:lnTo>
                      <a:pt x="2" y="12"/>
                    </a:lnTo>
                    <a:lnTo>
                      <a:pt x="2" y="14"/>
                    </a:lnTo>
                    <a:lnTo>
                      <a:pt x="4" y="14"/>
                    </a:lnTo>
                    <a:lnTo>
                      <a:pt x="4" y="16"/>
                    </a:lnTo>
                    <a:lnTo>
                      <a:pt x="2" y="18"/>
                    </a:lnTo>
                    <a:lnTo>
                      <a:pt x="4" y="18"/>
                    </a:lnTo>
                    <a:lnTo>
                      <a:pt x="6" y="20"/>
                    </a:lnTo>
                    <a:lnTo>
                      <a:pt x="8" y="20"/>
                    </a:lnTo>
                    <a:lnTo>
                      <a:pt x="8" y="22"/>
                    </a:lnTo>
                    <a:lnTo>
                      <a:pt x="6" y="22"/>
                    </a:lnTo>
                    <a:lnTo>
                      <a:pt x="4" y="22"/>
                    </a:lnTo>
                    <a:lnTo>
                      <a:pt x="4" y="24"/>
                    </a:lnTo>
                    <a:lnTo>
                      <a:pt x="4" y="26"/>
                    </a:lnTo>
                    <a:lnTo>
                      <a:pt x="2" y="26"/>
                    </a:lnTo>
                    <a:lnTo>
                      <a:pt x="2" y="28"/>
                    </a:lnTo>
                    <a:lnTo>
                      <a:pt x="4" y="28"/>
                    </a:lnTo>
                    <a:lnTo>
                      <a:pt x="4" y="26"/>
                    </a:lnTo>
                    <a:lnTo>
                      <a:pt x="6" y="26"/>
                    </a:lnTo>
                    <a:lnTo>
                      <a:pt x="8" y="26"/>
                    </a:lnTo>
                    <a:lnTo>
                      <a:pt x="10" y="26"/>
                    </a:lnTo>
                    <a:lnTo>
                      <a:pt x="10" y="28"/>
                    </a:lnTo>
                    <a:lnTo>
                      <a:pt x="8" y="28"/>
                    </a:lnTo>
                    <a:lnTo>
                      <a:pt x="8" y="32"/>
                    </a:lnTo>
                    <a:lnTo>
                      <a:pt x="6" y="32"/>
                    </a:lnTo>
                    <a:lnTo>
                      <a:pt x="6" y="34"/>
                    </a:lnTo>
                    <a:lnTo>
                      <a:pt x="6" y="36"/>
                    </a:lnTo>
                    <a:lnTo>
                      <a:pt x="6" y="38"/>
                    </a:lnTo>
                    <a:lnTo>
                      <a:pt x="8" y="38"/>
                    </a:lnTo>
                    <a:lnTo>
                      <a:pt x="10" y="38"/>
                    </a:lnTo>
                    <a:lnTo>
                      <a:pt x="10" y="40"/>
                    </a:lnTo>
                    <a:lnTo>
                      <a:pt x="12" y="40"/>
                    </a:lnTo>
                    <a:lnTo>
                      <a:pt x="14" y="42"/>
                    </a:lnTo>
                    <a:lnTo>
                      <a:pt x="12" y="42"/>
                    </a:lnTo>
                    <a:lnTo>
                      <a:pt x="10" y="42"/>
                    </a:lnTo>
                    <a:lnTo>
                      <a:pt x="8" y="42"/>
                    </a:lnTo>
                    <a:lnTo>
                      <a:pt x="8" y="44"/>
                    </a:lnTo>
                    <a:lnTo>
                      <a:pt x="10" y="44"/>
                    </a:lnTo>
                    <a:lnTo>
                      <a:pt x="10" y="46"/>
                    </a:lnTo>
                    <a:lnTo>
                      <a:pt x="12" y="46"/>
                    </a:lnTo>
                    <a:lnTo>
                      <a:pt x="12" y="48"/>
                    </a:lnTo>
                    <a:lnTo>
                      <a:pt x="12" y="50"/>
                    </a:lnTo>
                    <a:lnTo>
                      <a:pt x="12" y="52"/>
                    </a:lnTo>
                    <a:lnTo>
                      <a:pt x="10" y="52"/>
                    </a:lnTo>
                    <a:lnTo>
                      <a:pt x="8" y="52"/>
                    </a:lnTo>
                    <a:lnTo>
                      <a:pt x="10" y="52"/>
                    </a:lnTo>
                    <a:lnTo>
                      <a:pt x="12" y="52"/>
                    </a:lnTo>
                    <a:lnTo>
                      <a:pt x="14" y="56"/>
                    </a:lnTo>
                    <a:lnTo>
                      <a:pt x="16" y="58"/>
                    </a:lnTo>
                    <a:lnTo>
                      <a:pt x="18" y="58"/>
                    </a:lnTo>
                    <a:lnTo>
                      <a:pt x="20" y="60"/>
                    </a:lnTo>
                    <a:lnTo>
                      <a:pt x="22" y="62"/>
                    </a:lnTo>
                    <a:lnTo>
                      <a:pt x="24" y="64"/>
                    </a:lnTo>
                    <a:lnTo>
                      <a:pt x="26" y="64"/>
                    </a:lnTo>
                    <a:lnTo>
                      <a:pt x="26" y="66"/>
                    </a:lnTo>
                    <a:lnTo>
                      <a:pt x="24" y="66"/>
                    </a:lnTo>
                    <a:lnTo>
                      <a:pt x="22" y="66"/>
                    </a:lnTo>
                    <a:lnTo>
                      <a:pt x="22" y="68"/>
                    </a:lnTo>
                    <a:lnTo>
                      <a:pt x="22" y="70"/>
                    </a:lnTo>
                    <a:lnTo>
                      <a:pt x="22" y="7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4" name="Freeform 137">
                <a:extLst>
                  <a:ext uri="{FF2B5EF4-FFF2-40B4-BE49-F238E27FC236}">
                    <a16:creationId xmlns:a16="http://schemas.microsoft.com/office/drawing/2014/main" id="{84C0871E-D5E8-43B7-A326-FDCEAFFBDC1B}"/>
                  </a:ext>
                </a:extLst>
              </p:cNvPr>
              <p:cNvSpPr>
                <a:spLocks noChangeAspect="1"/>
              </p:cNvSpPr>
              <p:nvPr/>
            </p:nvSpPr>
            <p:spPr bwMode="auto">
              <a:xfrm>
                <a:off x="4794183" y="3040044"/>
                <a:ext cx="13155" cy="17439"/>
              </a:xfrm>
              <a:custGeom>
                <a:avLst/>
                <a:gdLst/>
                <a:ahLst/>
                <a:cxnLst>
                  <a:cxn ang="0">
                    <a:pos x="6" y="10"/>
                  </a:cxn>
                  <a:cxn ang="0">
                    <a:pos x="8" y="8"/>
                  </a:cxn>
                  <a:cxn ang="0">
                    <a:pos x="8" y="8"/>
                  </a:cxn>
                  <a:cxn ang="0">
                    <a:pos x="8" y="6"/>
                  </a:cxn>
                  <a:cxn ang="0">
                    <a:pos x="8" y="4"/>
                  </a:cxn>
                  <a:cxn ang="0">
                    <a:pos x="6" y="2"/>
                  </a:cxn>
                  <a:cxn ang="0">
                    <a:pos x="6" y="2"/>
                  </a:cxn>
                  <a:cxn ang="0">
                    <a:pos x="4" y="0"/>
                  </a:cxn>
                  <a:cxn ang="0">
                    <a:pos x="4" y="0"/>
                  </a:cxn>
                  <a:cxn ang="0">
                    <a:pos x="2" y="2"/>
                  </a:cxn>
                  <a:cxn ang="0">
                    <a:pos x="2" y="2"/>
                  </a:cxn>
                  <a:cxn ang="0">
                    <a:pos x="2" y="2"/>
                  </a:cxn>
                  <a:cxn ang="0">
                    <a:pos x="0" y="4"/>
                  </a:cxn>
                  <a:cxn ang="0">
                    <a:pos x="0" y="4"/>
                  </a:cxn>
                  <a:cxn ang="0">
                    <a:pos x="2" y="6"/>
                  </a:cxn>
                  <a:cxn ang="0">
                    <a:pos x="2" y="8"/>
                  </a:cxn>
                  <a:cxn ang="0">
                    <a:pos x="4" y="8"/>
                  </a:cxn>
                  <a:cxn ang="0">
                    <a:pos x="4" y="8"/>
                  </a:cxn>
                  <a:cxn ang="0">
                    <a:pos x="6" y="10"/>
                  </a:cxn>
                  <a:cxn ang="0">
                    <a:pos x="6" y="10"/>
                  </a:cxn>
                  <a:cxn ang="0">
                    <a:pos x="6" y="10"/>
                  </a:cxn>
                  <a:cxn ang="0">
                    <a:pos x="6" y="10"/>
                  </a:cxn>
                </a:cxnLst>
                <a:rect l="0" t="0" r="r" b="b"/>
                <a:pathLst>
                  <a:path w="8" h="10">
                    <a:moveTo>
                      <a:pt x="6" y="10"/>
                    </a:moveTo>
                    <a:lnTo>
                      <a:pt x="8" y="8"/>
                    </a:lnTo>
                    <a:lnTo>
                      <a:pt x="8" y="6"/>
                    </a:lnTo>
                    <a:lnTo>
                      <a:pt x="8" y="4"/>
                    </a:lnTo>
                    <a:lnTo>
                      <a:pt x="6" y="2"/>
                    </a:lnTo>
                    <a:lnTo>
                      <a:pt x="4" y="0"/>
                    </a:lnTo>
                    <a:lnTo>
                      <a:pt x="2" y="2"/>
                    </a:lnTo>
                    <a:lnTo>
                      <a:pt x="0" y="4"/>
                    </a:lnTo>
                    <a:lnTo>
                      <a:pt x="2" y="6"/>
                    </a:lnTo>
                    <a:lnTo>
                      <a:pt x="2" y="8"/>
                    </a:lnTo>
                    <a:lnTo>
                      <a:pt x="4" y="8"/>
                    </a:lnTo>
                    <a:lnTo>
                      <a:pt x="6"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5" name="Freeform 138">
                <a:extLst>
                  <a:ext uri="{FF2B5EF4-FFF2-40B4-BE49-F238E27FC236}">
                    <a16:creationId xmlns:a16="http://schemas.microsoft.com/office/drawing/2014/main" id="{B757A069-F4F1-4ECE-B553-5A33A313D138}"/>
                  </a:ext>
                </a:extLst>
              </p:cNvPr>
              <p:cNvSpPr>
                <a:spLocks noChangeAspect="1"/>
              </p:cNvSpPr>
              <p:nvPr/>
            </p:nvSpPr>
            <p:spPr bwMode="auto">
              <a:xfrm>
                <a:off x="4468599" y="2827281"/>
                <a:ext cx="13155" cy="6976"/>
              </a:xfrm>
              <a:custGeom>
                <a:avLst/>
                <a:gdLst/>
                <a:ahLst/>
                <a:cxnLst>
                  <a:cxn ang="0">
                    <a:pos x="2" y="4"/>
                  </a:cxn>
                  <a:cxn ang="0">
                    <a:pos x="2" y="4"/>
                  </a:cxn>
                  <a:cxn ang="0">
                    <a:pos x="2" y="4"/>
                  </a:cxn>
                  <a:cxn ang="0">
                    <a:pos x="4" y="4"/>
                  </a:cxn>
                  <a:cxn ang="0">
                    <a:pos x="6" y="4"/>
                  </a:cxn>
                  <a:cxn ang="0">
                    <a:pos x="6" y="4"/>
                  </a:cxn>
                  <a:cxn ang="0">
                    <a:pos x="8" y="4"/>
                  </a:cxn>
                  <a:cxn ang="0">
                    <a:pos x="8" y="4"/>
                  </a:cxn>
                  <a:cxn ang="0">
                    <a:pos x="8" y="2"/>
                  </a:cxn>
                  <a:cxn ang="0">
                    <a:pos x="8" y="2"/>
                  </a:cxn>
                  <a:cxn ang="0">
                    <a:pos x="8" y="0"/>
                  </a:cxn>
                  <a:cxn ang="0">
                    <a:pos x="8" y="0"/>
                  </a:cxn>
                  <a:cxn ang="0">
                    <a:pos x="8" y="0"/>
                  </a:cxn>
                  <a:cxn ang="0">
                    <a:pos x="8" y="0"/>
                  </a:cxn>
                  <a:cxn ang="0">
                    <a:pos x="6" y="0"/>
                  </a:cxn>
                  <a:cxn ang="0">
                    <a:pos x="6" y="0"/>
                  </a:cxn>
                  <a:cxn ang="0">
                    <a:pos x="4" y="0"/>
                  </a:cxn>
                  <a:cxn ang="0">
                    <a:pos x="2" y="0"/>
                  </a:cxn>
                  <a:cxn ang="0">
                    <a:pos x="2" y="0"/>
                  </a:cxn>
                  <a:cxn ang="0">
                    <a:pos x="0" y="0"/>
                  </a:cxn>
                  <a:cxn ang="0">
                    <a:pos x="2" y="4"/>
                  </a:cxn>
                  <a:cxn ang="0">
                    <a:pos x="2" y="4"/>
                  </a:cxn>
                  <a:cxn ang="0">
                    <a:pos x="2" y="4"/>
                  </a:cxn>
                </a:cxnLst>
                <a:rect l="0" t="0" r="r" b="b"/>
                <a:pathLst>
                  <a:path w="8" h="4">
                    <a:moveTo>
                      <a:pt x="2" y="4"/>
                    </a:moveTo>
                    <a:lnTo>
                      <a:pt x="2" y="4"/>
                    </a:lnTo>
                    <a:lnTo>
                      <a:pt x="4" y="4"/>
                    </a:lnTo>
                    <a:lnTo>
                      <a:pt x="6" y="4"/>
                    </a:lnTo>
                    <a:lnTo>
                      <a:pt x="8" y="4"/>
                    </a:lnTo>
                    <a:lnTo>
                      <a:pt x="8" y="2"/>
                    </a:lnTo>
                    <a:lnTo>
                      <a:pt x="8" y="0"/>
                    </a:lnTo>
                    <a:lnTo>
                      <a:pt x="6" y="0"/>
                    </a:lnTo>
                    <a:lnTo>
                      <a:pt x="4" y="0"/>
                    </a:lnTo>
                    <a:lnTo>
                      <a:pt x="2" y="0"/>
                    </a:lnTo>
                    <a:lnTo>
                      <a:pt x="0" y="0"/>
                    </a:lnTo>
                    <a:lnTo>
                      <a:pt x="2"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6" name="Freeform 139">
                <a:extLst>
                  <a:ext uri="{FF2B5EF4-FFF2-40B4-BE49-F238E27FC236}">
                    <a16:creationId xmlns:a16="http://schemas.microsoft.com/office/drawing/2014/main" id="{885C792E-1C57-4E92-A348-5B7123208A1E}"/>
                  </a:ext>
                </a:extLst>
              </p:cNvPr>
              <p:cNvSpPr>
                <a:spLocks noChangeAspect="1"/>
              </p:cNvSpPr>
              <p:nvPr/>
            </p:nvSpPr>
            <p:spPr bwMode="auto">
              <a:xfrm>
                <a:off x="4919155" y="2413961"/>
                <a:ext cx="65775" cy="31392"/>
              </a:xfrm>
              <a:custGeom>
                <a:avLst/>
                <a:gdLst/>
                <a:ahLst/>
                <a:cxnLst>
                  <a:cxn ang="0">
                    <a:pos x="34" y="4"/>
                  </a:cxn>
                  <a:cxn ang="0">
                    <a:pos x="30" y="4"/>
                  </a:cxn>
                  <a:cxn ang="0">
                    <a:pos x="28" y="6"/>
                  </a:cxn>
                  <a:cxn ang="0">
                    <a:pos x="26" y="4"/>
                  </a:cxn>
                  <a:cxn ang="0">
                    <a:pos x="24" y="4"/>
                  </a:cxn>
                  <a:cxn ang="0">
                    <a:pos x="22" y="4"/>
                  </a:cxn>
                  <a:cxn ang="0">
                    <a:pos x="22" y="4"/>
                  </a:cxn>
                  <a:cxn ang="0">
                    <a:pos x="20" y="2"/>
                  </a:cxn>
                  <a:cxn ang="0">
                    <a:pos x="20" y="0"/>
                  </a:cxn>
                  <a:cxn ang="0">
                    <a:pos x="20" y="0"/>
                  </a:cxn>
                  <a:cxn ang="0">
                    <a:pos x="20" y="2"/>
                  </a:cxn>
                  <a:cxn ang="0">
                    <a:pos x="16" y="4"/>
                  </a:cxn>
                  <a:cxn ang="0">
                    <a:pos x="16" y="6"/>
                  </a:cxn>
                  <a:cxn ang="0">
                    <a:pos x="14" y="6"/>
                  </a:cxn>
                  <a:cxn ang="0">
                    <a:pos x="12" y="6"/>
                  </a:cxn>
                  <a:cxn ang="0">
                    <a:pos x="6" y="6"/>
                  </a:cxn>
                  <a:cxn ang="0">
                    <a:pos x="2" y="6"/>
                  </a:cxn>
                  <a:cxn ang="0">
                    <a:pos x="0" y="8"/>
                  </a:cxn>
                  <a:cxn ang="0">
                    <a:pos x="0" y="10"/>
                  </a:cxn>
                  <a:cxn ang="0">
                    <a:pos x="0" y="10"/>
                  </a:cxn>
                  <a:cxn ang="0">
                    <a:pos x="2" y="12"/>
                  </a:cxn>
                  <a:cxn ang="0">
                    <a:pos x="0" y="14"/>
                  </a:cxn>
                  <a:cxn ang="0">
                    <a:pos x="0" y="16"/>
                  </a:cxn>
                  <a:cxn ang="0">
                    <a:pos x="2" y="16"/>
                  </a:cxn>
                  <a:cxn ang="0">
                    <a:pos x="2" y="16"/>
                  </a:cxn>
                  <a:cxn ang="0">
                    <a:pos x="2" y="16"/>
                  </a:cxn>
                  <a:cxn ang="0">
                    <a:pos x="4" y="16"/>
                  </a:cxn>
                  <a:cxn ang="0">
                    <a:pos x="8" y="16"/>
                  </a:cxn>
                  <a:cxn ang="0">
                    <a:pos x="12" y="18"/>
                  </a:cxn>
                  <a:cxn ang="0">
                    <a:pos x="14" y="18"/>
                  </a:cxn>
                  <a:cxn ang="0">
                    <a:pos x="16" y="18"/>
                  </a:cxn>
                  <a:cxn ang="0">
                    <a:pos x="16" y="18"/>
                  </a:cxn>
                  <a:cxn ang="0">
                    <a:pos x="22" y="18"/>
                  </a:cxn>
                  <a:cxn ang="0">
                    <a:pos x="26" y="18"/>
                  </a:cxn>
                  <a:cxn ang="0">
                    <a:pos x="30" y="18"/>
                  </a:cxn>
                  <a:cxn ang="0">
                    <a:pos x="36" y="18"/>
                  </a:cxn>
                  <a:cxn ang="0">
                    <a:pos x="38" y="18"/>
                  </a:cxn>
                  <a:cxn ang="0">
                    <a:pos x="38" y="18"/>
                  </a:cxn>
                  <a:cxn ang="0">
                    <a:pos x="38" y="18"/>
                  </a:cxn>
                  <a:cxn ang="0">
                    <a:pos x="38" y="18"/>
                  </a:cxn>
                  <a:cxn ang="0">
                    <a:pos x="40" y="16"/>
                  </a:cxn>
                  <a:cxn ang="0">
                    <a:pos x="38" y="14"/>
                  </a:cxn>
                  <a:cxn ang="0">
                    <a:pos x="38" y="14"/>
                  </a:cxn>
                  <a:cxn ang="0">
                    <a:pos x="38" y="14"/>
                  </a:cxn>
                  <a:cxn ang="0">
                    <a:pos x="40" y="10"/>
                  </a:cxn>
                  <a:cxn ang="0">
                    <a:pos x="40" y="10"/>
                  </a:cxn>
                  <a:cxn ang="0">
                    <a:pos x="40" y="6"/>
                  </a:cxn>
                  <a:cxn ang="0">
                    <a:pos x="38" y="4"/>
                  </a:cxn>
                  <a:cxn ang="0">
                    <a:pos x="38" y="4"/>
                  </a:cxn>
                  <a:cxn ang="0">
                    <a:pos x="38" y="4"/>
                  </a:cxn>
                </a:cxnLst>
                <a:rect l="0" t="0" r="r" b="b"/>
                <a:pathLst>
                  <a:path w="40" h="18">
                    <a:moveTo>
                      <a:pt x="38" y="4"/>
                    </a:moveTo>
                    <a:lnTo>
                      <a:pt x="34" y="4"/>
                    </a:lnTo>
                    <a:lnTo>
                      <a:pt x="30" y="4"/>
                    </a:lnTo>
                    <a:lnTo>
                      <a:pt x="28" y="4"/>
                    </a:lnTo>
                    <a:lnTo>
                      <a:pt x="28" y="6"/>
                    </a:lnTo>
                    <a:lnTo>
                      <a:pt x="26" y="6"/>
                    </a:lnTo>
                    <a:lnTo>
                      <a:pt x="26" y="4"/>
                    </a:lnTo>
                    <a:lnTo>
                      <a:pt x="24" y="4"/>
                    </a:lnTo>
                    <a:lnTo>
                      <a:pt x="22" y="4"/>
                    </a:lnTo>
                    <a:lnTo>
                      <a:pt x="20" y="2"/>
                    </a:lnTo>
                    <a:lnTo>
                      <a:pt x="20" y="0"/>
                    </a:lnTo>
                    <a:lnTo>
                      <a:pt x="20" y="2"/>
                    </a:lnTo>
                    <a:lnTo>
                      <a:pt x="18" y="4"/>
                    </a:lnTo>
                    <a:lnTo>
                      <a:pt x="16" y="4"/>
                    </a:lnTo>
                    <a:lnTo>
                      <a:pt x="16" y="6"/>
                    </a:lnTo>
                    <a:lnTo>
                      <a:pt x="14" y="6"/>
                    </a:lnTo>
                    <a:lnTo>
                      <a:pt x="12" y="6"/>
                    </a:lnTo>
                    <a:lnTo>
                      <a:pt x="8" y="6"/>
                    </a:lnTo>
                    <a:lnTo>
                      <a:pt x="6" y="6"/>
                    </a:lnTo>
                    <a:lnTo>
                      <a:pt x="4" y="6"/>
                    </a:lnTo>
                    <a:lnTo>
                      <a:pt x="2" y="6"/>
                    </a:lnTo>
                    <a:lnTo>
                      <a:pt x="0" y="8"/>
                    </a:lnTo>
                    <a:lnTo>
                      <a:pt x="0" y="10"/>
                    </a:lnTo>
                    <a:lnTo>
                      <a:pt x="2" y="12"/>
                    </a:lnTo>
                    <a:lnTo>
                      <a:pt x="0" y="14"/>
                    </a:lnTo>
                    <a:lnTo>
                      <a:pt x="0" y="16"/>
                    </a:lnTo>
                    <a:lnTo>
                      <a:pt x="2" y="16"/>
                    </a:lnTo>
                    <a:lnTo>
                      <a:pt x="4" y="16"/>
                    </a:lnTo>
                    <a:lnTo>
                      <a:pt x="8" y="16"/>
                    </a:lnTo>
                    <a:lnTo>
                      <a:pt x="10" y="16"/>
                    </a:lnTo>
                    <a:lnTo>
                      <a:pt x="12" y="18"/>
                    </a:lnTo>
                    <a:lnTo>
                      <a:pt x="14" y="18"/>
                    </a:lnTo>
                    <a:lnTo>
                      <a:pt x="16" y="18"/>
                    </a:lnTo>
                    <a:lnTo>
                      <a:pt x="18" y="18"/>
                    </a:lnTo>
                    <a:lnTo>
                      <a:pt x="22" y="18"/>
                    </a:lnTo>
                    <a:lnTo>
                      <a:pt x="24" y="18"/>
                    </a:lnTo>
                    <a:lnTo>
                      <a:pt x="26" y="18"/>
                    </a:lnTo>
                    <a:lnTo>
                      <a:pt x="28" y="18"/>
                    </a:lnTo>
                    <a:lnTo>
                      <a:pt x="30" y="18"/>
                    </a:lnTo>
                    <a:lnTo>
                      <a:pt x="32" y="18"/>
                    </a:lnTo>
                    <a:lnTo>
                      <a:pt x="36" y="18"/>
                    </a:lnTo>
                    <a:lnTo>
                      <a:pt x="38" y="18"/>
                    </a:lnTo>
                    <a:lnTo>
                      <a:pt x="38" y="16"/>
                    </a:lnTo>
                    <a:lnTo>
                      <a:pt x="40" y="16"/>
                    </a:lnTo>
                    <a:lnTo>
                      <a:pt x="38" y="16"/>
                    </a:lnTo>
                    <a:lnTo>
                      <a:pt x="38" y="14"/>
                    </a:lnTo>
                    <a:lnTo>
                      <a:pt x="38" y="12"/>
                    </a:lnTo>
                    <a:lnTo>
                      <a:pt x="40" y="10"/>
                    </a:lnTo>
                    <a:lnTo>
                      <a:pt x="40" y="8"/>
                    </a:lnTo>
                    <a:lnTo>
                      <a:pt x="40" y="6"/>
                    </a:lnTo>
                    <a:lnTo>
                      <a:pt x="38"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7" name="Freeform 140">
                <a:extLst>
                  <a:ext uri="{FF2B5EF4-FFF2-40B4-BE49-F238E27FC236}">
                    <a16:creationId xmlns:a16="http://schemas.microsoft.com/office/drawing/2014/main" id="{7D27EE90-22FA-46F2-9AE0-8BF5F4AE6CEB}"/>
                  </a:ext>
                </a:extLst>
              </p:cNvPr>
              <p:cNvSpPr>
                <a:spLocks noChangeAspect="1"/>
              </p:cNvSpPr>
              <p:nvPr/>
            </p:nvSpPr>
            <p:spPr bwMode="auto">
              <a:xfrm>
                <a:off x="4794183" y="3040044"/>
                <a:ext cx="13155" cy="17439"/>
              </a:xfrm>
              <a:custGeom>
                <a:avLst/>
                <a:gdLst/>
                <a:ahLst/>
                <a:cxnLst>
                  <a:cxn ang="0">
                    <a:pos x="6" y="10"/>
                  </a:cxn>
                  <a:cxn ang="0">
                    <a:pos x="8" y="8"/>
                  </a:cxn>
                  <a:cxn ang="0">
                    <a:pos x="8" y="8"/>
                  </a:cxn>
                  <a:cxn ang="0">
                    <a:pos x="8" y="6"/>
                  </a:cxn>
                  <a:cxn ang="0">
                    <a:pos x="8" y="4"/>
                  </a:cxn>
                  <a:cxn ang="0">
                    <a:pos x="6" y="2"/>
                  </a:cxn>
                  <a:cxn ang="0">
                    <a:pos x="6" y="2"/>
                  </a:cxn>
                  <a:cxn ang="0">
                    <a:pos x="4" y="0"/>
                  </a:cxn>
                  <a:cxn ang="0">
                    <a:pos x="4" y="0"/>
                  </a:cxn>
                  <a:cxn ang="0">
                    <a:pos x="2" y="2"/>
                  </a:cxn>
                  <a:cxn ang="0">
                    <a:pos x="2" y="2"/>
                  </a:cxn>
                  <a:cxn ang="0">
                    <a:pos x="2" y="2"/>
                  </a:cxn>
                  <a:cxn ang="0">
                    <a:pos x="0" y="4"/>
                  </a:cxn>
                  <a:cxn ang="0">
                    <a:pos x="0" y="4"/>
                  </a:cxn>
                  <a:cxn ang="0">
                    <a:pos x="2" y="6"/>
                  </a:cxn>
                  <a:cxn ang="0">
                    <a:pos x="2" y="8"/>
                  </a:cxn>
                  <a:cxn ang="0">
                    <a:pos x="4" y="8"/>
                  </a:cxn>
                  <a:cxn ang="0">
                    <a:pos x="4" y="8"/>
                  </a:cxn>
                  <a:cxn ang="0">
                    <a:pos x="6" y="10"/>
                  </a:cxn>
                  <a:cxn ang="0">
                    <a:pos x="6" y="10"/>
                  </a:cxn>
                  <a:cxn ang="0">
                    <a:pos x="6" y="10"/>
                  </a:cxn>
                  <a:cxn ang="0">
                    <a:pos x="6" y="10"/>
                  </a:cxn>
                </a:cxnLst>
                <a:rect l="0" t="0" r="r" b="b"/>
                <a:pathLst>
                  <a:path w="8" h="10">
                    <a:moveTo>
                      <a:pt x="6" y="10"/>
                    </a:moveTo>
                    <a:lnTo>
                      <a:pt x="8" y="8"/>
                    </a:lnTo>
                    <a:lnTo>
                      <a:pt x="8" y="6"/>
                    </a:lnTo>
                    <a:lnTo>
                      <a:pt x="8" y="4"/>
                    </a:lnTo>
                    <a:lnTo>
                      <a:pt x="6" y="2"/>
                    </a:lnTo>
                    <a:lnTo>
                      <a:pt x="4" y="0"/>
                    </a:lnTo>
                    <a:lnTo>
                      <a:pt x="2" y="2"/>
                    </a:lnTo>
                    <a:lnTo>
                      <a:pt x="0" y="4"/>
                    </a:lnTo>
                    <a:lnTo>
                      <a:pt x="2" y="6"/>
                    </a:lnTo>
                    <a:lnTo>
                      <a:pt x="2" y="8"/>
                    </a:lnTo>
                    <a:lnTo>
                      <a:pt x="4" y="8"/>
                    </a:lnTo>
                    <a:lnTo>
                      <a:pt x="6"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8" name="Freeform 142">
                <a:extLst>
                  <a:ext uri="{FF2B5EF4-FFF2-40B4-BE49-F238E27FC236}">
                    <a16:creationId xmlns:a16="http://schemas.microsoft.com/office/drawing/2014/main" id="{C4297ADF-AD8E-456E-A764-0213FC6F6800}"/>
                  </a:ext>
                </a:extLst>
              </p:cNvPr>
              <p:cNvSpPr>
                <a:spLocks noChangeAspect="1"/>
              </p:cNvSpPr>
              <p:nvPr/>
            </p:nvSpPr>
            <p:spPr bwMode="auto">
              <a:xfrm>
                <a:off x="5567032" y="2921454"/>
                <a:ext cx="560728" cy="491798"/>
              </a:xfrm>
              <a:custGeom>
                <a:avLst/>
                <a:gdLst/>
                <a:ahLst/>
                <a:cxnLst>
                  <a:cxn ang="0">
                    <a:pos x="320" y="262"/>
                  </a:cxn>
                  <a:cxn ang="0">
                    <a:pos x="328" y="254"/>
                  </a:cxn>
                  <a:cxn ang="0">
                    <a:pos x="338" y="242"/>
                  </a:cxn>
                  <a:cxn ang="0">
                    <a:pos x="332" y="230"/>
                  </a:cxn>
                  <a:cxn ang="0">
                    <a:pos x="326" y="222"/>
                  </a:cxn>
                  <a:cxn ang="0">
                    <a:pos x="314" y="218"/>
                  </a:cxn>
                  <a:cxn ang="0">
                    <a:pos x="294" y="192"/>
                  </a:cxn>
                  <a:cxn ang="0">
                    <a:pos x="306" y="166"/>
                  </a:cxn>
                  <a:cxn ang="0">
                    <a:pos x="290" y="160"/>
                  </a:cxn>
                  <a:cxn ang="0">
                    <a:pos x="280" y="132"/>
                  </a:cxn>
                  <a:cxn ang="0">
                    <a:pos x="278" y="118"/>
                  </a:cxn>
                  <a:cxn ang="0">
                    <a:pos x="274" y="108"/>
                  </a:cxn>
                  <a:cxn ang="0">
                    <a:pos x="282" y="98"/>
                  </a:cxn>
                  <a:cxn ang="0">
                    <a:pos x="284" y="82"/>
                  </a:cxn>
                  <a:cxn ang="0">
                    <a:pos x="282" y="68"/>
                  </a:cxn>
                  <a:cxn ang="0">
                    <a:pos x="272" y="60"/>
                  </a:cxn>
                  <a:cxn ang="0">
                    <a:pos x="258" y="54"/>
                  </a:cxn>
                  <a:cxn ang="0">
                    <a:pos x="246" y="42"/>
                  </a:cxn>
                  <a:cxn ang="0">
                    <a:pos x="230" y="42"/>
                  </a:cxn>
                  <a:cxn ang="0">
                    <a:pos x="214" y="36"/>
                  </a:cxn>
                  <a:cxn ang="0">
                    <a:pos x="204" y="30"/>
                  </a:cxn>
                  <a:cxn ang="0">
                    <a:pos x="186" y="32"/>
                  </a:cxn>
                  <a:cxn ang="0">
                    <a:pos x="172" y="44"/>
                  </a:cxn>
                  <a:cxn ang="0">
                    <a:pos x="164" y="52"/>
                  </a:cxn>
                  <a:cxn ang="0">
                    <a:pos x="152" y="56"/>
                  </a:cxn>
                  <a:cxn ang="0">
                    <a:pos x="122" y="60"/>
                  </a:cxn>
                  <a:cxn ang="0">
                    <a:pos x="100" y="46"/>
                  </a:cxn>
                  <a:cxn ang="0">
                    <a:pos x="78" y="32"/>
                  </a:cxn>
                  <a:cxn ang="0">
                    <a:pos x="66" y="22"/>
                  </a:cxn>
                  <a:cxn ang="0">
                    <a:pos x="64" y="12"/>
                  </a:cxn>
                  <a:cxn ang="0">
                    <a:pos x="60" y="2"/>
                  </a:cxn>
                  <a:cxn ang="0">
                    <a:pos x="36" y="18"/>
                  </a:cxn>
                  <a:cxn ang="0">
                    <a:pos x="10" y="0"/>
                  </a:cxn>
                  <a:cxn ang="0">
                    <a:pos x="0" y="8"/>
                  </a:cxn>
                  <a:cxn ang="0">
                    <a:pos x="2" y="20"/>
                  </a:cxn>
                  <a:cxn ang="0">
                    <a:pos x="4" y="36"/>
                  </a:cxn>
                  <a:cxn ang="0">
                    <a:pos x="12" y="46"/>
                  </a:cxn>
                  <a:cxn ang="0">
                    <a:pos x="22" y="60"/>
                  </a:cxn>
                  <a:cxn ang="0">
                    <a:pos x="32" y="72"/>
                  </a:cxn>
                  <a:cxn ang="0">
                    <a:pos x="42" y="76"/>
                  </a:cxn>
                  <a:cxn ang="0">
                    <a:pos x="42" y="90"/>
                  </a:cxn>
                  <a:cxn ang="0">
                    <a:pos x="38" y="100"/>
                  </a:cxn>
                  <a:cxn ang="0">
                    <a:pos x="36" y="108"/>
                  </a:cxn>
                  <a:cxn ang="0">
                    <a:pos x="50" y="122"/>
                  </a:cxn>
                  <a:cxn ang="0">
                    <a:pos x="54" y="132"/>
                  </a:cxn>
                  <a:cxn ang="0">
                    <a:pos x="72" y="146"/>
                  </a:cxn>
                  <a:cxn ang="0">
                    <a:pos x="76" y="166"/>
                  </a:cxn>
                  <a:cxn ang="0">
                    <a:pos x="84" y="178"/>
                  </a:cxn>
                  <a:cxn ang="0">
                    <a:pos x="100" y="188"/>
                  </a:cxn>
                  <a:cxn ang="0">
                    <a:pos x="106" y="182"/>
                  </a:cxn>
                  <a:cxn ang="0">
                    <a:pos x="116" y="184"/>
                  </a:cxn>
                  <a:cxn ang="0">
                    <a:pos x="126" y="196"/>
                  </a:cxn>
                  <a:cxn ang="0">
                    <a:pos x="134" y="210"/>
                  </a:cxn>
                  <a:cxn ang="0">
                    <a:pos x="144" y="224"/>
                  </a:cxn>
                  <a:cxn ang="0">
                    <a:pos x="154" y="230"/>
                  </a:cxn>
                  <a:cxn ang="0">
                    <a:pos x="184" y="248"/>
                  </a:cxn>
                  <a:cxn ang="0">
                    <a:pos x="198" y="256"/>
                  </a:cxn>
                  <a:cxn ang="0">
                    <a:pos x="214" y="252"/>
                  </a:cxn>
                  <a:cxn ang="0">
                    <a:pos x="224" y="242"/>
                  </a:cxn>
                  <a:cxn ang="0">
                    <a:pos x="238" y="248"/>
                  </a:cxn>
                  <a:cxn ang="0">
                    <a:pos x="256" y="268"/>
                  </a:cxn>
                  <a:cxn ang="0">
                    <a:pos x="276" y="274"/>
                  </a:cxn>
                  <a:cxn ang="0">
                    <a:pos x="296" y="276"/>
                  </a:cxn>
                </a:cxnLst>
                <a:rect l="0" t="0" r="r" b="b"/>
                <a:pathLst>
                  <a:path w="340" h="282">
                    <a:moveTo>
                      <a:pt x="316" y="280"/>
                    </a:moveTo>
                    <a:lnTo>
                      <a:pt x="316" y="278"/>
                    </a:lnTo>
                    <a:lnTo>
                      <a:pt x="316" y="276"/>
                    </a:lnTo>
                    <a:lnTo>
                      <a:pt x="316" y="274"/>
                    </a:lnTo>
                    <a:lnTo>
                      <a:pt x="316" y="272"/>
                    </a:lnTo>
                    <a:lnTo>
                      <a:pt x="316" y="270"/>
                    </a:lnTo>
                    <a:lnTo>
                      <a:pt x="316" y="268"/>
                    </a:lnTo>
                    <a:lnTo>
                      <a:pt x="318" y="266"/>
                    </a:lnTo>
                    <a:lnTo>
                      <a:pt x="320" y="266"/>
                    </a:lnTo>
                    <a:lnTo>
                      <a:pt x="320" y="264"/>
                    </a:lnTo>
                    <a:lnTo>
                      <a:pt x="320" y="262"/>
                    </a:lnTo>
                    <a:lnTo>
                      <a:pt x="320" y="260"/>
                    </a:lnTo>
                    <a:lnTo>
                      <a:pt x="322" y="260"/>
                    </a:lnTo>
                    <a:lnTo>
                      <a:pt x="324" y="260"/>
                    </a:lnTo>
                    <a:lnTo>
                      <a:pt x="326" y="258"/>
                    </a:lnTo>
                    <a:lnTo>
                      <a:pt x="326" y="256"/>
                    </a:lnTo>
                    <a:lnTo>
                      <a:pt x="328" y="256"/>
                    </a:lnTo>
                    <a:lnTo>
                      <a:pt x="328" y="254"/>
                    </a:lnTo>
                    <a:lnTo>
                      <a:pt x="330" y="252"/>
                    </a:lnTo>
                    <a:lnTo>
                      <a:pt x="332" y="252"/>
                    </a:lnTo>
                    <a:lnTo>
                      <a:pt x="334" y="252"/>
                    </a:lnTo>
                    <a:lnTo>
                      <a:pt x="336" y="252"/>
                    </a:lnTo>
                    <a:lnTo>
                      <a:pt x="338" y="252"/>
                    </a:lnTo>
                    <a:lnTo>
                      <a:pt x="338" y="254"/>
                    </a:lnTo>
                    <a:lnTo>
                      <a:pt x="340" y="254"/>
                    </a:lnTo>
                    <a:lnTo>
                      <a:pt x="340" y="252"/>
                    </a:lnTo>
                    <a:lnTo>
                      <a:pt x="340" y="248"/>
                    </a:lnTo>
                    <a:lnTo>
                      <a:pt x="340" y="246"/>
                    </a:lnTo>
                    <a:lnTo>
                      <a:pt x="338" y="242"/>
                    </a:lnTo>
                    <a:lnTo>
                      <a:pt x="336" y="240"/>
                    </a:lnTo>
                    <a:lnTo>
                      <a:pt x="334" y="240"/>
                    </a:lnTo>
                    <a:lnTo>
                      <a:pt x="332" y="240"/>
                    </a:lnTo>
                    <a:lnTo>
                      <a:pt x="332" y="238"/>
                    </a:lnTo>
                    <a:lnTo>
                      <a:pt x="332" y="234"/>
                    </a:lnTo>
                    <a:lnTo>
                      <a:pt x="332" y="232"/>
                    </a:lnTo>
                    <a:lnTo>
                      <a:pt x="332" y="230"/>
                    </a:lnTo>
                    <a:lnTo>
                      <a:pt x="332" y="228"/>
                    </a:lnTo>
                    <a:lnTo>
                      <a:pt x="330" y="228"/>
                    </a:lnTo>
                    <a:lnTo>
                      <a:pt x="330" y="226"/>
                    </a:lnTo>
                    <a:lnTo>
                      <a:pt x="330" y="224"/>
                    </a:lnTo>
                    <a:lnTo>
                      <a:pt x="332" y="224"/>
                    </a:lnTo>
                    <a:lnTo>
                      <a:pt x="332" y="222"/>
                    </a:lnTo>
                    <a:lnTo>
                      <a:pt x="330" y="222"/>
                    </a:lnTo>
                    <a:lnTo>
                      <a:pt x="328" y="222"/>
                    </a:lnTo>
                    <a:lnTo>
                      <a:pt x="326" y="222"/>
                    </a:lnTo>
                    <a:lnTo>
                      <a:pt x="326" y="220"/>
                    </a:lnTo>
                    <a:lnTo>
                      <a:pt x="324" y="220"/>
                    </a:lnTo>
                    <a:lnTo>
                      <a:pt x="324" y="218"/>
                    </a:lnTo>
                    <a:lnTo>
                      <a:pt x="322" y="218"/>
                    </a:lnTo>
                    <a:lnTo>
                      <a:pt x="320" y="220"/>
                    </a:lnTo>
                    <a:lnTo>
                      <a:pt x="318" y="220"/>
                    </a:lnTo>
                    <a:lnTo>
                      <a:pt x="318" y="218"/>
                    </a:lnTo>
                    <a:lnTo>
                      <a:pt x="316" y="218"/>
                    </a:lnTo>
                    <a:lnTo>
                      <a:pt x="314" y="218"/>
                    </a:lnTo>
                    <a:lnTo>
                      <a:pt x="314" y="216"/>
                    </a:lnTo>
                    <a:lnTo>
                      <a:pt x="312" y="214"/>
                    </a:lnTo>
                    <a:lnTo>
                      <a:pt x="310" y="210"/>
                    </a:lnTo>
                    <a:lnTo>
                      <a:pt x="308" y="206"/>
                    </a:lnTo>
                    <a:lnTo>
                      <a:pt x="306" y="204"/>
                    </a:lnTo>
                    <a:lnTo>
                      <a:pt x="304" y="202"/>
                    </a:lnTo>
                    <a:lnTo>
                      <a:pt x="302" y="200"/>
                    </a:lnTo>
                    <a:lnTo>
                      <a:pt x="300" y="196"/>
                    </a:lnTo>
                    <a:lnTo>
                      <a:pt x="298" y="194"/>
                    </a:lnTo>
                    <a:lnTo>
                      <a:pt x="296" y="194"/>
                    </a:lnTo>
                    <a:lnTo>
                      <a:pt x="296" y="192"/>
                    </a:lnTo>
                    <a:lnTo>
                      <a:pt x="294" y="192"/>
                    </a:lnTo>
                    <a:lnTo>
                      <a:pt x="294" y="190"/>
                    </a:lnTo>
                    <a:lnTo>
                      <a:pt x="294" y="188"/>
                    </a:lnTo>
                    <a:lnTo>
                      <a:pt x="296" y="188"/>
                    </a:lnTo>
                    <a:lnTo>
                      <a:pt x="296" y="186"/>
                    </a:lnTo>
                    <a:lnTo>
                      <a:pt x="300" y="182"/>
                    </a:lnTo>
                    <a:lnTo>
                      <a:pt x="302" y="180"/>
                    </a:lnTo>
                    <a:lnTo>
                      <a:pt x="304" y="178"/>
                    </a:lnTo>
                    <a:lnTo>
                      <a:pt x="306" y="174"/>
                    </a:lnTo>
                    <a:lnTo>
                      <a:pt x="306" y="172"/>
                    </a:lnTo>
                    <a:lnTo>
                      <a:pt x="308" y="170"/>
                    </a:lnTo>
                    <a:lnTo>
                      <a:pt x="308" y="168"/>
                    </a:lnTo>
                    <a:lnTo>
                      <a:pt x="306" y="166"/>
                    </a:lnTo>
                    <a:lnTo>
                      <a:pt x="306" y="164"/>
                    </a:lnTo>
                    <a:lnTo>
                      <a:pt x="304" y="162"/>
                    </a:lnTo>
                    <a:lnTo>
                      <a:pt x="302" y="162"/>
                    </a:lnTo>
                    <a:lnTo>
                      <a:pt x="300" y="162"/>
                    </a:lnTo>
                    <a:lnTo>
                      <a:pt x="298" y="162"/>
                    </a:lnTo>
                    <a:lnTo>
                      <a:pt x="296" y="162"/>
                    </a:lnTo>
                    <a:lnTo>
                      <a:pt x="294" y="160"/>
                    </a:lnTo>
                    <a:lnTo>
                      <a:pt x="292" y="160"/>
                    </a:lnTo>
                    <a:lnTo>
                      <a:pt x="290" y="160"/>
                    </a:lnTo>
                    <a:lnTo>
                      <a:pt x="288" y="160"/>
                    </a:lnTo>
                    <a:lnTo>
                      <a:pt x="288" y="158"/>
                    </a:lnTo>
                    <a:lnTo>
                      <a:pt x="288" y="156"/>
                    </a:lnTo>
                    <a:lnTo>
                      <a:pt x="288" y="154"/>
                    </a:lnTo>
                    <a:lnTo>
                      <a:pt x="288" y="150"/>
                    </a:lnTo>
                    <a:lnTo>
                      <a:pt x="288" y="148"/>
                    </a:lnTo>
                    <a:lnTo>
                      <a:pt x="288" y="146"/>
                    </a:lnTo>
                    <a:lnTo>
                      <a:pt x="286" y="144"/>
                    </a:lnTo>
                    <a:lnTo>
                      <a:pt x="286" y="140"/>
                    </a:lnTo>
                    <a:lnTo>
                      <a:pt x="284" y="138"/>
                    </a:lnTo>
                    <a:lnTo>
                      <a:pt x="282" y="136"/>
                    </a:lnTo>
                    <a:lnTo>
                      <a:pt x="280" y="134"/>
                    </a:lnTo>
                    <a:lnTo>
                      <a:pt x="280" y="132"/>
                    </a:lnTo>
                    <a:lnTo>
                      <a:pt x="280" y="130"/>
                    </a:lnTo>
                    <a:lnTo>
                      <a:pt x="280" y="128"/>
                    </a:lnTo>
                    <a:lnTo>
                      <a:pt x="280" y="126"/>
                    </a:lnTo>
                    <a:lnTo>
                      <a:pt x="282" y="124"/>
                    </a:lnTo>
                    <a:lnTo>
                      <a:pt x="284" y="122"/>
                    </a:lnTo>
                    <a:lnTo>
                      <a:pt x="286" y="120"/>
                    </a:lnTo>
                    <a:lnTo>
                      <a:pt x="284" y="120"/>
                    </a:lnTo>
                    <a:lnTo>
                      <a:pt x="284" y="118"/>
                    </a:lnTo>
                    <a:lnTo>
                      <a:pt x="282" y="118"/>
                    </a:lnTo>
                    <a:lnTo>
                      <a:pt x="280" y="118"/>
                    </a:lnTo>
                    <a:lnTo>
                      <a:pt x="278" y="118"/>
                    </a:lnTo>
                    <a:lnTo>
                      <a:pt x="276" y="118"/>
                    </a:lnTo>
                    <a:lnTo>
                      <a:pt x="278" y="116"/>
                    </a:lnTo>
                    <a:lnTo>
                      <a:pt x="278" y="114"/>
                    </a:lnTo>
                    <a:lnTo>
                      <a:pt x="278" y="112"/>
                    </a:lnTo>
                    <a:lnTo>
                      <a:pt x="276" y="110"/>
                    </a:lnTo>
                    <a:lnTo>
                      <a:pt x="274" y="110"/>
                    </a:lnTo>
                    <a:lnTo>
                      <a:pt x="274" y="108"/>
                    </a:lnTo>
                    <a:lnTo>
                      <a:pt x="276" y="106"/>
                    </a:lnTo>
                    <a:lnTo>
                      <a:pt x="278" y="106"/>
                    </a:lnTo>
                    <a:lnTo>
                      <a:pt x="280" y="104"/>
                    </a:lnTo>
                    <a:lnTo>
                      <a:pt x="282" y="104"/>
                    </a:lnTo>
                    <a:lnTo>
                      <a:pt x="280" y="102"/>
                    </a:lnTo>
                    <a:lnTo>
                      <a:pt x="280" y="100"/>
                    </a:lnTo>
                    <a:lnTo>
                      <a:pt x="282" y="98"/>
                    </a:lnTo>
                    <a:lnTo>
                      <a:pt x="284" y="98"/>
                    </a:lnTo>
                    <a:lnTo>
                      <a:pt x="284" y="96"/>
                    </a:lnTo>
                    <a:lnTo>
                      <a:pt x="284" y="94"/>
                    </a:lnTo>
                    <a:lnTo>
                      <a:pt x="284" y="92"/>
                    </a:lnTo>
                    <a:lnTo>
                      <a:pt x="282" y="90"/>
                    </a:lnTo>
                    <a:lnTo>
                      <a:pt x="282" y="88"/>
                    </a:lnTo>
                    <a:lnTo>
                      <a:pt x="282" y="86"/>
                    </a:lnTo>
                    <a:lnTo>
                      <a:pt x="282" y="84"/>
                    </a:lnTo>
                    <a:lnTo>
                      <a:pt x="284" y="82"/>
                    </a:lnTo>
                    <a:lnTo>
                      <a:pt x="284" y="80"/>
                    </a:lnTo>
                    <a:lnTo>
                      <a:pt x="284" y="78"/>
                    </a:lnTo>
                    <a:lnTo>
                      <a:pt x="284" y="76"/>
                    </a:lnTo>
                    <a:lnTo>
                      <a:pt x="282" y="76"/>
                    </a:lnTo>
                    <a:lnTo>
                      <a:pt x="282" y="74"/>
                    </a:lnTo>
                    <a:lnTo>
                      <a:pt x="282" y="72"/>
                    </a:lnTo>
                    <a:lnTo>
                      <a:pt x="282" y="70"/>
                    </a:lnTo>
                    <a:lnTo>
                      <a:pt x="282" y="68"/>
                    </a:lnTo>
                    <a:lnTo>
                      <a:pt x="280" y="68"/>
                    </a:lnTo>
                    <a:lnTo>
                      <a:pt x="280" y="66"/>
                    </a:lnTo>
                    <a:lnTo>
                      <a:pt x="280" y="64"/>
                    </a:lnTo>
                    <a:lnTo>
                      <a:pt x="280" y="62"/>
                    </a:lnTo>
                    <a:lnTo>
                      <a:pt x="280" y="60"/>
                    </a:lnTo>
                    <a:lnTo>
                      <a:pt x="276" y="60"/>
                    </a:lnTo>
                    <a:lnTo>
                      <a:pt x="274" y="60"/>
                    </a:lnTo>
                    <a:lnTo>
                      <a:pt x="272" y="60"/>
                    </a:lnTo>
                    <a:lnTo>
                      <a:pt x="270" y="60"/>
                    </a:lnTo>
                    <a:lnTo>
                      <a:pt x="268" y="60"/>
                    </a:lnTo>
                    <a:lnTo>
                      <a:pt x="266" y="60"/>
                    </a:lnTo>
                    <a:lnTo>
                      <a:pt x="264" y="60"/>
                    </a:lnTo>
                    <a:lnTo>
                      <a:pt x="264" y="58"/>
                    </a:lnTo>
                    <a:lnTo>
                      <a:pt x="262" y="58"/>
                    </a:lnTo>
                    <a:lnTo>
                      <a:pt x="260" y="54"/>
                    </a:lnTo>
                    <a:lnTo>
                      <a:pt x="258" y="54"/>
                    </a:lnTo>
                    <a:lnTo>
                      <a:pt x="256" y="52"/>
                    </a:lnTo>
                    <a:lnTo>
                      <a:pt x="254" y="52"/>
                    </a:lnTo>
                    <a:lnTo>
                      <a:pt x="252" y="52"/>
                    </a:lnTo>
                    <a:lnTo>
                      <a:pt x="252" y="50"/>
                    </a:lnTo>
                    <a:lnTo>
                      <a:pt x="250" y="50"/>
                    </a:lnTo>
                    <a:lnTo>
                      <a:pt x="250" y="48"/>
                    </a:lnTo>
                    <a:lnTo>
                      <a:pt x="248" y="48"/>
                    </a:lnTo>
                    <a:lnTo>
                      <a:pt x="248" y="44"/>
                    </a:lnTo>
                    <a:lnTo>
                      <a:pt x="246" y="44"/>
                    </a:lnTo>
                    <a:lnTo>
                      <a:pt x="246" y="42"/>
                    </a:lnTo>
                    <a:lnTo>
                      <a:pt x="244" y="42"/>
                    </a:lnTo>
                    <a:lnTo>
                      <a:pt x="242" y="42"/>
                    </a:lnTo>
                    <a:lnTo>
                      <a:pt x="240" y="42"/>
                    </a:lnTo>
                    <a:lnTo>
                      <a:pt x="238" y="42"/>
                    </a:lnTo>
                    <a:lnTo>
                      <a:pt x="236" y="40"/>
                    </a:lnTo>
                    <a:lnTo>
                      <a:pt x="232" y="40"/>
                    </a:lnTo>
                    <a:lnTo>
                      <a:pt x="230" y="40"/>
                    </a:lnTo>
                    <a:lnTo>
                      <a:pt x="230" y="42"/>
                    </a:lnTo>
                    <a:lnTo>
                      <a:pt x="228" y="42"/>
                    </a:lnTo>
                    <a:lnTo>
                      <a:pt x="226" y="40"/>
                    </a:lnTo>
                    <a:lnTo>
                      <a:pt x="224" y="38"/>
                    </a:lnTo>
                    <a:lnTo>
                      <a:pt x="222" y="38"/>
                    </a:lnTo>
                    <a:lnTo>
                      <a:pt x="220" y="38"/>
                    </a:lnTo>
                    <a:lnTo>
                      <a:pt x="220" y="36"/>
                    </a:lnTo>
                    <a:lnTo>
                      <a:pt x="218" y="36"/>
                    </a:lnTo>
                    <a:lnTo>
                      <a:pt x="216" y="36"/>
                    </a:lnTo>
                    <a:lnTo>
                      <a:pt x="214" y="36"/>
                    </a:lnTo>
                    <a:lnTo>
                      <a:pt x="214" y="34"/>
                    </a:lnTo>
                    <a:lnTo>
                      <a:pt x="214" y="32"/>
                    </a:lnTo>
                    <a:lnTo>
                      <a:pt x="212" y="30"/>
                    </a:lnTo>
                    <a:lnTo>
                      <a:pt x="210" y="30"/>
                    </a:lnTo>
                    <a:lnTo>
                      <a:pt x="208" y="30"/>
                    </a:lnTo>
                    <a:lnTo>
                      <a:pt x="206" y="30"/>
                    </a:lnTo>
                    <a:lnTo>
                      <a:pt x="204" y="30"/>
                    </a:lnTo>
                    <a:lnTo>
                      <a:pt x="202" y="30"/>
                    </a:lnTo>
                    <a:lnTo>
                      <a:pt x="200" y="30"/>
                    </a:lnTo>
                    <a:lnTo>
                      <a:pt x="198" y="30"/>
                    </a:lnTo>
                    <a:lnTo>
                      <a:pt x="196" y="32"/>
                    </a:lnTo>
                    <a:lnTo>
                      <a:pt x="196" y="34"/>
                    </a:lnTo>
                    <a:lnTo>
                      <a:pt x="194" y="32"/>
                    </a:lnTo>
                    <a:lnTo>
                      <a:pt x="192" y="32"/>
                    </a:lnTo>
                    <a:lnTo>
                      <a:pt x="190" y="32"/>
                    </a:lnTo>
                    <a:lnTo>
                      <a:pt x="186" y="32"/>
                    </a:lnTo>
                    <a:lnTo>
                      <a:pt x="184" y="32"/>
                    </a:lnTo>
                    <a:lnTo>
                      <a:pt x="182" y="34"/>
                    </a:lnTo>
                    <a:lnTo>
                      <a:pt x="180" y="36"/>
                    </a:lnTo>
                    <a:lnTo>
                      <a:pt x="178" y="38"/>
                    </a:lnTo>
                    <a:lnTo>
                      <a:pt x="176" y="38"/>
                    </a:lnTo>
                    <a:lnTo>
                      <a:pt x="174" y="40"/>
                    </a:lnTo>
                    <a:lnTo>
                      <a:pt x="172" y="40"/>
                    </a:lnTo>
                    <a:lnTo>
                      <a:pt x="172" y="42"/>
                    </a:lnTo>
                    <a:lnTo>
                      <a:pt x="172" y="44"/>
                    </a:lnTo>
                    <a:lnTo>
                      <a:pt x="170" y="46"/>
                    </a:lnTo>
                    <a:lnTo>
                      <a:pt x="168" y="46"/>
                    </a:lnTo>
                    <a:lnTo>
                      <a:pt x="168" y="48"/>
                    </a:lnTo>
                    <a:lnTo>
                      <a:pt x="166" y="48"/>
                    </a:lnTo>
                    <a:lnTo>
                      <a:pt x="164" y="48"/>
                    </a:lnTo>
                    <a:lnTo>
                      <a:pt x="162" y="48"/>
                    </a:lnTo>
                    <a:lnTo>
                      <a:pt x="160" y="48"/>
                    </a:lnTo>
                    <a:lnTo>
                      <a:pt x="162" y="48"/>
                    </a:lnTo>
                    <a:lnTo>
                      <a:pt x="162" y="50"/>
                    </a:lnTo>
                    <a:lnTo>
                      <a:pt x="164" y="52"/>
                    </a:lnTo>
                    <a:lnTo>
                      <a:pt x="164" y="54"/>
                    </a:lnTo>
                    <a:lnTo>
                      <a:pt x="164" y="56"/>
                    </a:lnTo>
                    <a:lnTo>
                      <a:pt x="164" y="58"/>
                    </a:lnTo>
                    <a:lnTo>
                      <a:pt x="162" y="58"/>
                    </a:lnTo>
                    <a:lnTo>
                      <a:pt x="160" y="58"/>
                    </a:lnTo>
                    <a:lnTo>
                      <a:pt x="158" y="56"/>
                    </a:lnTo>
                    <a:lnTo>
                      <a:pt x="156" y="56"/>
                    </a:lnTo>
                    <a:lnTo>
                      <a:pt x="154" y="56"/>
                    </a:lnTo>
                    <a:lnTo>
                      <a:pt x="152" y="56"/>
                    </a:lnTo>
                    <a:lnTo>
                      <a:pt x="150" y="56"/>
                    </a:lnTo>
                    <a:lnTo>
                      <a:pt x="146" y="58"/>
                    </a:lnTo>
                    <a:lnTo>
                      <a:pt x="144" y="58"/>
                    </a:lnTo>
                    <a:lnTo>
                      <a:pt x="142" y="58"/>
                    </a:lnTo>
                    <a:lnTo>
                      <a:pt x="138" y="60"/>
                    </a:lnTo>
                    <a:lnTo>
                      <a:pt x="136" y="62"/>
                    </a:lnTo>
                    <a:lnTo>
                      <a:pt x="134" y="62"/>
                    </a:lnTo>
                    <a:lnTo>
                      <a:pt x="132" y="62"/>
                    </a:lnTo>
                    <a:lnTo>
                      <a:pt x="130" y="62"/>
                    </a:lnTo>
                    <a:lnTo>
                      <a:pt x="126" y="60"/>
                    </a:lnTo>
                    <a:lnTo>
                      <a:pt x="124" y="60"/>
                    </a:lnTo>
                    <a:lnTo>
                      <a:pt x="122" y="60"/>
                    </a:lnTo>
                    <a:lnTo>
                      <a:pt x="120" y="58"/>
                    </a:lnTo>
                    <a:lnTo>
                      <a:pt x="116" y="58"/>
                    </a:lnTo>
                    <a:lnTo>
                      <a:pt x="114" y="58"/>
                    </a:lnTo>
                    <a:lnTo>
                      <a:pt x="112" y="58"/>
                    </a:lnTo>
                    <a:lnTo>
                      <a:pt x="112" y="56"/>
                    </a:lnTo>
                    <a:lnTo>
                      <a:pt x="110" y="56"/>
                    </a:lnTo>
                    <a:lnTo>
                      <a:pt x="106" y="52"/>
                    </a:lnTo>
                    <a:lnTo>
                      <a:pt x="104" y="48"/>
                    </a:lnTo>
                    <a:lnTo>
                      <a:pt x="102" y="48"/>
                    </a:lnTo>
                    <a:lnTo>
                      <a:pt x="102" y="46"/>
                    </a:lnTo>
                    <a:lnTo>
                      <a:pt x="100" y="46"/>
                    </a:lnTo>
                    <a:lnTo>
                      <a:pt x="98" y="44"/>
                    </a:lnTo>
                    <a:lnTo>
                      <a:pt x="96" y="44"/>
                    </a:lnTo>
                    <a:lnTo>
                      <a:pt x="94" y="44"/>
                    </a:lnTo>
                    <a:lnTo>
                      <a:pt x="92" y="44"/>
                    </a:lnTo>
                    <a:lnTo>
                      <a:pt x="90" y="44"/>
                    </a:lnTo>
                    <a:lnTo>
                      <a:pt x="88" y="44"/>
                    </a:lnTo>
                    <a:lnTo>
                      <a:pt x="86" y="42"/>
                    </a:lnTo>
                    <a:lnTo>
                      <a:pt x="84" y="40"/>
                    </a:lnTo>
                    <a:lnTo>
                      <a:pt x="82" y="38"/>
                    </a:lnTo>
                    <a:lnTo>
                      <a:pt x="80" y="38"/>
                    </a:lnTo>
                    <a:lnTo>
                      <a:pt x="80" y="36"/>
                    </a:lnTo>
                    <a:lnTo>
                      <a:pt x="78" y="32"/>
                    </a:lnTo>
                    <a:lnTo>
                      <a:pt x="76" y="30"/>
                    </a:lnTo>
                    <a:lnTo>
                      <a:pt x="76" y="28"/>
                    </a:lnTo>
                    <a:lnTo>
                      <a:pt x="74" y="28"/>
                    </a:lnTo>
                    <a:lnTo>
                      <a:pt x="72" y="26"/>
                    </a:lnTo>
                    <a:lnTo>
                      <a:pt x="70" y="24"/>
                    </a:lnTo>
                    <a:lnTo>
                      <a:pt x="68" y="24"/>
                    </a:lnTo>
                    <a:lnTo>
                      <a:pt x="66" y="22"/>
                    </a:lnTo>
                    <a:lnTo>
                      <a:pt x="64" y="20"/>
                    </a:lnTo>
                    <a:lnTo>
                      <a:pt x="64" y="18"/>
                    </a:lnTo>
                    <a:lnTo>
                      <a:pt x="66" y="18"/>
                    </a:lnTo>
                    <a:lnTo>
                      <a:pt x="66" y="16"/>
                    </a:lnTo>
                    <a:lnTo>
                      <a:pt x="66" y="14"/>
                    </a:lnTo>
                    <a:lnTo>
                      <a:pt x="64" y="14"/>
                    </a:lnTo>
                    <a:lnTo>
                      <a:pt x="64" y="12"/>
                    </a:lnTo>
                    <a:lnTo>
                      <a:pt x="64" y="10"/>
                    </a:lnTo>
                    <a:lnTo>
                      <a:pt x="66" y="10"/>
                    </a:lnTo>
                    <a:lnTo>
                      <a:pt x="66" y="8"/>
                    </a:lnTo>
                    <a:lnTo>
                      <a:pt x="66" y="6"/>
                    </a:lnTo>
                    <a:lnTo>
                      <a:pt x="64" y="4"/>
                    </a:lnTo>
                    <a:lnTo>
                      <a:pt x="64" y="2"/>
                    </a:lnTo>
                    <a:lnTo>
                      <a:pt x="62" y="2"/>
                    </a:lnTo>
                    <a:lnTo>
                      <a:pt x="60" y="2"/>
                    </a:lnTo>
                    <a:lnTo>
                      <a:pt x="58" y="2"/>
                    </a:lnTo>
                    <a:lnTo>
                      <a:pt x="54" y="4"/>
                    </a:lnTo>
                    <a:lnTo>
                      <a:pt x="52" y="6"/>
                    </a:lnTo>
                    <a:lnTo>
                      <a:pt x="50" y="8"/>
                    </a:lnTo>
                    <a:lnTo>
                      <a:pt x="48" y="10"/>
                    </a:lnTo>
                    <a:lnTo>
                      <a:pt x="46" y="12"/>
                    </a:lnTo>
                    <a:lnTo>
                      <a:pt x="44" y="12"/>
                    </a:lnTo>
                    <a:lnTo>
                      <a:pt x="44" y="14"/>
                    </a:lnTo>
                    <a:lnTo>
                      <a:pt x="42" y="16"/>
                    </a:lnTo>
                    <a:lnTo>
                      <a:pt x="40" y="16"/>
                    </a:lnTo>
                    <a:lnTo>
                      <a:pt x="40" y="18"/>
                    </a:lnTo>
                    <a:lnTo>
                      <a:pt x="38" y="18"/>
                    </a:lnTo>
                    <a:lnTo>
                      <a:pt x="36" y="18"/>
                    </a:lnTo>
                    <a:lnTo>
                      <a:pt x="34" y="18"/>
                    </a:lnTo>
                    <a:lnTo>
                      <a:pt x="30" y="18"/>
                    </a:lnTo>
                    <a:lnTo>
                      <a:pt x="28" y="18"/>
                    </a:lnTo>
                    <a:lnTo>
                      <a:pt x="26" y="18"/>
                    </a:lnTo>
                    <a:lnTo>
                      <a:pt x="24" y="16"/>
                    </a:lnTo>
                    <a:lnTo>
                      <a:pt x="22" y="14"/>
                    </a:lnTo>
                    <a:lnTo>
                      <a:pt x="18" y="14"/>
                    </a:lnTo>
                    <a:lnTo>
                      <a:pt x="16" y="12"/>
                    </a:lnTo>
                    <a:lnTo>
                      <a:pt x="14" y="10"/>
                    </a:lnTo>
                    <a:lnTo>
                      <a:pt x="12" y="8"/>
                    </a:lnTo>
                    <a:lnTo>
                      <a:pt x="12" y="4"/>
                    </a:lnTo>
                    <a:lnTo>
                      <a:pt x="10" y="2"/>
                    </a:lnTo>
                    <a:lnTo>
                      <a:pt x="10" y="0"/>
                    </a:lnTo>
                    <a:lnTo>
                      <a:pt x="8" y="0"/>
                    </a:lnTo>
                    <a:lnTo>
                      <a:pt x="6" y="2"/>
                    </a:lnTo>
                    <a:lnTo>
                      <a:pt x="6" y="4"/>
                    </a:lnTo>
                    <a:lnTo>
                      <a:pt x="4" y="6"/>
                    </a:lnTo>
                    <a:lnTo>
                      <a:pt x="4" y="8"/>
                    </a:lnTo>
                    <a:lnTo>
                      <a:pt x="2" y="8"/>
                    </a:lnTo>
                    <a:lnTo>
                      <a:pt x="0" y="8"/>
                    </a:lnTo>
                    <a:lnTo>
                      <a:pt x="0" y="10"/>
                    </a:lnTo>
                    <a:lnTo>
                      <a:pt x="2" y="12"/>
                    </a:lnTo>
                    <a:lnTo>
                      <a:pt x="2" y="14"/>
                    </a:lnTo>
                    <a:lnTo>
                      <a:pt x="2" y="16"/>
                    </a:lnTo>
                    <a:lnTo>
                      <a:pt x="2" y="18"/>
                    </a:lnTo>
                    <a:lnTo>
                      <a:pt x="2" y="20"/>
                    </a:lnTo>
                    <a:lnTo>
                      <a:pt x="4" y="22"/>
                    </a:lnTo>
                    <a:lnTo>
                      <a:pt x="4" y="24"/>
                    </a:lnTo>
                    <a:lnTo>
                      <a:pt x="6" y="26"/>
                    </a:lnTo>
                    <a:lnTo>
                      <a:pt x="6" y="28"/>
                    </a:lnTo>
                    <a:lnTo>
                      <a:pt x="8" y="28"/>
                    </a:lnTo>
                    <a:lnTo>
                      <a:pt x="8" y="30"/>
                    </a:lnTo>
                    <a:lnTo>
                      <a:pt x="6" y="30"/>
                    </a:lnTo>
                    <a:lnTo>
                      <a:pt x="6" y="32"/>
                    </a:lnTo>
                    <a:lnTo>
                      <a:pt x="6" y="34"/>
                    </a:lnTo>
                    <a:lnTo>
                      <a:pt x="4" y="34"/>
                    </a:lnTo>
                    <a:lnTo>
                      <a:pt x="4" y="36"/>
                    </a:lnTo>
                    <a:lnTo>
                      <a:pt x="6" y="36"/>
                    </a:lnTo>
                    <a:lnTo>
                      <a:pt x="8" y="38"/>
                    </a:lnTo>
                    <a:lnTo>
                      <a:pt x="10" y="38"/>
                    </a:lnTo>
                    <a:lnTo>
                      <a:pt x="12" y="38"/>
                    </a:lnTo>
                    <a:lnTo>
                      <a:pt x="12" y="42"/>
                    </a:lnTo>
                    <a:lnTo>
                      <a:pt x="12" y="44"/>
                    </a:lnTo>
                    <a:lnTo>
                      <a:pt x="12" y="46"/>
                    </a:lnTo>
                    <a:lnTo>
                      <a:pt x="14" y="46"/>
                    </a:lnTo>
                    <a:lnTo>
                      <a:pt x="16" y="46"/>
                    </a:lnTo>
                    <a:lnTo>
                      <a:pt x="16" y="48"/>
                    </a:lnTo>
                    <a:lnTo>
                      <a:pt x="18" y="48"/>
                    </a:lnTo>
                    <a:lnTo>
                      <a:pt x="18" y="50"/>
                    </a:lnTo>
                    <a:lnTo>
                      <a:pt x="18" y="52"/>
                    </a:lnTo>
                    <a:lnTo>
                      <a:pt x="20" y="54"/>
                    </a:lnTo>
                    <a:lnTo>
                      <a:pt x="20" y="58"/>
                    </a:lnTo>
                    <a:lnTo>
                      <a:pt x="22" y="60"/>
                    </a:lnTo>
                    <a:lnTo>
                      <a:pt x="22" y="62"/>
                    </a:lnTo>
                    <a:lnTo>
                      <a:pt x="24" y="64"/>
                    </a:lnTo>
                    <a:lnTo>
                      <a:pt x="26" y="66"/>
                    </a:lnTo>
                    <a:lnTo>
                      <a:pt x="26" y="68"/>
                    </a:lnTo>
                    <a:lnTo>
                      <a:pt x="26" y="70"/>
                    </a:lnTo>
                    <a:lnTo>
                      <a:pt x="26" y="72"/>
                    </a:lnTo>
                    <a:lnTo>
                      <a:pt x="28" y="72"/>
                    </a:lnTo>
                    <a:lnTo>
                      <a:pt x="30" y="72"/>
                    </a:lnTo>
                    <a:lnTo>
                      <a:pt x="32" y="72"/>
                    </a:lnTo>
                    <a:lnTo>
                      <a:pt x="34" y="74"/>
                    </a:lnTo>
                    <a:lnTo>
                      <a:pt x="34" y="76"/>
                    </a:lnTo>
                    <a:lnTo>
                      <a:pt x="36" y="76"/>
                    </a:lnTo>
                    <a:lnTo>
                      <a:pt x="36" y="78"/>
                    </a:lnTo>
                    <a:lnTo>
                      <a:pt x="36" y="76"/>
                    </a:lnTo>
                    <a:lnTo>
                      <a:pt x="38" y="76"/>
                    </a:lnTo>
                    <a:lnTo>
                      <a:pt x="40" y="76"/>
                    </a:lnTo>
                    <a:lnTo>
                      <a:pt x="42" y="76"/>
                    </a:lnTo>
                    <a:lnTo>
                      <a:pt x="44" y="76"/>
                    </a:lnTo>
                    <a:lnTo>
                      <a:pt x="42" y="78"/>
                    </a:lnTo>
                    <a:lnTo>
                      <a:pt x="40" y="80"/>
                    </a:lnTo>
                    <a:lnTo>
                      <a:pt x="40" y="82"/>
                    </a:lnTo>
                    <a:lnTo>
                      <a:pt x="38" y="82"/>
                    </a:lnTo>
                    <a:lnTo>
                      <a:pt x="40" y="84"/>
                    </a:lnTo>
                    <a:lnTo>
                      <a:pt x="42" y="86"/>
                    </a:lnTo>
                    <a:lnTo>
                      <a:pt x="44" y="88"/>
                    </a:lnTo>
                    <a:lnTo>
                      <a:pt x="42" y="88"/>
                    </a:lnTo>
                    <a:lnTo>
                      <a:pt x="42" y="90"/>
                    </a:lnTo>
                    <a:lnTo>
                      <a:pt x="40" y="92"/>
                    </a:lnTo>
                    <a:lnTo>
                      <a:pt x="38" y="92"/>
                    </a:lnTo>
                    <a:lnTo>
                      <a:pt x="38" y="94"/>
                    </a:lnTo>
                    <a:lnTo>
                      <a:pt x="38" y="96"/>
                    </a:lnTo>
                    <a:lnTo>
                      <a:pt x="38" y="98"/>
                    </a:lnTo>
                    <a:lnTo>
                      <a:pt x="38" y="100"/>
                    </a:lnTo>
                    <a:lnTo>
                      <a:pt x="36" y="100"/>
                    </a:lnTo>
                    <a:lnTo>
                      <a:pt x="34" y="100"/>
                    </a:lnTo>
                    <a:lnTo>
                      <a:pt x="34" y="102"/>
                    </a:lnTo>
                    <a:lnTo>
                      <a:pt x="32" y="102"/>
                    </a:lnTo>
                    <a:lnTo>
                      <a:pt x="32" y="104"/>
                    </a:lnTo>
                    <a:lnTo>
                      <a:pt x="34" y="104"/>
                    </a:lnTo>
                    <a:lnTo>
                      <a:pt x="34" y="106"/>
                    </a:lnTo>
                    <a:lnTo>
                      <a:pt x="36" y="106"/>
                    </a:lnTo>
                    <a:lnTo>
                      <a:pt x="36" y="108"/>
                    </a:lnTo>
                    <a:lnTo>
                      <a:pt x="34" y="108"/>
                    </a:lnTo>
                    <a:lnTo>
                      <a:pt x="34" y="110"/>
                    </a:lnTo>
                    <a:lnTo>
                      <a:pt x="32" y="110"/>
                    </a:lnTo>
                    <a:lnTo>
                      <a:pt x="32" y="112"/>
                    </a:lnTo>
                    <a:lnTo>
                      <a:pt x="34" y="112"/>
                    </a:lnTo>
                    <a:lnTo>
                      <a:pt x="34" y="114"/>
                    </a:lnTo>
                    <a:lnTo>
                      <a:pt x="36" y="114"/>
                    </a:lnTo>
                    <a:lnTo>
                      <a:pt x="38" y="116"/>
                    </a:lnTo>
                    <a:lnTo>
                      <a:pt x="42" y="118"/>
                    </a:lnTo>
                    <a:lnTo>
                      <a:pt x="44" y="120"/>
                    </a:lnTo>
                    <a:lnTo>
                      <a:pt x="46" y="122"/>
                    </a:lnTo>
                    <a:lnTo>
                      <a:pt x="48" y="122"/>
                    </a:lnTo>
                    <a:lnTo>
                      <a:pt x="50" y="122"/>
                    </a:lnTo>
                    <a:lnTo>
                      <a:pt x="50" y="126"/>
                    </a:lnTo>
                    <a:lnTo>
                      <a:pt x="50" y="128"/>
                    </a:lnTo>
                    <a:lnTo>
                      <a:pt x="50" y="130"/>
                    </a:lnTo>
                    <a:lnTo>
                      <a:pt x="50" y="132"/>
                    </a:lnTo>
                    <a:lnTo>
                      <a:pt x="52" y="132"/>
                    </a:lnTo>
                    <a:lnTo>
                      <a:pt x="54" y="132"/>
                    </a:lnTo>
                    <a:lnTo>
                      <a:pt x="54" y="134"/>
                    </a:lnTo>
                    <a:lnTo>
                      <a:pt x="56" y="134"/>
                    </a:lnTo>
                    <a:lnTo>
                      <a:pt x="58" y="136"/>
                    </a:lnTo>
                    <a:lnTo>
                      <a:pt x="60" y="136"/>
                    </a:lnTo>
                    <a:lnTo>
                      <a:pt x="62" y="138"/>
                    </a:lnTo>
                    <a:lnTo>
                      <a:pt x="64" y="138"/>
                    </a:lnTo>
                    <a:lnTo>
                      <a:pt x="66" y="138"/>
                    </a:lnTo>
                    <a:lnTo>
                      <a:pt x="68" y="140"/>
                    </a:lnTo>
                    <a:lnTo>
                      <a:pt x="70" y="142"/>
                    </a:lnTo>
                    <a:lnTo>
                      <a:pt x="70" y="144"/>
                    </a:lnTo>
                    <a:lnTo>
                      <a:pt x="72" y="146"/>
                    </a:lnTo>
                    <a:lnTo>
                      <a:pt x="74" y="148"/>
                    </a:lnTo>
                    <a:lnTo>
                      <a:pt x="76" y="150"/>
                    </a:lnTo>
                    <a:lnTo>
                      <a:pt x="76" y="152"/>
                    </a:lnTo>
                    <a:lnTo>
                      <a:pt x="78" y="152"/>
                    </a:lnTo>
                    <a:lnTo>
                      <a:pt x="76" y="152"/>
                    </a:lnTo>
                    <a:lnTo>
                      <a:pt x="76" y="154"/>
                    </a:lnTo>
                    <a:lnTo>
                      <a:pt x="76" y="156"/>
                    </a:lnTo>
                    <a:lnTo>
                      <a:pt x="76" y="160"/>
                    </a:lnTo>
                    <a:lnTo>
                      <a:pt x="76" y="162"/>
                    </a:lnTo>
                    <a:lnTo>
                      <a:pt x="76" y="164"/>
                    </a:lnTo>
                    <a:lnTo>
                      <a:pt x="76" y="166"/>
                    </a:lnTo>
                    <a:lnTo>
                      <a:pt x="76" y="168"/>
                    </a:lnTo>
                    <a:lnTo>
                      <a:pt x="78" y="168"/>
                    </a:lnTo>
                    <a:lnTo>
                      <a:pt x="80" y="170"/>
                    </a:lnTo>
                    <a:lnTo>
                      <a:pt x="82" y="170"/>
                    </a:lnTo>
                    <a:lnTo>
                      <a:pt x="82" y="172"/>
                    </a:lnTo>
                    <a:lnTo>
                      <a:pt x="82" y="174"/>
                    </a:lnTo>
                    <a:lnTo>
                      <a:pt x="84" y="176"/>
                    </a:lnTo>
                    <a:lnTo>
                      <a:pt x="84" y="178"/>
                    </a:lnTo>
                    <a:lnTo>
                      <a:pt x="86" y="178"/>
                    </a:lnTo>
                    <a:lnTo>
                      <a:pt x="88" y="180"/>
                    </a:lnTo>
                    <a:lnTo>
                      <a:pt x="90" y="180"/>
                    </a:lnTo>
                    <a:lnTo>
                      <a:pt x="90" y="182"/>
                    </a:lnTo>
                    <a:lnTo>
                      <a:pt x="90" y="184"/>
                    </a:lnTo>
                    <a:lnTo>
                      <a:pt x="92" y="186"/>
                    </a:lnTo>
                    <a:lnTo>
                      <a:pt x="94" y="186"/>
                    </a:lnTo>
                    <a:lnTo>
                      <a:pt x="96" y="188"/>
                    </a:lnTo>
                    <a:lnTo>
                      <a:pt x="98" y="188"/>
                    </a:lnTo>
                    <a:lnTo>
                      <a:pt x="100" y="188"/>
                    </a:lnTo>
                    <a:lnTo>
                      <a:pt x="100" y="186"/>
                    </a:lnTo>
                    <a:lnTo>
                      <a:pt x="98" y="186"/>
                    </a:lnTo>
                    <a:lnTo>
                      <a:pt x="98" y="184"/>
                    </a:lnTo>
                    <a:lnTo>
                      <a:pt x="98" y="182"/>
                    </a:lnTo>
                    <a:lnTo>
                      <a:pt x="98" y="180"/>
                    </a:lnTo>
                    <a:lnTo>
                      <a:pt x="100" y="180"/>
                    </a:lnTo>
                    <a:lnTo>
                      <a:pt x="102" y="180"/>
                    </a:lnTo>
                    <a:lnTo>
                      <a:pt x="104" y="180"/>
                    </a:lnTo>
                    <a:lnTo>
                      <a:pt x="104" y="182"/>
                    </a:lnTo>
                    <a:lnTo>
                      <a:pt x="106" y="182"/>
                    </a:lnTo>
                    <a:lnTo>
                      <a:pt x="106" y="184"/>
                    </a:lnTo>
                    <a:lnTo>
                      <a:pt x="108" y="186"/>
                    </a:lnTo>
                    <a:lnTo>
                      <a:pt x="110" y="186"/>
                    </a:lnTo>
                    <a:lnTo>
                      <a:pt x="112" y="186"/>
                    </a:lnTo>
                    <a:lnTo>
                      <a:pt x="112" y="184"/>
                    </a:lnTo>
                    <a:lnTo>
                      <a:pt x="114" y="184"/>
                    </a:lnTo>
                    <a:lnTo>
                      <a:pt x="116" y="184"/>
                    </a:lnTo>
                    <a:lnTo>
                      <a:pt x="118" y="184"/>
                    </a:lnTo>
                    <a:lnTo>
                      <a:pt x="118" y="186"/>
                    </a:lnTo>
                    <a:lnTo>
                      <a:pt x="118" y="188"/>
                    </a:lnTo>
                    <a:lnTo>
                      <a:pt x="118" y="190"/>
                    </a:lnTo>
                    <a:lnTo>
                      <a:pt x="118" y="192"/>
                    </a:lnTo>
                    <a:lnTo>
                      <a:pt x="120" y="192"/>
                    </a:lnTo>
                    <a:lnTo>
                      <a:pt x="120" y="194"/>
                    </a:lnTo>
                    <a:lnTo>
                      <a:pt x="122" y="194"/>
                    </a:lnTo>
                    <a:lnTo>
                      <a:pt x="124" y="196"/>
                    </a:lnTo>
                    <a:lnTo>
                      <a:pt x="126" y="196"/>
                    </a:lnTo>
                    <a:lnTo>
                      <a:pt x="126" y="198"/>
                    </a:lnTo>
                    <a:lnTo>
                      <a:pt x="128" y="198"/>
                    </a:lnTo>
                    <a:lnTo>
                      <a:pt x="126" y="200"/>
                    </a:lnTo>
                    <a:lnTo>
                      <a:pt x="126" y="202"/>
                    </a:lnTo>
                    <a:lnTo>
                      <a:pt x="130" y="204"/>
                    </a:lnTo>
                    <a:lnTo>
                      <a:pt x="130" y="206"/>
                    </a:lnTo>
                    <a:lnTo>
                      <a:pt x="132" y="208"/>
                    </a:lnTo>
                    <a:lnTo>
                      <a:pt x="134" y="208"/>
                    </a:lnTo>
                    <a:lnTo>
                      <a:pt x="134" y="210"/>
                    </a:lnTo>
                    <a:lnTo>
                      <a:pt x="136" y="210"/>
                    </a:lnTo>
                    <a:lnTo>
                      <a:pt x="136" y="212"/>
                    </a:lnTo>
                    <a:lnTo>
                      <a:pt x="136" y="214"/>
                    </a:lnTo>
                    <a:lnTo>
                      <a:pt x="138" y="214"/>
                    </a:lnTo>
                    <a:lnTo>
                      <a:pt x="138" y="216"/>
                    </a:lnTo>
                    <a:lnTo>
                      <a:pt x="138" y="218"/>
                    </a:lnTo>
                    <a:lnTo>
                      <a:pt x="138" y="220"/>
                    </a:lnTo>
                    <a:lnTo>
                      <a:pt x="140" y="222"/>
                    </a:lnTo>
                    <a:lnTo>
                      <a:pt x="140" y="224"/>
                    </a:lnTo>
                    <a:lnTo>
                      <a:pt x="142" y="224"/>
                    </a:lnTo>
                    <a:lnTo>
                      <a:pt x="144" y="224"/>
                    </a:lnTo>
                    <a:lnTo>
                      <a:pt x="144" y="226"/>
                    </a:lnTo>
                    <a:lnTo>
                      <a:pt x="146" y="228"/>
                    </a:lnTo>
                    <a:lnTo>
                      <a:pt x="146" y="230"/>
                    </a:lnTo>
                    <a:lnTo>
                      <a:pt x="148" y="230"/>
                    </a:lnTo>
                    <a:lnTo>
                      <a:pt x="150" y="230"/>
                    </a:lnTo>
                    <a:lnTo>
                      <a:pt x="152" y="230"/>
                    </a:lnTo>
                    <a:lnTo>
                      <a:pt x="154" y="230"/>
                    </a:lnTo>
                    <a:lnTo>
                      <a:pt x="156" y="232"/>
                    </a:lnTo>
                    <a:lnTo>
                      <a:pt x="156" y="234"/>
                    </a:lnTo>
                    <a:lnTo>
                      <a:pt x="158" y="234"/>
                    </a:lnTo>
                    <a:lnTo>
                      <a:pt x="160" y="234"/>
                    </a:lnTo>
                    <a:lnTo>
                      <a:pt x="162" y="232"/>
                    </a:lnTo>
                    <a:lnTo>
                      <a:pt x="164" y="234"/>
                    </a:lnTo>
                    <a:lnTo>
                      <a:pt x="166" y="234"/>
                    </a:lnTo>
                    <a:lnTo>
                      <a:pt x="170" y="236"/>
                    </a:lnTo>
                    <a:lnTo>
                      <a:pt x="170" y="238"/>
                    </a:lnTo>
                    <a:lnTo>
                      <a:pt x="174" y="240"/>
                    </a:lnTo>
                    <a:lnTo>
                      <a:pt x="180" y="246"/>
                    </a:lnTo>
                    <a:lnTo>
                      <a:pt x="184" y="248"/>
                    </a:lnTo>
                    <a:lnTo>
                      <a:pt x="188" y="252"/>
                    </a:lnTo>
                    <a:lnTo>
                      <a:pt x="190" y="252"/>
                    </a:lnTo>
                    <a:lnTo>
                      <a:pt x="192" y="252"/>
                    </a:lnTo>
                    <a:lnTo>
                      <a:pt x="194" y="252"/>
                    </a:lnTo>
                    <a:lnTo>
                      <a:pt x="194" y="254"/>
                    </a:lnTo>
                    <a:lnTo>
                      <a:pt x="196" y="254"/>
                    </a:lnTo>
                    <a:lnTo>
                      <a:pt x="196" y="256"/>
                    </a:lnTo>
                    <a:lnTo>
                      <a:pt x="198" y="256"/>
                    </a:lnTo>
                    <a:lnTo>
                      <a:pt x="200" y="254"/>
                    </a:lnTo>
                    <a:lnTo>
                      <a:pt x="202" y="254"/>
                    </a:lnTo>
                    <a:lnTo>
                      <a:pt x="204" y="254"/>
                    </a:lnTo>
                    <a:lnTo>
                      <a:pt x="206" y="252"/>
                    </a:lnTo>
                    <a:lnTo>
                      <a:pt x="208" y="252"/>
                    </a:lnTo>
                    <a:lnTo>
                      <a:pt x="210" y="252"/>
                    </a:lnTo>
                    <a:lnTo>
                      <a:pt x="212" y="252"/>
                    </a:lnTo>
                    <a:lnTo>
                      <a:pt x="214" y="252"/>
                    </a:lnTo>
                    <a:lnTo>
                      <a:pt x="214" y="250"/>
                    </a:lnTo>
                    <a:lnTo>
                      <a:pt x="216" y="248"/>
                    </a:lnTo>
                    <a:lnTo>
                      <a:pt x="216" y="246"/>
                    </a:lnTo>
                    <a:lnTo>
                      <a:pt x="218" y="246"/>
                    </a:lnTo>
                    <a:lnTo>
                      <a:pt x="220" y="246"/>
                    </a:lnTo>
                    <a:lnTo>
                      <a:pt x="222" y="244"/>
                    </a:lnTo>
                    <a:lnTo>
                      <a:pt x="224" y="242"/>
                    </a:lnTo>
                    <a:lnTo>
                      <a:pt x="226" y="242"/>
                    </a:lnTo>
                    <a:lnTo>
                      <a:pt x="226" y="240"/>
                    </a:lnTo>
                    <a:lnTo>
                      <a:pt x="226" y="242"/>
                    </a:lnTo>
                    <a:lnTo>
                      <a:pt x="228" y="242"/>
                    </a:lnTo>
                    <a:lnTo>
                      <a:pt x="228" y="244"/>
                    </a:lnTo>
                    <a:lnTo>
                      <a:pt x="230" y="244"/>
                    </a:lnTo>
                    <a:lnTo>
                      <a:pt x="232" y="242"/>
                    </a:lnTo>
                    <a:lnTo>
                      <a:pt x="234" y="244"/>
                    </a:lnTo>
                    <a:lnTo>
                      <a:pt x="236" y="246"/>
                    </a:lnTo>
                    <a:lnTo>
                      <a:pt x="238" y="248"/>
                    </a:lnTo>
                    <a:lnTo>
                      <a:pt x="240" y="250"/>
                    </a:lnTo>
                    <a:lnTo>
                      <a:pt x="242" y="252"/>
                    </a:lnTo>
                    <a:lnTo>
                      <a:pt x="242" y="254"/>
                    </a:lnTo>
                    <a:lnTo>
                      <a:pt x="244" y="256"/>
                    </a:lnTo>
                    <a:lnTo>
                      <a:pt x="244" y="260"/>
                    </a:lnTo>
                    <a:lnTo>
                      <a:pt x="244" y="262"/>
                    </a:lnTo>
                    <a:lnTo>
                      <a:pt x="246" y="264"/>
                    </a:lnTo>
                    <a:lnTo>
                      <a:pt x="246" y="266"/>
                    </a:lnTo>
                    <a:lnTo>
                      <a:pt x="248" y="268"/>
                    </a:lnTo>
                    <a:lnTo>
                      <a:pt x="250" y="268"/>
                    </a:lnTo>
                    <a:lnTo>
                      <a:pt x="252" y="268"/>
                    </a:lnTo>
                    <a:lnTo>
                      <a:pt x="254" y="268"/>
                    </a:lnTo>
                    <a:lnTo>
                      <a:pt x="256" y="268"/>
                    </a:lnTo>
                    <a:lnTo>
                      <a:pt x="256" y="270"/>
                    </a:lnTo>
                    <a:lnTo>
                      <a:pt x="258" y="272"/>
                    </a:lnTo>
                    <a:lnTo>
                      <a:pt x="260" y="272"/>
                    </a:lnTo>
                    <a:lnTo>
                      <a:pt x="262" y="272"/>
                    </a:lnTo>
                    <a:lnTo>
                      <a:pt x="264" y="272"/>
                    </a:lnTo>
                    <a:lnTo>
                      <a:pt x="270" y="272"/>
                    </a:lnTo>
                    <a:lnTo>
                      <a:pt x="272" y="272"/>
                    </a:lnTo>
                    <a:lnTo>
                      <a:pt x="274" y="272"/>
                    </a:lnTo>
                    <a:lnTo>
                      <a:pt x="276" y="272"/>
                    </a:lnTo>
                    <a:lnTo>
                      <a:pt x="276" y="274"/>
                    </a:lnTo>
                    <a:lnTo>
                      <a:pt x="278" y="274"/>
                    </a:lnTo>
                    <a:lnTo>
                      <a:pt x="280" y="276"/>
                    </a:lnTo>
                    <a:lnTo>
                      <a:pt x="282" y="276"/>
                    </a:lnTo>
                    <a:lnTo>
                      <a:pt x="284" y="278"/>
                    </a:lnTo>
                    <a:lnTo>
                      <a:pt x="286" y="278"/>
                    </a:lnTo>
                    <a:lnTo>
                      <a:pt x="288" y="278"/>
                    </a:lnTo>
                    <a:lnTo>
                      <a:pt x="290" y="276"/>
                    </a:lnTo>
                    <a:lnTo>
                      <a:pt x="292" y="276"/>
                    </a:lnTo>
                    <a:lnTo>
                      <a:pt x="294" y="276"/>
                    </a:lnTo>
                    <a:lnTo>
                      <a:pt x="296" y="276"/>
                    </a:lnTo>
                    <a:lnTo>
                      <a:pt x="298" y="276"/>
                    </a:lnTo>
                    <a:lnTo>
                      <a:pt x="300" y="278"/>
                    </a:lnTo>
                    <a:lnTo>
                      <a:pt x="302" y="280"/>
                    </a:lnTo>
                    <a:lnTo>
                      <a:pt x="306" y="280"/>
                    </a:lnTo>
                    <a:lnTo>
                      <a:pt x="308" y="280"/>
                    </a:lnTo>
                    <a:lnTo>
                      <a:pt x="310" y="282"/>
                    </a:lnTo>
                    <a:lnTo>
                      <a:pt x="314" y="282"/>
                    </a:lnTo>
                    <a:lnTo>
                      <a:pt x="316" y="28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49" name="Freeform 143">
                <a:extLst>
                  <a:ext uri="{FF2B5EF4-FFF2-40B4-BE49-F238E27FC236}">
                    <a16:creationId xmlns:a16="http://schemas.microsoft.com/office/drawing/2014/main" id="{E35A69C8-B3BD-4934-A528-9EEC7FC57767}"/>
                  </a:ext>
                </a:extLst>
              </p:cNvPr>
              <p:cNvSpPr>
                <a:spLocks noChangeAspect="1"/>
              </p:cNvSpPr>
              <p:nvPr/>
            </p:nvSpPr>
            <p:spPr bwMode="auto">
              <a:xfrm>
                <a:off x="5356555" y="3005164"/>
                <a:ext cx="174302" cy="167420"/>
              </a:xfrm>
              <a:custGeom>
                <a:avLst/>
                <a:gdLst/>
                <a:ahLst/>
                <a:cxnLst>
                  <a:cxn ang="0">
                    <a:pos x="106" y="6"/>
                  </a:cxn>
                  <a:cxn ang="0">
                    <a:pos x="106" y="0"/>
                  </a:cxn>
                  <a:cxn ang="0">
                    <a:pos x="104" y="0"/>
                  </a:cxn>
                  <a:cxn ang="0">
                    <a:pos x="98" y="4"/>
                  </a:cxn>
                  <a:cxn ang="0">
                    <a:pos x="94" y="6"/>
                  </a:cxn>
                  <a:cxn ang="0">
                    <a:pos x="88" y="6"/>
                  </a:cxn>
                  <a:cxn ang="0">
                    <a:pos x="84" y="4"/>
                  </a:cxn>
                  <a:cxn ang="0">
                    <a:pos x="76" y="4"/>
                  </a:cxn>
                  <a:cxn ang="0">
                    <a:pos x="68" y="10"/>
                  </a:cxn>
                  <a:cxn ang="0">
                    <a:pos x="56" y="12"/>
                  </a:cxn>
                  <a:cxn ang="0">
                    <a:pos x="50" y="12"/>
                  </a:cxn>
                  <a:cxn ang="0">
                    <a:pos x="44" y="8"/>
                  </a:cxn>
                  <a:cxn ang="0">
                    <a:pos x="40" y="8"/>
                  </a:cxn>
                  <a:cxn ang="0">
                    <a:pos x="36" y="10"/>
                  </a:cxn>
                  <a:cxn ang="0">
                    <a:pos x="30" y="14"/>
                  </a:cxn>
                  <a:cxn ang="0">
                    <a:pos x="20" y="14"/>
                  </a:cxn>
                  <a:cxn ang="0">
                    <a:pos x="20" y="12"/>
                  </a:cxn>
                  <a:cxn ang="0">
                    <a:pos x="18" y="10"/>
                  </a:cxn>
                  <a:cxn ang="0">
                    <a:pos x="16" y="12"/>
                  </a:cxn>
                  <a:cxn ang="0">
                    <a:pos x="16" y="18"/>
                  </a:cxn>
                  <a:cxn ang="0">
                    <a:pos x="18" y="18"/>
                  </a:cxn>
                  <a:cxn ang="0">
                    <a:pos x="16" y="22"/>
                  </a:cxn>
                  <a:cxn ang="0">
                    <a:pos x="12" y="24"/>
                  </a:cxn>
                  <a:cxn ang="0">
                    <a:pos x="12" y="26"/>
                  </a:cxn>
                  <a:cxn ang="0">
                    <a:pos x="10" y="28"/>
                  </a:cxn>
                  <a:cxn ang="0">
                    <a:pos x="6" y="28"/>
                  </a:cxn>
                  <a:cxn ang="0">
                    <a:pos x="2" y="34"/>
                  </a:cxn>
                  <a:cxn ang="0">
                    <a:pos x="2" y="36"/>
                  </a:cxn>
                  <a:cxn ang="0">
                    <a:pos x="0" y="44"/>
                  </a:cxn>
                  <a:cxn ang="0">
                    <a:pos x="2" y="46"/>
                  </a:cxn>
                  <a:cxn ang="0">
                    <a:pos x="8" y="52"/>
                  </a:cxn>
                  <a:cxn ang="0">
                    <a:pos x="12" y="52"/>
                  </a:cxn>
                  <a:cxn ang="0">
                    <a:pos x="16" y="52"/>
                  </a:cxn>
                  <a:cxn ang="0">
                    <a:pos x="16" y="54"/>
                  </a:cxn>
                  <a:cxn ang="0">
                    <a:pos x="18" y="58"/>
                  </a:cxn>
                  <a:cxn ang="0">
                    <a:pos x="18" y="64"/>
                  </a:cxn>
                  <a:cxn ang="0">
                    <a:pos x="12" y="68"/>
                  </a:cxn>
                  <a:cxn ang="0">
                    <a:pos x="10" y="72"/>
                  </a:cxn>
                  <a:cxn ang="0">
                    <a:pos x="8" y="76"/>
                  </a:cxn>
                  <a:cxn ang="0">
                    <a:pos x="6" y="80"/>
                  </a:cxn>
                  <a:cxn ang="0">
                    <a:pos x="8" y="88"/>
                  </a:cxn>
                  <a:cxn ang="0">
                    <a:pos x="10" y="88"/>
                  </a:cxn>
                  <a:cxn ang="0">
                    <a:pos x="14" y="92"/>
                  </a:cxn>
                  <a:cxn ang="0">
                    <a:pos x="16" y="92"/>
                  </a:cxn>
                  <a:cxn ang="0">
                    <a:pos x="22" y="96"/>
                  </a:cxn>
                  <a:cxn ang="0">
                    <a:pos x="32" y="94"/>
                  </a:cxn>
                  <a:cxn ang="0">
                    <a:pos x="52" y="82"/>
                  </a:cxn>
                  <a:cxn ang="0">
                    <a:pos x="58" y="76"/>
                  </a:cxn>
                  <a:cxn ang="0">
                    <a:pos x="66" y="68"/>
                  </a:cxn>
                  <a:cxn ang="0">
                    <a:pos x="72" y="64"/>
                  </a:cxn>
                  <a:cxn ang="0">
                    <a:pos x="76" y="62"/>
                  </a:cxn>
                  <a:cxn ang="0">
                    <a:pos x="92" y="56"/>
                  </a:cxn>
                  <a:cxn ang="0">
                    <a:pos x="96" y="50"/>
                  </a:cxn>
                  <a:cxn ang="0">
                    <a:pos x="92" y="44"/>
                  </a:cxn>
                  <a:cxn ang="0">
                    <a:pos x="96" y="36"/>
                  </a:cxn>
                  <a:cxn ang="0">
                    <a:pos x="94" y="26"/>
                  </a:cxn>
                  <a:cxn ang="0">
                    <a:pos x="92" y="24"/>
                  </a:cxn>
                  <a:cxn ang="0">
                    <a:pos x="90" y="18"/>
                  </a:cxn>
                  <a:cxn ang="0">
                    <a:pos x="98" y="14"/>
                  </a:cxn>
                </a:cxnLst>
                <a:rect l="0" t="0" r="r" b="b"/>
                <a:pathLst>
                  <a:path w="106" h="96">
                    <a:moveTo>
                      <a:pt x="102" y="14"/>
                    </a:moveTo>
                    <a:lnTo>
                      <a:pt x="104" y="12"/>
                    </a:lnTo>
                    <a:lnTo>
                      <a:pt x="106" y="10"/>
                    </a:lnTo>
                    <a:lnTo>
                      <a:pt x="106" y="8"/>
                    </a:lnTo>
                    <a:lnTo>
                      <a:pt x="106" y="6"/>
                    </a:lnTo>
                    <a:lnTo>
                      <a:pt x="106" y="4"/>
                    </a:lnTo>
                    <a:lnTo>
                      <a:pt x="106" y="2"/>
                    </a:lnTo>
                    <a:lnTo>
                      <a:pt x="106" y="0"/>
                    </a:lnTo>
                    <a:lnTo>
                      <a:pt x="104" y="0"/>
                    </a:lnTo>
                    <a:lnTo>
                      <a:pt x="102" y="0"/>
                    </a:lnTo>
                    <a:lnTo>
                      <a:pt x="102" y="2"/>
                    </a:lnTo>
                    <a:lnTo>
                      <a:pt x="100" y="2"/>
                    </a:lnTo>
                    <a:lnTo>
                      <a:pt x="100" y="4"/>
                    </a:lnTo>
                    <a:lnTo>
                      <a:pt x="98" y="4"/>
                    </a:lnTo>
                    <a:lnTo>
                      <a:pt x="96" y="4"/>
                    </a:lnTo>
                    <a:lnTo>
                      <a:pt x="94" y="4"/>
                    </a:lnTo>
                    <a:lnTo>
                      <a:pt x="94" y="6"/>
                    </a:lnTo>
                    <a:lnTo>
                      <a:pt x="92" y="6"/>
                    </a:lnTo>
                    <a:lnTo>
                      <a:pt x="90" y="6"/>
                    </a:lnTo>
                    <a:lnTo>
                      <a:pt x="88" y="6"/>
                    </a:lnTo>
                    <a:lnTo>
                      <a:pt x="86" y="4"/>
                    </a:lnTo>
                    <a:lnTo>
                      <a:pt x="84" y="4"/>
                    </a:lnTo>
                    <a:lnTo>
                      <a:pt x="82" y="4"/>
                    </a:lnTo>
                    <a:lnTo>
                      <a:pt x="80" y="4"/>
                    </a:lnTo>
                    <a:lnTo>
                      <a:pt x="78" y="4"/>
                    </a:lnTo>
                    <a:lnTo>
                      <a:pt x="76" y="4"/>
                    </a:lnTo>
                    <a:lnTo>
                      <a:pt x="76" y="6"/>
                    </a:lnTo>
                    <a:lnTo>
                      <a:pt x="72" y="8"/>
                    </a:lnTo>
                    <a:lnTo>
                      <a:pt x="70" y="10"/>
                    </a:lnTo>
                    <a:lnTo>
                      <a:pt x="68" y="10"/>
                    </a:lnTo>
                    <a:lnTo>
                      <a:pt x="66" y="12"/>
                    </a:lnTo>
                    <a:lnTo>
                      <a:pt x="64" y="12"/>
                    </a:lnTo>
                    <a:lnTo>
                      <a:pt x="62" y="12"/>
                    </a:lnTo>
                    <a:lnTo>
                      <a:pt x="58" y="14"/>
                    </a:lnTo>
                    <a:lnTo>
                      <a:pt x="56" y="12"/>
                    </a:lnTo>
                    <a:lnTo>
                      <a:pt x="54" y="12"/>
                    </a:lnTo>
                    <a:lnTo>
                      <a:pt x="52" y="12"/>
                    </a:lnTo>
                    <a:lnTo>
                      <a:pt x="50" y="12"/>
                    </a:lnTo>
                    <a:lnTo>
                      <a:pt x="50" y="10"/>
                    </a:lnTo>
                    <a:lnTo>
                      <a:pt x="48" y="10"/>
                    </a:lnTo>
                    <a:lnTo>
                      <a:pt x="46" y="10"/>
                    </a:lnTo>
                    <a:lnTo>
                      <a:pt x="44" y="8"/>
                    </a:lnTo>
                    <a:lnTo>
                      <a:pt x="42" y="6"/>
                    </a:lnTo>
                    <a:lnTo>
                      <a:pt x="40" y="6"/>
                    </a:lnTo>
                    <a:lnTo>
                      <a:pt x="40" y="8"/>
                    </a:lnTo>
                    <a:lnTo>
                      <a:pt x="38" y="8"/>
                    </a:lnTo>
                    <a:lnTo>
                      <a:pt x="36" y="10"/>
                    </a:lnTo>
                    <a:lnTo>
                      <a:pt x="36" y="12"/>
                    </a:lnTo>
                    <a:lnTo>
                      <a:pt x="34" y="12"/>
                    </a:lnTo>
                    <a:lnTo>
                      <a:pt x="32" y="12"/>
                    </a:lnTo>
                    <a:lnTo>
                      <a:pt x="30" y="14"/>
                    </a:lnTo>
                    <a:lnTo>
                      <a:pt x="26" y="14"/>
                    </a:lnTo>
                    <a:lnTo>
                      <a:pt x="24" y="14"/>
                    </a:lnTo>
                    <a:lnTo>
                      <a:pt x="22" y="14"/>
                    </a:lnTo>
                    <a:lnTo>
                      <a:pt x="20" y="14"/>
                    </a:lnTo>
                    <a:lnTo>
                      <a:pt x="20" y="12"/>
                    </a:lnTo>
                    <a:lnTo>
                      <a:pt x="22" y="10"/>
                    </a:lnTo>
                    <a:lnTo>
                      <a:pt x="20" y="10"/>
                    </a:lnTo>
                    <a:lnTo>
                      <a:pt x="18" y="10"/>
                    </a:lnTo>
                    <a:lnTo>
                      <a:pt x="16" y="10"/>
                    </a:lnTo>
                    <a:lnTo>
                      <a:pt x="16" y="12"/>
                    </a:lnTo>
                    <a:lnTo>
                      <a:pt x="16" y="14"/>
                    </a:lnTo>
                    <a:lnTo>
                      <a:pt x="16" y="16"/>
                    </a:lnTo>
                    <a:lnTo>
                      <a:pt x="16" y="18"/>
                    </a:lnTo>
                    <a:lnTo>
                      <a:pt x="18" y="18"/>
                    </a:lnTo>
                    <a:lnTo>
                      <a:pt x="18" y="20"/>
                    </a:lnTo>
                    <a:lnTo>
                      <a:pt x="18" y="22"/>
                    </a:lnTo>
                    <a:lnTo>
                      <a:pt x="16" y="22"/>
                    </a:lnTo>
                    <a:lnTo>
                      <a:pt x="14" y="22"/>
                    </a:lnTo>
                    <a:lnTo>
                      <a:pt x="12" y="22"/>
                    </a:lnTo>
                    <a:lnTo>
                      <a:pt x="12" y="24"/>
                    </a:lnTo>
                    <a:lnTo>
                      <a:pt x="12" y="26"/>
                    </a:lnTo>
                    <a:lnTo>
                      <a:pt x="10" y="28"/>
                    </a:lnTo>
                    <a:lnTo>
                      <a:pt x="8" y="28"/>
                    </a:lnTo>
                    <a:lnTo>
                      <a:pt x="6" y="26"/>
                    </a:lnTo>
                    <a:lnTo>
                      <a:pt x="6" y="28"/>
                    </a:lnTo>
                    <a:lnTo>
                      <a:pt x="4" y="30"/>
                    </a:lnTo>
                    <a:lnTo>
                      <a:pt x="2" y="32"/>
                    </a:lnTo>
                    <a:lnTo>
                      <a:pt x="2" y="34"/>
                    </a:lnTo>
                    <a:lnTo>
                      <a:pt x="2" y="36"/>
                    </a:lnTo>
                    <a:lnTo>
                      <a:pt x="2" y="38"/>
                    </a:lnTo>
                    <a:lnTo>
                      <a:pt x="0" y="40"/>
                    </a:lnTo>
                    <a:lnTo>
                      <a:pt x="0" y="42"/>
                    </a:lnTo>
                    <a:lnTo>
                      <a:pt x="0" y="44"/>
                    </a:lnTo>
                    <a:lnTo>
                      <a:pt x="0" y="46"/>
                    </a:lnTo>
                    <a:lnTo>
                      <a:pt x="2" y="46"/>
                    </a:lnTo>
                    <a:lnTo>
                      <a:pt x="4" y="48"/>
                    </a:lnTo>
                    <a:lnTo>
                      <a:pt x="6" y="48"/>
                    </a:lnTo>
                    <a:lnTo>
                      <a:pt x="6" y="50"/>
                    </a:lnTo>
                    <a:lnTo>
                      <a:pt x="8" y="52"/>
                    </a:lnTo>
                    <a:lnTo>
                      <a:pt x="10" y="52"/>
                    </a:lnTo>
                    <a:lnTo>
                      <a:pt x="12" y="52"/>
                    </a:lnTo>
                    <a:lnTo>
                      <a:pt x="14" y="52"/>
                    </a:lnTo>
                    <a:lnTo>
                      <a:pt x="16" y="52"/>
                    </a:lnTo>
                    <a:lnTo>
                      <a:pt x="16" y="54"/>
                    </a:lnTo>
                    <a:lnTo>
                      <a:pt x="16" y="56"/>
                    </a:lnTo>
                    <a:lnTo>
                      <a:pt x="18" y="56"/>
                    </a:lnTo>
                    <a:lnTo>
                      <a:pt x="18" y="58"/>
                    </a:lnTo>
                    <a:lnTo>
                      <a:pt x="20" y="60"/>
                    </a:lnTo>
                    <a:lnTo>
                      <a:pt x="20" y="62"/>
                    </a:lnTo>
                    <a:lnTo>
                      <a:pt x="18" y="62"/>
                    </a:lnTo>
                    <a:lnTo>
                      <a:pt x="18" y="64"/>
                    </a:lnTo>
                    <a:lnTo>
                      <a:pt x="18" y="66"/>
                    </a:lnTo>
                    <a:lnTo>
                      <a:pt x="16" y="66"/>
                    </a:lnTo>
                    <a:lnTo>
                      <a:pt x="14" y="66"/>
                    </a:lnTo>
                    <a:lnTo>
                      <a:pt x="12" y="68"/>
                    </a:lnTo>
                    <a:lnTo>
                      <a:pt x="10" y="68"/>
                    </a:lnTo>
                    <a:lnTo>
                      <a:pt x="10" y="70"/>
                    </a:lnTo>
                    <a:lnTo>
                      <a:pt x="10" y="72"/>
                    </a:lnTo>
                    <a:lnTo>
                      <a:pt x="10" y="74"/>
                    </a:lnTo>
                    <a:lnTo>
                      <a:pt x="10" y="76"/>
                    </a:lnTo>
                    <a:lnTo>
                      <a:pt x="8" y="76"/>
                    </a:lnTo>
                    <a:lnTo>
                      <a:pt x="8" y="78"/>
                    </a:lnTo>
                    <a:lnTo>
                      <a:pt x="6" y="78"/>
                    </a:lnTo>
                    <a:lnTo>
                      <a:pt x="6" y="80"/>
                    </a:lnTo>
                    <a:lnTo>
                      <a:pt x="8" y="82"/>
                    </a:lnTo>
                    <a:lnTo>
                      <a:pt x="8" y="84"/>
                    </a:lnTo>
                    <a:lnTo>
                      <a:pt x="8" y="86"/>
                    </a:lnTo>
                    <a:lnTo>
                      <a:pt x="8" y="88"/>
                    </a:lnTo>
                    <a:lnTo>
                      <a:pt x="10" y="88"/>
                    </a:lnTo>
                    <a:lnTo>
                      <a:pt x="12" y="90"/>
                    </a:lnTo>
                    <a:lnTo>
                      <a:pt x="14" y="90"/>
                    </a:lnTo>
                    <a:lnTo>
                      <a:pt x="14" y="92"/>
                    </a:lnTo>
                    <a:lnTo>
                      <a:pt x="16" y="92"/>
                    </a:lnTo>
                    <a:lnTo>
                      <a:pt x="18" y="92"/>
                    </a:lnTo>
                    <a:lnTo>
                      <a:pt x="18" y="94"/>
                    </a:lnTo>
                    <a:lnTo>
                      <a:pt x="20" y="96"/>
                    </a:lnTo>
                    <a:lnTo>
                      <a:pt x="22" y="96"/>
                    </a:lnTo>
                    <a:lnTo>
                      <a:pt x="24" y="96"/>
                    </a:lnTo>
                    <a:lnTo>
                      <a:pt x="28" y="96"/>
                    </a:lnTo>
                    <a:lnTo>
                      <a:pt x="30" y="96"/>
                    </a:lnTo>
                    <a:lnTo>
                      <a:pt x="32" y="94"/>
                    </a:lnTo>
                    <a:lnTo>
                      <a:pt x="34" y="94"/>
                    </a:lnTo>
                    <a:lnTo>
                      <a:pt x="40" y="90"/>
                    </a:lnTo>
                    <a:lnTo>
                      <a:pt x="44" y="86"/>
                    </a:lnTo>
                    <a:lnTo>
                      <a:pt x="50" y="84"/>
                    </a:lnTo>
                    <a:lnTo>
                      <a:pt x="52" y="82"/>
                    </a:lnTo>
                    <a:lnTo>
                      <a:pt x="54" y="80"/>
                    </a:lnTo>
                    <a:lnTo>
                      <a:pt x="54" y="78"/>
                    </a:lnTo>
                    <a:lnTo>
                      <a:pt x="56" y="78"/>
                    </a:lnTo>
                    <a:lnTo>
                      <a:pt x="56" y="76"/>
                    </a:lnTo>
                    <a:lnTo>
                      <a:pt x="58" y="76"/>
                    </a:lnTo>
                    <a:lnTo>
                      <a:pt x="58" y="74"/>
                    </a:lnTo>
                    <a:lnTo>
                      <a:pt x="62" y="72"/>
                    </a:lnTo>
                    <a:lnTo>
                      <a:pt x="64" y="70"/>
                    </a:lnTo>
                    <a:lnTo>
                      <a:pt x="66" y="70"/>
                    </a:lnTo>
                    <a:lnTo>
                      <a:pt x="66" y="68"/>
                    </a:lnTo>
                    <a:lnTo>
                      <a:pt x="68" y="66"/>
                    </a:lnTo>
                    <a:lnTo>
                      <a:pt x="70" y="66"/>
                    </a:lnTo>
                    <a:lnTo>
                      <a:pt x="72" y="64"/>
                    </a:lnTo>
                    <a:lnTo>
                      <a:pt x="74" y="62"/>
                    </a:lnTo>
                    <a:lnTo>
                      <a:pt x="76" y="62"/>
                    </a:lnTo>
                    <a:lnTo>
                      <a:pt x="78" y="62"/>
                    </a:lnTo>
                    <a:lnTo>
                      <a:pt x="82" y="60"/>
                    </a:lnTo>
                    <a:lnTo>
                      <a:pt x="84" y="60"/>
                    </a:lnTo>
                    <a:lnTo>
                      <a:pt x="88" y="58"/>
                    </a:lnTo>
                    <a:lnTo>
                      <a:pt x="92" y="56"/>
                    </a:lnTo>
                    <a:lnTo>
                      <a:pt x="94" y="54"/>
                    </a:lnTo>
                    <a:lnTo>
                      <a:pt x="96" y="54"/>
                    </a:lnTo>
                    <a:lnTo>
                      <a:pt x="96" y="52"/>
                    </a:lnTo>
                    <a:lnTo>
                      <a:pt x="96" y="50"/>
                    </a:lnTo>
                    <a:lnTo>
                      <a:pt x="94" y="50"/>
                    </a:lnTo>
                    <a:lnTo>
                      <a:pt x="92" y="48"/>
                    </a:lnTo>
                    <a:lnTo>
                      <a:pt x="92" y="46"/>
                    </a:lnTo>
                    <a:lnTo>
                      <a:pt x="92" y="44"/>
                    </a:lnTo>
                    <a:lnTo>
                      <a:pt x="92" y="42"/>
                    </a:lnTo>
                    <a:lnTo>
                      <a:pt x="94" y="40"/>
                    </a:lnTo>
                    <a:lnTo>
                      <a:pt x="96" y="38"/>
                    </a:lnTo>
                    <a:lnTo>
                      <a:pt x="96" y="36"/>
                    </a:lnTo>
                    <a:lnTo>
                      <a:pt x="96" y="34"/>
                    </a:lnTo>
                    <a:lnTo>
                      <a:pt x="94" y="32"/>
                    </a:lnTo>
                    <a:lnTo>
                      <a:pt x="94" y="30"/>
                    </a:lnTo>
                    <a:lnTo>
                      <a:pt x="94" y="28"/>
                    </a:lnTo>
                    <a:lnTo>
                      <a:pt x="94" y="26"/>
                    </a:lnTo>
                    <a:lnTo>
                      <a:pt x="92" y="26"/>
                    </a:lnTo>
                    <a:lnTo>
                      <a:pt x="92" y="24"/>
                    </a:lnTo>
                    <a:lnTo>
                      <a:pt x="90" y="24"/>
                    </a:lnTo>
                    <a:lnTo>
                      <a:pt x="90" y="22"/>
                    </a:lnTo>
                    <a:lnTo>
                      <a:pt x="90" y="20"/>
                    </a:lnTo>
                    <a:lnTo>
                      <a:pt x="90" y="18"/>
                    </a:lnTo>
                    <a:lnTo>
                      <a:pt x="90" y="16"/>
                    </a:lnTo>
                    <a:lnTo>
                      <a:pt x="92" y="16"/>
                    </a:lnTo>
                    <a:lnTo>
                      <a:pt x="92" y="14"/>
                    </a:lnTo>
                    <a:lnTo>
                      <a:pt x="94" y="14"/>
                    </a:lnTo>
                    <a:lnTo>
                      <a:pt x="98" y="14"/>
                    </a:lnTo>
                    <a:lnTo>
                      <a:pt x="100" y="14"/>
                    </a:lnTo>
                    <a:lnTo>
                      <a:pt x="102"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0" name="Freeform 144">
                <a:extLst>
                  <a:ext uri="{FF2B5EF4-FFF2-40B4-BE49-F238E27FC236}">
                    <a16:creationId xmlns:a16="http://schemas.microsoft.com/office/drawing/2014/main" id="{3E577B5E-1FB3-4F0A-879D-707FA47EF1CB}"/>
                  </a:ext>
                </a:extLst>
              </p:cNvPr>
              <p:cNvSpPr>
                <a:spLocks noChangeAspect="1"/>
              </p:cNvSpPr>
              <p:nvPr/>
            </p:nvSpPr>
            <p:spPr bwMode="auto">
              <a:xfrm>
                <a:off x="5540723" y="2872623"/>
                <a:ext cx="88796" cy="83710"/>
              </a:xfrm>
              <a:custGeom>
                <a:avLst/>
                <a:gdLst/>
                <a:ahLst/>
                <a:cxnLst>
                  <a:cxn ang="0">
                    <a:pos x="52" y="36"/>
                  </a:cxn>
                  <a:cxn ang="0">
                    <a:pos x="52" y="36"/>
                  </a:cxn>
                  <a:cxn ang="0">
                    <a:pos x="54" y="34"/>
                  </a:cxn>
                  <a:cxn ang="0">
                    <a:pos x="50" y="32"/>
                  </a:cxn>
                  <a:cxn ang="0">
                    <a:pos x="46" y="32"/>
                  </a:cxn>
                  <a:cxn ang="0">
                    <a:pos x="46" y="32"/>
                  </a:cxn>
                  <a:cxn ang="0">
                    <a:pos x="42" y="28"/>
                  </a:cxn>
                  <a:cxn ang="0">
                    <a:pos x="42" y="26"/>
                  </a:cxn>
                  <a:cxn ang="0">
                    <a:pos x="38" y="24"/>
                  </a:cxn>
                  <a:cxn ang="0">
                    <a:pos x="36" y="24"/>
                  </a:cxn>
                  <a:cxn ang="0">
                    <a:pos x="38" y="24"/>
                  </a:cxn>
                  <a:cxn ang="0">
                    <a:pos x="42" y="24"/>
                  </a:cxn>
                  <a:cxn ang="0">
                    <a:pos x="44" y="20"/>
                  </a:cxn>
                  <a:cxn ang="0">
                    <a:pos x="42" y="18"/>
                  </a:cxn>
                  <a:cxn ang="0">
                    <a:pos x="36" y="16"/>
                  </a:cxn>
                  <a:cxn ang="0">
                    <a:pos x="32" y="14"/>
                  </a:cxn>
                  <a:cxn ang="0">
                    <a:pos x="32" y="14"/>
                  </a:cxn>
                  <a:cxn ang="0">
                    <a:pos x="34" y="8"/>
                  </a:cxn>
                  <a:cxn ang="0">
                    <a:pos x="32" y="6"/>
                  </a:cxn>
                  <a:cxn ang="0">
                    <a:pos x="28" y="6"/>
                  </a:cxn>
                  <a:cxn ang="0">
                    <a:pos x="28" y="4"/>
                  </a:cxn>
                  <a:cxn ang="0">
                    <a:pos x="28" y="2"/>
                  </a:cxn>
                  <a:cxn ang="0">
                    <a:pos x="28" y="2"/>
                  </a:cxn>
                  <a:cxn ang="0">
                    <a:pos x="24" y="0"/>
                  </a:cxn>
                  <a:cxn ang="0">
                    <a:pos x="22" y="0"/>
                  </a:cxn>
                  <a:cxn ang="0">
                    <a:pos x="20" y="2"/>
                  </a:cxn>
                  <a:cxn ang="0">
                    <a:pos x="18" y="2"/>
                  </a:cxn>
                  <a:cxn ang="0">
                    <a:pos x="12" y="2"/>
                  </a:cxn>
                  <a:cxn ang="0">
                    <a:pos x="8" y="2"/>
                  </a:cxn>
                  <a:cxn ang="0">
                    <a:pos x="8" y="4"/>
                  </a:cxn>
                  <a:cxn ang="0">
                    <a:pos x="6" y="4"/>
                  </a:cxn>
                  <a:cxn ang="0">
                    <a:pos x="2" y="4"/>
                  </a:cxn>
                  <a:cxn ang="0">
                    <a:pos x="0" y="4"/>
                  </a:cxn>
                  <a:cxn ang="0">
                    <a:pos x="2" y="6"/>
                  </a:cxn>
                  <a:cxn ang="0">
                    <a:pos x="4" y="12"/>
                  </a:cxn>
                  <a:cxn ang="0">
                    <a:pos x="6" y="20"/>
                  </a:cxn>
                  <a:cxn ang="0">
                    <a:pos x="8" y="24"/>
                  </a:cxn>
                  <a:cxn ang="0">
                    <a:pos x="14" y="26"/>
                  </a:cxn>
                  <a:cxn ang="0">
                    <a:pos x="18" y="24"/>
                  </a:cxn>
                  <a:cxn ang="0">
                    <a:pos x="18" y="26"/>
                  </a:cxn>
                  <a:cxn ang="0">
                    <a:pos x="22" y="32"/>
                  </a:cxn>
                  <a:cxn ang="0">
                    <a:pos x="22" y="36"/>
                  </a:cxn>
                  <a:cxn ang="0">
                    <a:pos x="22" y="36"/>
                  </a:cxn>
                  <a:cxn ang="0">
                    <a:pos x="26" y="32"/>
                  </a:cxn>
                  <a:cxn ang="0">
                    <a:pos x="26" y="30"/>
                  </a:cxn>
                  <a:cxn ang="0">
                    <a:pos x="28" y="30"/>
                  </a:cxn>
                  <a:cxn ang="0">
                    <a:pos x="30" y="30"/>
                  </a:cxn>
                  <a:cxn ang="0">
                    <a:pos x="34" y="34"/>
                  </a:cxn>
                  <a:cxn ang="0">
                    <a:pos x="38" y="34"/>
                  </a:cxn>
                  <a:cxn ang="0">
                    <a:pos x="40" y="32"/>
                  </a:cxn>
                  <a:cxn ang="0">
                    <a:pos x="42" y="34"/>
                  </a:cxn>
                  <a:cxn ang="0">
                    <a:pos x="42" y="36"/>
                  </a:cxn>
                  <a:cxn ang="0">
                    <a:pos x="44" y="40"/>
                  </a:cxn>
                  <a:cxn ang="0">
                    <a:pos x="46" y="44"/>
                  </a:cxn>
                  <a:cxn ang="0">
                    <a:pos x="48" y="48"/>
                  </a:cxn>
                  <a:cxn ang="0">
                    <a:pos x="48" y="48"/>
                  </a:cxn>
                  <a:cxn ang="0">
                    <a:pos x="52" y="48"/>
                  </a:cxn>
                  <a:cxn ang="0">
                    <a:pos x="54" y="48"/>
                  </a:cxn>
                  <a:cxn ang="0">
                    <a:pos x="54" y="44"/>
                  </a:cxn>
                  <a:cxn ang="0">
                    <a:pos x="54" y="40"/>
                  </a:cxn>
                </a:cxnLst>
                <a:rect l="0" t="0" r="r" b="b"/>
                <a:pathLst>
                  <a:path w="54" h="48">
                    <a:moveTo>
                      <a:pt x="54" y="38"/>
                    </a:moveTo>
                    <a:lnTo>
                      <a:pt x="54" y="38"/>
                    </a:lnTo>
                    <a:lnTo>
                      <a:pt x="52" y="36"/>
                    </a:lnTo>
                    <a:lnTo>
                      <a:pt x="52" y="34"/>
                    </a:lnTo>
                    <a:lnTo>
                      <a:pt x="54" y="34"/>
                    </a:lnTo>
                    <a:lnTo>
                      <a:pt x="54" y="32"/>
                    </a:lnTo>
                    <a:lnTo>
                      <a:pt x="50" y="32"/>
                    </a:lnTo>
                    <a:lnTo>
                      <a:pt x="48" y="32"/>
                    </a:lnTo>
                    <a:lnTo>
                      <a:pt x="46" y="32"/>
                    </a:lnTo>
                    <a:lnTo>
                      <a:pt x="44" y="30"/>
                    </a:lnTo>
                    <a:lnTo>
                      <a:pt x="42" y="28"/>
                    </a:lnTo>
                    <a:lnTo>
                      <a:pt x="42" y="26"/>
                    </a:lnTo>
                    <a:lnTo>
                      <a:pt x="40" y="26"/>
                    </a:lnTo>
                    <a:lnTo>
                      <a:pt x="38" y="26"/>
                    </a:lnTo>
                    <a:lnTo>
                      <a:pt x="38" y="24"/>
                    </a:lnTo>
                    <a:lnTo>
                      <a:pt x="36" y="24"/>
                    </a:lnTo>
                    <a:lnTo>
                      <a:pt x="38" y="24"/>
                    </a:lnTo>
                    <a:lnTo>
                      <a:pt x="40" y="24"/>
                    </a:lnTo>
                    <a:lnTo>
                      <a:pt x="42" y="24"/>
                    </a:lnTo>
                    <a:lnTo>
                      <a:pt x="42" y="22"/>
                    </a:lnTo>
                    <a:lnTo>
                      <a:pt x="44" y="20"/>
                    </a:lnTo>
                    <a:lnTo>
                      <a:pt x="42" y="20"/>
                    </a:lnTo>
                    <a:lnTo>
                      <a:pt x="42" y="18"/>
                    </a:lnTo>
                    <a:lnTo>
                      <a:pt x="40" y="18"/>
                    </a:lnTo>
                    <a:lnTo>
                      <a:pt x="38" y="16"/>
                    </a:lnTo>
                    <a:lnTo>
                      <a:pt x="36" y="16"/>
                    </a:lnTo>
                    <a:lnTo>
                      <a:pt x="34" y="14"/>
                    </a:lnTo>
                    <a:lnTo>
                      <a:pt x="32" y="14"/>
                    </a:lnTo>
                    <a:lnTo>
                      <a:pt x="34" y="12"/>
                    </a:lnTo>
                    <a:lnTo>
                      <a:pt x="34" y="10"/>
                    </a:lnTo>
                    <a:lnTo>
                      <a:pt x="34" y="8"/>
                    </a:lnTo>
                    <a:lnTo>
                      <a:pt x="34" y="6"/>
                    </a:lnTo>
                    <a:lnTo>
                      <a:pt x="32" y="6"/>
                    </a:lnTo>
                    <a:lnTo>
                      <a:pt x="30" y="6"/>
                    </a:lnTo>
                    <a:lnTo>
                      <a:pt x="28" y="6"/>
                    </a:lnTo>
                    <a:lnTo>
                      <a:pt x="28" y="4"/>
                    </a:lnTo>
                    <a:lnTo>
                      <a:pt x="28" y="2"/>
                    </a:lnTo>
                    <a:lnTo>
                      <a:pt x="26" y="0"/>
                    </a:lnTo>
                    <a:lnTo>
                      <a:pt x="24" y="0"/>
                    </a:lnTo>
                    <a:lnTo>
                      <a:pt x="22" y="0"/>
                    </a:lnTo>
                    <a:lnTo>
                      <a:pt x="20" y="2"/>
                    </a:lnTo>
                    <a:lnTo>
                      <a:pt x="20" y="4"/>
                    </a:lnTo>
                    <a:lnTo>
                      <a:pt x="18" y="2"/>
                    </a:lnTo>
                    <a:lnTo>
                      <a:pt x="16" y="2"/>
                    </a:lnTo>
                    <a:lnTo>
                      <a:pt x="14" y="2"/>
                    </a:lnTo>
                    <a:lnTo>
                      <a:pt x="12" y="2"/>
                    </a:lnTo>
                    <a:lnTo>
                      <a:pt x="10" y="2"/>
                    </a:lnTo>
                    <a:lnTo>
                      <a:pt x="8" y="2"/>
                    </a:lnTo>
                    <a:lnTo>
                      <a:pt x="8" y="4"/>
                    </a:lnTo>
                    <a:lnTo>
                      <a:pt x="6" y="4"/>
                    </a:lnTo>
                    <a:lnTo>
                      <a:pt x="4" y="4"/>
                    </a:lnTo>
                    <a:lnTo>
                      <a:pt x="2" y="4"/>
                    </a:lnTo>
                    <a:lnTo>
                      <a:pt x="0" y="4"/>
                    </a:lnTo>
                    <a:lnTo>
                      <a:pt x="2" y="6"/>
                    </a:lnTo>
                    <a:lnTo>
                      <a:pt x="2" y="8"/>
                    </a:lnTo>
                    <a:lnTo>
                      <a:pt x="2" y="10"/>
                    </a:lnTo>
                    <a:lnTo>
                      <a:pt x="4" y="12"/>
                    </a:lnTo>
                    <a:lnTo>
                      <a:pt x="4" y="14"/>
                    </a:lnTo>
                    <a:lnTo>
                      <a:pt x="4" y="18"/>
                    </a:lnTo>
                    <a:lnTo>
                      <a:pt x="6" y="20"/>
                    </a:lnTo>
                    <a:lnTo>
                      <a:pt x="6" y="22"/>
                    </a:lnTo>
                    <a:lnTo>
                      <a:pt x="8" y="24"/>
                    </a:lnTo>
                    <a:lnTo>
                      <a:pt x="10" y="26"/>
                    </a:lnTo>
                    <a:lnTo>
                      <a:pt x="12" y="26"/>
                    </a:lnTo>
                    <a:lnTo>
                      <a:pt x="14" y="26"/>
                    </a:lnTo>
                    <a:lnTo>
                      <a:pt x="16" y="24"/>
                    </a:lnTo>
                    <a:lnTo>
                      <a:pt x="18" y="24"/>
                    </a:lnTo>
                    <a:lnTo>
                      <a:pt x="18" y="26"/>
                    </a:lnTo>
                    <a:lnTo>
                      <a:pt x="20" y="28"/>
                    </a:lnTo>
                    <a:lnTo>
                      <a:pt x="20" y="30"/>
                    </a:lnTo>
                    <a:lnTo>
                      <a:pt x="22" y="32"/>
                    </a:lnTo>
                    <a:lnTo>
                      <a:pt x="20" y="34"/>
                    </a:lnTo>
                    <a:lnTo>
                      <a:pt x="22" y="36"/>
                    </a:lnTo>
                    <a:lnTo>
                      <a:pt x="24" y="34"/>
                    </a:lnTo>
                    <a:lnTo>
                      <a:pt x="26" y="34"/>
                    </a:lnTo>
                    <a:lnTo>
                      <a:pt x="26" y="32"/>
                    </a:lnTo>
                    <a:lnTo>
                      <a:pt x="26" y="30"/>
                    </a:lnTo>
                    <a:lnTo>
                      <a:pt x="28" y="30"/>
                    </a:lnTo>
                    <a:lnTo>
                      <a:pt x="30" y="30"/>
                    </a:lnTo>
                    <a:lnTo>
                      <a:pt x="32" y="30"/>
                    </a:lnTo>
                    <a:lnTo>
                      <a:pt x="32" y="32"/>
                    </a:lnTo>
                    <a:lnTo>
                      <a:pt x="34" y="34"/>
                    </a:lnTo>
                    <a:lnTo>
                      <a:pt x="36" y="34"/>
                    </a:lnTo>
                    <a:lnTo>
                      <a:pt x="38" y="34"/>
                    </a:lnTo>
                    <a:lnTo>
                      <a:pt x="40" y="32"/>
                    </a:lnTo>
                    <a:lnTo>
                      <a:pt x="42" y="34"/>
                    </a:lnTo>
                    <a:lnTo>
                      <a:pt x="42" y="36"/>
                    </a:lnTo>
                    <a:lnTo>
                      <a:pt x="42" y="38"/>
                    </a:lnTo>
                    <a:lnTo>
                      <a:pt x="44" y="38"/>
                    </a:lnTo>
                    <a:lnTo>
                      <a:pt x="44" y="40"/>
                    </a:lnTo>
                    <a:lnTo>
                      <a:pt x="44" y="42"/>
                    </a:lnTo>
                    <a:lnTo>
                      <a:pt x="46" y="42"/>
                    </a:lnTo>
                    <a:lnTo>
                      <a:pt x="46" y="44"/>
                    </a:lnTo>
                    <a:lnTo>
                      <a:pt x="46" y="46"/>
                    </a:lnTo>
                    <a:lnTo>
                      <a:pt x="48" y="46"/>
                    </a:lnTo>
                    <a:lnTo>
                      <a:pt x="48" y="48"/>
                    </a:lnTo>
                    <a:lnTo>
                      <a:pt x="50" y="48"/>
                    </a:lnTo>
                    <a:lnTo>
                      <a:pt x="52" y="48"/>
                    </a:lnTo>
                    <a:lnTo>
                      <a:pt x="54" y="48"/>
                    </a:lnTo>
                    <a:lnTo>
                      <a:pt x="54" y="46"/>
                    </a:lnTo>
                    <a:lnTo>
                      <a:pt x="54" y="44"/>
                    </a:lnTo>
                    <a:lnTo>
                      <a:pt x="54" y="42"/>
                    </a:lnTo>
                    <a:lnTo>
                      <a:pt x="54" y="40"/>
                    </a:lnTo>
                    <a:lnTo>
                      <a:pt x="54" y="3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1" name="Freeform 145">
                <a:extLst>
                  <a:ext uri="{FF2B5EF4-FFF2-40B4-BE49-F238E27FC236}">
                    <a16:creationId xmlns:a16="http://schemas.microsoft.com/office/drawing/2014/main" id="{27B570A0-EB55-4717-8657-1A38CAC25226}"/>
                  </a:ext>
                </a:extLst>
              </p:cNvPr>
              <p:cNvSpPr>
                <a:spLocks noChangeAspect="1" noEditPoints="1"/>
              </p:cNvSpPr>
              <p:nvPr/>
            </p:nvSpPr>
            <p:spPr bwMode="auto">
              <a:xfrm>
                <a:off x="4952042" y="2858672"/>
                <a:ext cx="194035" cy="226715"/>
              </a:xfrm>
              <a:custGeom>
                <a:avLst/>
                <a:gdLst/>
                <a:ahLst/>
                <a:cxnLst>
                  <a:cxn ang="0">
                    <a:pos x="92" y="26"/>
                  </a:cxn>
                  <a:cxn ang="0">
                    <a:pos x="98" y="68"/>
                  </a:cxn>
                  <a:cxn ang="0">
                    <a:pos x="98" y="58"/>
                  </a:cxn>
                  <a:cxn ang="0">
                    <a:pos x="58" y="26"/>
                  </a:cxn>
                  <a:cxn ang="0">
                    <a:pos x="0" y="68"/>
                  </a:cxn>
                  <a:cxn ang="0">
                    <a:pos x="70" y="70"/>
                  </a:cxn>
                  <a:cxn ang="0">
                    <a:pos x="60" y="70"/>
                  </a:cxn>
                  <a:cxn ang="0">
                    <a:pos x="48" y="58"/>
                  </a:cxn>
                  <a:cxn ang="0">
                    <a:pos x="44" y="54"/>
                  </a:cxn>
                  <a:cxn ang="0">
                    <a:pos x="62" y="62"/>
                  </a:cxn>
                  <a:cxn ang="0">
                    <a:pos x="52" y="54"/>
                  </a:cxn>
                  <a:cxn ang="0">
                    <a:pos x="44" y="44"/>
                  </a:cxn>
                  <a:cxn ang="0">
                    <a:pos x="36" y="32"/>
                  </a:cxn>
                  <a:cxn ang="0">
                    <a:pos x="40" y="26"/>
                  </a:cxn>
                  <a:cxn ang="0">
                    <a:pos x="52" y="34"/>
                  </a:cxn>
                  <a:cxn ang="0">
                    <a:pos x="56" y="32"/>
                  </a:cxn>
                  <a:cxn ang="0">
                    <a:pos x="56" y="18"/>
                  </a:cxn>
                  <a:cxn ang="0">
                    <a:pos x="66" y="22"/>
                  </a:cxn>
                  <a:cxn ang="0">
                    <a:pos x="74" y="14"/>
                  </a:cxn>
                  <a:cxn ang="0">
                    <a:pos x="92" y="16"/>
                  </a:cxn>
                  <a:cxn ang="0">
                    <a:pos x="96" y="4"/>
                  </a:cxn>
                  <a:cxn ang="0">
                    <a:pos x="88" y="2"/>
                  </a:cxn>
                  <a:cxn ang="0">
                    <a:pos x="82" y="6"/>
                  </a:cxn>
                  <a:cxn ang="0">
                    <a:pos x="72" y="6"/>
                  </a:cxn>
                  <a:cxn ang="0">
                    <a:pos x="58" y="2"/>
                  </a:cxn>
                  <a:cxn ang="0">
                    <a:pos x="48" y="6"/>
                  </a:cxn>
                  <a:cxn ang="0">
                    <a:pos x="34" y="10"/>
                  </a:cxn>
                  <a:cxn ang="0">
                    <a:pos x="18" y="16"/>
                  </a:cxn>
                  <a:cxn ang="0">
                    <a:pos x="6" y="30"/>
                  </a:cxn>
                  <a:cxn ang="0">
                    <a:pos x="0" y="38"/>
                  </a:cxn>
                  <a:cxn ang="0">
                    <a:pos x="4" y="50"/>
                  </a:cxn>
                  <a:cxn ang="0">
                    <a:pos x="14" y="62"/>
                  </a:cxn>
                  <a:cxn ang="0">
                    <a:pos x="44" y="68"/>
                  </a:cxn>
                  <a:cxn ang="0">
                    <a:pos x="58" y="74"/>
                  </a:cxn>
                  <a:cxn ang="0">
                    <a:pos x="90" y="68"/>
                  </a:cxn>
                  <a:cxn ang="0">
                    <a:pos x="10" y="78"/>
                  </a:cxn>
                  <a:cxn ang="0">
                    <a:pos x="94" y="78"/>
                  </a:cxn>
                  <a:cxn ang="0">
                    <a:pos x="90" y="46"/>
                  </a:cxn>
                  <a:cxn ang="0">
                    <a:pos x="92" y="50"/>
                  </a:cxn>
                  <a:cxn ang="0">
                    <a:pos x="96" y="48"/>
                  </a:cxn>
                  <a:cxn ang="0">
                    <a:pos x="82" y="86"/>
                  </a:cxn>
                  <a:cxn ang="0">
                    <a:pos x="102" y="74"/>
                  </a:cxn>
                  <a:cxn ang="0">
                    <a:pos x="114" y="88"/>
                  </a:cxn>
                  <a:cxn ang="0">
                    <a:pos x="116" y="90"/>
                  </a:cxn>
                  <a:cxn ang="0">
                    <a:pos x="42" y="106"/>
                  </a:cxn>
                  <a:cxn ang="0">
                    <a:pos x="92" y="124"/>
                  </a:cxn>
                  <a:cxn ang="0">
                    <a:pos x="76" y="120"/>
                  </a:cxn>
                  <a:cxn ang="0">
                    <a:pos x="56" y="118"/>
                  </a:cxn>
                  <a:cxn ang="0">
                    <a:pos x="64" y="124"/>
                  </a:cxn>
                  <a:cxn ang="0">
                    <a:pos x="84" y="130"/>
                  </a:cxn>
                  <a:cxn ang="0">
                    <a:pos x="98" y="96"/>
                  </a:cxn>
                  <a:cxn ang="0">
                    <a:pos x="102" y="98"/>
                  </a:cxn>
                  <a:cxn ang="0">
                    <a:pos x="38" y="72"/>
                  </a:cxn>
                  <a:cxn ang="0">
                    <a:pos x="18" y="70"/>
                  </a:cxn>
                  <a:cxn ang="0">
                    <a:pos x="22" y="86"/>
                  </a:cxn>
                  <a:cxn ang="0">
                    <a:pos x="30" y="90"/>
                  </a:cxn>
                  <a:cxn ang="0">
                    <a:pos x="38" y="96"/>
                  </a:cxn>
                  <a:cxn ang="0">
                    <a:pos x="46" y="98"/>
                  </a:cxn>
                  <a:cxn ang="0">
                    <a:pos x="44" y="86"/>
                  </a:cxn>
                  <a:cxn ang="0">
                    <a:pos x="46" y="80"/>
                  </a:cxn>
                  <a:cxn ang="0">
                    <a:pos x="46" y="98"/>
                  </a:cxn>
                </a:cxnLst>
                <a:rect l="0" t="0" r="r" b="b"/>
                <a:pathLst>
                  <a:path w="118" h="130">
                    <a:moveTo>
                      <a:pt x="80" y="32"/>
                    </a:moveTo>
                    <a:lnTo>
                      <a:pt x="74" y="32"/>
                    </a:lnTo>
                    <a:lnTo>
                      <a:pt x="74" y="36"/>
                    </a:lnTo>
                    <a:lnTo>
                      <a:pt x="80" y="36"/>
                    </a:lnTo>
                    <a:lnTo>
                      <a:pt x="80" y="32"/>
                    </a:lnTo>
                    <a:close/>
                    <a:moveTo>
                      <a:pt x="90" y="28"/>
                    </a:moveTo>
                    <a:lnTo>
                      <a:pt x="92" y="28"/>
                    </a:lnTo>
                    <a:lnTo>
                      <a:pt x="92" y="26"/>
                    </a:lnTo>
                    <a:lnTo>
                      <a:pt x="96" y="24"/>
                    </a:lnTo>
                    <a:lnTo>
                      <a:pt x="90" y="24"/>
                    </a:lnTo>
                    <a:lnTo>
                      <a:pt x="90" y="32"/>
                    </a:lnTo>
                    <a:lnTo>
                      <a:pt x="90" y="30"/>
                    </a:lnTo>
                    <a:lnTo>
                      <a:pt x="90" y="28"/>
                    </a:lnTo>
                    <a:close/>
                    <a:moveTo>
                      <a:pt x="98" y="58"/>
                    </a:moveTo>
                    <a:lnTo>
                      <a:pt x="96" y="58"/>
                    </a:lnTo>
                    <a:lnTo>
                      <a:pt x="96" y="68"/>
                    </a:lnTo>
                    <a:lnTo>
                      <a:pt x="98" y="68"/>
                    </a:lnTo>
                    <a:lnTo>
                      <a:pt x="98" y="70"/>
                    </a:lnTo>
                    <a:lnTo>
                      <a:pt x="100" y="70"/>
                    </a:lnTo>
                    <a:lnTo>
                      <a:pt x="100" y="68"/>
                    </a:lnTo>
                    <a:lnTo>
                      <a:pt x="102" y="66"/>
                    </a:lnTo>
                    <a:lnTo>
                      <a:pt x="102" y="62"/>
                    </a:lnTo>
                    <a:lnTo>
                      <a:pt x="100" y="60"/>
                    </a:lnTo>
                    <a:lnTo>
                      <a:pt x="98" y="60"/>
                    </a:lnTo>
                    <a:lnTo>
                      <a:pt x="98" y="58"/>
                    </a:lnTo>
                    <a:close/>
                    <a:moveTo>
                      <a:pt x="60" y="26"/>
                    </a:moveTo>
                    <a:lnTo>
                      <a:pt x="62" y="28"/>
                    </a:lnTo>
                    <a:lnTo>
                      <a:pt x="64" y="30"/>
                    </a:lnTo>
                    <a:lnTo>
                      <a:pt x="66" y="28"/>
                    </a:lnTo>
                    <a:lnTo>
                      <a:pt x="58" y="26"/>
                    </a:lnTo>
                    <a:lnTo>
                      <a:pt x="60" y="26"/>
                    </a:lnTo>
                    <a:close/>
                    <a:moveTo>
                      <a:pt x="10" y="70"/>
                    </a:moveTo>
                    <a:lnTo>
                      <a:pt x="6" y="62"/>
                    </a:lnTo>
                    <a:lnTo>
                      <a:pt x="4" y="64"/>
                    </a:lnTo>
                    <a:lnTo>
                      <a:pt x="2" y="64"/>
                    </a:lnTo>
                    <a:lnTo>
                      <a:pt x="2" y="66"/>
                    </a:lnTo>
                    <a:lnTo>
                      <a:pt x="0" y="66"/>
                    </a:lnTo>
                    <a:lnTo>
                      <a:pt x="0" y="68"/>
                    </a:lnTo>
                    <a:lnTo>
                      <a:pt x="4" y="68"/>
                    </a:lnTo>
                    <a:lnTo>
                      <a:pt x="8" y="70"/>
                    </a:lnTo>
                    <a:lnTo>
                      <a:pt x="10" y="70"/>
                    </a:lnTo>
                    <a:close/>
                    <a:moveTo>
                      <a:pt x="76" y="80"/>
                    </a:moveTo>
                    <a:lnTo>
                      <a:pt x="76" y="78"/>
                    </a:lnTo>
                    <a:lnTo>
                      <a:pt x="78" y="78"/>
                    </a:lnTo>
                    <a:lnTo>
                      <a:pt x="78" y="76"/>
                    </a:lnTo>
                    <a:lnTo>
                      <a:pt x="70" y="70"/>
                    </a:lnTo>
                    <a:lnTo>
                      <a:pt x="72" y="74"/>
                    </a:lnTo>
                    <a:lnTo>
                      <a:pt x="74" y="74"/>
                    </a:lnTo>
                    <a:lnTo>
                      <a:pt x="76" y="78"/>
                    </a:lnTo>
                    <a:lnTo>
                      <a:pt x="76" y="80"/>
                    </a:lnTo>
                    <a:close/>
                    <a:moveTo>
                      <a:pt x="58" y="74"/>
                    </a:moveTo>
                    <a:lnTo>
                      <a:pt x="60" y="74"/>
                    </a:lnTo>
                    <a:lnTo>
                      <a:pt x="60" y="72"/>
                    </a:lnTo>
                    <a:lnTo>
                      <a:pt x="60" y="70"/>
                    </a:lnTo>
                    <a:lnTo>
                      <a:pt x="58" y="68"/>
                    </a:lnTo>
                    <a:lnTo>
                      <a:pt x="56" y="66"/>
                    </a:lnTo>
                    <a:lnTo>
                      <a:pt x="56" y="64"/>
                    </a:lnTo>
                    <a:lnTo>
                      <a:pt x="52" y="62"/>
                    </a:lnTo>
                    <a:lnTo>
                      <a:pt x="50" y="62"/>
                    </a:lnTo>
                    <a:lnTo>
                      <a:pt x="50" y="60"/>
                    </a:lnTo>
                    <a:lnTo>
                      <a:pt x="48" y="58"/>
                    </a:lnTo>
                    <a:lnTo>
                      <a:pt x="46" y="58"/>
                    </a:lnTo>
                    <a:lnTo>
                      <a:pt x="44" y="58"/>
                    </a:lnTo>
                    <a:lnTo>
                      <a:pt x="42" y="56"/>
                    </a:lnTo>
                    <a:lnTo>
                      <a:pt x="42" y="54"/>
                    </a:lnTo>
                    <a:lnTo>
                      <a:pt x="44" y="54"/>
                    </a:lnTo>
                    <a:lnTo>
                      <a:pt x="46" y="56"/>
                    </a:lnTo>
                    <a:lnTo>
                      <a:pt x="48" y="56"/>
                    </a:lnTo>
                    <a:lnTo>
                      <a:pt x="50" y="58"/>
                    </a:lnTo>
                    <a:lnTo>
                      <a:pt x="52" y="60"/>
                    </a:lnTo>
                    <a:lnTo>
                      <a:pt x="54" y="62"/>
                    </a:lnTo>
                    <a:lnTo>
                      <a:pt x="58" y="62"/>
                    </a:lnTo>
                    <a:lnTo>
                      <a:pt x="60" y="64"/>
                    </a:lnTo>
                    <a:lnTo>
                      <a:pt x="62" y="62"/>
                    </a:lnTo>
                    <a:lnTo>
                      <a:pt x="64" y="62"/>
                    </a:lnTo>
                    <a:lnTo>
                      <a:pt x="64" y="60"/>
                    </a:lnTo>
                    <a:lnTo>
                      <a:pt x="64" y="58"/>
                    </a:lnTo>
                    <a:lnTo>
                      <a:pt x="62" y="58"/>
                    </a:lnTo>
                    <a:lnTo>
                      <a:pt x="58" y="56"/>
                    </a:lnTo>
                    <a:lnTo>
                      <a:pt x="56" y="56"/>
                    </a:lnTo>
                    <a:lnTo>
                      <a:pt x="54" y="56"/>
                    </a:lnTo>
                    <a:lnTo>
                      <a:pt x="52" y="54"/>
                    </a:lnTo>
                    <a:lnTo>
                      <a:pt x="50" y="54"/>
                    </a:lnTo>
                    <a:lnTo>
                      <a:pt x="48" y="52"/>
                    </a:lnTo>
                    <a:lnTo>
                      <a:pt x="48" y="50"/>
                    </a:lnTo>
                    <a:lnTo>
                      <a:pt x="46" y="50"/>
                    </a:lnTo>
                    <a:lnTo>
                      <a:pt x="46" y="48"/>
                    </a:lnTo>
                    <a:lnTo>
                      <a:pt x="44" y="46"/>
                    </a:lnTo>
                    <a:lnTo>
                      <a:pt x="44" y="44"/>
                    </a:lnTo>
                    <a:lnTo>
                      <a:pt x="42" y="42"/>
                    </a:lnTo>
                    <a:lnTo>
                      <a:pt x="42" y="40"/>
                    </a:lnTo>
                    <a:lnTo>
                      <a:pt x="40" y="38"/>
                    </a:lnTo>
                    <a:lnTo>
                      <a:pt x="38" y="36"/>
                    </a:lnTo>
                    <a:lnTo>
                      <a:pt x="38" y="34"/>
                    </a:lnTo>
                    <a:lnTo>
                      <a:pt x="36" y="32"/>
                    </a:lnTo>
                    <a:lnTo>
                      <a:pt x="36" y="30"/>
                    </a:lnTo>
                    <a:lnTo>
                      <a:pt x="34" y="28"/>
                    </a:lnTo>
                    <a:lnTo>
                      <a:pt x="34" y="24"/>
                    </a:lnTo>
                    <a:lnTo>
                      <a:pt x="36" y="24"/>
                    </a:lnTo>
                    <a:lnTo>
                      <a:pt x="36" y="22"/>
                    </a:lnTo>
                    <a:lnTo>
                      <a:pt x="38" y="24"/>
                    </a:lnTo>
                    <a:lnTo>
                      <a:pt x="40" y="26"/>
                    </a:lnTo>
                    <a:lnTo>
                      <a:pt x="42" y="26"/>
                    </a:lnTo>
                    <a:lnTo>
                      <a:pt x="42" y="28"/>
                    </a:lnTo>
                    <a:lnTo>
                      <a:pt x="44" y="28"/>
                    </a:lnTo>
                    <a:lnTo>
                      <a:pt x="46" y="30"/>
                    </a:lnTo>
                    <a:lnTo>
                      <a:pt x="46" y="32"/>
                    </a:lnTo>
                    <a:lnTo>
                      <a:pt x="48" y="32"/>
                    </a:lnTo>
                    <a:lnTo>
                      <a:pt x="48" y="34"/>
                    </a:lnTo>
                    <a:lnTo>
                      <a:pt x="52" y="34"/>
                    </a:lnTo>
                    <a:lnTo>
                      <a:pt x="50" y="32"/>
                    </a:lnTo>
                    <a:lnTo>
                      <a:pt x="50" y="30"/>
                    </a:lnTo>
                    <a:lnTo>
                      <a:pt x="50" y="28"/>
                    </a:lnTo>
                    <a:lnTo>
                      <a:pt x="48" y="28"/>
                    </a:lnTo>
                    <a:lnTo>
                      <a:pt x="50" y="28"/>
                    </a:lnTo>
                    <a:lnTo>
                      <a:pt x="52" y="28"/>
                    </a:lnTo>
                    <a:lnTo>
                      <a:pt x="54" y="30"/>
                    </a:lnTo>
                    <a:lnTo>
                      <a:pt x="56" y="32"/>
                    </a:lnTo>
                    <a:lnTo>
                      <a:pt x="56" y="30"/>
                    </a:lnTo>
                    <a:lnTo>
                      <a:pt x="54" y="28"/>
                    </a:lnTo>
                    <a:lnTo>
                      <a:pt x="52" y="26"/>
                    </a:lnTo>
                    <a:lnTo>
                      <a:pt x="54" y="26"/>
                    </a:lnTo>
                    <a:lnTo>
                      <a:pt x="54" y="24"/>
                    </a:lnTo>
                    <a:lnTo>
                      <a:pt x="54" y="20"/>
                    </a:lnTo>
                    <a:lnTo>
                      <a:pt x="56" y="18"/>
                    </a:lnTo>
                    <a:lnTo>
                      <a:pt x="58" y="18"/>
                    </a:lnTo>
                    <a:lnTo>
                      <a:pt x="62" y="16"/>
                    </a:lnTo>
                    <a:lnTo>
                      <a:pt x="64" y="18"/>
                    </a:lnTo>
                    <a:lnTo>
                      <a:pt x="66" y="18"/>
                    </a:lnTo>
                    <a:lnTo>
                      <a:pt x="66" y="20"/>
                    </a:lnTo>
                    <a:lnTo>
                      <a:pt x="66" y="22"/>
                    </a:lnTo>
                    <a:lnTo>
                      <a:pt x="68" y="22"/>
                    </a:lnTo>
                    <a:lnTo>
                      <a:pt x="70" y="20"/>
                    </a:lnTo>
                    <a:lnTo>
                      <a:pt x="70" y="18"/>
                    </a:lnTo>
                    <a:lnTo>
                      <a:pt x="72" y="18"/>
                    </a:lnTo>
                    <a:lnTo>
                      <a:pt x="72" y="16"/>
                    </a:lnTo>
                    <a:lnTo>
                      <a:pt x="74" y="16"/>
                    </a:lnTo>
                    <a:lnTo>
                      <a:pt x="74" y="14"/>
                    </a:lnTo>
                    <a:lnTo>
                      <a:pt x="74" y="16"/>
                    </a:lnTo>
                    <a:lnTo>
                      <a:pt x="80" y="16"/>
                    </a:lnTo>
                    <a:lnTo>
                      <a:pt x="84" y="16"/>
                    </a:lnTo>
                    <a:lnTo>
                      <a:pt x="86" y="18"/>
                    </a:lnTo>
                    <a:lnTo>
                      <a:pt x="88" y="18"/>
                    </a:lnTo>
                    <a:lnTo>
                      <a:pt x="90" y="18"/>
                    </a:lnTo>
                    <a:lnTo>
                      <a:pt x="92" y="16"/>
                    </a:lnTo>
                    <a:lnTo>
                      <a:pt x="92" y="14"/>
                    </a:lnTo>
                    <a:lnTo>
                      <a:pt x="92" y="12"/>
                    </a:lnTo>
                    <a:lnTo>
                      <a:pt x="92" y="10"/>
                    </a:lnTo>
                    <a:lnTo>
                      <a:pt x="92" y="8"/>
                    </a:lnTo>
                    <a:lnTo>
                      <a:pt x="92" y="6"/>
                    </a:lnTo>
                    <a:lnTo>
                      <a:pt x="94" y="6"/>
                    </a:lnTo>
                    <a:lnTo>
                      <a:pt x="96" y="8"/>
                    </a:lnTo>
                    <a:lnTo>
                      <a:pt x="96" y="4"/>
                    </a:lnTo>
                    <a:lnTo>
                      <a:pt x="96" y="2"/>
                    </a:lnTo>
                    <a:lnTo>
                      <a:pt x="94" y="2"/>
                    </a:lnTo>
                    <a:lnTo>
                      <a:pt x="92" y="2"/>
                    </a:lnTo>
                    <a:lnTo>
                      <a:pt x="92" y="0"/>
                    </a:lnTo>
                    <a:lnTo>
                      <a:pt x="90" y="0"/>
                    </a:lnTo>
                    <a:lnTo>
                      <a:pt x="90" y="2"/>
                    </a:lnTo>
                    <a:lnTo>
                      <a:pt x="88" y="2"/>
                    </a:lnTo>
                    <a:lnTo>
                      <a:pt x="88" y="4"/>
                    </a:lnTo>
                    <a:lnTo>
                      <a:pt x="90" y="4"/>
                    </a:lnTo>
                    <a:lnTo>
                      <a:pt x="90" y="6"/>
                    </a:lnTo>
                    <a:lnTo>
                      <a:pt x="88" y="6"/>
                    </a:lnTo>
                    <a:lnTo>
                      <a:pt x="88" y="8"/>
                    </a:lnTo>
                    <a:lnTo>
                      <a:pt x="86" y="8"/>
                    </a:lnTo>
                    <a:lnTo>
                      <a:pt x="84" y="8"/>
                    </a:lnTo>
                    <a:lnTo>
                      <a:pt x="82" y="6"/>
                    </a:lnTo>
                    <a:lnTo>
                      <a:pt x="80" y="6"/>
                    </a:lnTo>
                    <a:lnTo>
                      <a:pt x="78" y="6"/>
                    </a:lnTo>
                    <a:lnTo>
                      <a:pt x="76" y="8"/>
                    </a:lnTo>
                    <a:lnTo>
                      <a:pt x="74" y="8"/>
                    </a:lnTo>
                    <a:lnTo>
                      <a:pt x="72" y="8"/>
                    </a:lnTo>
                    <a:lnTo>
                      <a:pt x="72" y="6"/>
                    </a:lnTo>
                    <a:lnTo>
                      <a:pt x="70" y="6"/>
                    </a:lnTo>
                    <a:lnTo>
                      <a:pt x="68" y="6"/>
                    </a:lnTo>
                    <a:lnTo>
                      <a:pt x="66" y="6"/>
                    </a:lnTo>
                    <a:lnTo>
                      <a:pt x="64" y="4"/>
                    </a:lnTo>
                    <a:lnTo>
                      <a:pt x="64" y="2"/>
                    </a:lnTo>
                    <a:lnTo>
                      <a:pt x="62" y="2"/>
                    </a:lnTo>
                    <a:lnTo>
                      <a:pt x="60" y="2"/>
                    </a:lnTo>
                    <a:lnTo>
                      <a:pt x="58" y="2"/>
                    </a:lnTo>
                    <a:lnTo>
                      <a:pt x="56" y="2"/>
                    </a:lnTo>
                    <a:lnTo>
                      <a:pt x="56" y="4"/>
                    </a:lnTo>
                    <a:lnTo>
                      <a:pt x="54" y="4"/>
                    </a:lnTo>
                    <a:lnTo>
                      <a:pt x="54" y="6"/>
                    </a:lnTo>
                    <a:lnTo>
                      <a:pt x="52" y="6"/>
                    </a:lnTo>
                    <a:lnTo>
                      <a:pt x="50" y="6"/>
                    </a:lnTo>
                    <a:lnTo>
                      <a:pt x="50" y="4"/>
                    </a:lnTo>
                    <a:lnTo>
                      <a:pt x="48" y="4"/>
                    </a:lnTo>
                    <a:lnTo>
                      <a:pt x="48" y="6"/>
                    </a:lnTo>
                    <a:lnTo>
                      <a:pt x="46" y="6"/>
                    </a:lnTo>
                    <a:lnTo>
                      <a:pt x="44" y="8"/>
                    </a:lnTo>
                    <a:lnTo>
                      <a:pt x="42" y="8"/>
                    </a:lnTo>
                    <a:lnTo>
                      <a:pt x="40" y="8"/>
                    </a:lnTo>
                    <a:lnTo>
                      <a:pt x="38" y="6"/>
                    </a:lnTo>
                    <a:lnTo>
                      <a:pt x="38" y="8"/>
                    </a:lnTo>
                    <a:lnTo>
                      <a:pt x="36" y="8"/>
                    </a:lnTo>
                    <a:lnTo>
                      <a:pt x="34" y="10"/>
                    </a:lnTo>
                    <a:lnTo>
                      <a:pt x="34" y="12"/>
                    </a:lnTo>
                    <a:lnTo>
                      <a:pt x="32" y="12"/>
                    </a:lnTo>
                    <a:lnTo>
                      <a:pt x="30" y="12"/>
                    </a:lnTo>
                    <a:lnTo>
                      <a:pt x="24" y="12"/>
                    </a:lnTo>
                    <a:lnTo>
                      <a:pt x="24" y="14"/>
                    </a:lnTo>
                    <a:lnTo>
                      <a:pt x="22" y="16"/>
                    </a:lnTo>
                    <a:lnTo>
                      <a:pt x="22" y="18"/>
                    </a:lnTo>
                    <a:lnTo>
                      <a:pt x="18" y="18"/>
                    </a:lnTo>
                    <a:lnTo>
                      <a:pt x="18" y="16"/>
                    </a:lnTo>
                    <a:lnTo>
                      <a:pt x="16" y="16"/>
                    </a:lnTo>
                    <a:lnTo>
                      <a:pt x="14" y="16"/>
                    </a:lnTo>
                    <a:lnTo>
                      <a:pt x="12" y="18"/>
                    </a:lnTo>
                    <a:lnTo>
                      <a:pt x="12" y="22"/>
                    </a:lnTo>
                    <a:lnTo>
                      <a:pt x="10" y="24"/>
                    </a:lnTo>
                    <a:lnTo>
                      <a:pt x="8" y="24"/>
                    </a:lnTo>
                    <a:lnTo>
                      <a:pt x="6" y="26"/>
                    </a:lnTo>
                    <a:lnTo>
                      <a:pt x="6" y="30"/>
                    </a:lnTo>
                    <a:lnTo>
                      <a:pt x="4" y="30"/>
                    </a:lnTo>
                    <a:lnTo>
                      <a:pt x="4" y="32"/>
                    </a:lnTo>
                    <a:lnTo>
                      <a:pt x="2" y="32"/>
                    </a:lnTo>
                    <a:lnTo>
                      <a:pt x="2" y="30"/>
                    </a:lnTo>
                    <a:lnTo>
                      <a:pt x="0" y="32"/>
                    </a:lnTo>
                    <a:lnTo>
                      <a:pt x="0" y="38"/>
                    </a:lnTo>
                    <a:lnTo>
                      <a:pt x="0" y="40"/>
                    </a:lnTo>
                    <a:lnTo>
                      <a:pt x="0" y="42"/>
                    </a:lnTo>
                    <a:lnTo>
                      <a:pt x="0" y="44"/>
                    </a:lnTo>
                    <a:lnTo>
                      <a:pt x="0" y="46"/>
                    </a:lnTo>
                    <a:lnTo>
                      <a:pt x="0" y="48"/>
                    </a:lnTo>
                    <a:lnTo>
                      <a:pt x="2" y="48"/>
                    </a:lnTo>
                    <a:lnTo>
                      <a:pt x="4" y="50"/>
                    </a:lnTo>
                    <a:lnTo>
                      <a:pt x="6" y="52"/>
                    </a:lnTo>
                    <a:lnTo>
                      <a:pt x="8" y="54"/>
                    </a:lnTo>
                    <a:lnTo>
                      <a:pt x="10" y="54"/>
                    </a:lnTo>
                    <a:lnTo>
                      <a:pt x="10" y="56"/>
                    </a:lnTo>
                    <a:lnTo>
                      <a:pt x="10" y="58"/>
                    </a:lnTo>
                    <a:lnTo>
                      <a:pt x="12" y="60"/>
                    </a:lnTo>
                    <a:lnTo>
                      <a:pt x="14" y="62"/>
                    </a:lnTo>
                    <a:lnTo>
                      <a:pt x="14" y="64"/>
                    </a:lnTo>
                    <a:lnTo>
                      <a:pt x="26" y="64"/>
                    </a:lnTo>
                    <a:lnTo>
                      <a:pt x="26" y="62"/>
                    </a:lnTo>
                    <a:lnTo>
                      <a:pt x="34" y="62"/>
                    </a:lnTo>
                    <a:lnTo>
                      <a:pt x="34" y="64"/>
                    </a:lnTo>
                    <a:lnTo>
                      <a:pt x="38" y="64"/>
                    </a:lnTo>
                    <a:lnTo>
                      <a:pt x="40" y="66"/>
                    </a:lnTo>
                    <a:lnTo>
                      <a:pt x="42" y="66"/>
                    </a:lnTo>
                    <a:lnTo>
                      <a:pt x="44" y="68"/>
                    </a:lnTo>
                    <a:lnTo>
                      <a:pt x="46" y="68"/>
                    </a:lnTo>
                    <a:lnTo>
                      <a:pt x="48" y="68"/>
                    </a:lnTo>
                    <a:lnTo>
                      <a:pt x="50" y="70"/>
                    </a:lnTo>
                    <a:lnTo>
                      <a:pt x="52" y="72"/>
                    </a:lnTo>
                    <a:lnTo>
                      <a:pt x="54" y="72"/>
                    </a:lnTo>
                    <a:lnTo>
                      <a:pt x="54" y="74"/>
                    </a:lnTo>
                    <a:lnTo>
                      <a:pt x="56" y="74"/>
                    </a:lnTo>
                    <a:lnTo>
                      <a:pt x="58" y="74"/>
                    </a:lnTo>
                    <a:close/>
                    <a:moveTo>
                      <a:pt x="90" y="68"/>
                    </a:moveTo>
                    <a:lnTo>
                      <a:pt x="90" y="70"/>
                    </a:lnTo>
                    <a:lnTo>
                      <a:pt x="92" y="70"/>
                    </a:lnTo>
                    <a:lnTo>
                      <a:pt x="94" y="60"/>
                    </a:lnTo>
                    <a:lnTo>
                      <a:pt x="90" y="60"/>
                    </a:lnTo>
                    <a:lnTo>
                      <a:pt x="90" y="64"/>
                    </a:lnTo>
                    <a:lnTo>
                      <a:pt x="90" y="66"/>
                    </a:lnTo>
                    <a:lnTo>
                      <a:pt x="90" y="68"/>
                    </a:lnTo>
                    <a:close/>
                    <a:moveTo>
                      <a:pt x="8" y="74"/>
                    </a:moveTo>
                    <a:lnTo>
                      <a:pt x="8" y="74"/>
                    </a:lnTo>
                    <a:lnTo>
                      <a:pt x="6" y="74"/>
                    </a:lnTo>
                    <a:lnTo>
                      <a:pt x="4" y="74"/>
                    </a:lnTo>
                    <a:lnTo>
                      <a:pt x="6" y="76"/>
                    </a:lnTo>
                    <a:lnTo>
                      <a:pt x="8" y="78"/>
                    </a:lnTo>
                    <a:lnTo>
                      <a:pt x="10" y="78"/>
                    </a:lnTo>
                    <a:lnTo>
                      <a:pt x="10" y="76"/>
                    </a:lnTo>
                    <a:lnTo>
                      <a:pt x="10" y="74"/>
                    </a:lnTo>
                    <a:lnTo>
                      <a:pt x="8" y="74"/>
                    </a:lnTo>
                    <a:close/>
                    <a:moveTo>
                      <a:pt x="92" y="80"/>
                    </a:moveTo>
                    <a:lnTo>
                      <a:pt x="94" y="80"/>
                    </a:lnTo>
                    <a:lnTo>
                      <a:pt x="96" y="80"/>
                    </a:lnTo>
                    <a:lnTo>
                      <a:pt x="96" y="78"/>
                    </a:lnTo>
                    <a:lnTo>
                      <a:pt x="94" y="78"/>
                    </a:lnTo>
                    <a:lnTo>
                      <a:pt x="92" y="78"/>
                    </a:lnTo>
                    <a:lnTo>
                      <a:pt x="90" y="80"/>
                    </a:lnTo>
                    <a:lnTo>
                      <a:pt x="90" y="82"/>
                    </a:lnTo>
                    <a:lnTo>
                      <a:pt x="92" y="82"/>
                    </a:lnTo>
                    <a:lnTo>
                      <a:pt x="92" y="80"/>
                    </a:lnTo>
                    <a:close/>
                    <a:moveTo>
                      <a:pt x="96" y="46"/>
                    </a:moveTo>
                    <a:lnTo>
                      <a:pt x="94" y="46"/>
                    </a:lnTo>
                    <a:lnTo>
                      <a:pt x="92" y="46"/>
                    </a:lnTo>
                    <a:lnTo>
                      <a:pt x="90" y="46"/>
                    </a:lnTo>
                    <a:lnTo>
                      <a:pt x="88" y="48"/>
                    </a:lnTo>
                    <a:lnTo>
                      <a:pt x="88" y="50"/>
                    </a:lnTo>
                    <a:lnTo>
                      <a:pt x="90" y="50"/>
                    </a:lnTo>
                    <a:lnTo>
                      <a:pt x="92" y="50"/>
                    </a:lnTo>
                    <a:lnTo>
                      <a:pt x="94" y="52"/>
                    </a:lnTo>
                    <a:lnTo>
                      <a:pt x="96" y="52"/>
                    </a:lnTo>
                    <a:lnTo>
                      <a:pt x="98" y="52"/>
                    </a:lnTo>
                    <a:lnTo>
                      <a:pt x="98" y="50"/>
                    </a:lnTo>
                    <a:lnTo>
                      <a:pt x="98" y="48"/>
                    </a:lnTo>
                    <a:lnTo>
                      <a:pt x="96" y="48"/>
                    </a:lnTo>
                    <a:lnTo>
                      <a:pt x="96" y="46"/>
                    </a:lnTo>
                    <a:close/>
                    <a:moveTo>
                      <a:pt x="84" y="92"/>
                    </a:moveTo>
                    <a:lnTo>
                      <a:pt x="86" y="92"/>
                    </a:lnTo>
                    <a:lnTo>
                      <a:pt x="88" y="90"/>
                    </a:lnTo>
                    <a:lnTo>
                      <a:pt x="88" y="88"/>
                    </a:lnTo>
                    <a:lnTo>
                      <a:pt x="86" y="86"/>
                    </a:lnTo>
                    <a:lnTo>
                      <a:pt x="84" y="86"/>
                    </a:lnTo>
                    <a:lnTo>
                      <a:pt x="82" y="86"/>
                    </a:lnTo>
                    <a:lnTo>
                      <a:pt x="80" y="86"/>
                    </a:lnTo>
                    <a:lnTo>
                      <a:pt x="80" y="88"/>
                    </a:lnTo>
                    <a:lnTo>
                      <a:pt x="82" y="90"/>
                    </a:lnTo>
                    <a:lnTo>
                      <a:pt x="84" y="92"/>
                    </a:lnTo>
                    <a:close/>
                    <a:moveTo>
                      <a:pt x="106" y="74"/>
                    </a:moveTo>
                    <a:lnTo>
                      <a:pt x="104" y="74"/>
                    </a:lnTo>
                    <a:lnTo>
                      <a:pt x="102" y="74"/>
                    </a:lnTo>
                    <a:lnTo>
                      <a:pt x="102" y="78"/>
                    </a:lnTo>
                    <a:lnTo>
                      <a:pt x="104" y="78"/>
                    </a:lnTo>
                    <a:lnTo>
                      <a:pt x="108" y="78"/>
                    </a:lnTo>
                    <a:lnTo>
                      <a:pt x="108" y="76"/>
                    </a:lnTo>
                    <a:lnTo>
                      <a:pt x="106" y="76"/>
                    </a:lnTo>
                    <a:lnTo>
                      <a:pt x="106" y="74"/>
                    </a:lnTo>
                    <a:close/>
                    <a:moveTo>
                      <a:pt x="116" y="90"/>
                    </a:moveTo>
                    <a:lnTo>
                      <a:pt x="116" y="90"/>
                    </a:lnTo>
                    <a:lnTo>
                      <a:pt x="114" y="88"/>
                    </a:lnTo>
                    <a:lnTo>
                      <a:pt x="110" y="92"/>
                    </a:lnTo>
                    <a:lnTo>
                      <a:pt x="110" y="98"/>
                    </a:lnTo>
                    <a:lnTo>
                      <a:pt x="112" y="96"/>
                    </a:lnTo>
                    <a:lnTo>
                      <a:pt x="114" y="94"/>
                    </a:lnTo>
                    <a:lnTo>
                      <a:pt x="116" y="92"/>
                    </a:lnTo>
                    <a:lnTo>
                      <a:pt x="116" y="90"/>
                    </a:lnTo>
                    <a:lnTo>
                      <a:pt x="118" y="90"/>
                    </a:lnTo>
                    <a:lnTo>
                      <a:pt x="116" y="90"/>
                    </a:lnTo>
                    <a:close/>
                    <a:moveTo>
                      <a:pt x="112" y="116"/>
                    </a:moveTo>
                    <a:lnTo>
                      <a:pt x="112" y="114"/>
                    </a:lnTo>
                    <a:lnTo>
                      <a:pt x="112" y="112"/>
                    </a:lnTo>
                    <a:lnTo>
                      <a:pt x="110" y="122"/>
                    </a:lnTo>
                    <a:lnTo>
                      <a:pt x="112" y="122"/>
                    </a:lnTo>
                    <a:lnTo>
                      <a:pt x="114" y="122"/>
                    </a:lnTo>
                    <a:lnTo>
                      <a:pt x="112" y="118"/>
                    </a:lnTo>
                    <a:lnTo>
                      <a:pt x="112" y="116"/>
                    </a:lnTo>
                    <a:close/>
                    <a:moveTo>
                      <a:pt x="42" y="106"/>
                    </a:moveTo>
                    <a:lnTo>
                      <a:pt x="44" y="106"/>
                    </a:lnTo>
                    <a:lnTo>
                      <a:pt x="44" y="108"/>
                    </a:lnTo>
                    <a:lnTo>
                      <a:pt x="46" y="108"/>
                    </a:lnTo>
                    <a:lnTo>
                      <a:pt x="46" y="106"/>
                    </a:lnTo>
                    <a:lnTo>
                      <a:pt x="46" y="102"/>
                    </a:lnTo>
                    <a:lnTo>
                      <a:pt x="42" y="102"/>
                    </a:lnTo>
                    <a:lnTo>
                      <a:pt x="42" y="106"/>
                    </a:lnTo>
                    <a:close/>
                    <a:moveTo>
                      <a:pt x="94" y="124"/>
                    </a:moveTo>
                    <a:lnTo>
                      <a:pt x="92" y="124"/>
                    </a:lnTo>
                    <a:lnTo>
                      <a:pt x="90" y="126"/>
                    </a:lnTo>
                    <a:lnTo>
                      <a:pt x="90" y="124"/>
                    </a:lnTo>
                    <a:lnTo>
                      <a:pt x="90" y="122"/>
                    </a:lnTo>
                    <a:lnTo>
                      <a:pt x="84" y="122"/>
                    </a:lnTo>
                    <a:lnTo>
                      <a:pt x="82" y="122"/>
                    </a:lnTo>
                    <a:lnTo>
                      <a:pt x="78" y="122"/>
                    </a:lnTo>
                    <a:lnTo>
                      <a:pt x="76" y="120"/>
                    </a:lnTo>
                    <a:lnTo>
                      <a:pt x="66" y="120"/>
                    </a:lnTo>
                    <a:lnTo>
                      <a:pt x="64" y="118"/>
                    </a:lnTo>
                    <a:lnTo>
                      <a:pt x="62" y="118"/>
                    </a:lnTo>
                    <a:lnTo>
                      <a:pt x="60" y="116"/>
                    </a:lnTo>
                    <a:lnTo>
                      <a:pt x="58" y="116"/>
                    </a:lnTo>
                    <a:lnTo>
                      <a:pt x="56" y="118"/>
                    </a:lnTo>
                    <a:lnTo>
                      <a:pt x="56" y="120"/>
                    </a:lnTo>
                    <a:lnTo>
                      <a:pt x="56" y="122"/>
                    </a:lnTo>
                    <a:lnTo>
                      <a:pt x="58" y="122"/>
                    </a:lnTo>
                    <a:lnTo>
                      <a:pt x="58" y="124"/>
                    </a:lnTo>
                    <a:lnTo>
                      <a:pt x="60" y="124"/>
                    </a:lnTo>
                    <a:lnTo>
                      <a:pt x="62" y="122"/>
                    </a:lnTo>
                    <a:lnTo>
                      <a:pt x="62" y="124"/>
                    </a:lnTo>
                    <a:lnTo>
                      <a:pt x="64" y="124"/>
                    </a:lnTo>
                    <a:lnTo>
                      <a:pt x="70" y="124"/>
                    </a:lnTo>
                    <a:lnTo>
                      <a:pt x="72" y="126"/>
                    </a:lnTo>
                    <a:lnTo>
                      <a:pt x="74" y="128"/>
                    </a:lnTo>
                    <a:lnTo>
                      <a:pt x="74" y="130"/>
                    </a:lnTo>
                    <a:lnTo>
                      <a:pt x="84" y="130"/>
                    </a:lnTo>
                    <a:lnTo>
                      <a:pt x="84" y="128"/>
                    </a:lnTo>
                    <a:lnTo>
                      <a:pt x="96" y="128"/>
                    </a:lnTo>
                    <a:lnTo>
                      <a:pt x="98" y="126"/>
                    </a:lnTo>
                    <a:lnTo>
                      <a:pt x="98" y="122"/>
                    </a:lnTo>
                    <a:lnTo>
                      <a:pt x="96" y="122"/>
                    </a:lnTo>
                    <a:lnTo>
                      <a:pt x="94" y="124"/>
                    </a:lnTo>
                    <a:close/>
                    <a:moveTo>
                      <a:pt x="100" y="96"/>
                    </a:moveTo>
                    <a:lnTo>
                      <a:pt x="98" y="96"/>
                    </a:lnTo>
                    <a:lnTo>
                      <a:pt x="98" y="98"/>
                    </a:lnTo>
                    <a:lnTo>
                      <a:pt x="96" y="98"/>
                    </a:lnTo>
                    <a:lnTo>
                      <a:pt x="98" y="98"/>
                    </a:lnTo>
                    <a:lnTo>
                      <a:pt x="98" y="100"/>
                    </a:lnTo>
                    <a:lnTo>
                      <a:pt x="100" y="100"/>
                    </a:lnTo>
                    <a:lnTo>
                      <a:pt x="100" y="98"/>
                    </a:lnTo>
                    <a:lnTo>
                      <a:pt x="102" y="98"/>
                    </a:lnTo>
                    <a:lnTo>
                      <a:pt x="100" y="98"/>
                    </a:lnTo>
                    <a:lnTo>
                      <a:pt x="100" y="96"/>
                    </a:lnTo>
                    <a:close/>
                    <a:moveTo>
                      <a:pt x="50" y="80"/>
                    </a:moveTo>
                    <a:lnTo>
                      <a:pt x="48" y="78"/>
                    </a:lnTo>
                    <a:lnTo>
                      <a:pt x="46" y="74"/>
                    </a:lnTo>
                    <a:lnTo>
                      <a:pt x="44" y="74"/>
                    </a:lnTo>
                    <a:lnTo>
                      <a:pt x="42" y="72"/>
                    </a:lnTo>
                    <a:lnTo>
                      <a:pt x="38" y="72"/>
                    </a:lnTo>
                    <a:lnTo>
                      <a:pt x="36" y="70"/>
                    </a:lnTo>
                    <a:lnTo>
                      <a:pt x="30" y="68"/>
                    </a:lnTo>
                    <a:lnTo>
                      <a:pt x="28" y="66"/>
                    </a:lnTo>
                    <a:lnTo>
                      <a:pt x="26" y="66"/>
                    </a:lnTo>
                    <a:lnTo>
                      <a:pt x="26" y="68"/>
                    </a:lnTo>
                    <a:lnTo>
                      <a:pt x="22" y="68"/>
                    </a:lnTo>
                    <a:lnTo>
                      <a:pt x="20" y="68"/>
                    </a:lnTo>
                    <a:lnTo>
                      <a:pt x="18" y="70"/>
                    </a:lnTo>
                    <a:lnTo>
                      <a:pt x="16" y="72"/>
                    </a:lnTo>
                    <a:lnTo>
                      <a:pt x="16" y="74"/>
                    </a:lnTo>
                    <a:lnTo>
                      <a:pt x="18" y="76"/>
                    </a:lnTo>
                    <a:lnTo>
                      <a:pt x="20" y="76"/>
                    </a:lnTo>
                    <a:lnTo>
                      <a:pt x="20" y="78"/>
                    </a:lnTo>
                    <a:lnTo>
                      <a:pt x="22" y="78"/>
                    </a:lnTo>
                    <a:lnTo>
                      <a:pt x="22" y="86"/>
                    </a:lnTo>
                    <a:lnTo>
                      <a:pt x="20" y="90"/>
                    </a:lnTo>
                    <a:lnTo>
                      <a:pt x="22" y="90"/>
                    </a:lnTo>
                    <a:lnTo>
                      <a:pt x="22" y="92"/>
                    </a:lnTo>
                    <a:lnTo>
                      <a:pt x="24" y="94"/>
                    </a:lnTo>
                    <a:lnTo>
                      <a:pt x="26" y="94"/>
                    </a:lnTo>
                    <a:lnTo>
                      <a:pt x="28" y="92"/>
                    </a:lnTo>
                    <a:lnTo>
                      <a:pt x="30" y="90"/>
                    </a:lnTo>
                    <a:lnTo>
                      <a:pt x="32" y="90"/>
                    </a:lnTo>
                    <a:lnTo>
                      <a:pt x="34" y="96"/>
                    </a:lnTo>
                    <a:lnTo>
                      <a:pt x="36" y="98"/>
                    </a:lnTo>
                    <a:lnTo>
                      <a:pt x="38" y="98"/>
                    </a:lnTo>
                    <a:lnTo>
                      <a:pt x="38" y="96"/>
                    </a:lnTo>
                    <a:lnTo>
                      <a:pt x="40" y="94"/>
                    </a:lnTo>
                    <a:lnTo>
                      <a:pt x="40" y="96"/>
                    </a:lnTo>
                    <a:lnTo>
                      <a:pt x="42" y="96"/>
                    </a:lnTo>
                    <a:lnTo>
                      <a:pt x="42" y="98"/>
                    </a:lnTo>
                    <a:lnTo>
                      <a:pt x="44" y="98"/>
                    </a:lnTo>
                    <a:lnTo>
                      <a:pt x="46" y="98"/>
                    </a:lnTo>
                    <a:lnTo>
                      <a:pt x="44" y="98"/>
                    </a:lnTo>
                    <a:lnTo>
                      <a:pt x="44" y="96"/>
                    </a:lnTo>
                    <a:lnTo>
                      <a:pt x="46" y="96"/>
                    </a:lnTo>
                    <a:lnTo>
                      <a:pt x="46" y="90"/>
                    </a:lnTo>
                    <a:lnTo>
                      <a:pt x="44" y="88"/>
                    </a:lnTo>
                    <a:lnTo>
                      <a:pt x="44" y="86"/>
                    </a:lnTo>
                    <a:lnTo>
                      <a:pt x="42" y="84"/>
                    </a:lnTo>
                    <a:lnTo>
                      <a:pt x="42" y="82"/>
                    </a:lnTo>
                    <a:lnTo>
                      <a:pt x="40" y="80"/>
                    </a:lnTo>
                    <a:lnTo>
                      <a:pt x="40" y="78"/>
                    </a:lnTo>
                    <a:lnTo>
                      <a:pt x="42" y="78"/>
                    </a:lnTo>
                    <a:lnTo>
                      <a:pt x="46" y="80"/>
                    </a:lnTo>
                    <a:lnTo>
                      <a:pt x="48" y="82"/>
                    </a:lnTo>
                    <a:lnTo>
                      <a:pt x="50" y="82"/>
                    </a:lnTo>
                    <a:lnTo>
                      <a:pt x="52" y="82"/>
                    </a:lnTo>
                    <a:lnTo>
                      <a:pt x="52" y="80"/>
                    </a:lnTo>
                    <a:lnTo>
                      <a:pt x="50" y="80"/>
                    </a:lnTo>
                    <a:close/>
                    <a:moveTo>
                      <a:pt x="48" y="100"/>
                    </a:moveTo>
                    <a:lnTo>
                      <a:pt x="46" y="98"/>
                    </a:lnTo>
                    <a:lnTo>
                      <a:pt x="46" y="100"/>
                    </a:lnTo>
                    <a:lnTo>
                      <a:pt x="48" y="10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2" name="Freeform 146">
                <a:extLst>
                  <a:ext uri="{FF2B5EF4-FFF2-40B4-BE49-F238E27FC236}">
                    <a16:creationId xmlns:a16="http://schemas.microsoft.com/office/drawing/2014/main" id="{59FFCD12-0148-437A-9D48-617F2C462157}"/>
                  </a:ext>
                </a:extLst>
              </p:cNvPr>
              <p:cNvSpPr>
                <a:spLocks noChangeAspect="1"/>
              </p:cNvSpPr>
              <p:nvPr/>
            </p:nvSpPr>
            <p:spPr bwMode="auto">
              <a:xfrm>
                <a:off x="5096745" y="2637188"/>
                <a:ext cx="82218" cy="97662"/>
              </a:xfrm>
              <a:custGeom>
                <a:avLst/>
                <a:gdLst/>
                <a:ahLst/>
                <a:cxnLst>
                  <a:cxn ang="0">
                    <a:pos x="4" y="6"/>
                  </a:cxn>
                  <a:cxn ang="0">
                    <a:pos x="8" y="10"/>
                  </a:cxn>
                  <a:cxn ang="0">
                    <a:pos x="8" y="12"/>
                  </a:cxn>
                  <a:cxn ang="0">
                    <a:pos x="10" y="14"/>
                  </a:cxn>
                  <a:cxn ang="0">
                    <a:pos x="12" y="16"/>
                  </a:cxn>
                  <a:cxn ang="0">
                    <a:pos x="14" y="18"/>
                  </a:cxn>
                  <a:cxn ang="0">
                    <a:pos x="16" y="22"/>
                  </a:cxn>
                  <a:cxn ang="0">
                    <a:pos x="18" y="22"/>
                  </a:cxn>
                  <a:cxn ang="0">
                    <a:pos x="20" y="24"/>
                  </a:cxn>
                  <a:cxn ang="0">
                    <a:pos x="20" y="26"/>
                  </a:cxn>
                  <a:cxn ang="0">
                    <a:pos x="24" y="26"/>
                  </a:cxn>
                  <a:cxn ang="0">
                    <a:pos x="24" y="32"/>
                  </a:cxn>
                  <a:cxn ang="0">
                    <a:pos x="24" y="36"/>
                  </a:cxn>
                  <a:cxn ang="0">
                    <a:pos x="26" y="38"/>
                  </a:cxn>
                  <a:cxn ang="0">
                    <a:pos x="24" y="38"/>
                  </a:cxn>
                  <a:cxn ang="0">
                    <a:pos x="24" y="46"/>
                  </a:cxn>
                  <a:cxn ang="0">
                    <a:pos x="26" y="50"/>
                  </a:cxn>
                  <a:cxn ang="0">
                    <a:pos x="26" y="56"/>
                  </a:cxn>
                  <a:cxn ang="0">
                    <a:pos x="32" y="54"/>
                  </a:cxn>
                  <a:cxn ang="0">
                    <a:pos x="32" y="54"/>
                  </a:cxn>
                  <a:cxn ang="0">
                    <a:pos x="30" y="48"/>
                  </a:cxn>
                  <a:cxn ang="0">
                    <a:pos x="34" y="46"/>
                  </a:cxn>
                  <a:cxn ang="0">
                    <a:pos x="36" y="44"/>
                  </a:cxn>
                  <a:cxn ang="0">
                    <a:pos x="40" y="42"/>
                  </a:cxn>
                  <a:cxn ang="0">
                    <a:pos x="38" y="40"/>
                  </a:cxn>
                  <a:cxn ang="0">
                    <a:pos x="34" y="36"/>
                  </a:cxn>
                  <a:cxn ang="0">
                    <a:pos x="38" y="34"/>
                  </a:cxn>
                  <a:cxn ang="0">
                    <a:pos x="40" y="34"/>
                  </a:cxn>
                  <a:cxn ang="0">
                    <a:pos x="44" y="36"/>
                  </a:cxn>
                  <a:cxn ang="0">
                    <a:pos x="48" y="36"/>
                  </a:cxn>
                  <a:cxn ang="0">
                    <a:pos x="50" y="34"/>
                  </a:cxn>
                  <a:cxn ang="0">
                    <a:pos x="50" y="30"/>
                  </a:cxn>
                  <a:cxn ang="0">
                    <a:pos x="48" y="26"/>
                  </a:cxn>
                  <a:cxn ang="0">
                    <a:pos x="42" y="26"/>
                  </a:cxn>
                  <a:cxn ang="0">
                    <a:pos x="42" y="22"/>
                  </a:cxn>
                  <a:cxn ang="0">
                    <a:pos x="42" y="20"/>
                  </a:cxn>
                  <a:cxn ang="0">
                    <a:pos x="42" y="18"/>
                  </a:cxn>
                  <a:cxn ang="0">
                    <a:pos x="38" y="20"/>
                  </a:cxn>
                  <a:cxn ang="0">
                    <a:pos x="36" y="16"/>
                  </a:cxn>
                  <a:cxn ang="0">
                    <a:pos x="38" y="14"/>
                  </a:cxn>
                  <a:cxn ang="0">
                    <a:pos x="38" y="10"/>
                  </a:cxn>
                  <a:cxn ang="0">
                    <a:pos x="36" y="8"/>
                  </a:cxn>
                  <a:cxn ang="0">
                    <a:pos x="30" y="8"/>
                  </a:cxn>
                  <a:cxn ang="0">
                    <a:pos x="28" y="8"/>
                  </a:cxn>
                  <a:cxn ang="0">
                    <a:pos x="26" y="2"/>
                  </a:cxn>
                  <a:cxn ang="0">
                    <a:pos x="20" y="4"/>
                  </a:cxn>
                  <a:cxn ang="0">
                    <a:pos x="18" y="2"/>
                  </a:cxn>
                  <a:cxn ang="0">
                    <a:pos x="18" y="2"/>
                  </a:cxn>
                  <a:cxn ang="0">
                    <a:pos x="16" y="0"/>
                  </a:cxn>
                  <a:cxn ang="0">
                    <a:pos x="10" y="0"/>
                  </a:cxn>
                  <a:cxn ang="0">
                    <a:pos x="6" y="2"/>
                  </a:cxn>
                  <a:cxn ang="0">
                    <a:pos x="2" y="0"/>
                  </a:cxn>
                  <a:cxn ang="0">
                    <a:pos x="0" y="2"/>
                  </a:cxn>
                  <a:cxn ang="0">
                    <a:pos x="0" y="2"/>
                  </a:cxn>
                </a:cxnLst>
                <a:rect l="0" t="0" r="r" b="b"/>
                <a:pathLst>
                  <a:path w="50" h="56">
                    <a:moveTo>
                      <a:pt x="0" y="2"/>
                    </a:moveTo>
                    <a:lnTo>
                      <a:pt x="2" y="4"/>
                    </a:lnTo>
                    <a:lnTo>
                      <a:pt x="4" y="4"/>
                    </a:lnTo>
                    <a:lnTo>
                      <a:pt x="4" y="6"/>
                    </a:lnTo>
                    <a:lnTo>
                      <a:pt x="6" y="6"/>
                    </a:lnTo>
                    <a:lnTo>
                      <a:pt x="6" y="8"/>
                    </a:lnTo>
                    <a:lnTo>
                      <a:pt x="8" y="8"/>
                    </a:lnTo>
                    <a:lnTo>
                      <a:pt x="8" y="10"/>
                    </a:lnTo>
                    <a:lnTo>
                      <a:pt x="8" y="12"/>
                    </a:lnTo>
                    <a:lnTo>
                      <a:pt x="10" y="14"/>
                    </a:lnTo>
                    <a:lnTo>
                      <a:pt x="12" y="16"/>
                    </a:lnTo>
                    <a:lnTo>
                      <a:pt x="14" y="16"/>
                    </a:lnTo>
                    <a:lnTo>
                      <a:pt x="14" y="18"/>
                    </a:lnTo>
                    <a:lnTo>
                      <a:pt x="14" y="20"/>
                    </a:lnTo>
                    <a:lnTo>
                      <a:pt x="16" y="20"/>
                    </a:lnTo>
                    <a:lnTo>
                      <a:pt x="16" y="22"/>
                    </a:lnTo>
                    <a:lnTo>
                      <a:pt x="18" y="22"/>
                    </a:lnTo>
                    <a:lnTo>
                      <a:pt x="18" y="24"/>
                    </a:lnTo>
                    <a:lnTo>
                      <a:pt x="20" y="24"/>
                    </a:lnTo>
                    <a:lnTo>
                      <a:pt x="20" y="26"/>
                    </a:lnTo>
                    <a:lnTo>
                      <a:pt x="22" y="26"/>
                    </a:lnTo>
                    <a:lnTo>
                      <a:pt x="24" y="26"/>
                    </a:lnTo>
                    <a:lnTo>
                      <a:pt x="24" y="28"/>
                    </a:lnTo>
                    <a:lnTo>
                      <a:pt x="24" y="32"/>
                    </a:lnTo>
                    <a:lnTo>
                      <a:pt x="24" y="34"/>
                    </a:lnTo>
                    <a:lnTo>
                      <a:pt x="24" y="36"/>
                    </a:lnTo>
                    <a:lnTo>
                      <a:pt x="26" y="36"/>
                    </a:lnTo>
                    <a:lnTo>
                      <a:pt x="26" y="38"/>
                    </a:lnTo>
                    <a:lnTo>
                      <a:pt x="24" y="38"/>
                    </a:lnTo>
                    <a:lnTo>
                      <a:pt x="24" y="40"/>
                    </a:lnTo>
                    <a:lnTo>
                      <a:pt x="24" y="42"/>
                    </a:lnTo>
                    <a:lnTo>
                      <a:pt x="24" y="44"/>
                    </a:lnTo>
                    <a:lnTo>
                      <a:pt x="24" y="46"/>
                    </a:lnTo>
                    <a:lnTo>
                      <a:pt x="24" y="48"/>
                    </a:lnTo>
                    <a:lnTo>
                      <a:pt x="24" y="50"/>
                    </a:lnTo>
                    <a:lnTo>
                      <a:pt x="26" y="50"/>
                    </a:lnTo>
                    <a:lnTo>
                      <a:pt x="26" y="52"/>
                    </a:lnTo>
                    <a:lnTo>
                      <a:pt x="26" y="54"/>
                    </a:lnTo>
                    <a:lnTo>
                      <a:pt x="26" y="56"/>
                    </a:lnTo>
                    <a:lnTo>
                      <a:pt x="28" y="54"/>
                    </a:lnTo>
                    <a:lnTo>
                      <a:pt x="30" y="54"/>
                    </a:lnTo>
                    <a:lnTo>
                      <a:pt x="32" y="54"/>
                    </a:lnTo>
                    <a:lnTo>
                      <a:pt x="32" y="52"/>
                    </a:lnTo>
                    <a:lnTo>
                      <a:pt x="32" y="50"/>
                    </a:lnTo>
                    <a:lnTo>
                      <a:pt x="30" y="48"/>
                    </a:lnTo>
                    <a:lnTo>
                      <a:pt x="32" y="48"/>
                    </a:lnTo>
                    <a:lnTo>
                      <a:pt x="32" y="46"/>
                    </a:lnTo>
                    <a:lnTo>
                      <a:pt x="34" y="46"/>
                    </a:lnTo>
                    <a:lnTo>
                      <a:pt x="36" y="44"/>
                    </a:lnTo>
                    <a:lnTo>
                      <a:pt x="38" y="44"/>
                    </a:lnTo>
                    <a:lnTo>
                      <a:pt x="38" y="42"/>
                    </a:lnTo>
                    <a:lnTo>
                      <a:pt x="40" y="42"/>
                    </a:lnTo>
                    <a:lnTo>
                      <a:pt x="40" y="40"/>
                    </a:lnTo>
                    <a:lnTo>
                      <a:pt x="38" y="40"/>
                    </a:lnTo>
                    <a:lnTo>
                      <a:pt x="36" y="38"/>
                    </a:lnTo>
                    <a:lnTo>
                      <a:pt x="34" y="36"/>
                    </a:lnTo>
                    <a:lnTo>
                      <a:pt x="36" y="36"/>
                    </a:lnTo>
                    <a:lnTo>
                      <a:pt x="36" y="34"/>
                    </a:lnTo>
                    <a:lnTo>
                      <a:pt x="38" y="34"/>
                    </a:lnTo>
                    <a:lnTo>
                      <a:pt x="40" y="34"/>
                    </a:lnTo>
                    <a:lnTo>
                      <a:pt x="42" y="36"/>
                    </a:lnTo>
                    <a:lnTo>
                      <a:pt x="44" y="36"/>
                    </a:lnTo>
                    <a:lnTo>
                      <a:pt x="44" y="38"/>
                    </a:lnTo>
                    <a:lnTo>
                      <a:pt x="46" y="38"/>
                    </a:lnTo>
                    <a:lnTo>
                      <a:pt x="48" y="36"/>
                    </a:lnTo>
                    <a:lnTo>
                      <a:pt x="50" y="36"/>
                    </a:lnTo>
                    <a:lnTo>
                      <a:pt x="50" y="34"/>
                    </a:lnTo>
                    <a:lnTo>
                      <a:pt x="50" y="30"/>
                    </a:lnTo>
                    <a:lnTo>
                      <a:pt x="50" y="28"/>
                    </a:lnTo>
                    <a:lnTo>
                      <a:pt x="48" y="28"/>
                    </a:lnTo>
                    <a:lnTo>
                      <a:pt x="48" y="26"/>
                    </a:lnTo>
                    <a:lnTo>
                      <a:pt x="46" y="26"/>
                    </a:lnTo>
                    <a:lnTo>
                      <a:pt x="42" y="26"/>
                    </a:lnTo>
                    <a:lnTo>
                      <a:pt x="42" y="24"/>
                    </a:lnTo>
                    <a:lnTo>
                      <a:pt x="42" y="22"/>
                    </a:lnTo>
                    <a:lnTo>
                      <a:pt x="44" y="22"/>
                    </a:lnTo>
                    <a:lnTo>
                      <a:pt x="44" y="20"/>
                    </a:lnTo>
                    <a:lnTo>
                      <a:pt x="42" y="20"/>
                    </a:lnTo>
                    <a:lnTo>
                      <a:pt x="42" y="18"/>
                    </a:lnTo>
                    <a:lnTo>
                      <a:pt x="40" y="18"/>
                    </a:lnTo>
                    <a:lnTo>
                      <a:pt x="38" y="20"/>
                    </a:lnTo>
                    <a:lnTo>
                      <a:pt x="36" y="18"/>
                    </a:lnTo>
                    <a:lnTo>
                      <a:pt x="36" y="16"/>
                    </a:lnTo>
                    <a:lnTo>
                      <a:pt x="38" y="14"/>
                    </a:lnTo>
                    <a:lnTo>
                      <a:pt x="38" y="12"/>
                    </a:lnTo>
                    <a:lnTo>
                      <a:pt x="38" y="10"/>
                    </a:lnTo>
                    <a:lnTo>
                      <a:pt x="36" y="8"/>
                    </a:lnTo>
                    <a:lnTo>
                      <a:pt x="34" y="8"/>
                    </a:lnTo>
                    <a:lnTo>
                      <a:pt x="32" y="6"/>
                    </a:lnTo>
                    <a:lnTo>
                      <a:pt x="30" y="8"/>
                    </a:lnTo>
                    <a:lnTo>
                      <a:pt x="28" y="8"/>
                    </a:lnTo>
                    <a:lnTo>
                      <a:pt x="28" y="6"/>
                    </a:lnTo>
                    <a:lnTo>
                      <a:pt x="28" y="4"/>
                    </a:lnTo>
                    <a:lnTo>
                      <a:pt x="26" y="2"/>
                    </a:lnTo>
                    <a:lnTo>
                      <a:pt x="24" y="2"/>
                    </a:lnTo>
                    <a:lnTo>
                      <a:pt x="22" y="4"/>
                    </a:lnTo>
                    <a:lnTo>
                      <a:pt x="20" y="4"/>
                    </a:lnTo>
                    <a:lnTo>
                      <a:pt x="18" y="2"/>
                    </a:lnTo>
                    <a:lnTo>
                      <a:pt x="16" y="2"/>
                    </a:lnTo>
                    <a:lnTo>
                      <a:pt x="16" y="0"/>
                    </a:lnTo>
                    <a:lnTo>
                      <a:pt x="14" y="0"/>
                    </a:lnTo>
                    <a:lnTo>
                      <a:pt x="12" y="0"/>
                    </a:lnTo>
                    <a:lnTo>
                      <a:pt x="10" y="0"/>
                    </a:lnTo>
                    <a:lnTo>
                      <a:pt x="8" y="0"/>
                    </a:lnTo>
                    <a:lnTo>
                      <a:pt x="8" y="2"/>
                    </a:lnTo>
                    <a:lnTo>
                      <a:pt x="6" y="2"/>
                    </a:lnTo>
                    <a:lnTo>
                      <a:pt x="4" y="2"/>
                    </a:lnTo>
                    <a:lnTo>
                      <a:pt x="2" y="0"/>
                    </a:lnTo>
                    <a:lnTo>
                      <a:pt x="0" y="0"/>
                    </a:lnTo>
                    <a:lnTo>
                      <a:pt x="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3" name="Freeform 147">
                <a:extLst>
                  <a:ext uri="{FF2B5EF4-FFF2-40B4-BE49-F238E27FC236}">
                    <a16:creationId xmlns:a16="http://schemas.microsoft.com/office/drawing/2014/main" id="{EB6D20B0-8BC5-42A5-98CF-B414A532C510}"/>
                  </a:ext>
                </a:extLst>
              </p:cNvPr>
              <p:cNvSpPr>
                <a:spLocks noChangeAspect="1"/>
              </p:cNvSpPr>
              <p:nvPr/>
            </p:nvSpPr>
            <p:spPr bwMode="auto">
              <a:xfrm>
                <a:off x="4767874" y="2686019"/>
                <a:ext cx="82218" cy="48831"/>
              </a:xfrm>
              <a:custGeom>
                <a:avLst/>
                <a:gdLst/>
                <a:ahLst/>
                <a:cxnLst>
                  <a:cxn ang="0">
                    <a:pos x="10" y="28"/>
                  </a:cxn>
                  <a:cxn ang="0">
                    <a:pos x="10" y="28"/>
                  </a:cxn>
                  <a:cxn ang="0">
                    <a:pos x="10" y="24"/>
                  </a:cxn>
                  <a:cxn ang="0">
                    <a:pos x="12" y="26"/>
                  </a:cxn>
                  <a:cxn ang="0">
                    <a:pos x="12" y="26"/>
                  </a:cxn>
                  <a:cxn ang="0">
                    <a:pos x="16" y="26"/>
                  </a:cxn>
                  <a:cxn ang="0">
                    <a:pos x="18" y="26"/>
                  </a:cxn>
                  <a:cxn ang="0">
                    <a:pos x="20" y="24"/>
                  </a:cxn>
                  <a:cxn ang="0">
                    <a:pos x="20" y="24"/>
                  </a:cxn>
                  <a:cxn ang="0">
                    <a:pos x="22" y="26"/>
                  </a:cxn>
                  <a:cxn ang="0">
                    <a:pos x="26" y="26"/>
                  </a:cxn>
                  <a:cxn ang="0">
                    <a:pos x="28" y="26"/>
                  </a:cxn>
                  <a:cxn ang="0">
                    <a:pos x="30" y="26"/>
                  </a:cxn>
                  <a:cxn ang="0">
                    <a:pos x="30" y="22"/>
                  </a:cxn>
                  <a:cxn ang="0">
                    <a:pos x="32" y="22"/>
                  </a:cxn>
                  <a:cxn ang="0">
                    <a:pos x="34" y="22"/>
                  </a:cxn>
                  <a:cxn ang="0">
                    <a:pos x="34" y="20"/>
                  </a:cxn>
                  <a:cxn ang="0">
                    <a:pos x="36" y="18"/>
                  </a:cxn>
                  <a:cxn ang="0">
                    <a:pos x="36" y="18"/>
                  </a:cxn>
                  <a:cxn ang="0">
                    <a:pos x="34" y="14"/>
                  </a:cxn>
                  <a:cxn ang="0">
                    <a:pos x="36" y="12"/>
                  </a:cxn>
                  <a:cxn ang="0">
                    <a:pos x="38" y="12"/>
                  </a:cxn>
                  <a:cxn ang="0">
                    <a:pos x="40" y="12"/>
                  </a:cxn>
                  <a:cxn ang="0">
                    <a:pos x="44" y="10"/>
                  </a:cxn>
                  <a:cxn ang="0">
                    <a:pos x="46" y="8"/>
                  </a:cxn>
                  <a:cxn ang="0">
                    <a:pos x="48" y="8"/>
                  </a:cxn>
                  <a:cxn ang="0">
                    <a:pos x="50" y="8"/>
                  </a:cxn>
                  <a:cxn ang="0">
                    <a:pos x="48" y="6"/>
                  </a:cxn>
                  <a:cxn ang="0">
                    <a:pos x="46" y="6"/>
                  </a:cxn>
                  <a:cxn ang="0">
                    <a:pos x="46" y="4"/>
                  </a:cxn>
                  <a:cxn ang="0">
                    <a:pos x="46" y="2"/>
                  </a:cxn>
                  <a:cxn ang="0">
                    <a:pos x="42" y="0"/>
                  </a:cxn>
                  <a:cxn ang="0">
                    <a:pos x="42" y="0"/>
                  </a:cxn>
                  <a:cxn ang="0">
                    <a:pos x="42" y="2"/>
                  </a:cxn>
                  <a:cxn ang="0">
                    <a:pos x="40" y="6"/>
                  </a:cxn>
                  <a:cxn ang="0">
                    <a:pos x="40" y="6"/>
                  </a:cxn>
                  <a:cxn ang="0">
                    <a:pos x="38" y="6"/>
                  </a:cxn>
                  <a:cxn ang="0">
                    <a:pos x="36" y="6"/>
                  </a:cxn>
                  <a:cxn ang="0">
                    <a:pos x="34" y="6"/>
                  </a:cxn>
                  <a:cxn ang="0">
                    <a:pos x="34" y="6"/>
                  </a:cxn>
                  <a:cxn ang="0">
                    <a:pos x="26" y="6"/>
                  </a:cxn>
                  <a:cxn ang="0">
                    <a:pos x="22" y="6"/>
                  </a:cxn>
                  <a:cxn ang="0">
                    <a:pos x="22" y="6"/>
                  </a:cxn>
                  <a:cxn ang="0">
                    <a:pos x="20" y="8"/>
                  </a:cxn>
                  <a:cxn ang="0">
                    <a:pos x="18" y="8"/>
                  </a:cxn>
                  <a:cxn ang="0">
                    <a:pos x="14" y="8"/>
                  </a:cxn>
                  <a:cxn ang="0">
                    <a:pos x="12" y="8"/>
                  </a:cxn>
                  <a:cxn ang="0">
                    <a:pos x="10" y="6"/>
                  </a:cxn>
                  <a:cxn ang="0">
                    <a:pos x="6" y="8"/>
                  </a:cxn>
                  <a:cxn ang="0">
                    <a:pos x="6" y="8"/>
                  </a:cxn>
                  <a:cxn ang="0">
                    <a:pos x="2" y="8"/>
                  </a:cxn>
                  <a:cxn ang="0">
                    <a:pos x="2" y="10"/>
                  </a:cxn>
                  <a:cxn ang="0">
                    <a:pos x="2" y="12"/>
                  </a:cxn>
                  <a:cxn ang="0">
                    <a:pos x="4" y="12"/>
                  </a:cxn>
                  <a:cxn ang="0">
                    <a:pos x="2" y="18"/>
                  </a:cxn>
                  <a:cxn ang="0">
                    <a:pos x="2" y="22"/>
                  </a:cxn>
                  <a:cxn ang="0">
                    <a:pos x="2" y="22"/>
                  </a:cxn>
                  <a:cxn ang="0">
                    <a:pos x="6" y="22"/>
                  </a:cxn>
                  <a:cxn ang="0">
                    <a:pos x="10" y="24"/>
                  </a:cxn>
                  <a:cxn ang="0">
                    <a:pos x="8" y="28"/>
                  </a:cxn>
                </a:cxnLst>
                <a:rect l="0" t="0" r="r" b="b"/>
                <a:pathLst>
                  <a:path w="50" h="28">
                    <a:moveTo>
                      <a:pt x="8" y="28"/>
                    </a:moveTo>
                    <a:lnTo>
                      <a:pt x="8" y="28"/>
                    </a:lnTo>
                    <a:lnTo>
                      <a:pt x="10" y="28"/>
                    </a:lnTo>
                    <a:lnTo>
                      <a:pt x="10" y="26"/>
                    </a:lnTo>
                    <a:lnTo>
                      <a:pt x="10" y="24"/>
                    </a:lnTo>
                    <a:lnTo>
                      <a:pt x="12" y="26"/>
                    </a:lnTo>
                    <a:lnTo>
                      <a:pt x="14" y="26"/>
                    </a:lnTo>
                    <a:lnTo>
                      <a:pt x="16" y="26"/>
                    </a:lnTo>
                    <a:lnTo>
                      <a:pt x="18" y="26"/>
                    </a:lnTo>
                    <a:lnTo>
                      <a:pt x="18" y="24"/>
                    </a:lnTo>
                    <a:lnTo>
                      <a:pt x="20" y="24"/>
                    </a:lnTo>
                    <a:lnTo>
                      <a:pt x="20" y="26"/>
                    </a:lnTo>
                    <a:lnTo>
                      <a:pt x="22" y="26"/>
                    </a:lnTo>
                    <a:lnTo>
                      <a:pt x="24" y="26"/>
                    </a:lnTo>
                    <a:lnTo>
                      <a:pt x="26" y="26"/>
                    </a:lnTo>
                    <a:lnTo>
                      <a:pt x="28" y="26"/>
                    </a:lnTo>
                    <a:lnTo>
                      <a:pt x="30" y="26"/>
                    </a:lnTo>
                    <a:lnTo>
                      <a:pt x="32" y="26"/>
                    </a:lnTo>
                    <a:lnTo>
                      <a:pt x="32" y="24"/>
                    </a:lnTo>
                    <a:lnTo>
                      <a:pt x="30" y="22"/>
                    </a:lnTo>
                    <a:lnTo>
                      <a:pt x="32" y="22"/>
                    </a:lnTo>
                    <a:lnTo>
                      <a:pt x="34" y="22"/>
                    </a:lnTo>
                    <a:lnTo>
                      <a:pt x="34" y="20"/>
                    </a:lnTo>
                    <a:lnTo>
                      <a:pt x="36" y="18"/>
                    </a:lnTo>
                    <a:lnTo>
                      <a:pt x="36" y="16"/>
                    </a:lnTo>
                    <a:lnTo>
                      <a:pt x="34" y="14"/>
                    </a:lnTo>
                    <a:lnTo>
                      <a:pt x="36" y="12"/>
                    </a:lnTo>
                    <a:lnTo>
                      <a:pt x="38" y="12"/>
                    </a:lnTo>
                    <a:lnTo>
                      <a:pt x="40" y="12"/>
                    </a:lnTo>
                    <a:lnTo>
                      <a:pt x="42" y="12"/>
                    </a:lnTo>
                    <a:lnTo>
                      <a:pt x="44" y="10"/>
                    </a:lnTo>
                    <a:lnTo>
                      <a:pt x="46" y="10"/>
                    </a:lnTo>
                    <a:lnTo>
                      <a:pt x="46" y="8"/>
                    </a:lnTo>
                    <a:lnTo>
                      <a:pt x="48" y="8"/>
                    </a:lnTo>
                    <a:lnTo>
                      <a:pt x="50" y="8"/>
                    </a:lnTo>
                    <a:lnTo>
                      <a:pt x="48" y="6"/>
                    </a:lnTo>
                    <a:lnTo>
                      <a:pt x="46" y="6"/>
                    </a:lnTo>
                    <a:lnTo>
                      <a:pt x="46" y="4"/>
                    </a:lnTo>
                    <a:lnTo>
                      <a:pt x="46" y="2"/>
                    </a:lnTo>
                    <a:lnTo>
                      <a:pt x="44" y="0"/>
                    </a:lnTo>
                    <a:lnTo>
                      <a:pt x="42" y="0"/>
                    </a:lnTo>
                    <a:lnTo>
                      <a:pt x="42" y="2"/>
                    </a:lnTo>
                    <a:lnTo>
                      <a:pt x="42" y="4"/>
                    </a:lnTo>
                    <a:lnTo>
                      <a:pt x="40" y="6"/>
                    </a:lnTo>
                    <a:lnTo>
                      <a:pt x="38" y="6"/>
                    </a:lnTo>
                    <a:lnTo>
                      <a:pt x="36" y="6"/>
                    </a:lnTo>
                    <a:lnTo>
                      <a:pt x="34" y="6"/>
                    </a:lnTo>
                    <a:lnTo>
                      <a:pt x="32" y="6"/>
                    </a:lnTo>
                    <a:lnTo>
                      <a:pt x="30" y="6"/>
                    </a:lnTo>
                    <a:lnTo>
                      <a:pt x="26" y="6"/>
                    </a:lnTo>
                    <a:lnTo>
                      <a:pt x="24" y="6"/>
                    </a:lnTo>
                    <a:lnTo>
                      <a:pt x="22" y="6"/>
                    </a:lnTo>
                    <a:lnTo>
                      <a:pt x="20" y="6"/>
                    </a:lnTo>
                    <a:lnTo>
                      <a:pt x="20" y="8"/>
                    </a:lnTo>
                    <a:lnTo>
                      <a:pt x="18" y="8"/>
                    </a:lnTo>
                    <a:lnTo>
                      <a:pt x="16" y="8"/>
                    </a:lnTo>
                    <a:lnTo>
                      <a:pt x="14" y="8"/>
                    </a:lnTo>
                    <a:lnTo>
                      <a:pt x="12" y="8"/>
                    </a:lnTo>
                    <a:lnTo>
                      <a:pt x="10" y="6"/>
                    </a:lnTo>
                    <a:lnTo>
                      <a:pt x="8" y="8"/>
                    </a:lnTo>
                    <a:lnTo>
                      <a:pt x="6" y="8"/>
                    </a:lnTo>
                    <a:lnTo>
                      <a:pt x="4" y="8"/>
                    </a:lnTo>
                    <a:lnTo>
                      <a:pt x="2" y="8"/>
                    </a:lnTo>
                    <a:lnTo>
                      <a:pt x="2" y="10"/>
                    </a:lnTo>
                    <a:lnTo>
                      <a:pt x="2" y="12"/>
                    </a:lnTo>
                    <a:lnTo>
                      <a:pt x="0" y="12"/>
                    </a:lnTo>
                    <a:lnTo>
                      <a:pt x="2" y="12"/>
                    </a:lnTo>
                    <a:lnTo>
                      <a:pt x="4" y="12"/>
                    </a:lnTo>
                    <a:lnTo>
                      <a:pt x="4" y="16"/>
                    </a:lnTo>
                    <a:lnTo>
                      <a:pt x="2" y="18"/>
                    </a:lnTo>
                    <a:lnTo>
                      <a:pt x="2" y="20"/>
                    </a:lnTo>
                    <a:lnTo>
                      <a:pt x="2" y="22"/>
                    </a:lnTo>
                    <a:lnTo>
                      <a:pt x="4" y="22"/>
                    </a:lnTo>
                    <a:lnTo>
                      <a:pt x="6" y="22"/>
                    </a:lnTo>
                    <a:lnTo>
                      <a:pt x="8" y="22"/>
                    </a:lnTo>
                    <a:lnTo>
                      <a:pt x="8" y="24"/>
                    </a:lnTo>
                    <a:lnTo>
                      <a:pt x="10" y="24"/>
                    </a:lnTo>
                    <a:lnTo>
                      <a:pt x="8" y="26"/>
                    </a:lnTo>
                    <a:lnTo>
                      <a:pt x="8" y="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4" name="Freeform 148">
                <a:extLst>
                  <a:ext uri="{FF2B5EF4-FFF2-40B4-BE49-F238E27FC236}">
                    <a16:creationId xmlns:a16="http://schemas.microsoft.com/office/drawing/2014/main" id="{AD631087-3DC5-4A50-B4EF-4B66BB2D5E66}"/>
                  </a:ext>
                </a:extLst>
              </p:cNvPr>
              <p:cNvSpPr>
                <a:spLocks noChangeAspect="1"/>
              </p:cNvSpPr>
              <p:nvPr/>
            </p:nvSpPr>
            <p:spPr bwMode="auto">
              <a:xfrm>
                <a:off x="4853380" y="2598822"/>
                <a:ext cx="138126" cy="59295"/>
              </a:xfrm>
              <a:custGeom>
                <a:avLst/>
                <a:gdLst/>
                <a:ahLst/>
                <a:cxnLst>
                  <a:cxn ang="0">
                    <a:pos x="78" y="8"/>
                  </a:cxn>
                  <a:cxn ang="0">
                    <a:pos x="74" y="6"/>
                  </a:cxn>
                  <a:cxn ang="0">
                    <a:pos x="70" y="2"/>
                  </a:cxn>
                  <a:cxn ang="0">
                    <a:pos x="64" y="4"/>
                  </a:cxn>
                  <a:cxn ang="0">
                    <a:pos x="58" y="4"/>
                  </a:cxn>
                  <a:cxn ang="0">
                    <a:pos x="54" y="4"/>
                  </a:cxn>
                  <a:cxn ang="0">
                    <a:pos x="50" y="4"/>
                  </a:cxn>
                  <a:cxn ang="0">
                    <a:pos x="50" y="4"/>
                  </a:cxn>
                  <a:cxn ang="0">
                    <a:pos x="48" y="6"/>
                  </a:cxn>
                  <a:cxn ang="0">
                    <a:pos x="44" y="6"/>
                  </a:cxn>
                  <a:cxn ang="0">
                    <a:pos x="44" y="4"/>
                  </a:cxn>
                  <a:cxn ang="0">
                    <a:pos x="42" y="4"/>
                  </a:cxn>
                  <a:cxn ang="0">
                    <a:pos x="38" y="0"/>
                  </a:cxn>
                  <a:cxn ang="0">
                    <a:pos x="32" y="2"/>
                  </a:cxn>
                  <a:cxn ang="0">
                    <a:pos x="30" y="0"/>
                  </a:cxn>
                  <a:cxn ang="0">
                    <a:pos x="26" y="2"/>
                  </a:cxn>
                  <a:cxn ang="0">
                    <a:pos x="22" y="4"/>
                  </a:cxn>
                  <a:cxn ang="0">
                    <a:pos x="20" y="6"/>
                  </a:cxn>
                  <a:cxn ang="0">
                    <a:pos x="20" y="8"/>
                  </a:cxn>
                  <a:cxn ang="0">
                    <a:pos x="20" y="10"/>
                  </a:cxn>
                  <a:cxn ang="0">
                    <a:pos x="14" y="14"/>
                  </a:cxn>
                  <a:cxn ang="0">
                    <a:pos x="8" y="14"/>
                  </a:cxn>
                  <a:cxn ang="0">
                    <a:pos x="6" y="14"/>
                  </a:cxn>
                  <a:cxn ang="0">
                    <a:pos x="2" y="16"/>
                  </a:cxn>
                  <a:cxn ang="0">
                    <a:pos x="0" y="20"/>
                  </a:cxn>
                  <a:cxn ang="0">
                    <a:pos x="0" y="22"/>
                  </a:cxn>
                  <a:cxn ang="0">
                    <a:pos x="0" y="24"/>
                  </a:cxn>
                  <a:cxn ang="0">
                    <a:pos x="2" y="26"/>
                  </a:cxn>
                  <a:cxn ang="0">
                    <a:pos x="2" y="32"/>
                  </a:cxn>
                  <a:cxn ang="0">
                    <a:pos x="4" y="32"/>
                  </a:cxn>
                  <a:cxn ang="0">
                    <a:pos x="6" y="30"/>
                  </a:cxn>
                  <a:cxn ang="0">
                    <a:pos x="6" y="30"/>
                  </a:cxn>
                  <a:cxn ang="0">
                    <a:pos x="8" y="32"/>
                  </a:cxn>
                  <a:cxn ang="0">
                    <a:pos x="18" y="34"/>
                  </a:cxn>
                  <a:cxn ang="0">
                    <a:pos x="28" y="34"/>
                  </a:cxn>
                  <a:cxn ang="0">
                    <a:pos x="30" y="30"/>
                  </a:cxn>
                  <a:cxn ang="0">
                    <a:pos x="30" y="28"/>
                  </a:cxn>
                  <a:cxn ang="0">
                    <a:pos x="36" y="28"/>
                  </a:cxn>
                  <a:cxn ang="0">
                    <a:pos x="40" y="30"/>
                  </a:cxn>
                  <a:cxn ang="0">
                    <a:pos x="42" y="26"/>
                  </a:cxn>
                  <a:cxn ang="0">
                    <a:pos x="44" y="26"/>
                  </a:cxn>
                  <a:cxn ang="0">
                    <a:pos x="50" y="24"/>
                  </a:cxn>
                  <a:cxn ang="0">
                    <a:pos x="54" y="22"/>
                  </a:cxn>
                  <a:cxn ang="0">
                    <a:pos x="54" y="18"/>
                  </a:cxn>
                  <a:cxn ang="0">
                    <a:pos x="60" y="18"/>
                  </a:cxn>
                  <a:cxn ang="0">
                    <a:pos x="60" y="20"/>
                  </a:cxn>
                  <a:cxn ang="0">
                    <a:pos x="62" y="22"/>
                  </a:cxn>
                  <a:cxn ang="0">
                    <a:pos x="64" y="22"/>
                  </a:cxn>
                  <a:cxn ang="0">
                    <a:pos x="64" y="22"/>
                  </a:cxn>
                  <a:cxn ang="0">
                    <a:pos x="66" y="18"/>
                  </a:cxn>
                  <a:cxn ang="0">
                    <a:pos x="68" y="22"/>
                  </a:cxn>
                  <a:cxn ang="0">
                    <a:pos x="70" y="22"/>
                  </a:cxn>
                  <a:cxn ang="0">
                    <a:pos x="78" y="20"/>
                  </a:cxn>
                  <a:cxn ang="0">
                    <a:pos x="78" y="20"/>
                  </a:cxn>
                  <a:cxn ang="0">
                    <a:pos x="80" y="18"/>
                  </a:cxn>
                  <a:cxn ang="0">
                    <a:pos x="82" y="14"/>
                  </a:cxn>
                  <a:cxn ang="0">
                    <a:pos x="84" y="10"/>
                  </a:cxn>
                  <a:cxn ang="0">
                    <a:pos x="84" y="8"/>
                  </a:cxn>
                </a:cxnLst>
                <a:rect l="0" t="0" r="r" b="b"/>
                <a:pathLst>
                  <a:path w="84" h="34">
                    <a:moveTo>
                      <a:pt x="82" y="8"/>
                    </a:moveTo>
                    <a:lnTo>
                      <a:pt x="80" y="8"/>
                    </a:lnTo>
                    <a:lnTo>
                      <a:pt x="78" y="8"/>
                    </a:lnTo>
                    <a:lnTo>
                      <a:pt x="76" y="8"/>
                    </a:lnTo>
                    <a:lnTo>
                      <a:pt x="76" y="6"/>
                    </a:lnTo>
                    <a:lnTo>
                      <a:pt x="74" y="6"/>
                    </a:lnTo>
                    <a:lnTo>
                      <a:pt x="74" y="4"/>
                    </a:lnTo>
                    <a:lnTo>
                      <a:pt x="72" y="4"/>
                    </a:lnTo>
                    <a:lnTo>
                      <a:pt x="72" y="2"/>
                    </a:lnTo>
                    <a:lnTo>
                      <a:pt x="70" y="2"/>
                    </a:lnTo>
                    <a:lnTo>
                      <a:pt x="68" y="2"/>
                    </a:lnTo>
                    <a:lnTo>
                      <a:pt x="66" y="2"/>
                    </a:lnTo>
                    <a:lnTo>
                      <a:pt x="64" y="4"/>
                    </a:lnTo>
                    <a:lnTo>
                      <a:pt x="62" y="4"/>
                    </a:lnTo>
                    <a:lnTo>
                      <a:pt x="60" y="6"/>
                    </a:lnTo>
                    <a:lnTo>
                      <a:pt x="58" y="4"/>
                    </a:lnTo>
                    <a:lnTo>
                      <a:pt x="56" y="4"/>
                    </a:lnTo>
                    <a:lnTo>
                      <a:pt x="54" y="4"/>
                    </a:lnTo>
                    <a:lnTo>
                      <a:pt x="52" y="4"/>
                    </a:lnTo>
                    <a:lnTo>
                      <a:pt x="50" y="4"/>
                    </a:lnTo>
                    <a:lnTo>
                      <a:pt x="50" y="6"/>
                    </a:lnTo>
                    <a:lnTo>
                      <a:pt x="48" y="6"/>
                    </a:lnTo>
                    <a:lnTo>
                      <a:pt x="46" y="6"/>
                    </a:lnTo>
                    <a:lnTo>
                      <a:pt x="44" y="6"/>
                    </a:lnTo>
                    <a:lnTo>
                      <a:pt x="44" y="4"/>
                    </a:lnTo>
                    <a:lnTo>
                      <a:pt x="42" y="4"/>
                    </a:lnTo>
                    <a:lnTo>
                      <a:pt x="42" y="2"/>
                    </a:lnTo>
                    <a:lnTo>
                      <a:pt x="40" y="2"/>
                    </a:lnTo>
                    <a:lnTo>
                      <a:pt x="40" y="0"/>
                    </a:lnTo>
                    <a:lnTo>
                      <a:pt x="38" y="0"/>
                    </a:lnTo>
                    <a:lnTo>
                      <a:pt x="34" y="2"/>
                    </a:lnTo>
                    <a:lnTo>
                      <a:pt x="32" y="2"/>
                    </a:lnTo>
                    <a:lnTo>
                      <a:pt x="30" y="2"/>
                    </a:lnTo>
                    <a:lnTo>
                      <a:pt x="30" y="0"/>
                    </a:lnTo>
                    <a:lnTo>
                      <a:pt x="28" y="2"/>
                    </a:lnTo>
                    <a:lnTo>
                      <a:pt x="26" y="2"/>
                    </a:lnTo>
                    <a:lnTo>
                      <a:pt x="26" y="4"/>
                    </a:lnTo>
                    <a:lnTo>
                      <a:pt x="24" y="4"/>
                    </a:lnTo>
                    <a:lnTo>
                      <a:pt x="22" y="4"/>
                    </a:lnTo>
                    <a:lnTo>
                      <a:pt x="22" y="6"/>
                    </a:lnTo>
                    <a:lnTo>
                      <a:pt x="20" y="6"/>
                    </a:lnTo>
                    <a:lnTo>
                      <a:pt x="20" y="8"/>
                    </a:lnTo>
                    <a:lnTo>
                      <a:pt x="20" y="10"/>
                    </a:lnTo>
                    <a:lnTo>
                      <a:pt x="18" y="10"/>
                    </a:lnTo>
                    <a:lnTo>
                      <a:pt x="14" y="12"/>
                    </a:lnTo>
                    <a:lnTo>
                      <a:pt x="14" y="14"/>
                    </a:lnTo>
                    <a:lnTo>
                      <a:pt x="12" y="14"/>
                    </a:lnTo>
                    <a:lnTo>
                      <a:pt x="10" y="14"/>
                    </a:lnTo>
                    <a:lnTo>
                      <a:pt x="8" y="14"/>
                    </a:lnTo>
                    <a:lnTo>
                      <a:pt x="6" y="14"/>
                    </a:lnTo>
                    <a:lnTo>
                      <a:pt x="4" y="14"/>
                    </a:lnTo>
                    <a:lnTo>
                      <a:pt x="2" y="16"/>
                    </a:lnTo>
                    <a:lnTo>
                      <a:pt x="0" y="18"/>
                    </a:lnTo>
                    <a:lnTo>
                      <a:pt x="0" y="20"/>
                    </a:lnTo>
                    <a:lnTo>
                      <a:pt x="0" y="22"/>
                    </a:lnTo>
                    <a:lnTo>
                      <a:pt x="0" y="24"/>
                    </a:lnTo>
                    <a:lnTo>
                      <a:pt x="2" y="24"/>
                    </a:lnTo>
                    <a:lnTo>
                      <a:pt x="2" y="26"/>
                    </a:lnTo>
                    <a:lnTo>
                      <a:pt x="2" y="28"/>
                    </a:lnTo>
                    <a:lnTo>
                      <a:pt x="2" y="32"/>
                    </a:lnTo>
                    <a:lnTo>
                      <a:pt x="4" y="32"/>
                    </a:lnTo>
                    <a:lnTo>
                      <a:pt x="6" y="32"/>
                    </a:lnTo>
                    <a:lnTo>
                      <a:pt x="6" y="30"/>
                    </a:lnTo>
                    <a:lnTo>
                      <a:pt x="8" y="32"/>
                    </a:lnTo>
                    <a:lnTo>
                      <a:pt x="10" y="34"/>
                    </a:lnTo>
                    <a:lnTo>
                      <a:pt x="12" y="34"/>
                    </a:lnTo>
                    <a:lnTo>
                      <a:pt x="14" y="34"/>
                    </a:lnTo>
                    <a:lnTo>
                      <a:pt x="18" y="34"/>
                    </a:lnTo>
                    <a:lnTo>
                      <a:pt x="22" y="34"/>
                    </a:lnTo>
                    <a:lnTo>
                      <a:pt x="24" y="34"/>
                    </a:lnTo>
                    <a:lnTo>
                      <a:pt x="26" y="34"/>
                    </a:lnTo>
                    <a:lnTo>
                      <a:pt x="28" y="34"/>
                    </a:lnTo>
                    <a:lnTo>
                      <a:pt x="28" y="32"/>
                    </a:lnTo>
                    <a:lnTo>
                      <a:pt x="30" y="32"/>
                    </a:lnTo>
                    <a:lnTo>
                      <a:pt x="30" y="30"/>
                    </a:lnTo>
                    <a:lnTo>
                      <a:pt x="30" y="28"/>
                    </a:lnTo>
                    <a:lnTo>
                      <a:pt x="34" y="28"/>
                    </a:lnTo>
                    <a:lnTo>
                      <a:pt x="36" y="28"/>
                    </a:lnTo>
                    <a:lnTo>
                      <a:pt x="38" y="28"/>
                    </a:lnTo>
                    <a:lnTo>
                      <a:pt x="40" y="30"/>
                    </a:lnTo>
                    <a:lnTo>
                      <a:pt x="40" y="28"/>
                    </a:lnTo>
                    <a:lnTo>
                      <a:pt x="42" y="26"/>
                    </a:lnTo>
                    <a:lnTo>
                      <a:pt x="44" y="26"/>
                    </a:lnTo>
                    <a:lnTo>
                      <a:pt x="46" y="26"/>
                    </a:lnTo>
                    <a:lnTo>
                      <a:pt x="48" y="26"/>
                    </a:lnTo>
                    <a:lnTo>
                      <a:pt x="50" y="26"/>
                    </a:lnTo>
                    <a:lnTo>
                      <a:pt x="50" y="24"/>
                    </a:lnTo>
                    <a:lnTo>
                      <a:pt x="52" y="24"/>
                    </a:lnTo>
                    <a:lnTo>
                      <a:pt x="54" y="22"/>
                    </a:lnTo>
                    <a:lnTo>
                      <a:pt x="54" y="20"/>
                    </a:lnTo>
                    <a:lnTo>
                      <a:pt x="54" y="18"/>
                    </a:lnTo>
                    <a:lnTo>
                      <a:pt x="56" y="18"/>
                    </a:lnTo>
                    <a:lnTo>
                      <a:pt x="58" y="18"/>
                    </a:lnTo>
                    <a:lnTo>
                      <a:pt x="60" y="18"/>
                    </a:lnTo>
                    <a:lnTo>
                      <a:pt x="60" y="20"/>
                    </a:lnTo>
                    <a:lnTo>
                      <a:pt x="62" y="20"/>
                    </a:lnTo>
                    <a:lnTo>
                      <a:pt x="62" y="22"/>
                    </a:lnTo>
                    <a:lnTo>
                      <a:pt x="64" y="22"/>
                    </a:lnTo>
                    <a:lnTo>
                      <a:pt x="66" y="20"/>
                    </a:lnTo>
                    <a:lnTo>
                      <a:pt x="66" y="18"/>
                    </a:lnTo>
                    <a:lnTo>
                      <a:pt x="68" y="18"/>
                    </a:lnTo>
                    <a:lnTo>
                      <a:pt x="68" y="20"/>
                    </a:lnTo>
                    <a:lnTo>
                      <a:pt x="68" y="22"/>
                    </a:lnTo>
                    <a:lnTo>
                      <a:pt x="70" y="22"/>
                    </a:lnTo>
                    <a:lnTo>
                      <a:pt x="72" y="22"/>
                    </a:lnTo>
                    <a:lnTo>
                      <a:pt x="74" y="22"/>
                    </a:lnTo>
                    <a:lnTo>
                      <a:pt x="76" y="20"/>
                    </a:lnTo>
                    <a:lnTo>
                      <a:pt x="78" y="20"/>
                    </a:lnTo>
                    <a:lnTo>
                      <a:pt x="78" y="18"/>
                    </a:lnTo>
                    <a:lnTo>
                      <a:pt x="80" y="18"/>
                    </a:lnTo>
                    <a:lnTo>
                      <a:pt x="82" y="16"/>
                    </a:lnTo>
                    <a:lnTo>
                      <a:pt x="82" y="14"/>
                    </a:lnTo>
                    <a:lnTo>
                      <a:pt x="84" y="14"/>
                    </a:lnTo>
                    <a:lnTo>
                      <a:pt x="84" y="12"/>
                    </a:lnTo>
                    <a:lnTo>
                      <a:pt x="84" y="10"/>
                    </a:lnTo>
                    <a:lnTo>
                      <a:pt x="84" y="8"/>
                    </a:lnTo>
                    <a:lnTo>
                      <a:pt x="82" y="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5" name="Freeform 149">
                <a:extLst>
                  <a:ext uri="{FF2B5EF4-FFF2-40B4-BE49-F238E27FC236}">
                    <a16:creationId xmlns:a16="http://schemas.microsoft.com/office/drawing/2014/main" id="{EC378731-8B3E-4E21-99AB-E81938B11FF3}"/>
                  </a:ext>
                </a:extLst>
              </p:cNvPr>
              <p:cNvSpPr>
                <a:spLocks noChangeAspect="1"/>
              </p:cNvSpPr>
              <p:nvPr/>
            </p:nvSpPr>
            <p:spPr bwMode="auto">
              <a:xfrm>
                <a:off x="4942176" y="2379081"/>
                <a:ext cx="134838" cy="80222"/>
              </a:xfrm>
              <a:custGeom>
                <a:avLst/>
                <a:gdLst/>
                <a:ahLst/>
                <a:cxnLst>
                  <a:cxn ang="0">
                    <a:pos x="76" y="14"/>
                  </a:cxn>
                  <a:cxn ang="0">
                    <a:pos x="72" y="12"/>
                  </a:cxn>
                  <a:cxn ang="0">
                    <a:pos x="70" y="10"/>
                  </a:cxn>
                  <a:cxn ang="0">
                    <a:pos x="70" y="10"/>
                  </a:cxn>
                  <a:cxn ang="0">
                    <a:pos x="64" y="6"/>
                  </a:cxn>
                  <a:cxn ang="0">
                    <a:pos x="56" y="4"/>
                  </a:cxn>
                  <a:cxn ang="0">
                    <a:pos x="56" y="4"/>
                  </a:cxn>
                  <a:cxn ang="0">
                    <a:pos x="52" y="0"/>
                  </a:cxn>
                  <a:cxn ang="0">
                    <a:pos x="48" y="2"/>
                  </a:cxn>
                  <a:cxn ang="0">
                    <a:pos x="42" y="2"/>
                  </a:cxn>
                  <a:cxn ang="0">
                    <a:pos x="38" y="2"/>
                  </a:cxn>
                  <a:cxn ang="0">
                    <a:pos x="36" y="4"/>
                  </a:cxn>
                  <a:cxn ang="0">
                    <a:pos x="30" y="2"/>
                  </a:cxn>
                  <a:cxn ang="0">
                    <a:pos x="26" y="2"/>
                  </a:cxn>
                  <a:cxn ang="0">
                    <a:pos x="24" y="0"/>
                  </a:cxn>
                  <a:cxn ang="0">
                    <a:pos x="20" y="0"/>
                  </a:cxn>
                  <a:cxn ang="0">
                    <a:pos x="12" y="2"/>
                  </a:cxn>
                  <a:cxn ang="0">
                    <a:pos x="4" y="2"/>
                  </a:cxn>
                  <a:cxn ang="0">
                    <a:pos x="0" y="6"/>
                  </a:cxn>
                  <a:cxn ang="0">
                    <a:pos x="0" y="8"/>
                  </a:cxn>
                  <a:cxn ang="0">
                    <a:pos x="0" y="14"/>
                  </a:cxn>
                  <a:cxn ang="0">
                    <a:pos x="2" y="20"/>
                  </a:cxn>
                  <a:cxn ang="0">
                    <a:pos x="4" y="22"/>
                  </a:cxn>
                  <a:cxn ang="0">
                    <a:pos x="6" y="22"/>
                  </a:cxn>
                  <a:cxn ang="0">
                    <a:pos x="8" y="24"/>
                  </a:cxn>
                  <a:cxn ang="0">
                    <a:pos x="10" y="24"/>
                  </a:cxn>
                  <a:cxn ang="0">
                    <a:pos x="12" y="26"/>
                  </a:cxn>
                  <a:cxn ang="0">
                    <a:pos x="14" y="26"/>
                  </a:cxn>
                  <a:cxn ang="0">
                    <a:pos x="24" y="24"/>
                  </a:cxn>
                  <a:cxn ang="0">
                    <a:pos x="26" y="28"/>
                  </a:cxn>
                  <a:cxn ang="0">
                    <a:pos x="24" y="34"/>
                  </a:cxn>
                  <a:cxn ang="0">
                    <a:pos x="24" y="36"/>
                  </a:cxn>
                  <a:cxn ang="0">
                    <a:pos x="24" y="38"/>
                  </a:cxn>
                  <a:cxn ang="0">
                    <a:pos x="32" y="38"/>
                  </a:cxn>
                  <a:cxn ang="0">
                    <a:pos x="36" y="40"/>
                  </a:cxn>
                  <a:cxn ang="0">
                    <a:pos x="36" y="44"/>
                  </a:cxn>
                  <a:cxn ang="0">
                    <a:pos x="38" y="46"/>
                  </a:cxn>
                  <a:cxn ang="0">
                    <a:pos x="44" y="44"/>
                  </a:cxn>
                  <a:cxn ang="0">
                    <a:pos x="48" y="46"/>
                  </a:cxn>
                  <a:cxn ang="0">
                    <a:pos x="54" y="46"/>
                  </a:cxn>
                  <a:cxn ang="0">
                    <a:pos x="54" y="46"/>
                  </a:cxn>
                  <a:cxn ang="0">
                    <a:pos x="56" y="42"/>
                  </a:cxn>
                  <a:cxn ang="0">
                    <a:pos x="58" y="44"/>
                  </a:cxn>
                  <a:cxn ang="0">
                    <a:pos x="60" y="44"/>
                  </a:cxn>
                  <a:cxn ang="0">
                    <a:pos x="60" y="42"/>
                  </a:cxn>
                  <a:cxn ang="0">
                    <a:pos x="64" y="40"/>
                  </a:cxn>
                  <a:cxn ang="0">
                    <a:pos x="68" y="40"/>
                  </a:cxn>
                  <a:cxn ang="0">
                    <a:pos x="68" y="42"/>
                  </a:cxn>
                  <a:cxn ang="0">
                    <a:pos x="70" y="40"/>
                  </a:cxn>
                  <a:cxn ang="0">
                    <a:pos x="66" y="34"/>
                  </a:cxn>
                  <a:cxn ang="0">
                    <a:pos x="68" y="34"/>
                  </a:cxn>
                  <a:cxn ang="0">
                    <a:pos x="70" y="32"/>
                  </a:cxn>
                  <a:cxn ang="0">
                    <a:pos x="70" y="26"/>
                  </a:cxn>
                  <a:cxn ang="0">
                    <a:pos x="72" y="26"/>
                  </a:cxn>
                  <a:cxn ang="0">
                    <a:pos x="72" y="24"/>
                  </a:cxn>
                  <a:cxn ang="0">
                    <a:pos x="72" y="22"/>
                  </a:cxn>
                  <a:cxn ang="0">
                    <a:pos x="76" y="24"/>
                  </a:cxn>
                  <a:cxn ang="0">
                    <a:pos x="82" y="22"/>
                  </a:cxn>
                  <a:cxn ang="0">
                    <a:pos x="78" y="20"/>
                  </a:cxn>
                  <a:cxn ang="0">
                    <a:pos x="76" y="16"/>
                  </a:cxn>
                </a:cxnLst>
                <a:rect l="0" t="0" r="r" b="b"/>
                <a:pathLst>
                  <a:path w="82" h="46">
                    <a:moveTo>
                      <a:pt x="78" y="14"/>
                    </a:moveTo>
                    <a:lnTo>
                      <a:pt x="78" y="14"/>
                    </a:lnTo>
                    <a:lnTo>
                      <a:pt x="76" y="14"/>
                    </a:lnTo>
                    <a:lnTo>
                      <a:pt x="74" y="12"/>
                    </a:lnTo>
                    <a:lnTo>
                      <a:pt x="72" y="12"/>
                    </a:lnTo>
                    <a:lnTo>
                      <a:pt x="72" y="10"/>
                    </a:lnTo>
                    <a:lnTo>
                      <a:pt x="70" y="10"/>
                    </a:lnTo>
                    <a:lnTo>
                      <a:pt x="68" y="8"/>
                    </a:lnTo>
                    <a:lnTo>
                      <a:pt x="68" y="6"/>
                    </a:lnTo>
                    <a:lnTo>
                      <a:pt x="66" y="6"/>
                    </a:lnTo>
                    <a:lnTo>
                      <a:pt x="64" y="6"/>
                    </a:lnTo>
                    <a:lnTo>
                      <a:pt x="60" y="6"/>
                    </a:lnTo>
                    <a:lnTo>
                      <a:pt x="58" y="6"/>
                    </a:lnTo>
                    <a:lnTo>
                      <a:pt x="56" y="4"/>
                    </a:lnTo>
                    <a:lnTo>
                      <a:pt x="54" y="2"/>
                    </a:lnTo>
                    <a:lnTo>
                      <a:pt x="52" y="0"/>
                    </a:lnTo>
                    <a:lnTo>
                      <a:pt x="50" y="0"/>
                    </a:lnTo>
                    <a:lnTo>
                      <a:pt x="48" y="2"/>
                    </a:lnTo>
                    <a:lnTo>
                      <a:pt x="46" y="2"/>
                    </a:lnTo>
                    <a:lnTo>
                      <a:pt x="46" y="4"/>
                    </a:lnTo>
                    <a:lnTo>
                      <a:pt x="44" y="2"/>
                    </a:lnTo>
                    <a:lnTo>
                      <a:pt x="42" y="2"/>
                    </a:lnTo>
                    <a:lnTo>
                      <a:pt x="40" y="2"/>
                    </a:lnTo>
                    <a:lnTo>
                      <a:pt x="38" y="2"/>
                    </a:lnTo>
                    <a:lnTo>
                      <a:pt x="38" y="4"/>
                    </a:lnTo>
                    <a:lnTo>
                      <a:pt x="36" y="4"/>
                    </a:lnTo>
                    <a:lnTo>
                      <a:pt x="34" y="2"/>
                    </a:lnTo>
                    <a:lnTo>
                      <a:pt x="32" y="2"/>
                    </a:lnTo>
                    <a:lnTo>
                      <a:pt x="30" y="2"/>
                    </a:lnTo>
                    <a:lnTo>
                      <a:pt x="28" y="2"/>
                    </a:lnTo>
                    <a:lnTo>
                      <a:pt x="26" y="2"/>
                    </a:lnTo>
                    <a:lnTo>
                      <a:pt x="24" y="2"/>
                    </a:lnTo>
                    <a:lnTo>
                      <a:pt x="24" y="0"/>
                    </a:lnTo>
                    <a:lnTo>
                      <a:pt x="22" y="0"/>
                    </a:lnTo>
                    <a:lnTo>
                      <a:pt x="20" y="0"/>
                    </a:lnTo>
                    <a:lnTo>
                      <a:pt x="18" y="0"/>
                    </a:lnTo>
                    <a:lnTo>
                      <a:pt x="16" y="0"/>
                    </a:lnTo>
                    <a:lnTo>
                      <a:pt x="14" y="2"/>
                    </a:lnTo>
                    <a:lnTo>
                      <a:pt x="12" y="2"/>
                    </a:lnTo>
                    <a:lnTo>
                      <a:pt x="10" y="2"/>
                    </a:lnTo>
                    <a:lnTo>
                      <a:pt x="8" y="2"/>
                    </a:lnTo>
                    <a:lnTo>
                      <a:pt x="6" y="2"/>
                    </a:lnTo>
                    <a:lnTo>
                      <a:pt x="4" y="2"/>
                    </a:lnTo>
                    <a:lnTo>
                      <a:pt x="2" y="2"/>
                    </a:lnTo>
                    <a:lnTo>
                      <a:pt x="2" y="4"/>
                    </a:lnTo>
                    <a:lnTo>
                      <a:pt x="0" y="4"/>
                    </a:lnTo>
                    <a:lnTo>
                      <a:pt x="0" y="6"/>
                    </a:lnTo>
                    <a:lnTo>
                      <a:pt x="0" y="8"/>
                    </a:lnTo>
                    <a:lnTo>
                      <a:pt x="0" y="10"/>
                    </a:lnTo>
                    <a:lnTo>
                      <a:pt x="0" y="12"/>
                    </a:lnTo>
                    <a:lnTo>
                      <a:pt x="0" y="14"/>
                    </a:lnTo>
                    <a:lnTo>
                      <a:pt x="0" y="16"/>
                    </a:lnTo>
                    <a:lnTo>
                      <a:pt x="2" y="18"/>
                    </a:lnTo>
                    <a:lnTo>
                      <a:pt x="2" y="20"/>
                    </a:lnTo>
                    <a:lnTo>
                      <a:pt x="4" y="20"/>
                    </a:lnTo>
                    <a:lnTo>
                      <a:pt x="4" y="22"/>
                    </a:lnTo>
                    <a:lnTo>
                      <a:pt x="6" y="22"/>
                    </a:lnTo>
                    <a:lnTo>
                      <a:pt x="8" y="24"/>
                    </a:lnTo>
                    <a:lnTo>
                      <a:pt x="10" y="24"/>
                    </a:lnTo>
                    <a:lnTo>
                      <a:pt x="12" y="26"/>
                    </a:lnTo>
                    <a:lnTo>
                      <a:pt x="14" y="26"/>
                    </a:lnTo>
                    <a:lnTo>
                      <a:pt x="16" y="24"/>
                    </a:lnTo>
                    <a:lnTo>
                      <a:pt x="20" y="24"/>
                    </a:lnTo>
                    <a:lnTo>
                      <a:pt x="22" y="24"/>
                    </a:lnTo>
                    <a:lnTo>
                      <a:pt x="24" y="24"/>
                    </a:lnTo>
                    <a:lnTo>
                      <a:pt x="26" y="26"/>
                    </a:lnTo>
                    <a:lnTo>
                      <a:pt x="26" y="28"/>
                    </a:lnTo>
                    <a:lnTo>
                      <a:pt x="26" y="30"/>
                    </a:lnTo>
                    <a:lnTo>
                      <a:pt x="26" y="32"/>
                    </a:lnTo>
                    <a:lnTo>
                      <a:pt x="24" y="32"/>
                    </a:lnTo>
                    <a:lnTo>
                      <a:pt x="24" y="34"/>
                    </a:lnTo>
                    <a:lnTo>
                      <a:pt x="24" y="36"/>
                    </a:lnTo>
                    <a:lnTo>
                      <a:pt x="24" y="38"/>
                    </a:lnTo>
                    <a:lnTo>
                      <a:pt x="26" y="38"/>
                    </a:lnTo>
                    <a:lnTo>
                      <a:pt x="30" y="38"/>
                    </a:lnTo>
                    <a:lnTo>
                      <a:pt x="32" y="38"/>
                    </a:lnTo>
                    <a:lnTo>
                      <a:pt x="34" y="40"/>
                    </a:lnTo>
                    <a:lnTo>
                      <a:pt x="36" y="40"/>
                    </a:lnTo>
                    <a:lnTo>
                      <a:pt x="36" y="42"/>
                    </a:lnTo>
                    <a:lnTo>
                      <a:pt x="36" y="44"/>
                    </a:lnTo>
                    <a:lnTo>
                      <a:pt x="36" y="46"/>
                    </a:lnTo>
                    <a:lnTo>
                      <a:pt x="38" y="46"/>
                    </a:lnTo>
                    <a:lnTo>
                      <a:pt x="40" y="44"/>
                    </a:lnTo>
                    <a:lnTo>
                      <a:pt x="42" y="44"/>
                    </a:lnTo>
                    <a:lnTo>
                      <a:pt x="44" y="44"/>
                    </a:lnTo>
                    <a:lnTo>
                      <a:pt x="46" y="44"/>
                    </a:lnTo>
                    <a:lnTo>
                      <a:pt x="48" y="44"/>
                    </a:lnTo>
                    <a:lnTo>
                      <a:pt x="48" y="46"/>
                    </a:lnTo>
                    <a:lnTo>
                      <a:pt x="50" y="46"/>
                    </a:lnTo>
                    <a:lnTo>
                      <a:pt x="52" y="46"/>
                    </a:lnTo>
                    <a:lnTo>
                      <a:pt x="54" y="46"/>
                    </a:lnTo>
                    <a:lnTo>
                      <a:pt x="56" y="44"/>
                    </a:lnTo>
                    <a:lnTo>
                      <a:pt x="56" y="42"/>
                    </a:lnTo>
                    <a:lnTo>
                      <a:pt x="58" y="44"/>
                    </a:lnTo>
                    <a:lnTo>
                      <a:pt x="60" y="44"/>
                    </a:lnTo>
                    <a:lnTo>
                      <a:pt x="60" y="42"/>
                    </a:lnTo>
                    <a:lnTo>
                      <a:pt x="62" y="40"/>
                    </a:lnTo>
                    <a:lnTo>
                      <a:pt x="64" y="40"/>
                    </a:lnTo>
                    <a:lnTo>
                      <a:pt x="66" y="40"/>
                    </a:lnTo>
                    <a:lnTo>
                      <a:pt x="68" y="40"/>
                    </a:lnTo>
                    <a:lnTo>
                      <a:pt x="68" y="42"/>
                    </a:lnTo>
                    <a:lnTo>
                      <a:pt x="70" y="42"/>
                    </a:lnTo>
                    <a:lnTo>
                      <a:pt x="70" y="40"/>
                    </a:lnTo>
                    <a:lnTo>
                      <a:pt x="68" y="38"/>
                    </a:lnTo>
                    <a:lnTo>
                      <a:pt x="68" y="36"/>
                    </a:lnTo>
                    <a:lnTo>
                      <a:pt x="66" y="34"/>
                    </a:lnTo>
                    <a:lnTo>
                      <a:pt x="68" y="34"/>
                    </a:lnTo>
                    <a:lnTo>
                      <a:pt x="70" y="34"/>
                    </a:lnTo>
                    <a:lnTo>
                      <a:pt x="70" y="32"/>
                    </a:lnTo>
                    <a:lnTo>
                      <a:pt x="68" y="30"/>
                    </a:lnTo>
                    <a:lnTo>
                      <a:pt x="70" y="28"/>
                    </a:lnTo>
                    <a:lnTo>
                      <a:pt x="70" y="26"/>
                    </a:lnTo>
                    <a:lnTo>
                      <a:pt x="72" y="26"/>
                    </a:lnTo>
                    <a:lnTo>
                      <a:pt x="74" y="26"/>
                    </a:lnTo>
                    <a:lnTo>
                      <a:pt x="72" y="24"/>
                    </a:lnTo>
                    <a:lnTo>
                      <a:pt x="72" y="22"/>
                    </a:lnTo>
                    <a:lnTo>
                      <a:pt x="74" y="24"/>
                    </a:lnTo>
                    <a:lnTo>
                      <a:pt x="76" y="24"/>
                    </a:lnTo>
                    <a:lnTo>
                      <a:pt x="78" y="24"/>
                    </a:lnTo>
                    <a:lnTo>
                      <a:pt x="80" y="22"/>
                    </a:lnTo>
                    <a:lnTo>
                      <a:pt x="82" y="22"/>
                    </a:lnTo>
                    <a:lnTo>
                      <a:pt x="80" y="22"/>
                    </a:lnTo>
                    <a:lnTo>
                      <a:pt x="80" y="20"/>
                    </a:lnTo>
                    <a:lnTo>
                      <a:pt x="78" y="20"/>
                    </a:lnTo>
                    <a:lnTo>
                      <a:pt x="78" y="18"/>
                    </a:lnTo>
                    <a:lnTo>
                      <a:pt x="76" y="16"/>
                    </a:lnTo>
                    <a:lnTo>
                      <a:pt x="78"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6" name="Freeform 150">
                <a:extLst>
                  <a:ext uri="{FF2B5EF4-FFF2-40B4-BE49-F238E27FC236}">
                    <a16:creationId xmlns:a16="http://schemas.microsoft.com/office/drawing/2014/main" id="{ABB818E5-CDBA-4099-86C0-3926A1B3864E}"/>
                  </a:ext>
                </a:extLst>
              </p:cNvPr>
              <p:cNvSpPr>
                <a:spLocks noChangeAspect="1"/>
              </p:cNvSpPr>
              <p:nvPr/>
            </p:nvSpPr>
            <p:spPr bwMode="auto">
              <a:xfrm>
                <a:off x="4583704" y="2581382"/>
                <a:ext cx="19733" cy="17439"/>
              </a:xfrm>
              <a:custGeom>
                <a:avLst/>
                <a:gdLst/>
                <a:ahLst/>
                <a:cxnLst>
                  <a:cxn ang="0">
                    <a:pos x="4" y="10"/>
                  </a:cxn>
                  <a:cxn ang="0">
                    <a:pos x="6" y="10"/>
                  </a:cxn>
                  <a:cxn ang="0">
                    <a:pos x="6" y="10"/>
                  </a:cxn>
                  <a:cxn ang="0">
                    <a:pos x="6" y="10"/>
                  </a:cxn>
                  <a:cxn ang="0">
                    <a:pos x="6" y="10"/>
                  </a:cxn>
                  <a:cxn ang="0">
                    <a:pos x="8" y="10"/>
                  </a:cxn>
                  <a:cxn ang="0">
                    <a:pos x="8" y="10"/>
                  </a:cxn>
                  <a:cxn ang="0">
                    <a:pos x="10" y="10"/>
                  </a:cxn>
                  <a:cxn ang="0">
                    <a:pos x="10" y="10"/>
                  </a:cxn>
                  <a:cxn ang="0">
                    <a:pos x="10" y="10"/>
                  </a:cxn>
                  <a:cxn ang="0">
                    <a:pos x="10" y="10"/>
                  </a:cxn>
                  <a:cxn ang="0">
                    <a:pos x="10" y="10"/>
                  </a:cxn>
                  <a:cxn ang="0">
                    <a:pos x="12" y="8"/>
                  </a:cxn>
                  <a:cxn ang="0">
                    <a:pos x="12" y="8"/>
                  </a:cxn>
                  <a:cxn ang="0">
                    <a:pos x="12" y="6"/>
                  </a:cxn>
                  <a:cxn ang="0">
                    <a:pos x="12" y="6"/>
                  </a:cxn>
                  <a:cxn ang="0">
                    <a:pos x="12" y="6"/>
                  </a:cxn>
                  <a:cxn ang="0">
                    <a:pos x="10" y="4"/>
                  </a:cxn>
                  <a:cxn ang="0">
                    <a:pos x="8" y="4"/>
                  </a:cxn>
                  <a:cxn ang="0">
                    <a:pos x="6" y="2"/>
                  </a:cxn>
                  <a:cxn ang="0">
                    <a:pos x="6" y="2"/>
                  </a:cxn>
                  <a:cxn ang="0">
                    <a:pos x="6" y="0"/>
                  </a:cxn>
                  <a:cxn ang="0">
                    <a:pos x="6" y="0"/>
                  </a:cxn>
                  <a:cxn ang="0">
                    <a:pos x="6" y="0"/>
                  </a:cxn>
                  <a:cxn ang="0">
                    <a:pos x="4" y="0"/>
                  </a:cxn>
                  <a:cxn ang="0">
                    <a:pos x="2" y="2"/>
                  </a:cxn>
                  <a:cxn ang="0">
                    <a:pos x="2" y="2"/>
                  </a:cxn>
                  <a:cxn ang="0">
                    <a:pos x="2" y="4"/>
                  </a:cxn>
                  <a:cxn ang="0">
                    <a:pos x="0" y="4"/>
                  </a:cxn>
                  <a:cxn ang="0">
                    <a:pos x="0" y="6"/>
                  </a:cxn>
                  <a:cxn ang="0">
                    <a:pos x="0" y="6"/>
                  </a:cxn>
                  <a:cxn ang="0">
                    <a:pos x="2" y="6"/>
                  </a:cxn>
                  <a:cxn ang="0">
                    <a:pos x="2" y="8"/>
                  </a:cxn>
                  <a:cxn ang="0">
                    <a:pos x="2" y="10"/>
                  </a:cxn>
                  <a:cxn ang="0">
                    <a:pos x="4" y="10"/>
                  </a:cxn>
                  <a:cxn ang="0">
                    <a:pos x="4" y="10"/>
                  </a:cxn>
                </a:cxnLst>
                <a:rect l="0" t="0" r="r" b="b"/>
                <a:pathLst>
                  <a:path w="12" h="10">
                    <a:moveTo>
                      <a:pt x="4" y="10"/>
                    </a:moveTo>
                    <a:lnTo>
                      <a:pt x="6" y="10"/>
                    </a:lnTo>
                    <a:lnTo>
                      <a:pt x="8" y="10"/>
                    </a:lnTo>
                    <a:lnTo>
                      <a:pt x="10" y="10"/>
                    </a:lnTo>
                    <a:lnTo>
                      <a:pt x="12" y="8"/>
                    </a:lnTo>
                    <a:lnTo>
                      <a:pt x="12" y="6"/>
                    </a:lnTo>
                    <a:lnTo>
                      <a:pt x="10" y="4"/>
                    </a:lnTo>
                    <a:lnTo>
                      <a:pt x="8" y="4"/>
                    </a:lnTo>
                    <a:lnTo>
                      <a:pt x="6" y="2"/>
                    </a:lnTo>
                    <a:lnTo>
                      <a:pt x="6" y="0"/>
                    </a:lnTo>
                    <a:lnTo>
                      <a:pt x="4" y="0"/>
                    </a:lnTo>
                    <a:lnTo>
                      <a:pt x="2" y="2"/>
                    </a:lnTo>
                    <a:lnTo>
                      <a:pt x="2" y="4"/>
                    </a:lnTo>
                    <a:lnTo>
                      <a:pt x="0" y="4"/>
                    </a:lnTo>
                    <a:lnTo>
                      <a:pt x="0" y="6"/>
                    </a:lnTo>
                    <a:lnTo>
                      <a:pt x="2" y="6"/>
                    </a:lnTo>
                    <a:lnTo>
                      <a:pt x="2" y="8"/>
                    </a:lnTo>
                    <a:lnTo>
                      <a:pt x="2" y="10"/>
                    </a:lnTo>
                    <a:lnTo>
                      <a:pt x="4"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7" name="Freeform 151">
                <a:extLst>
                  <a:ext uri="{FF2B5EF4-FFF2-40B4-BE49-F238E27FC236}">
                    <a16:creationId xmlns:a16="http://schemas.microsoft.com/office/drawing/2014/main" id="{86377F1C-7BF6-4E76-848A-C392EDD0DFE4}"/>
                  </a:ext>
                </a:extLst>
              </p:cNvPr>
              <p:cNvSpPr>
                <a:spLocks noChangeAspect="1"/>
              </p:cNvSpPr>
              <p:nvPr/>
            </p:nvSpPr>
            <p:spPr bwMode="auto">
              <a:xfrm>
                <a:off x="4468599" y="2827281"/>
                <a:ext cx="13155" cy="6976"/>
              </a:xfrm>
              <a:custGeom>
                <a:avLst/>
                <a:gdLst/>
                <a:ahLst/>
                <a:cxnLst>
                  <a:cxn ang="0">
                    <a:pos x="2" y="4"/>
                  </a:cxn>
                  <a:cxn ang="0">
                    <a:pos x="2" y="4"/>
                  </a:cxn>
                  <a:cxn ang="0">
                    <a:pos x="2" y="4"/>
                  </a:cxn>
                  <a:cxn ang="0">
                    <a:pos x="4" y="4"/>
                  </a:cxn>
                  <a:cxn ang="0">
                    <a:pos x="6" y="4"/>
                  </a:cxn>
                  <a:cxn ang="0">
                    <a:pos x="6" y="4"/>
                  </a:cxn>
                  <a:cxn ang="0">
                    <a:pos x="8" y="4"/>
                  </a:cxn>
                  <a:cxn ang="0">
                    <a:pos x="8" y="4"/>
                  </a:cxn>
                  <a:cxn ang="0">
                    <a:pos x="8" y="2"/>
                  </a:cxn>
                  <a:cxn ang="0">
                    <a:pos x="8" y="2"/>
                  </a:cxn>
                  <a:cxn ang="0">
                    <a:pos x="8" y="0"/>
                  </a:cxn>
                  <a:cxn ang="0">
                    <a:pos x="8" y="0"/>
                  </a:cxn>
                  <a:cxn ang="0">
                    <a:pos x="8" y="0"/>
                  </a:cxn>
                  <a:cxn ang="0">
                    <a:pos x="8" y="0"/>
                  </a:cxn>
                  <a:cxn ang="0">
                    <a:pos x="6" y="0"/>
                  </a:cxn>
                  <a:cxn ang="0">
                    <a:pos x="6" y="0"/>
                  </a:cxn>
                  <a:cxn ang="0">
                    <a:pos x="4" y="0"/>
                  </a:cxn>
                  <a:cxn ang="0">
                    <a:pos x="2" y="0"/>
                  </a:cxn>
                  <a:cxn ang="0">
                    <a:pos x="2" y="0"/>
                  </a:cxn>
                  <a:cxn ang="0">
                    <a:pos x="0" y="0"/>
                  </a:cxn>
                  <a:cxn ang="0">
                    <a:pos x="2" y="4"/>
                  </a:cxn>
                  <a:cxn ang="0">
                    <a:pos x="2" y="4"/>
                  </a:cxn>
                  <a:cxn ang="0">
                    <a:pos x="2" y="4"/>
                  </a:cxn>
                </a:cxnLst>
                <a:rect l="0" t="0" r="r" b="b"/>
                <a:pathLst>
                  <a:path w="8" h="4">
                    <a:moveTo>
                      <a:pt x="2" y="4"/>
                    </a:moveTo>
                    <a:lnTo>
                      <a:pt x="2" y="4"/>
                    </a:lnTo>
                    <a:lnTo>
                      <a:pt x="4" y="4"/>
                    </a:lnTo>
                    <a:lnTo>
                      <a:pt x="6" y="4"/>
                    </a:lnTo>
                    <a:lnTo>
                      <a:pt x="8" y="4"/>
                    </a:lnTo>
                    <a:lnTo>
                      <a:pt x="8" y="2"/>
                    </a:lnTo>
                    <a:lnTo>
                      <a:pt x="8" y="0"/>
                    </a:lnTo>
                    <a:lnTo>
                      <a:pt x="6" y="0"/>
                    </a:lnTo>
                    <a:lnTo>
                      <a:pt x="4" y="0"/>
                    </a:lnTo>
                    <a:lnTo>
                      <a:pt x="2" y="0"/>
                    </a:lnTo>
                    <a:lnTo>
                      <a:pt x="0" y="0"/>
                    </a:lnTo>
                    <a:lnTo>
                      <a:pt x="2"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8" name="Freeform 152">
                <a:extLst>
                  <a:ext uri="{FF2B5EF4-FFF2-40B4-BE49-F238E27FC236}">
                    <a16:creationId xmlns:a16="http://schemas.microsoft.com/office/drawing/2014/main" id="{55B2FA52-B885-4873-8240-1790106085D8}"/>
                  </a:ext>
                </a:extLst>
              </p:cNvPr>
              <p:cNvSpPr>
                <a:spLocks noChangeAspect="1"/>
              </p:cNvSpPr>
              <p:nvPr/>
            </p:nvSpPr>
            <p:spPr bwMode="auto">
              <a:xfrm>
                <a:off x="5445350" y="2795890"/>
                <a:ext cx="177591" cy="83710"/>
              </a:xfrm>
              <a:custGeom>
                <a:avLst/>
                <a:gdLst/>
                <a:ahLst/>
                <a:cxnLst>
                  <a:cxn ang="0">
                    <a:pos x="2" y="6"/>
                  </a:cxn>
                  <a:cxn ang="0">
                    <a:pos x="12" y="10"/>
                  </a:cxn>
                  <a:cxn ang="0">
                    <a:pos x="18" y="14"/>
                  </a:cxn>
                  <a:cxn ang="0">
                    <a:pos x="24" y="18"/>
                  </a:cxn>
                  <a:cxn ang="0">
                    <a:pos x="26" y="20"/>
                  </a:cxn>
                  <a:cxn ang="0">
                    <a:pos x="28" y="26"/>
                  </a:cxn>
                  <a:cxn ang="0">
                    <a:pos x="28" y="30"/>
                  </a:cxn>
                  <a:cxn ang="0">
                    <a:pos x="32" y="36"/>
                  </a:cxn>
                  <a:cxn ang="0">
                    <a:pos x="32" y="38"/>
                  </a:cxn>
                  <a:cxn ang="0">
                    <a:pos x="36" y="40"/>
                  </a:cxn>
                  <a:cxn ang="0">
                    <a:pos x="40" y="40"/>
                  </a:cxn>
                  <a:cxn ang="0">
                    <a:pos x="42" y="38"/>
                  </a:cxn>
                  <a:cxn ang="0">
                    <a:pos x="46" y="38"/>
                  </a:cxn>
                  <a:cxn ang="0">
                    <a:pos x="52" y="42"/>
                  </a:cxn>
                  <a:cxn ang="0">
                    <a:pos x="52" y="44"/>
                  </a:cxn>
                  <a:cxn ang="0">
                    <a:pos x="58" y="44"/>
                  </a:cxn>
                  <a:cxn ang="0">
                    <a:pos x="58" y="44"/>
                  </a:cxn>
                  <a:cxn ang="0">
                    <a:pos x="60" y="48"/>
                  </a:cxn>
                  <a:cxn ang="0">
                    <a:pos x="64" y="46"/>
                  </a:cxn>
                  <a:cxn ang="0">
                    <a:pos x="66" y="44"/>
                  </a:cxn>
                  <a:cxn ang="0">
                    <a:pos x="72" y="44"/>
                  </a:cxn>
                  <a:cxn ang="0">
                    <a:pos x="76" y="46"/>
                  </a:cxn>
                  <a:cxn ang="0">
                    <a:pos x="78" y="46"/>
                  </a:cxn>
                  <a:cxn ang="0">
                    <a:pos x="80" y="42"/>
                  </a:cxn>
                  <a:cxn ang="0">
                    <a:pos x="82" y="42"/>
                  </a:cxn>
                  <a:cxn ang="0">
                    <a:pos x="86" y="40"/>
                  </a:cxn>
                  <a:cxn ang="0">
                    <a:pos x="90" y="40"/>
                  </a:cxn>
                  <a:cxn ang="0">
                    <a:pos x="94" y="42"/>
                  </a:cxn>
                  <a:cxn ang="0">
                    <a:pos x="98" y="44"/>
                  </a:cxn>
                  <a:cxn ang="0">
                    <a:pos x="98" y="46"/>
                  </a:cxn>
                  <a:cxn ang="0">
                    <a:pos x="102" y="44"/>
                  </a:cxn>
                  <a:cxn ang="0">
                    <a:pos x="106" y="48"/>
                  </a:cxn>
                  <a:cxn ang="0">
                    <a:pos x="108" y="48"/>
                  </a:cxn>
                  <a:cxn ang="0">
                    <a:pos x="106" y="42"/>
                  </a:cxn>
                  <a:cxn ang="0">
                    <a:pos x="102" y="40"/>
                  </a:cxn>
                  <a:cxn ang="0">
                    <a:pos x="100" y="38"/>
                  </a:cxn>
                  <a:cxn ang="0">
                    <a:pos x="100" y="34"/>
                  </a:cxn>
                  <a:cxn ang="0">
                    <a:pos x="94" y="28"/>
                  </a:cxn>
                  <a:cxn ang="0">
                    <a:pos x="90" y="26"/>
                  </a:cxn>
                  <a:cxn ang="0">
                    <a:pos x="90" y="22"/>
                  </a:cxn>
                  <a:cxn ang="0">
                    <a:pos x="88" y="20"/>
                  </a:cxn>
                  <a:cxn ang="0">
                    <a:pos x="84" y="20"/>
                  </a:cxn>
                  <a:cxn ang="0">
                    <a:pos x="82" y="18"/>
                  </a:cxn>
                  <a:cxn ang="0">
                    <a:pos x="76" y="14"/>
                  </a:cxn>
                  <a:cxn ang="0">
                    <a:pos x="70" y="16"/>
                  </a:cxn>
                  <a:cxn ang="0">
                    <a:pos x="66" y="18"/>
                  </a:cxn>
                  <a:cxn ang="0">
                    <a:pos x="58" y="18"/>
                  </a:cxn>
                  <a:cxn ang="0">
                    <a:pos x="56" y="14"/>
                  </a:cxn>
                  <a:cxn ang="0">
                    <a:pos x="50" y="12"/>
                  </a:cxn>
                  <a:cxn ang="0">
                    <a:pos x="46" y="8"/>
                  </a:cxn>
                  <a:cxn ang="0">
                    <a:pos x="44" y="8"/>
                  </a:cxn>
                  <a:cxn ang="0">
                    <a:pos x="34" y="8"/>
                  </a:cxn>
                  <a:cxn ang="0">
                    <a:pos x="20" y="4"/>
                  </a:cxn>
                  <a:cxn ang="0">
                    <a:pos x="10" y="2"/>
                  </a:cxn>
                  <a:cxn ang="0">
                    <a:pos x="4" y="0"/>
                  </a:cxn>
                  <a:cxn ang="0">
                    <a:pos x="0" y="4"/>
                  </a:cxn>
                  <a:cxn ang="0">
                    <a:pos x="2" y="4"/>
                  </a:cxn>
                </a:cxnLst>
                <a:rect l="0" t="0" r="r" b="b"/>
                <a:pathLst>
                  <a:path w="108" h="48">
                    <a:moveTo>
                      <a:pt x="2" y="6"/>
                    </a:moveTo>
                    <a:lnTo>
                      <a:pt x="2" y="6"/>
                    </a:lnTo>
                    <a:lnTo>
                      <a:pt x="4" y="6"/>
                    </a:lnTo>
                    <a:lnTo>
                      <a:pt x="6" y="8"/>
                    </a:lnTo>
                    <a:lnTo>
                      <a:pt x="8" y="10"/>
                    </a:lnTo>
                    <a:lnTo>
                      <a:pt x="12" y="10"/>
                    </a:lnTo>
                    <a:lnTo>
                      <a:pt x="14" y="12"/>
                    </a:lnTo>
                    <a:lnTo>
                      <a:pt x="16" y="14"/>
                    </a:lnTo>
                    <a:lnTo>
                      <a:pt x="18" y="14"/>
                    </a:lnTo>
                    <a:lnTo>
                      <a:pt x="20" y="14"/>
                    </a:lnTo>
                    <a:lnTo>
                      <a:pt x="24" y="16"/>
                    </a:lnTo>
                    <a:lnTo>
                      <a:pt x="24" y="18"/>
                    </a:lnTo>
                    <a:lnTo>
                      <a:pt x="26" y="18"/>
                    </a:lnTo>
                    <a:lnTo>
                      <a:pt x="26" y="20"/>
                    </a:lnTo>
                    <a:lnTo>
                      <a:pt x="28" y="20"/>
                    </a:lnTo>
                    <a:lnTo>
                      <a:pt x="28" y="22"/>
                    </a:lnTo>
                    <a:lnTo>
                      <a:pt x="28" y="24"/>
                    </a:lnTo>
                    <a:lnTo>
                      <a:pt x="28" y="26"/>
                    </a:lnTo>
                    <a:lnTo>
                      <a:pt x="28" y="28"/>
                    </a:lnTo>
                    <a:lnTo>
                      <a:pt x="28" y="30"/>
                    </a:lnTo>
                    <a:lnTo>
                      <a:pt x="28" y="32"/>
                    </a:lnTo>
                    <a:lnTo>
                      <a:pt x="30" y="34"/>
                    </a:lnTo>
                    <a:lnTo>
                      <a:pt x="30" y="36"/>
                    </a:lnTo>
                    <a:lnTo>
                      <a:pt x="32" y="36"/>
                    </a:lnTo>
                    <a:lnTo>
                      <a:pt x="32" y="38"/>
                    </a:lnTo>
                    <a:lnTo>
                      <a:pt x="30" y="38"/>
                    </a:lnTo>
                    <a:lnTo>
                      <a:pt x="32" y="40"/>
                    </a:lnTo>
                    <a:lnTo>
                      <a:pt x="36" y="40"/>
                    </a:lnTo>
                    <a:lnTo>
                      <a:pt x="38" y="40"/>
                    </a:lnTo>
                    <a:lnTo>
                      <a:pt x="40" y="40"/>
                    </a:lnTo>
                    <a:lnTo>
                      <a:pt x="42" y="38"/>
                    </a:lnTo>
                    <a:lnTo>
                      <a:pt x="44" y="38"/>
                    </a:lnTo>
                    <a:lnTo>
                      <a:pt x="46" y="38"/>
                    </a:lnTo>
                    <a:lnTo>
                      <a:pt x="48" y="38"/>
                    </a:lnTo>
                    <a:lnTo>
                      <a:pt x="50" y="40"/>
                    </a:lnTo>
                    <a:lnTo>
                      <a:pt x="52" y="42"/>
                    </a:lnTo>
                    <a:lnTo>
                      <a:pt x="52" y="44"/>
                    </a:lnTo>
                    <a:lnTo>
                      <a:pt x="54" y="44"/>
                    </a:lnTo>
                    <a:lnTo>
                      <a:pt x="56" y="44"/>
                    </a:lnTo>
                    <a:lnTo>
                      <a:pt x="58" y="44"/>
                    </a:lnTo>
                    <a:lnTo>
                      <a:pt x="58" y="46"/>
                    </a:lnTo>
                    <a:lnTo>
                      <a:pt x="58" y="48"/>
                    </a:lnTo>
                    <a:lnTo>
                      <a:pt x="60" y="48"/>
                    </a:lnTo>
                    <a:lnTo>
                      <a:pt x="62" y="46"/>
                    </a:lnTo>
                    <a:lnTo>
                      <a:pt x="64" y="46"/>
                    </a:lnTo>
                    <a:lnTo>
                      <a:pt x="66" y="46"/>
                    </a:lnTo>
                    <a:lnTo>
                      <a:pt x="66" y="44"/>
                    </a:lnTo>
                    <a:lnTo>
                      <a:pt x="68" y="44"/>
                    </a:lnTo>
                    <a:lnTo>
                      <a:pt x="70" y="44"/>
                    </a:lnTo>
                    <a:lnTo>
                      <a:pt x="72" y="44"/>
                    </a:lnTo>
                    <a:lnTo>
                      <a:pt x="74" y="46"/>
                    </a:lnTo>
                    <a:lnTo>
                      <a:pt x="76" y="46"/>
                    </a:lnTo>
                    <a:lnTo>
                      <a:pt x="78" y="46"/>
                    </a:lnTo>
                    <a:lnTo>
                      <a:pt x="78" y="44"/>
                    </a:lnTo>
                    <a:lnTo>
                      <a:pt x="80" y="42"/>
                    </a:lnTo>
                    <a:lnTo>
                      <a:pt x="82" y="42"/>
                    </a:lnTo>
                    <a:lnTo>
                      <a:pt x="84" y="44"/>
                    </a:lnTo>
                    <a:lnTo>
                      <a:pt x="84" y="42"/>
                    </a:lnTo>
                    <a:lnTo>
                      <a:pt x="86" y="40"/>
                    </a:lnTo>
                    <a:lnTo>
                      <a:pt x="88" y="40"/>
                    </a:lnTo>
                    <a:lnTo>
                      <a:pt x="90" y="40"/>
                    </a:lnTo>
                    <a:lnTo>
                      <a:pt x="92" y="40"/>
                    </a:lnTo>
                    <a:lnTo>
                      <a:pt x="94" y="42"/>
                    </a:lnTo>
                    <a:lnTo>
                      <a:pt x="94" y="44"/>
                    </a:lnTo>
                    <a:lnTo>
                      <a:pt x="96" y="44"/>
                    </a:lnTo>
                    <a:lnTo>
                      <a:pt x="98" y="44"/>
                    </a:lnTo>
                    <a:lnTo>
                      <a:pt x="98" y="46"/>
                    </a:lnTo>
                    <a:lnTo>
                      <a:pt x="100" y="46"/>
                    </a:lnTo>
                    <a:lnTo>
                      <a:pt x="102" y="44"/>
                    </a:lnTo>
                    <a:lnTo>
                      <a:pt x="104" y="44"/>
                    </a:lnTo>
                    <a:lnTo>
                      <a:pt x="104" y="46"/>
                    </a:lnTo>
                    <a:lnTo>
                      <a:pt x="106" y="48"/>
                    </a:lnTo>
                    <a:lnTo>
                      <a:pt x="108" y="48"/>
                    </a:lnTo>
                    <a:lnTo>
                      <a:pt x="108" y="46"/>
                    </a:lnTo>
                    <a:lnTo>
                      <a:pt x="108" y="44"/>
                    </a:lnTo>
                    <a:lnTo>
                      <a:pt x="106" y="44"/>
                    </a:lnTo>
                    <a:lnTo>
                      <a:pt x="106" y="42"/>
                    </a:lnTo>
                    <a:lnTo>
                      <a:pt x="104" y="40"/>
                    </a:lnTo>
                    <a:lnTo>
                      <a:pt x="102" y="40"/>
                    </a:lnTo>
                    <a:lnTo>
                      <a:pt x="100" y="38"/>
                    </a:lnTo>
                    <a:lnTo>
                      <a:pt x="100" y="36"/>
                    </a:lnTo>
                    <a:lnTo>
                      <a:pt x="100" y="34"/>
                    </a:lnTo>
                    <a:lnTo>
                      <a:pt x="102" y="34"/>
                    </a:lnTo>
                    <a:lnTo>
                      <a:pt x="100" y="32"/>
                    </a:lnTo>
                    <a:lnTo>
                      <a:pt x="98" y="30"/>
                    </a:lnTo>
                    <a:lnTo>
                      <a:pt x="94" y="28"/>
                    </a:lnTo>
                    <a:lnTo>
                      <a:pt x="92" y="28"/>
                    </a:lnTo>
                    <a:lnTo>
                      <a:pt x="90" y="26"/>
                    </a:lnTo>
                    <a:lnTo>
                      <a:pt x="90" y="24"/>
                    </a:lnTo>
                    <a:lnTo>
                      <a:pt x="90" y="22"/>
                    </a:lnTo>
                    <a:lnTo>
                      <a:pt x="92" y="20"/>
                    </a:lnTo>
                    <a:lnTo>
                      <a:pt x="88" y="20"/>
                    </a:lnTo>
                    <a:lnTo>
                      <a:pt x="86" y="20"/>
                    </a:lnTo>
                    <a:lnTo>
                      <a:pt x="84" y="20"/>
                    </a:lnTo>
                    <a:lnTo>
                      <a:pt x="84" y="18"/>
                    </a:lnTo>
                    <a:lnTo>
                      <a:pt x="82" y="18"/>
                    </a:lnTo>
                    <a:lnTo>
                      <a:pt x="82" y="16"/>
                    </a:lnTo>
                    <a:lnTo>
                      <a:pt x="80" y="16"/>
                    </a:lnTo>
                    <a:lnTo>
                      <a:pt x="78" y="16"/>
                    </a:lnTo>
                    <a:lnTo>
                      <a:pt x="76" y="14"/>
                    </a:lnTo>
                    <a:lnTo>
                      <a:pt x="74" y="14"/>
                    </a:lnTo>
                    <a:lnTo>
                      <a:pt x="72" y="16"/>
                    </a:lnTo>
                    <a:lnTo>
                      <a:pt x="70" y="16"/>
                    </a:lnTo>
                    <a:lnTo>
                      <a:pt x="70" y="18"/>
                    </a:lnTo>
                    <a:lnTo>
                      <a:pt x="68" y="18"/>
                    </a:lnTo>
                    <a:lnTo>
                      <a:pt x="66" y="18"/>
                    </a:lnTo>
                    <a:lnTo>
                      <a:pt x="64" y="18"/>
                    </a:lnTo>
                    <a:lnTo>
                      <a:pt x="62" y="18"/>
                    </a:lnTo>
                    <a:lnTo>
                      <a:pt x="60" y="18"/>
                    </a:lnTo>
                    <a:lnTo>
                      <a:pt x="58" y="18"/>
                    </a:lnTo>
                    <a:lnTo>
                      <a:pt x="58" y="16"/>
                    </a:lnTo>
                    <a:lnTo>
                      <a:pt x="56" y="16"/>
                    </a:lnTo>
                    <a:lnTo>
                      <a:pt x="56" y="14"/>
                    </a:lnTo>
                    <a:lnTo>
                      <a:pt x="54" y="14"/>
                    </a:lnTo>
                    <a:lnTo>
                      <a:pt x="52" y="14"/>
                    </a:lnTo>
                    <a:lnTo>
                      <a:pt x="50" y="12"/>
                    </a:lnTo>
                    <a:lnTo>
                      <a:pt x="48" y="10"/>
                    </a:lnTo>
                    <a:lnTo>
                      <a:pt x="46" y="8"/>
                    </a:lnTo>
                    <a:lnTo>
                      <a:pt x="44" y="8"/>
                    </a:lnTo>
                    <a:lnTo>
                      <a:pt x="42" y="8"/>
                    </a:lnTo>
                    <a:lnTo>
                      <a:pt x="38" y="8"/>
                    </a:lnTo>
                    <a:lnTo>
                      <a:pt x="34" y="8"/>
                    </a:lnTo>
                    <a:lnTo>
                      <a:pt x="30" y="8"/>
                    </a:lnTo>
                    <a:lnTo>
                      <a:pt x="28" y="6"/>
                    </a:lnTo>
                    <a:lnTo>
                      <a:pt x="24" y="6"/>
                    </a:lnTo>
                    <a:lnTo>
                      <a:pt x="20" y="4"/>
                    </a:lnTo>
                    <a:lnTo>
                      <a:pt x="16" y="4"/>
                    </a:lnTo>
                    <a:lnTo>
                      <a:pt x="14" y="2"/>
                    </a:lnTo>
                    <a:lnTo>
                      <a:pt x="12" y="2"/>
                    </a:lnTo>
                    <a:lnTo>
                      <a:pt x="10" y="2"/>
                    </a:lnTo>
                    <a:lnTo>
                      <a:pt x="8" y="2"/>
                    </a:lnTo>
                    <a:lnTo>
                      <a:pt x="6" y="0"/>
                    </a:lnTo>
                    <a:lnTo>
                      <a:pt x="4" y="0"/>
                    </a:lnTo>
                    <a:lnTo>
                      <a:pt x="4" y="2"/>
                    </a:lnTo>
                    <a:lnTo>
                      <a:pt x="2" y="2"/>
                    </a:lnTo>
                    <a:lnTo>
                      <a:pt x="2" y="4"/>
                    </a:lnTo>
                    <a:lnTo>
                      <a:pt x="0" y="4"/>
                    </a:lnTo>
                    <a:lnTo>
                      <a:pt x="2" y="4"/>
                    </a:lnTo>
                    <a:lnTo>
                      <a:pt x="2"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59" name="Freeform 153">
                <a:extLst>
                  <a:ext uri="{FF2B5EF4-FFF2-40B4-BE49-F238E27FC236}">
                    <a16:creationId xmlns:a16="http://schemas.microsoft.com/office/drawing/2014/main" id="{D10E7948-A403-4821-A3E2-870BFEA28E95}"/>
                  </a:ext>
                </a:extLst>
              </p:cNvPr>
              <p:cNvSpPr>
                <a:spLocks noChangeAspect="1"/>
              </p:cNvSpPr>
              <p:nvPr/>
            </p:nvSpPr>
            <p:spPr bwMode="auto">
              <a:xfrm>
                <a:off x="5583477" y="2855184"/>
                <a:ext cx="141415" cy="118589"/>
              </a:xfrm>
              <a:custGeom>
                <a:avLst/>
                <a:gdLst/>
                <a:ahLst/>
                <a:cxnLst>
                  <a:cxn ang="0">
                    <a:pos x="76" y="26"/>
                  </a:cxn>
                  <a:cxn ang="0">
                    <a:pos x="68" y="20"/>
                  </a:cxn>
                  <a:cxn ang="0">
                    <a:pos x="64" y="14"/>
                  </a:cxn>
                  <a:cxn ang="0">
                    <a:pos x="64" y="10"/>
                  </a:cxn>
                  <a:cxn ang="0">
                    <a:pos x="56" y="4"/>
                  </a:cxn>
                  <a:cxn ang="0">
                    <a:pos x="52" y="0"/>
                  </a:cxn>
                  <a:cxn ang="0">
                    <a:pos x="50" y="6"/>
                  </a:cxn>
                  <a:cxn ang="0">
                    <a:pos x="46" y="8"/>
                  </a:cxn>
                  <a:cxn ang="0">
                    <a:pos x="44" y="10"/>
                  </a:cxn>
                  <a:cxn ang="0">
                    <a:pos x="38" y="12"/>
                  </a:cxn>
                  <a:cxn ang="0">
                    <a:pos x="26" y="2"/>
                  </a:cxn>
                  <a:cxn ang="0">
                    <a:pos x="16" y="2"/>
                  </a:cxn>
                  <a:cxn ang="0">
                    <a:pos x="18" y="6"/>
                  </a:cxn>
                  <a:cxn ang="0">
                    <a:pos x="24" y="10"/>
                  </a:cxn>
                  <a:cxn ang="0">
                    <a:pos x="22" y="16"/>
                  </a:cxn>
                  <a:cxn ang="0">
                    <a:pos x="18" y="12"/>
                  </a:cxn>
                  <a:cxn ang="0">
                    <a:pos x="12" y="10"/>
                  </a:cxn>
                  <a:cxn ang="0">
                    <a:pos x="10" y="8"/>
                  </a:cxn>
                  <a:cxn ang="0">
                    <a:pos x="2" y="6"/>
                  </a:cxn>
                  <a:cxn ang="0">
                    <a:pos x="2" y="12"/>
                  </a:cxn>
                  <a:cxn ang="0">
                    <a:pos x="2" y="16"/>
                  </a:cxn>
                  <a:cxn ang="0">
                    <a:pos x="8" y="18"/>
                  </a:cxn>
                  <a:cxn ang="0">
                    <a:pos x="6" y="24"/>
                  </a:cxn>
                  <a:cxn ang="0">
                    <a:pos x="14" y="28"/>
                  </a:cxn>
                  <a:cxn ang="0">
                    <a:pos x="16" y="32"/>
                  </a:cxn>
                  <a:cxn ang="0">
                    <a:pos x="10" y="34"/>
                  </a:cxn>
                  <a:cxn ang="0">
                    <a:pos x="16" y="36"/>
                  </a:cxn>
                  <a:cxn ang="0">
                    <a:pos x="20" y="42"/>
                  </a:cxn>
                  <a:cxn ang="0">
                    <a:pos x="26" y="42"/>
                  </a:cxn>
                  <a:cxn ang="0">
                    <a:pos x="26" y="46"/>
                  </a:cxn>
                  <a:cxn ang="0">
                    <a:pos x="28" y="50"/>
                  </a:cxn>
                  <a:cxn ang="0">
                    <a:pos x="28" y="56"/>
                  </a:cxn>
                  <a:cxn ang="0">
                    <a:pos x="34" y="52"/>
                  </a:cxn>
                  <a:cxn ang="0">
                    <a:pos x="42" y="44"/>
                  </a:cxn>
                  <a:cxn ang="0">
                    <a:pos x="52" y="40"/>
                  </a:cxn>
                  <a:cxn ang="0">
                    <a:pos x="56" y="46"/>
                  </a:cxn>
                  <a:cxn ang="0">
                    <a:pos x="54" y="50"/>
                  </a:cxn>
                  <a:cxn ang="0">
                    <a:pos x="56" y="54"/>
                  </a:cxn>
                  <a:cxn ang="0">
                    <a:pos x="54" y="58"/>
                  </a:cxn>
                  <a:cxn ang="0">
                    <a:pos x="62" y="64"/>
                  </a:cxn>
                  <a:cxn ang="0">
                    <a:pos x="66" y="66"/>
                  </a:cxn>
                  <a:cxn ang="0">
                    <a:pos x="68" y="66"/>
                  </a:cxn>
                  <a:cxn ang="0">
                    <a:pos x="66" y="58"/>
                  </a:cxn>
                  <a:cxn ang="0">
                    <a:pos x="66" y="56"/>
                  </a:cxn>
                  <a:cxn ang="0">
                    <a:pos x="68" y="52"/>
                  </a:cxn>
                  <a:cxn ang="0">
                    <a:pos x="68" y="50"/>
                  </a:cxn>
                  <a:cxn ang="0">
                    <a:pos x="74" y="52"/>
                  </a:cxn>
                  <a:cxn ang="0">
                    <a:pos x="70" y="44"/>
                  </a:cxn>
                  <a:cxn ang="0">
                    <a:pos x="72" y="40"/>
                  </a:cxn>
                  <a:cxn ang="0">
                    <a:pos x="72" y="32"/>
                  </a:cxn>
                  <a:cxn ang="0">
                    <a:pos x="74" y="32"/>
                  </a:cxn>
                  <a:cxn ang="0">
                    <a:pos x="78" y="28"/>
                  </a:cxn>
                  <a:cxn ang="0">
                    <a:pos x="86" y="30"/>
                  </a:cxn>
                  <a:cxn ang="0">
                    <a:pos x="84" y="26"/>
                  </a:cxn>
                </a:cxnLst>
                <a:rect l="0" t="0" r="r" b="b"/>
                <a:pathLst>
                  <a:path w="86" h="68">
                    <a:moveTo>
                      <a:pt x="84" y="26"/>
                    </a:moveTo>
                    <a:lnTo>
                      <a:pt x="84" y="24"/>
                    </a:lnTo>
                    <a:lnTo>
                      <a:pt x="82" y="24"/>
                    </a:lnTo>
                    <a:lnTo>
                      <a:pt x="80" y="24"/>
                    </a:lnTo>
                    <a:lnTo>
                      <a:pt x="76" y="26"/>
                    </a:lnTo>
                    <a:lnTo>
                      <a:pt x="74" y="26"/>
                    </a:lnTo>
                    <a:lnTo>
                      <a:pt x="72" y="26"/>
                    </a:lnTo>
                    <a:lnTo>
                      <a:pt x="70" y="24"/>
                    </a:lnTo>
                    <a:lnTo>
                      <a:pt x="70" y="22"/>
                    </a:lnTo>
                    <a:lnTo>
                      <a:pt x="68" y="20"/>
                    </a:lnTo>
                    <a:lnTo>
                      <a:pt x="68" y="18"/>
                    </a:lnTo>
                    <a:lnTo>
                      <a:pt x="66" y="16"/>
                    </a:lnTo>
                    <a:lnTo>
                      <a:pt x="64" y="14"/>
                    </a:lnTo>
                    <a:lnTo>
                      <a:pt x="64" y="12"/>
                    </a:lnTo>
                    <a:lnTo>
                      <a:pt x="64" y="10"/>
                    </a:lnTo>
                    <a:lnTo>
                      <a:pt x="64" y="8"/>
                    </a:lnTo>
                    <a:lnTo>
                      <a:pt x="62" y="6"/>
                    </a:lnTo>
                    <a:lnTo>
                      <a:pt x="60" y="6"/>
                    </a:lnTo>
                    <a:lnTo>
                      <a:pt x="56" y="4"/>
                    </a:lnTo>
                    <a:lnTo>
                      <a:pt x="54" y="2"/>
                    </a:lnTo>
                    <a:lnTo>
                      <a:pt x="54" y="0"/>
                    </a:lnTo>
                    <a:lnTo>
                      <a:pt x="52" y="0"/>
                    </a:lnTo>
                    <a:lnTo>
                      <a:pt x="52" y="2"/>
                    </a:lnTo>
                    <a:lnTo>
                      <a:pt x="52" y="4"/>
                    </a:lnTo>
                    <a:lnTo>
                      <a:pt x="50" y="6"/>
                    </a:lnTo>
                    <a:lnTo>
                      <a:pt x="48" y="6"/>
                    </a:lnTo>
                    <a:lnTo>
                      <a:pt x="48" y="8"/>
                    </a:lnTo>
                    <a:lnTo>
                      <a:pt x="46" y="8"/>
                    </a:lnTo>
                    <a:lnTo>
                      <a:pt x="44" y="6"/>
                    </a:lnTo>
                    <a:lnTo>
                      <a:pt x="44" y="8"/>
                    </a:lnTo>
                    <a:lnTo>
                      <a:pt x="44" y="10"/>
                    </a:lnTo>
                    <a:lnTo>
                      <a:pt x="42" y="12"/>
                    </a:lnTo>
                    <a:lnTo>
                      <a:pt x="40" y="12"/>
                    </a:lnTo>
                    <a:lnTo>
                      <a:pt x="38" y="12"/>
                    </a:lnTo>
                    <a:lnTo>
                      <a:pt x="36" y="10"/>
                    </a:lnTo>
                    <a:lnTo>
                      <a:pt x="34" y="8"/>
                    </a:lnTo>
                    <a:lnTo>
                      <a:pt x="32" y="4"/>
                    </a:lnTo>
                    <a:lnTo>
                      <a:pt x="30" y="4"/>
                    </a:lnTo>
                    <a:lnTo>
                      <a:pt x="28" y="2"/>
                    </a:lnTo>
                    <a:lnTo>
                      <a:pt x="26" y="2"/>
                    </a:lnTo>
                    <a:lnTo>
                      <a:pt x="24" y="0"/>
                    </a:lnTo>
                    <a:lnTo>
                      <a:pt x="22" y="0"/>
                    </a:lnTo>
                    <a:lnTo>
                      <a:pt x="20" y="0"/>
                    </a:lnTo>
                    <a:lnTo>
                      <a:pt x="16" y="0"/>
                    </a:lnTo>
                    <a:lnTo>
                      <a:pt x="16" y="2"/>
                    </a:lnTo>
                    <a:lnTo>
                      <a:pt x="16" y="4"/>
                    </a:lnTo>
                    <a:lnTo>
                      <a:pt x="18" y="6"/>
                    </a:lnTo>
                    <a:lnTo>
                      <a:pt x="20" y="8"/>
                    </a:lnTo>
                    <a:lnTo>
                      <a:pt x="22" y="8"/>
                    </a:lnTo>
                    <a:lnTo>
                      <a:pt x="24" y="10"/>
                    </a:lnTo>
                    <a:lnTo>
                      <a:pt x="24" y="12"/>
                    </a:lnTo>
                    <a:lnTo>
                      <a:pt x="26" y="14"/>
                    </a:lnTo>
                    <a:lnTo>
                      <a:pt x="24" y="16"/>
                    </a:lnTo>
                    <a:lnTo>
                      <a:pt x="22" y="16"/>
                    </a:lnTo>
                    <a:lnTo>
                      <a:pt x="22" y="14"/>
                    </a:lnTo>
                    <a:lnTo>
                      <a:pt x="20" y="12"/>
                    </a:lnTo>
                    <a:lnTo>
                      <a:pt x="18" y="12"/>
                    </a:lnTo>
                    <a:lnTo>
                      <a:pt x="16" y="12"/>
                    </a:lnTo>
                    <a:lnTo>
                      <a:pt x="14" y="12"/>
                    </a:lnTo>
                    <a:lnTo>
                      <a:pt x="12" y="12"/>
                    </a:lnTo>
                    <a:lnTo>
                      <a:pt x="12" y="10"/>
                    </a:lnTo>
                    <a:lnTo>
                      <a:pt x="10" y="10"/>
                    </a:lnTo>
                    <a:lnTo>
                      <a:pt x="10" y="8"/>
                    </a:lnTo>
                    <a:lnTo>
                      <a:pt x="8" y="8"/>
                    </a:lnTo>
                    <a:lnTo>
                      <a:pt x="8" y="6"/>
                    </a:lnTo>
                    <a:lnTo>
                      <a:pt x="6" y="6"/>
                    </a:lnTo>
                    <a:lnTo>
                      <a:pt x="4" y="6"/>
                    </a:lnTo>
                    <a:lnTo>
                      <a:pt x="2" y="6"/>
                    </a:lnTo>
                    <a:lnTo>
                      <a:pt x="2" y="8"/>
                    </a:lnTo>
                    <a:lnTo>
                      <a:pt x="0" y="8"/>
                    </a:lnTo>
                    <a:lnTo>
                      <a:pt x="0" y="10"/>
                    </a:lnTo>
                    <a:lnTo>
                      <a:pt x="2" y="12"/>
                    </a:lnTo>
                    <a:lnTo>
                      <a:pt x="2" y="14"/>
                    </a:lnTo>
                    <a:lnTo>
                      <a:pt x="2" y="16"/>
                    </a:lnTo>
                    <a:lnTo>
                      <a:pt x="4" y="16"/>
                    </a:lnTo>
                    <a:lnTo>
                      <a:pt x="6" y="16"/>
                    </a:lnTo>
                    <a:lnTo>
                      <a:pt x="8" y="16"/>
                    </a:lnTo>
                    <a:lnTo>
                      <a:pt x="8" y="18"/>
                    </a:lnTo>
                    <a:lnTo>
                      <a:pt x="8" y="20"/>
                    </a:lnTo>
                    <a:lnTo>
                      <a:pt x="8" y="22"/>
                    </a:lnTo>
                    <a:lnTo>
                      <a:pt x="6" y="24"/>
                    </a:lnTo>
                    <a:lnTo>
                      <a:pt x="8" y="24"/>
                    </a:lnTo>
                    <a:lnTo>
                      <a:pt x="10" y="26"/>
                    </a:lnTo>
                    <a:lnTo>
                      <a:pt x="12" y="26"/>
                    </a:lnTo>
                    <a:lnTo>
                      <a:pt x="14" y="28"/>
                    </a:lnTo>
                    <a:lnTo>
                      <a:pt x="16" y="28"/>
                    </a:lnTo>
                    <a:lnTo>
                      <a:pt x="16" y="30"/>
                    </a:lnTo>
                    <a:lnTo>
                      <a:pt x="16" y="32"/>
                    </a:lnTo>
                    <a:lnTo>
                      <a:pt x="16" y="34"/>
                    </a:lnTo>
                    <a:lnTo>
                      <a:pt x="14" y="34"/>
                    </a:lnTo>
                    <a:lnTo>
                      <a:pt x="12" y="34"/>
                    </a:lnTo>
                    <a:lnTo>
                      <a:pt x="10" y="34"/>
                    </a:lnTo>
                    <a:lnTo>
                      <a:pt x="12" y="36"/>
                    </a:lnTo>
                    <a:lnTo>
                      <a:pt x="14" y="36"/>
                    </a:lnTo>
                    <a:lnTo>
                      <a:pt x="16" y="36"/>
                    </a:lnTo>
                    <a:lnTo>
                      <a:pt x="16" y="38"/>
                    </a:lnTo>
                    <a:lnTo>
                      <a:pt x="18" y="40"/>
                    </a:lnTo>
                    <a:lnTo>
                      <a:pt x="18" y="42"/>
                    </a:lnTo>
                    <a:lnTo>
                      <a:pt x="20" y="42"/>
                    </a:lnTo>
                    <a:lnTo>
                      <a:pt x="22" y="42"/>
                    </a:lnTo>
                    <a:lnTo>
                      <a:pt x="24" y="42"/>
                    </a:lnTo>
                    <a:lnTo>
                      <a:pt x="26" y="42"/>
                    </a:lnTo>
                    <a:lnTo>
                      <a:pt x="26" y="44"/>
                    </a:lnTo>
                    <a:lnTo>
                      <a:pt x="26" y="46"/>
                    </a:lnTo>
                    <a:lnTo>
                      <a:pt x="28" y="48"/>
                    </a:lnTo>
                    <a:lnTo>
                      <a:pt x="28" y="50"/>
                    </a:lnTo>
                    <a:lnTo>
                      <a:pt x="28" y="52"/>
                    </a:lnTo>
                    <a:lnTo>
                      <a:pt x="28" y="54"/>
                    </a:lnTo>
                    <a:lnTo>
                      <a:pt x="28" y="56"/>
                    </a:lnTo>
                    <a:lnTo>
                      <a:pt x="30" y="56"/>
                    </a:lnTo>
                    <a:lnTo>
                      <a:pt x="32" y="54"/>
                    </a:lnTo>
                    <a:lnTo>
                      <a:pt x="34" y="52"/>
                    </a:lnTo>
                    <a:lnTo>
                      <a:pt x="36" y="50"/>
                    </a:lnTo>
                    <a:lnTo>
                      <a:pt x="38" y="48"/>
                    </a:lnTo>
                    <a:lnTo>
                      <a:pt x="40" y="46"/>
                    </a:lnTo>
                    <a:lnTo>
                      <a:pt x="42" y="44"/>
                    </a:lnTo>
                    <a:lnTo>
                      <a:pt x="44" y="42"/>
                    </a:lnTo>
                    <a:lnTo>
                      <a:pt x="48" y="42"/>
                    </a:lnTo>
                    <a:lnTo>
                      <a:pt x="50" y="40"/>
                    </a:lnTo>
                    <a:lnTo>
                      <a:pt x="52" y="40"/>
                    </a:lnTo>
                    <a:lnTo>
                      <a:pt x="54" y="42"/>
                    </a:lnTo>
                    <a:lnTo>
                      <a:pt x="56" y="44"/>
                    </a:lnTo>
                    <a:lnTo>
                      <a:pt x="56" y="46"/>
                    </a:lnTo>
                    <a:lnTo>
                      <a:pt x="56" y="48"/>
                    </a:lnTo>
                    <a:lnTo>
                      <a:pt x="54" y="50"/>
                    </a:lnTo>
                    <a:lnTo>
                      <a:pt x="54" y="52"/>
                    </a:lnTo>
                    <a:lnTo>
                      <a:pt x="56" y="52"/>
                    </a:lnTo>
                    <a:lnTo>
                      <a:pt x="56" y="54"/>
                    </a:lnTo>
                    <a:lnTo>
                      <a:pt x="56" y="56"/>
                    </a:lnTo>
                    <a:lnTo>
                      <a:pt x="54" y="56"/>
                    </a:lnTo>
                    <a:lnTo>
                      <a:pt x="54" y="58"/>
                    </a:lnTo>
                    <a:lnTo>
                      <a:pt x="54" y="60"/>
                    </a:lnTo>
                    <a:lnTo>
                      <a:pt x="56" y="60"/>
                    </a:lnTo>
                    <a:lnTo>
                      <a:pt x="58" y="62"/>
                    </a:lnTo>
                    <a:lnTo>
                      <a:pt x="60" y="62"/>
                    </a:lnTo>
                    <a:lnTo>
                      <a:pt x="62" y="64"/>
                    </a:lnTo>
                    <a:lnTo>
                      <a:pt x="64" y="66"/>
                    </a:lnTo>
                    <a:lnTo>
                      <a:pt x="66" y="66"/>
                    </a:lnTo>
                    <a:lnTo>
                      <a:pt x="66" y="68"/>
                    </a:lnTo>
                    <a:lnTo>
                      <a:pt x="68" y="66"/>
                    </a:lnTo>
                    <a:lnTo>
                      <a:pt x="68" y="64"/>
                    </a:lnTo>
                    <a:lnTo>
                      <a:pt x="68" y="62"/>
                    </a:lnTo>
                    <a:lnTo>
                      <a:pt x="68" y="60"/>
                    </a:lnTo>
                    <a:lnTo>
                      <a:pt x="66" y="58"/>
                    </a:lnTo>
                    <a:lnTo>
                      <a:pt x="64" y="58"/>
                    </a:lnTo>
                    <a:lnTo>
                      <a:pt x="64" y="56"/>
                    </a:lnTo>
                    <a:lnTo>
                      <a:pt x="66" y="56"/>
                    </a:lnTo>
                    <a:lnTo>
                      <a:pt x="68" y="56"/>
                    </a:lnTo>
                    <a:lnTo>
                      <a:pt x="68" y="54"/>
                    </a:lnTo>
                    <a:lnTo>
                      <a:pt x="68" y="52"/>
                    </a:lnTo>
                    <a:lnTo>
                      <a:pt x="68" y="50"/>
                    </a:lnTo>
                    <a:lnTo>
                      <a:pt x="70" y="52"/>
                    </a:lnTo>
                    <a:lnTo>
                      <a:pt x="72" y="52"/>
                    </a:lnTo>
                    <a:lnTo>
                      <a:pt x="74" y="52"/>
                    </a:lnTo>
                    <a:lnTo>
                      <a:pt x="74" y="50"/>
                    </a:lnTo>
                    <a:lnTo>
                      <a:pt x="74" y="48"/>
                    </a:lnTo>
                    <a:lnTo>
                      <a:pt x="74" y="46"/>
                    </a:lnTo>
                    <a:lnTo>
                      <a:pt x="72" y="46"/>
                    </a:lnTo>
                    <a:lnTo>
                      <a:pt x="70" y="44"/>
                    </a:lnTo>
                    <a:lnTo>
                      <a:pt x="72" y="42"/>
                    </a:lnTo>
                    <a:lnTo>
                      <a:pt x="72" y="40"/>
                    </a:lnTo>
                    <a:lnTo>
                      <a:pt x="72" y="38"/>
                    </a:lnTo>
                    <a:lnTo>
                      <a:pt x="72" y="34"/>
                    </a:lnTo>
                    <a:lnTo>
                      <a:pt x="72" y="32"/>
                    </a:lnTo>
                    <a:lnTo>
                      <a:pt x="74" y="32"/>
                    </a:lnTo>
                    <a:lnTo>
                      <a:pt x="76" y="32"/>
                    </a:lnTo>
                    <a:lnTo>
                      <a:pt x="76" y="30"/>
                    </a:lnTo>
                    <a:lnTo>
                      <a:pt x="78" y="30"/>
                    </a:lnTo>
                    <a:lnTo>
                      <a:pt x="78" y="28"/>
                    </a:lnTo>
                    <a:lnTo>
                      <a:pt x="80" y="30"/>
                    </a:lnTo>
                    <a:lnTo>
                      <a:pt x="82" y="30"/>
                    </a:lnTo>
                    <a:lnTo>
                      <a:pt x="84" y="30"/>
                    </a:lnTo>
                    <a:lnTo>
                      <a:pt x="86" y="30"/>
                    </a:lnTo>
                    <a:lnTo>
                      <a:pt x="86" y="28"/>
                    </a:lnTo>
                    <a:lnTo>
                      <a:pt x="84"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0" name="Freeform 154">
                <a:extLst>
                  <a:ext uri="{FF2B5EF4-FFF2-40B4-BE49-F238E27FC236}">
                    <a16:creationId xmlns:a16="http://schemas.microsoft.com/office/drawing/2014/main" id="{77F33C4B-6FF0-407B-A4C4-CA5CAD9E72BF}"/>
                  </a:ext>
                </a:extLst>
              </p:cNvPr>
              <p:cNvSpPr>
                <a:spLocks noChangeAspect="1"/>
              </p:cNvSpPr>
              <p:nvPr/>
            </p:nvSpPr>
            <p:spPr bwMode="auto">
              <a:xfrm>
                <a:off x="4984929" y="2508135"/>
                <a:ext cx="437400" cy="259851"/>
              </a:xfrm>
              <a:custGeom>
                <a:avLst/>
                <a:gdLst/>
                <a:ahLst/>
                <a:cxnLst>
                  <a:cxn ang="0">
                    <a:pos x="20" y="82"/>
                  </a:cxn>
                  <a:cxn ang="0">
                    <a:pos x="30" y="82"/>
                  </a:cxn>
                  <a:cxn ang="0">
                    <a:pos x="46" y="84"/>
                  </a:cxn>
                  <a:cxn ang="0">
                    <a:pos x="56" y="82"/>
                  </a:cxn>
                  <a:cxn ang="0">
                    <a:pos x="70" y="74"/>
                  </a:cxn>
                  <a:cxn ang="0">
                    <a:pos x="86" y="76"/>
                  </a:cxn>
                  <a:cxn ang="0">
                    <a:pos x="98" y="82"/>
                  </a:cxn>
                  <a:cxn ang="0">
                    <a:pos x="106" y="88"/>
                  </a:cxn>
                  <a:cxn ang="0">
                    <a:pos x="112" y="94"/>
                  </a:cxn>
                  <a:cxn ang="0">
                    <a:pos x="118" y="108"/>
                  </a:cxn>
                  <a:cxn ang="0">
                    <a:pos x="108" y="108"/>
                  </a:cxn>
                  <a:cxn ang="0">
                    <a:pos x="106" y="116"/>
                  </a:cxn>
                  <a:cxn ang="0">
                    <a:pos x="100" y="128"/>
                  </a:cxn>
                  <a:cxn ang="0">
                    <a:pos x="94" y="130"/>
                  </a:cxn>
                  <a:cxn ang="0">
                    <a:pos x="116" y="126"/>
                  </a:cxn>
                  <a:cxn ang="0">
                    <a:pos x="132" y="110"/>
                  </a:cxn>
                  <a:cxn ang="0">
                    <a:pos x="146" y="106"/>
                  </a:cxn>
                  <a:cxn ang="0">
                    <a:pos x="160" y="106"/>
                  </a:cxn>
                  <a:cxn ang="0">
                    <a:pos x="150" y="112"/>
                  </a:cxn>
                  <a:cxn ang="0">
                    <a:pos x="170" y="116"/>
                  </a:cxn>
                  <a:cxn ang="0">
                    <a:pos x="174" y="122"/>
                  </a:cxn>
                  <a:cxn ang="0">
                    <a:pos x="176" y="134"/>
                  </a:cxn>
                  <a:cxn ang="0">
                    <a:pos x="186" y="148"/>
                  </a:cxn>
                  <a:cxn ang="0">
                    <a:pos x="200" y="142"/>
                  </a:cxn>
                  <a:cxn ang="0">
                    <a:pos x="218" y="136"/>
                  </a:cxn>
                  <a:cxn ang="0">
                    <a:pos x="222" y="130"/>
                  </a:cxn>
                  <a:cxn ang="0">
                    <a:pos x="204" y="132"/>
                  </a:cxn>
                  <a:cxn ang="0">
                    <a:pos x="188" y="120"/>
                  </a:cxn>
                  <a:cxn ang="0">
                    <a:pos x="178" y="114"/>
                  </a:cxn>
                  <a:cxn ang="0">
                    <a:pos x="196" y="112"/>
                  </a:cxn>
                  <a:cxn ang="0">
                    <a:pos x="212" y="106"/>
                  </a:cxn>
                  <a:cxn ang="0">
                    <a:pos x="236" y="98"/>
                  </a:cxn>
                  <a:cxn ang="0">
                    <a:pos x="246" y="88"/>
                  </a:cxn>
                  <a:cxn ang="0">
                    <a:pos x="266" y="80"/>
                  </a:cxn>
                  <a:cxn ang="0">
                    <a:pos x="264" y="66"/>
                  </a:cxn>
                  <a:cxn ang="0">
                    <a:pos x="264" y="60"/>
                  </a:cxn>
                  <a:cxn ang="0">
                    <a:pos x="254" y="50"/>
                  </a:cxn>
                  <a:cxn ang="0">
                    <a:pos x="238" y="44"/>
                  </a:cxn>
                  <a:cxn ang="0">
                    <a:pos x="222" y="36"/>
                  </a:cxn>
                  <a:cxn ang="0">
                    <a:pos x="210" y="38"/>
                  </a:cxn>
                  <a:cxn ang="0">
                    <a:pos x="194" y="36"/>
                  </a:cxn>
                  <a:cxn ang="0">
                    <a:pos x="184" y="24"/>
                  </a:cxn>
                  <a:cxn ang="0">
                    <a:pos x="172" y="18"/>
                  </a:cxn>
                  <a:cxn ang="0">
                    <a:pos x="172" y="8"/>
                  </a:cxn>
                  <a:cxn ang="0">
                    <a:pos x="156" y="2"/>
                  </a:cxn>
                  <a:cxn ang="0">
                    <a:pos x="144" y="2"/>
                  </a:cxn>
                  <a:cxn ang="0">
                    <a:pos x="124" y="6"/>
                  </a:cxn>
                  <a:cxn ang="0">
                    <a:pos x="116" y="20"/>
                  </a:cxn>
                  <a:cxn ang="0">
                    <a:pos x="100" y="16"/>
                  </a:cxn>
                  <a:cxn ang="0">
                    <a:pos x="90" y="14"/>
                  </a:cxn>
                  <a:cxn ang="0">
                    <a:pos x="80" y="14"/>
                  </a:cxn>
                  <a:cxn ang="0">
                    <a:pos x="72" y="14"/>
                  </a:cxn>
                  <a:cxn ang="0">
                    <a:pos x="60" y="12"/>
                  </a:cxn>
                  <a:cxn ang="0">
                    <a:pos x="42" y="8"/>
                  </a:cxn>
                  <a:cxn ang="0">
                    <a:pos x="26" y="12"/>
                  </a:cxn>
                  <a:cxn ang="0">
                    <a:pos x="18" y="20"/>
                  </a:cxn>
                  <a:cxn ang="0">
                    <a:pos x="24" y="30"/>
                  </a:cxn>
                  <a:cxn ang="0">
                    <a:pos x="16" y="42"/>
                  </a:cxn>
                  <a:cxn ang="0">
                    <a:pos x="8" y="60"/>
                  </a:cxn>
                  <a:cxn ang="0">
                    <a:pos x="2" y="68"/>
                  </a:cxn>
                  <a:cxn ang="0">
                    <a:pos x="6" y="78"/>
                  </a:cxn>
                </a:cxnLst>
                <a:rect l="0" t="0" r="r" b="b"/>
                <a:pathLst>
                  <a:path w="266" h="148">
                    <a:moveTo>
                      <a:pt x="6" y="78"/>
                    </a:moveTo>
                    <a:lnTo>
                      <a:pt x="6" y="78"/>
                    </a:lnTo>
                    <a:lnTo>
                      <a:pt x="8" y="78"/>
                    </a:lnTo>
                    <a:lnTo>
                      <a:pt x="10" y="80"/>
                    </a:lnTo>
                    <a:lnTo>
                      <a:pt x="12" y="80"/>
                    </a:lnTo>
                    <a:lnTo>
                      <a:pt x="14" y="80"/>
                    </a:lnTo>
                    <a:lnTo>
                      <a:pt x="16" y="80"/>
                    </a:lnTo>
                    <a:lnTo>
                      <a:pt x="18" y="80"/>
                    </a:lnTo>
                    <a:lnTo>
                      <a:pt x="20" y="82"/>
                    </a:lnTo>
                    <a:lnTo>
                      <a:pt x="20" y="84"/>
                    </a:lnTo>
                    <a:lnTo>
                      <a:pt x="22" y="82"/>
                    </a:lnTo>
                    <a:lnTo>
                      <a:pt x="24" y="82"/>
                    </a:lnTo>
                    <a:lnTo>
                      <a:pt x="26" y="82"/>
                    </a:lnTo>
                    <a:lnTo>
                      <a:pt x="26" y="84"/>
                    </a:lnTo>
                    <a:lnTo>
                      <a:pt x="28" y="84"/>
                    </a:lnTo>
                    <a:lnTo>
                      <a:pt x="30" y="84"/>
                    </a:lnTo>
                    <a:lnTo>
                      <a:pt x="30" y="82"/>
                    </a:lnTo>
                    <a:lnTo>
                      <a:pt x="34" y="82"/>
                    </a:lnTo>
                    <a:lnTo>
                      <a:pt x="36" y="82"/>
                    </a:lnTo>
                    <a:lnTo>
                      <a:pt x="38" y="82"/>
                    </a:lnTo>
                    <a:lnTo>
                      <a:pt x="38" y="84"/>
                    </a:lnTo>
                    <a:lnTo>
                      <a:pt x="40" y="84"/>
                    </a:lnTo>
                    <a:lnTo>
                      <a:pt x="40" y="86"/>
                    </a:lnTo>
                    <a:lnTo>
                      <a:pt x="42" y="86"/>
                    </a:lnTo>
                    <a:lnTo>
                      <a:pt x="44" y="86"/>
                    </a:lnTo>
                    <a:lnTo>
                      <a:pt x="46" y="86"/>
                    </a:lnTo>
                    <a:lnTo>
                      <a:pt x="46" y="84"/>
                    </a:lnTo>
                    <a:lnTo>
                      <a:pt x="48" y="84"/>
                    </a:lnTo>
                    <a:lnTo>
                      <a:pt x="50" y="84"/>
                    </a:lnTo>
                    <a:lnTo>
                      <a:pt x="52" y="84"/>
                    </a:lnTo>
                    <a:lnTo>
                      <a:pt x="54" y="82"/>
                    </a:lnTo>
                    <a:lnTo>
                      <a:pt x="56" y="82"/>
                    </a:lnTo>
                    <a:lnTo>
                      <a:pt x="60" y="82"/>
                    </a:lnTo>
                    <a:lnTo>
                      <a:pt x="62" y="82"/>
                    </a:lnTo>
                    <a:lnTo>
                      <a:pt x="62" y="80"/>
                    </a:lnTo>
                    <a:lnTo>
                      <a:pt x="62" y="78"/>
                    </a:lnTo>
                    <a:lnTo>
                      <a:pt x="64" y="78"/>
                    </a:lnTo>
                    <a:lnTo>
                      <a:pt x="64" y="76"/>
                    </a:lnTo>
                    <a:lnTo>
                      <a:pt x="66" y="76"/>
                    </a:lnTo>
                    <a:lnTo>
                      <a:pt x="68" y="76"/>
                    </a:lnTo>
                    <a:lnTo>
                      <a:pt x="68" y="74"/>
                    </a:lnTo>
                    <a:lnTo>
                      <a:pt x="70" y="74"/>
                    </a:lnTo>
                    <a:lnTo>
                      <a:pt x="72" y="76"/>
                    </a:lnTo>
                    <a:lnTo>
                      <a:pt x="74" y="76"/>
                    </a:lnTo>
                    <a:lnTo>
                      <a:pt x="76" y="74"/>
                    </a:lnTo>
                    <a:lnTo>
                      <a:pt x="78" y="74"/>
                    </a:lnTo>
                    <a:lnTo>
                      <a:pt x="78" y="72"/>
                    </a:lnTo>
                    <a:lnTo>
                      <a:pt x="80" y="72"/>
                    </a:lnTo>
                    <a:lnTo>
                      <a:pt x="82" y="74"/>
                    </a:lnTo>
                    <a:lnTo>
                      <a:pt x="84" y="74"/>
                    </a:lnTo>
                    <a:lnTo>
                      <a:pt x="84" y="76"/>
                    </a:lnTo>
                    <a:lnTo>
                      <a:pt x="86" y="76"/>
                    </a:lnTo>
                    <a:lnTo>
                      <a:pt x="88" y="76"/>
                    </a:lnTo>
                    <a:lnTo>
                      <a:pt x="92" y="76"/>
                    </a:lnTo>
                    <a:lnTo>
                      <a:pt x="94" y="76"/>
                    </a:lnTo>
                    <a:lnTo>
                      <a:pt x="96" y="78"/>
                    </a:lnTo>
                    <a:lnTo>
                      <a:pt x="98" y="80"/>
                    </a:lnTo>
                    <a:lnTo>
                      <a:pt x="98" y="82"/>
                    </a:lnTo>
                    <a:lnTo>
                      <a:pt x="98" y="80"/>
                    </a:lnTo>
                    <a:lnTo>
                      <a:pt x="100" y="80"/>
                    </a:lnTo>
                    <a:lnTo>
                      <a:pt x="102" y="80"/>
                    </a:lnTo>
                    <a:lnTo>
                      <a:pt x="104" y="82"/>
                    </a:lnTo>
                    <a:lnTo>
                      <a:pt x="106" y="84"/>
                    </a:lnTo>
                    <a:lnTo>
                      <a:pt x="106" y="86"/>
                    </a:lnTo>
                    <a:lnTo>
                      <a:pt x="106" y="88"/>
                    </a:lnTo>
                    <a:lnTo>
                      <a:pt x="106" y="90"/>
                    </a:lnTo>
                    <a:lnTo>
                      <a:pt x="106" y="92"/>
                    </a:lnTo>
                    <a:lnTo>
                      <a:pt x="106" y="94"/>
                    </a:lnTo>
                    <a:lnTo>
                      <a:pt x="106" y="92"/>
                    </a:lnTo>
                    <a:lnTo>
                      <a:pt x="108" y="92"/>
                    </a:lnTo>
                    <a:lnTo>
                      <a:pt x="110" y="92"/>
                    </a:lnTo>
                    <a:lnTo>
                      <a:pt x="112" y="94"/>
                    </a:lnTo>
                    <a:lnTo>
                      <a:pt x="110" y="96"/>
                    </a:lnTo>
                    <a:lnTo>
                      <a:pt x="110" y="98"/>
                    </a:lnTo>
                    <a:lnTo>
                      <a:pt x="110" y="100"/>
                    </a:lnTo>
                    <a:lnTo>
                      <a:pt x="112" y="100"/>
                    </a:lnTo>
                    <a:lnTo>
                      <a:pt x="114" y="100"/>
                    </a:lnTo>
                    <a:lnTo>
                      <a:pt x="116" y="100"/>
                    </a:lnTo>
                    <a:lnTo>
                      <a:pt x="118" y="102"/>
                    </a:lnTo>
                    <a:lnTo>
                      <a:pt x="118" y="104"/>
                    </a:lnTo>
                    <a:lnTo>
                      <a:pt x="118" y="108"/>
                    </a:lnTo>
                    <a:lnTo>
                      <a:pt x="118" y="110"/>
                    </a:lnTo>
                    <a:lnTo>
                      <a:pt x="116" y="110"/>
                    </a:lnTo>
                    <a:lnTo>
                      <a:pt x="114" y="110"/>
                    </a:lnTo>
                    <a:lnTo>
                      <a:pt x="112" y="110"/>
                    </a:lnTo>
                    <a:lnTo>
                      <a:pt x="110" y="110"/>
                    </a:lnTo>
                    <a:lnTo>
                      <a:pt x="108" y="108"/>
                    </a:lnTo>
                    <a:lnTo>
                      <a:pt x="106" y="108"/>
                    </a:lnTo>
                    <a:lnTo>
                      <a:pt x="104" y="108"/>
                    </a:lnTo>
                    <a:lnTo>
                      <a:pt x="104" y="110"/>
                    </a:lnTo>
                    <a:lnTo>
                      <a:pt x="102" y="110"/>
                    </a:lnTo>
                    <a:lnTo>
                      <a:pt x="104" y="112"/>
                    </a:lnTo>
                    <a:lnTo>
                      <a:pt x="106" y="112"/>
                    </a:lnTo>
                    <a:lnTo>
                      <a:pt x="106" y="114"/>
                    </a:lnTo>
                    <a:lnTo>
                      <a:pt x="108" y="114"/>
                    </a:lnTo>
                    <a:lnTo>
                      <a:pt x="108" y="116"/>
                    </a:lnTo>
                    <a:lnTo>
                      <a:pt x="106" y="116"/>
                    </a:lnTo>
                    <a:lnTo>
                      <a:pt x="106" y="118"/>
                    </a:lnTo>
                    <a:lnTo>
                      <a:pt x="104" y="118"/>
                    </a:lnTo>
                    <a:lnTo>
                      <a:pt x="104" y="120"/>
                    </a:lnTo>
                    <a:lnTo>
                      <a:pt x="102" y="120"/>
                    </a:lnTo>
                    <a:lnTo>
                      <a:pt x="100" y="122"/>
                    </a:lnTo>
                    <a:lnTo>
                      <a:pt x="100" y="124"/>
                    </a:lnTo>
                    <a:lnTo>
                      <a:pt x="100" y="126"/>
                    </a:lnTo>
                    <a:lnTo>
                      <a:pt x="100" y="128"/>
                    </a:lnTo>
                    <a:lnTo>
                      <a:pt x="98" y="128"/>
                    </a:lnTo>
                    <a:lnTo>
                      <a:pt x="96" y="128"/>
                    </a:lnTo>
                    <a:lnTo>
                      <a:pt x="96" y="130"/>
                    </a:lnTo>
                    <a:lnTo>
                      <a:pt x="94" y="130"/>
                    </a:lnTo>
                    <a:lnTo>
                      <a:pt x="94" y="128"/>
                    </a:lnTo>
                    <a:lnTo>
                      <a:pt x="94" y="126"/>
                    </a:lnTo>
                    <a:lnTo>
                      <a:pt x="94" y="124"/>
                    </a:lnTo>
                    <a:lnTo>
                      <a:pt x="94" y="126"/>
                    </a:lnTo>
                    <a:lnTo>
                      <a:pt x="94" y="128"/>
                    </a:lnTo>
                    <a:lnTo>
                      <a:pt x="94" y="130"/>
                    </a:lnTo>
                    <a:lnTo>
                      <a:pt x="96" y="132"/>
                    </a:lnTo>
                    <a:lnTo>
                      <a:pt x="98" y="132"/>
                    </a:lnTo>
                    <a:lnTo>
                      <a:pt x="100" y="132"/>
                    </a:lnTo>
                    <a:lnTo>
                      <a:pt x="102" y="132"/>
                    </a:lnTo>
                    <a:lnTo>
                      <a:pt x="104" y="132"/>
                    </a:lnTo>
                    <a:lnTo>
                      <a:pt x="106" y="132"/>
                    </a:lnTo>
                    <a:lnTo>
                      <a:pt x="108" y="130"/>
                    </a:lnTo>
                    <a:lnTo>
                      <a:pt x="110" y="130"/>
                    </a:lnTo>
                    <a:lnTo>
                      <a:pt x="112" y="130"/>
                    </a:lnTo>
                    <a:lnTo>
                      <a:pt x="114" y="130"/>
                    </a:lnTo>
                    <a:lnTo>
                      <a:pt x="116" y="128"/>
                    </a:lnTo>
                    <a:lnTo>
                      <a:pt x="116" y="126"/>
                    </a:lnTo>
                    <a:lnTo>
                      <a:pt x="118" y="126"/>
                    </a:lnTo>
                    <a:lnTo>
                      <a:pt x="122" y="124"/>
                    </a:lnTo>
                    <a:lnTo>
                      <a:pt x="122" y="122"/>
                    </a:lnTo>
                    <a:lnTo>
                      <a:pt x="124" y="122"/>
                    </a:lnTo>
                    <a:lnTo>
                      <a:pt x="126" y="122"/>
                    </a:lnTo>
                    <a:lnTo>
                      <a:pt x="126" y="120"/>
                    </a:lnTo>
                    <a:lnTo>
                      <a:pt x="128" y="118"/>
                    </a:lnTo>
                    <a:lnTo>
                      <a:pt x="130" y="116"/>
                    </a:lnTo>
                    <a:lnTo>
                      <a:pt x="130" y="114"/>
                    </a:lnTo>
                    <a:lnTo>
                      <a:pt x="132" y="112"/>
                    </a:lnTo>
                    <a:lnTo>
                      <a:pt x="132" y="110"/>
                    </a:lnTo>
                    <a:lnTo>
                      <a:pt x="134" y="110"/>
                    </a:lnTo>
                    <a:lnTo>
                      <a:pt x="136" y="110"/>
                    </a:lnTo>
                    <a:lnTo>
                      <a:pt x="138" y="108"/>
                    </a:lnTo>
                    <a:lnTo>
                      <a:pt x="140" y="108"/>
                    </a:lnTo>
                    <a:lnTo>
                      <a:pt x="140" y="106"/>
                    </a:lnTo>
                    <a:lnTo>
                      <a:pt x="142" y="106"/>
                    </a:lnTo>
                    <a:lnTo>
                      <a:pt x="142" y="104"/>
                    </a:lnTo>
                    <a:lnTo>
                      <a:pt x="144" y="106"/>
                    </a:lnTo>
                    <a:lnTo>
                      <a:pt x="146" y="106"/>
                    </a:lnTo>
                    <a:lnTo>
                      <a:pt x="148" y="106"/>
                    </a:lnTo>
                    <a:lnTo>
                      <a:pt x="150" y="106"/>
                    </a:lnTo>
                    <a:lnTo>
                      <a:pt x="150" y="108"/>
                    </a:lnTo>
                    <a:lnTo>
                      <a:pt x="152" y="108"/>
                    </a:lnTo>
                    <a:lnTo>
                      <a:pt x="154" y="108"/>
                    </a:lnTo>
                    <a:lnTo>
                      <a:pt x="156" y="108"/>
                    </a:lnTo>
                    <a:lnTo>
                      <a:pt x="158" y="106"/>
                    </a:lnTo>
                    <a:lnTo>
                      <a:pt x="160" y="106"/>
                    </a:lnTo>
                    <a:lnTo>
                      <a:pt x="158" y="108"/>
                    </a:lnTo>
                    <a:lnTo>
                      <a:pt x="156" y="110"/>
                    </a:lnTo>
                    <a:lnTo>
                      <a:pt x="154" y="110"/>
                    </a:lnTo>
                    <a:lnTo>
                      <a:pt x="152" y="110"/>
                    </a:lnTo>
                    <a:lnTo>
                      <a:pt x="150" y="110"/>
                    </a:lnTo>
                    <a:lnTo>
                      <a:pt x="150" y="112"/>
                    </a:lnTo>
                    <a:lnTo>
                      <a:pt x="152" y="112"/>
                    </a:lnTo>
                    <a:lnTo>
                      <a:pt x="152" y="114"/>
                    </a:lnTo>
                    <a:lnTo>
                      <a:pt x="154" y="114"/>
                    </a:lnTo>
                    <a:lnTo>
                      <a:pt x="156" y="114"/>
                    </a:lnTo>
                    <a:lnTo>
                      <a:pt x="158" y="116"/>
                    </a:lnTo>
                    <a:lnTo>
                      <a:pt x="160" y="116"/>
                    </a:lnTo>
                    <a:lnTo>
                      <a:pt x="162" y="116"/>
                    </a:lnTo>
                    <a:lnTo>
                      <a:pt x="164" y="116"/>
                    </a:lnTo>
                    <a:lnTo>
                      <a:pt x="166" y="116"/>
                    </a:lnTo>
                    <a:lnTo>
                      <a:pt x="168" y="116"/>
                    </a:lnTo>
                    <a:lnTo>
                      <a:pt x="170" y="116"/>
                    </a:lnTo>
                    <a:lnTo>
                      <a:pt x="172" y="116"/>
                    </a:lnTo>
                    <a:lnTo>
                      <a:pt x="174" y="116"/>
                    </a:lnTo>
                    <a:lnTo>
                      <a:pt x="174" y="118"/>
                    </a:lnTo>
                    <a:lnTo>
                      <a:pt x="176" y="118"/>
                    </a:lnTo>
                    <a:lnTo>
                      <a:pt x="176" y="120"/>
                    </a:lnTo>
                    <a:lnTo>
                      <a:pt x="176" y="122"/>
                    </a:lnTo>
                    <a:lnTo>
                      <a:pt x="174" y="122"/>
                    </a:lnTo>
                    <a:lnTo>
                      <a:pt x="172" y="124"/>
                    </a:lnTo>
                    <a:lnTo>
                      <a:pt x="168" y="126"/>
                    </a:lnTo>
                    <a:lnTo>
                      <a:pt x="166" y="128"/>
                    </a:lnTo>
                    <a:lnTo>
                      <a:pt x="164" y="128"/>
                    </a:lnTo>
                    <a:lnTo>
                      <a:pt x="162" y="130"/>
                    </a:lnTo>
                    <a:lnTo>
                      <a:pt x="162" y="132"/>
                    </a:lnTo>
                    <a:lnTo>
                      <a:pt x="164" y="132"/>
                    </a:lnTo>
                    <a:lnTo>
                      <a:pt x="166" y="132"/>
                    </a:lnTo>
                    <a:lnTo>
                      <a:pt x="170" y="132"/>
                    </a:lnTo>
                    <a:lnTo>
                      <a:pt x="172" y="132"/>
                    </a:lnTo>
                    <a:lnTo>
                      <a:pt x="176" y="134"/>
                    </a:lnTo>
                    <a:lnTo>
                      <a:pt x="178" y="134"/>
                    </a:lnTo>
                    <a:lnTo>
                      <a:pt x="178" y="136"/>
                    </a:lnTo>
                    <a:lnTo>
                      <a:pt x="178" y="138"/>
                    </a:lnTo>
                    <a:lnTo>
                      <a:pt x="178" y="140"/>
                    </a:lnTo>
                    <a:lnTo>
                      <a:pt x="176" y="144"/>
                    </a:lnTo>
                    <a:lnTo>
                      <a:pt x="176" y="146"/>
                    </a:lnTo>
                    <a:lnTo>
                      <a:pt x="176" y="148"/>
                    </a:lnTo>
                    <a:lnTo>
                      <a:pt x="178" y="148"/>
                    </a:lnTo>
                    <a:lnTo>
                      <a:pt x="182" y="148"/>
                    </a:lnTo>
                    <a:lnTo>
                      <a:pt x="184" y="148"/>
                    </a:lnTo>
                    <a:lnTo>
                      <a:pt x="186" y="148"/>
                    </a:lnTo>
                    <a:lnTo>
                      <a:pt x="188" y="148"/>
                    </a:lnTo>
                    <a:lnTo>
                      <a:pt x="188" y="146"/>
                    </a:lnTo>
                    <a:lnTo>
                      <a:pt x="190" y="144"/>
                    </a:lnTo>
                    <a:lnTo>
                      <a:pt x="190" y="142"/>
                    </a:lnTo>
                    <a:lnTo>
                      <a:pt x="192" y="142"/>
                    </a:lnTo>
                    <a:lnTo>
                      <a:pt x="194" y="142"/>
                    </a:lnTo>
                    <a:lnTo>
                      <a:pt x="196" y="142"/>
                    </a:lnTo>
                    <a:lnTo>
                      <a:pt x="198" y="142"/>
                    </a:lnTo>
                    <a:lnTo>
                      <a:pt x="200" y="142"/>
                    </a:lnTo>
                    <a:lnTo>
                      <a:pt x="202" y="140"/>
                    </a:lnTo>
                    <a:lnTo>
                      <a:pt x="204" y="138"/>
                    </a:lnTo>
                    <a:lnTo>
                      <a:pt x="206" y="136"/>
                    </a:lnTo>
                    <a:lnTo>
                      <a:pt x="206" y="134"/>
                    </a:lnTo>
                    <a:lnTo>
                      <a:pt x="208" y="134"/>
                    </a:lnTo>
                    <a:lnTo>
                      <a:pt x="208" y="136"/>
                    </a:lnTo>
                    <a:lnTo>
                      <a:pt x="210" y="136"/>
                    </a:lnTo>
                    <a:lnTo>
                      <a:pt x="212" y="138"/>
                    </a:lnTo>
                    <a:lnTo>
                      <a:pt x="214" y="138"/>
                    </a:lnTo>
                    <a:lnTo>
                      <a:pt x="216" y="136"/>
                    </a:lnTo>
                    <a:lnTo>
                      <a:pt x="218" y="136"/>
                    </a:lnTo>
                    <a:lnTo>
                      <a:pt x="220" y="134"/>
                    </a:lnTo>
                    <a:lnTo>
                      <a:pt x="220" y="132"/>
                    </a:lnTo>
                    <a:lnTo>
                      <a:pt x="222" y="130"/>
                    </a:lnTo>
                    <a:lnTo>
                      <a:pt x="220" y="130"/>
                    </a:lnTo>
                    <a:lnTo>
                      <a:pt x="218" y="130"/>
                    </a:lnTo>
                    <a:lnTo>
                      <a:pt x="218" y="128"/>
                    </a:lnTo>
                    <a:lnTo>
                      <a:pt x="216" y="128"/>
                    </a:lnTo>
                    <a:lnTo>
                      <a:pt x="216" y="130"/>
                    </a:lnTo>
                    <a:lnTo>
                      <a:pt x="214" y="130"/>
                    </a:lnTo>
                    <a:lnTo>
                      <a:pt x="212" y="132"/>
                    </a:lnTo>
                    <a:lnTo>
                      <a:pt x="210" y="132"/>
                    </a:lnTo>
                    <a:lnTo>
                      <a:pt x="208" y="132"/>
                    </a:lnTo>
                    <a:lnTo>
                      <a:pt x="206" y="132"/>
                    </a:lnTo>
                    <a:lnTo>
                      <a:pt x="204" y="132"/>
                    </a:lnTo>
                    <a:lnTo>
                      <a:pt x="202" y="132"/>
                    </a:lnTo>
                    <a:lnTo>
                      <a:pt x="200" y="130"/>
                    </a:lnTo>
                    <a:lnTo>
                      <a:pt x="198" y="130"/>
                    </a:lnTo>
                    <a:lnTo>
                      <a:pt x="198" y="128"/>
                    </a:lnTo>
                    <a:lnTo>
                      <a:pt x="198" y="126"/>
                    </a:lnTo>
                    <a:lnTo>
                      <a:pt x="196" y="126"/>
                    </a:lnTo>
                    <a:lnTo>
                      <a:pt x="196" y="124"/>
                    </a:lnTo>
                    <a:lnTo>
                      <a:pt x="194" y="124"/>
                    </a:lnTo>
                    <a:lnTo>
                      <a:pt x="192" y="124"/>
                    </a:lnTo>
                    <a:lnTo>
                      <a:pt x="190" y="122"/>
                    </a:lnTo>
                    <a:lnTo>
                      <a:pt x="190" y="120"/>
                    </a:lnTo>
                    <a:lnTo>
                      <a:pt x="188" y="120"/>
                    </a:lnTo>
                    <a:lnTo>
                      <a:pt x="188" y="118"/>
                    </a:lnTo>
                    <a:lnTo>
                      <a:pt x="186" y="118"/>
                    </a:lnTo>
                    <a:lnTo>
                      <a:pt x="184" y="118"/>
                    </a:lnTo>
                    <a:lnTo>
                      <a:pt x="182" y="118"/>
                    </a:lnTo>
                    <a:lnTo>
                      <a:pt x="180" y="118"/>
                    </a:lnTo>
                    <a:lnTo>
                      <a:pt x="178" y="116"/>
                    </a:lnTo>
                    <a:lnTo>
                      <a:pt x="178" y="114"/>
                    </a:lnTo>
                    <a:lnTo>
                      <a:pt x="180" y="114"/>
                    </a:lnTo>
                    <a:lnTo>
                      <a:pt x="182" y="114"/>
                    </a:lnTo>
                    <a:lnTo>
                      <a:pt x="184" y="114"/>
                    </a:lnTo>
                    <a:lnTo>
                      <a:pt x="186" y="114"/>
                    </a:lnTo>
                    <a:lnTo>
                      <a:pt x="188" y="116"/>
                    </a:lnTo>
                    <a:lnTo>
                      <a:pt x="190" y="116"/>
                    </a:lnTo>
                    <a:lnTo>
                      <a:pt x="192" y="116"/>
                    </a:lnTo>
                    <a:lnTo>
                      <a:pt x="192" y="114"/>
                    </a:lnTo>
                    <a:lnTo>
                      <a:pt x="194" y="114"/>
                    </a:lnTo>
                    <a:lnTo>
                      <a:pt x="196" y="112"/>
                    </a:lnTo>
                    <a:lnTo>
                      <a:pt x="198" y="112"/>
                    </a:lnTo>
                    <a:lnTo>
                      <a:pt x="198" y="110"/>
                    </a:lnTo>
                    <a:lnTo>
                      <a:pt x="200" y="110"/>
                    </a:lnTo>
                    <a:lnTo>
                      <a:pt x="200" y="112"/>
                    </a:lnTo>
                    <a:lnTo>
                      <a:pt x="202" y="112"/>
                    </a:lnTo>
                    <a:lnTo>
                      <a:pt x="204" y="110"/>
                    </a:lnTo>
                    <a:lnTo>
                      <a:pt x="208" y="108"/>
                    </a:lnTo>
                    <a:lnTo>
                      <a:pt x="210" y="108"/>
                    </a:lnTo>
                    <a:lnTo>
                      <a:pt x="212" y="106"/>
                    </a:lnTo>
                    <a:lnTo>
                      <a:pt x="218" y="106"/>
                    </a:lnTo>
                    <a:lnTo>
                      <a:pt x="220" y="106"/>
                    </a:lnTo>
                    <a:lnTo>
                      <a:pt x="222" y="106"/>
                    </a:lnTo>
                    <a:lnTo>
                      <a:pt x="226" y="102"/>
                    </a:lnTo>
                    <a:lnTo>
                      <a:pt x="228" y="100"/>
                    </a:lnTo>
                    <a:lnTo>
                      <a:pt x="230" y="100"/>
                    </a:lnTo>
                    <a:lnTo>
                      <a:pt x="232" y="98"/>
                    </a:lnTo>
                    <a:lnTo>
                      <a:pt x="234" y="98"/>
                    </a:lnTo>
                    <a:lnTo>
                      <a:pt x="236" y="98"/>
                    </a:lnTo>
                    <a:lnTo>
                      <a:pt x="238" y="98"/>
                    </a:lnTo>
                    <a:lnTo>
                      <a:pt x="240" y="98"/>
                    </a:lnTo>
                    <a:lnTo>
                      <a:pt x="242" y="98"/>
                    </a:lnTo>
                    <a:lnTo>
                      <a:pt x="242" y="96"/>
                    </a:lnTo>
                    <a:lnTo>
                      <a:pt x="242" y="92"/>
                    </a:lnTo>
                    <a:lnTo>
                      <a:pt x="242" y="90"/>
                    </a:lnTo>
                    <a:lnTo>
                      <a:pt x="242" y="88"/>
                    </a:lnTo>
                    <a:lnTo>
                      <a:pt x="244" y="88"/>
                    </a:lnTo>
                    <a:lnTo>
                      <a:pt x="246" y="88"/>
                    </a:lnTo>
                    <a:lnTo>
                      <a:pt x="248" y="86"/>
                    </a:lnTo>
                    <a:lnTo>
                      <a:pt x="250" y="84"/>
                    </a:lnTo>
                    <a:lnTo>
                      <a:pt x="252" y="84"/>
                    </a:lnTo>
                    <a:lnTo>
                      <a:pt x="254" y="84"/>
                    </a:lnTo>
                    <a:lnTo>
                      <a:pt x="256" y="84"/>
                    </a:lnTo>
                    <a:lnTo>
                      <a:pt x="260" y="84"/>
                    </a:lnTo>
                    <a:lnTo>
                      <a:pt x="262" y="84"/>
                    </a:lnTo>
                    <a:lnTo>
                      <a:pt x="264" y="82"/>
                    </a:lnTo>
                    <a:lnTo>
                      <a:pt x="266" y="82"/>
                    </a:lnTo>
                    <a:lnTo>
                      <a:pt x="266" y="80"/>
                    </a:lnTo>
                    <a:lnTo>
                      <a:pt x="266" y="78"/>
                    </a:lnTo>
                    <a:lnTo>
                      <a:pt x="264" y="76"/>
                    </a:lnTo>
                    <a:lnTo>
                      <a:pt x="264" y="74"/>
                    </a:lnTo>
                    <a:lnTo>
                      <a:pt x="264" y="72"/>
                    </a:lnTo>
                    <a:lnTo>
                      <a:pt x="262" y="70"/>
                    </a:lnTo>
                    <a:lnTo>
                      <a:pt x="260" y="70"/>
                    </a:lnTo>
                    <a:lnTo>
                      <a:pt x="260" y="68"/>
                    </a:lnTo>
                    <a:lnTo>
                      <a:pt x="262" y="68"/>
                    </a:lnTo>
                    <a:lnTo>
                      <a:pt x="264" y="66"/>
                    </a:lnTo>
                    <a:lnTo>
                      <a:pt x="266" y="66"/>
                    </a:lnTo>
                    <a:lnTo>
                      <a:pt x="266" y="64"/>
                    </a:lnTo>
                    <a:lnTo>
                      <a:pt x="264" y="64"/>
                    </a:lnTo>
                    <a:lnTo>
                      <a:pt x="262" y="62"/>
                    </a:lnTo>
                    <a:lnTo>
                      <a:pt x="260" y="62"/>
                    </a:lnTo>
                    <a:lnTo>
                      <a:pt x="262" y="62"/>
                    </a:lnTo>
                    <a:lnTo>
                      <a:pt x="262" y="60"/>
                    </a:lnTo>
                    <a:lnTo>
                      <a:pt x="264" y="60"/>
                    </a:lnTo>
                    <a:lnTo>
                      <a:pt x="264" y="58"/>
                    </a:lnTo>
                    <a:lnTo>
                      <a:pt x="264" y="56"/>
                    </a:lnTo>
                    <a:lnTo>
                      <a:pt x="264" y="54"/>
                    </a:lnTo>
                    <a:lnTo>
                      <a:pt x="262" y="52"/>
                    </a:lnTo>
                    <a:lnTo>
                      <a:pt x="260" y="52"/>
                    </a:lnTo>
                    <a:lnTo>
                      <a:pt x="258" y="52"/>
                    </a:lnTo>
                    <a:lnTo>
                      <a:pt x="256" y="52"/>
                    </a:lnTo>
                    <a:lnTo>
                      <a:pt x="256" y="50"/>
                    </a:lnTo>
                    <a:lnTo>
                      <a:pt x="254" y="50"/>
                    </a:lnTo>
                    <a:lnTo>
                      <a:pt x="254" y="48"/>
                    </a:lnTo>
                    <a:lnTo>
                      <a:pt x="252" y="48"/>
                    </a:lnTo>
                    <a:lnTo>
                      <a:pt x="250" y="46"/>
                    </a:lnTo>
                    <a:lnTo>
                      <a:pt x="248" y="46"/>
                    </a:lnTo>
                    <a:lnTo>
                      <a:pt x="246" y="46"/>
                    </a:lnTo>
                    <a:lnTo>
                      <a:pt x="244" y="46"/>
                    </a:lnTo>
                    <a:lnTo>
                      <a:pt x="242" y="46"/>
                    </a:lnTo>
                    <a:lnTo>
                      <a:pt x="240" y="46"/>
                    </a:lnTo>
                    <a:lnTo>
                      <a:pt x="240" y="44"/>
                    </a:lnTo>
                    <a:lnTo>
                      <a:pt x="238" y="44"/>
                    </a:lnTo>
                    <a:lnTo>
                      <a:pt x="236" y="44"/>
                    </a:lnTo>
                    <a:lnTo>
                      <a:pt x="234" y="44"/>
                    </a:lnTo>
                    <a:lnTo>
                      <a:pt x="232" y="44"/>
                    </a:lnTo>
                    <a:lnTo>
                      <a:pt x="230" y="46"/>
                    </a:lnTo>
                    <a:lnTo>
                      <a:pt x="230" y="44"/>
                    </a:lnTo>
                    <a:lnTo>
                      <a:pt x="228" y="44"/>
                    </a:lnTo>
                    <a:lnTo>
                      <a:pt x="228" y="42"/>
                    </a:lnTo>
                    <a:lnTo>
                      <a:pt x="226" y="40"/>
                    </a:lnTo>
                    <a:lnTo>
                      <a:pt x="224" y="38"/>
                    </a:lnTo>
                    <a:lnTo>
                      <a:pt x="224" y="36"/>
                    </a:lnTo>
                    <a:lnTo>
                      <a:pt x="222" y="36"/>
                    </a:lnTo>
                    <a:lnTo>
                      <a:pt x="220" y="36"/>
                    </a:lnTo>
                    <a:lnTo>
                      <a:pt x="218" y="38"/>
                    </a:lnTo>
                    <a:lnTo>
                      <a:pt x="220" y="38"/>
                    </a:lnTo>
                    <a:lnTo>
                      <a:pt x="220" y="40"/>
                    </a:lnTo>
                    <a:lnTo>
                      <a:pt x="218" y="38"/>
                    </a:lnTo>
                    <a:lnTo>
                      <a:pt x="214" y="38"/>
                    </a:lnTo>
                    <a:lnTo>
                      <a:pt x="212" y="38"/>
                    </a:lnTo>
                    <a:lnTo>
                      <a:pt x="210" y="38"/>
                    </a:lnTo>
                    <a:lnTo>
                      <a:pt x="208" y="38"/>
                    </a:lnTo>
                    <a:lnTo>
                      <a:pt x="206" y="38"/>
                    </a:lnTo>
                    <a:lnTo>
                      <a:pt x="204" y="38"/>
                    </a:lnTo>
                    <a:lnTo>
                      <a:pt x="202" y="36"/>
                    </a:lnTo>
                    <a:lnTo>
                      <a:pt x="200" y="36"/>
                    </a:lnTo>
                    <a:lnTo>
                      <a:pt x="198" y="36"/>
                    </a:lnTo>
                    <a:lnTo>
                      <a:pt x="196" y="36"/>
                    </a:lnTo>
                    <a:lnTo>
                      <a:pt x="194" y="36"/>
                    </a:lnTo>
                    <a:lnTo>
                      <a:pt x="192" y="36"/>
                    </a:lnTo>
                    <a:lnTo>
                      <a:pt x="192" y="34"/>
                    </a:lnTo>
                    <a:lnTo>
                      <a:pt x="192" y="32"/>
                    </a:lnTo>
                    <a:lnTo>
                      <a:pt x="190" y="30"/>
                    </a:lnTo>
                    <a:lnTo>
                      <a:pt x="190" y="28"/>
                    </a:lnTo>
                    <a:lnTo>
                      <a:pt x="190" y="26"/>
                    </a:lnTo>
                    <a:lnTo>
                      <a:pt x="188" y="24"/>
                    </a:lnTo>
                    <a:lnTo>
                      <a:pt x="184" y="24"/>
                    </a:lnTo>
                    <a:lnTo>
                      <a:pt x="182" y="22"/>
                    </a:lnTo>
                    <a:lnTo>
                      <a:pt x="180" y="22"/>
                    </a:lnTo>
                    <a:lnTo>
                      <a:pt x="178" y="22"/>
                    </a:lnTo>
                    <a:lnTo>
                      <a:pt x="176" y="20"/>
                    </a:lnTo>
                    <a:lnTo>
                      <a:pt x="174" y="20"/>
                    </a:lnTo>
                    <a:lnTo>
                      <a:pt x="172" y="20"/>
                    </a:lnTo>
                    <a:lnTo>
                      <a:pt x="172" y="18"/>
                    </a:lnTo>
                    <a:lnTo>
                      <a:pt x="172" y="16"/>
                    </a:lnTo>
                    <a:lnTo>
                      <a:pt x="170" y="16"/>
                    </a:lnTo>
                    <a:lnTo>
                      <a:pt x="170" y="14"/>
                    </a:lnTo>
                    <a:lnTo>
                      <a:pt x="170" y="12"/>
                    </a:lnTo>
                    <a:lnTo>
                      <a:pt x="172" y="12"/>
                    </a:lnTo>
                    <a:lnTo>
                      <a:pt x="174" y="10"/>
                    </a:lnTo>
                    <a:lnTo>
                      <a:pt x="172" y="8"/>
                    </a:lnTo>
                    <a:lnTo>
                      <a:pt x="170" y="8"/>
                    </a:lnTo>
                    <a:lnTo>
                      <a:pt x="168" y="6"/>
                    </a:lnTo>
                    <a:lnTo>
                      <a:pt x="166" y="6"/>
                    </a:lnTo>
                    <a:lnTo>
                      <a:pt x="166" y="4"/>
                    </a:lnTo>
                    <a:lnTo>
                      <a:pt x="164" y="2"/>
                    </a:lnTo>
                    <a:lnTo>
                      <a:pt x="164" y="0"/>
                    </a:lnTo>
                    <a:lnTo>
                      <a:pt x="162" y="0"/>
                    </a:lnTo>
                    <a:lnTo>
                      <a:pt x="158" y="0"/>
                    </a:lnTo>
                    <a:lnTo>
                      <a:pt x="156" y="2"/>
                    </a:lnTo>
                    <a:lnTo>
                      <a:pt x="154" y="2"/>
                    </a:lnTo>
                    <a:lnTo>
                      <a:pt x="152" y="2"/>
                    </a:lnTo>
                    <a:lnTo>
                      <a:pt x="150" y="2"/>
                    </a:lnTo>
                    <a:lnTo>
                      <a:pt x="150" y="4"/>
                    </a:lnTo>
                    <a:lnTo>
                      <a:pt x="148" y="2"/>
                    </a:lnTo>
                    <a:lnTo>
                      <a:pt x="146" y="2"/>
                    </a:lnTo>
                    <a:lnTo>
                      <a:pt x="144" y="2"/>
                    </a:lnTo>
                    <a:lnTo>
                      <a:pt x="144" y="4"/>
                    </a:lnTo>
                    <a:lnTo>
                      <a:pt x="144" y="6"/>
                    </a:lnTo>
                    <a:lnTo>
                      <a:pt x="142" y="6"/>
                    </a:lnTo>
                    <a:lnTo>
                      <a:pt x="140" y="8"/>
                    </a:lnTo>
                    <a:lnTo>
                      <a:pt x="138" y="8"/>
                    </a:lnTo>
                    <a:lnTo>
                      <a:pt x="136" y="6"/>
                    </a:lnTo>
                    <a:lnTo>
                      <a:pt x="134" y="6"/>
                    </a:lnTo>
                    <a:lnTo>
                      <a:pt x="130" y="6"/>
                    </a:lnTo>
                    <a:lnTo>
                      <a:pt x="128" y="6"/>
                    </a:lnTo>
                    <a:lnTo>
                      <a:pt x="126" y="6"/>
                    </a:lnTo>
                    <a:lnTo>
                      <a:pt x="124" y="6"/>
                    </a:lnTo>
                    <a:lnTo>
                      <a:pt x="122" y="6"/>
                    </a:lnTo>
                    <a:lnTo>
                      <a:pt x="120" y="8"/>
                    </a:lnTo>
                    <a:lnTo>
                      <a:pt x="120" y="10"/>
                    </a:lnTo>
                    <a:lnTo>
                      <a:pt x="118" y="12"/>
                    </a:lnTo>
                    <a:lnTo>
                      <a:pt x="116" y="12"/>
                    </a:lnTo>
                    <a:lnTo>
                      <a:pt x="116" y="14"/>
                    </a:lnTo>
                    <a:lnTo>
                      <a:pt x="116" y="16"/>
                    </a:lnTo>
                    <a:lnTo>
                      <a:pt x="118" y="16"/>
                    </a:lnTo>
                    <a:lnTo>
                      <a:pt x="118" y="18"/>
                    </a:lnTo>
                    <a:lnTo>
                      <a:pt x="116" y="20"/>
                    </a:lnTo>
                    <a:lnTo>
                      <a:pt x="114" y="20"/>
                    </a:lnTo>
                    <a:lnTo>
                      <a:pt x="112" y="18"/>
                    </a:lnTo>
                    <a:lnTo>
                      <a:pt x="110" y="18"/>
                    </a:lnTo>
                    <a:lnTo>
                      <a:pt x="108" y="18"/>
                    </a:lnTo>
                    <a:lnTo>
                      <a:pt x="106" y="18"/>
                    </a:lnTo>
                    <a:lnTo>
                      <a:pt x="104" y="18"/>
                    </a:lnTo>
                    <a:lnTo>
                      <a:pt x="102" y="18"/>
                    </a:lnTo>
                    <a:lnTo>
                      <a:pt x="100" y="18"/>
                    </a:lnTo>
                    <a:lnTo>
                      <a:pt x="100" y="16"/>
                    </a:lnTo>
                    <a:lnTo>
                      <a:pt x="98" y="14"/>
                    </a:lnTo>
                    <a:lnTo>
                      <a:pt x="96" y="14"/>
                    </a:lnTo>
                    <a:lnTo>
                      <a:pt x="94" y="14"/>
                    </a:lnTo>
                    <a:lnTo>
                      <a:pt x="94" y="16"/>
                    </a:lnTo>
                    <a:lnTo>
                      <a:pt x="92" y="18"/>
                    </a:lnTo>
                    <a:lnTo>
                      <a:pt x="92" y="16"/>
                    </a:lnTo>
                    <a:lnTo>
                      <a:pt x="90" y="16"/>
                    </a:lnTo>
                    <a:lnTo>
                      <a:pt x="90" y="14"/>
                    </a:lnTo>
                    <a:lnTo>
                      <a:pt x="90" y="16"/>
                    </a:lnTo>
                    <a:lnTo>
                      <a:pt x="88" y="16"/>
                    </a:lnTo>
                    <a:lnTo>
                      <a:pt x="86" y="16"/>
                    </a:lnTo>
                    <a:lnTo>
                      <a:pt x="84" y="16"/>
                    </a:lnTo>
                    <a:lnTo>
                      <a:pt x="82" y="16"/>
                    </a:lnTo>
                    <a:lnTo>
                      <a:pt x="80" y="14"/>
                    </a:lnTo>
                    <a:lnTo>
                      <a:pt x="78" y="16"/>
                    </a:lnTo>
                    <a:lnTo>
                      <a:pt x="76" y="16"/>
                    </a:lnTo>
                    <a:lnTo>
                      <a:pt x="76" y="14"/>
                    </a:lnTo>
                    <a:lnTo>
                      <a:pt x="74" y="14"/>
                    </a:lnTo>
                    <a:lnTo>
                      <a:pt x="72" y="14"/>
                    </a:lnTo>
                    <a:lnTo>
                      <a:pt x="70" y="14"/>
                    </a:lnTo>
                    <a:lnTo>
                      <a:pt x="70" y="12"/>
                    </a:lnTo>
                    <a:lnTo>
                      <a:pt x="68" y="12"/>
                    </a:lnTo>
                    <a:lnTo>
                      <a:pt x="66" y="12"/>
                    </a:lnTo>
                    <a:lnTo>
                      <a:pt x="64" y="12"/>
                    </a:lnTo>
                    <a:lnTo>
                      <a:pt x="62" y="12"/>
                    </a:lnTo>
                    <a:lnTo>
                      <a:pt x="60" y="12"/>
                    </a:lnTo>
                    <a:lnTo>
                      <a:pt x="58" y="12"/>
                    </a:lnTo>
                    <a:lnTo>
                      <a:pt x="56" y="12"/>
                    </a:lnTo>
                    <a:lnTo>
                      <a:pt x="54" y="12"/>
                    </a:lnTo>
                    <a:lnTo>
                      <a:pt x="54" y="10"/>
                    </a:lnTo>
                    <a:lnTo>
                      <a:pt x="52" y="10"/>
                    </a:lnTo>
                    <a:lnTo>
                      <a:pt x="52" y="8"/>
                    </a:lnTo>
                    <a:lnTo>
                      <a:pt x="50" y="8"/>
                    </a:lnTo>
                    <a:lnTo>
                      <a:pt x="48" y="8"/>
                    </a:lnTo>
                    <a:lnTo>
                      <a:pt x="46" y="8"/>
                    </a:lnTo>
                    <a:lnTo>
                      <a:pt x="44" y="8"/>
                    </a:lnTo>
                    <a:lnTo>
                      <a:pt x="42" y="8"/>
                    </a:lnTo>
                    <a:lnTo>
                      <a:pt x="40" y="8"/>
                    </a:lnTo>
                    <a:lnTo>
                      <a:pt x="38" y="10"/>
                    </a:lnTo>
                    <a:lnTo>
                      <a:pt x="36" y="10"/>
                    </a:lnTo>
                    <a:lnTo>
                      <a:pt x="34" y="10"/>
                    </a:lnTo>
                    <a:lnTo>
                      <a:pt x="32" y="10"/>
                    </a:lnTo>
                    <a:lnTo>
                      <a:pt x="30" y="10"/>
                    </a:lnTo>
                    <a:lnTo>
                      <a:pt x="28" y="10"/>
                    </a:lnTo>
                    <a:lnTo>
                      <a:pt x="26" y="10"/>
                    </a:lnTo>
                    <a:lnTo>
                      <a:pt x="26" y="12"/>
                    </a:lnTo>
                    <a:lnTo>
                      <a:pt x="26" y="14"/>
                    </a:lnTo>
                    <a:lnTo>
                      <a:pt x="24" y="16"/>
                    </a:lnTo>
                    <a:lnTo>
                      <a:pt x="22" y="16"/>
                    </a:lnTo>
                    <a:lnTo>
                      <a:pt x="20" y="16"/>
                    </a:lnTo>
                    <a:lnTo>
                      <a:pt x="18" y="16"/>
                    </a:lnTo>
                    <a:lnTo>
                      <a:pt x="18" y="14"/>
                    </a:lnTo>
                    <a:lnTo>
                      <a:pt x="16" y="14"/>
                    </a:lnTo>
                    <a:lnTo>
                      <a:pt x="18" y="16"/>
                    </a:lnTo>
                    <a:lnTo>
                      <a:pt x="18" y="18"/>
                    </a:lnTo>
                    <a:lnTo>
                      <a:pt x="18" y="20"/>
                    </a:lnTo>
                    <a:lnTo>
                      <a:pt x="20" y="20"/>
                    </a:lnTo>
                    <a:lnTo>
                      <a:pt x="20" y="22"/>
                    </a:lnTo>
                    <a:lnTo>
                      <a:pt x="22" y="24"/>
                    </a:lnTo>
                    <a:lnTo>
                      <a:pt x="22" y="26"/>
                    </a:lnTo>
                    <a:lnTo>
                      <a:pt x="24" y="28"/>
                    </a:lnTo>
                    <a:lnTo>
                      <a:pt x="26" y="28"/>
                    </a:lnTo>
                    <a:lnTo>
                      <a:pt x="26" y="30"/>
                    </a:lnTo>
                    <a:lnTo>
                      <a:pt x="24" y="30"/>
                    </a:lnTo>
                    <a:lnTo>
                      <a:pt x="24" y="32"/>
                    </a:lnTo>
                    <a:lnTo>
                      <a:pt x="26" y="34"/>
                    </a:lnTo>
                    <a:lnTo>
                      <a:pt x="26" y="36"/>
                    </a:lnTo>
                    <a:lnTo>
                      <a:pt x="24" y="36"/>
                    </a:lnTo>
                    <a:lnTo>
                      <a:pt x="22" y="36"/>
                    </a:lnTo>
                    <a:lnTo>
                      <a:pt x="22" y="38"/>
                    </a:lnTo>
                    <a:lnTo>
                      <a:pt x="18" y="40"/>
                    </a:lnTo>
                    <a:lnTo>
                      <a:pt x="16" y="42"/>
                    </a:lnTo>
                    <a:lnTo>
                      <a:pt x="14" y="44"/>
                    </a:lnTo>
                    <a:lnTo>
                      <a:pt x="12" y="46"/>
                    </a:lnTo>
                    <a:lnTo>
                      <a:pt x="10" y="48"/>
                    </a:lnTo>
                    <a:lnTo>
                      <a:pt x="8" y="50"/>
                    </a:lnTo>
                    <a:lnTo>
                      <a:pt x="8" y="52"/>
                    </a:lnTo>
                    <a:lnTo>
                      <a:pt x="8" y="54"/>
                    </a:lnTo>
                    <a:lnTo>
                      <a:pt x="8" y="58"/>
                    </a:lnTo>
                    <a:lnTo>
                      <a:pt x="8" y="60"/>
                    </a:lnTo>
                    <a:lnTo>
                      <a:pt x="10" y="62"/>
                    </a:lnTo>
                    <a:lnTo>
                      <a:pt x="8" y="62"/>
                    </a:lnTo>
                    <a:lnTo>
                      <a:pt x="6" y="62"/>
                    </a:lnTo>
                    <a:lnTo>
                      <a:pt x="4" y="62"/>
                    </a:lnTo>
                    <a:lnTo>
                      <a:pt x="4" y="64"/>
                    </a:lnTo>
                    <a:lnTo>
                      <a:pt x="4" y="66"/>
                    </a:lnTo>
                    <a:lnTo>
                      <a:pt x="2" y="68"/>
                    </a:lnTo>
                    <a:lnTo>
                      <a:pt x="2" y="70"/>
                    </a:lnTo>
                    <a:lnTo>
                      <a:pt x="0" y="70"/>
                    </a:lnTo>
                    <a:lnTo>
                      <a:pt x="0" y="72"/>
                    </a:lnTo>
                    <a:lnTo>
                      <a:pt x="0" y="74"/>
                    </a:lnTo>
                    <a:lnTo>
                      <a:pt x="2" y="74"/>
                    </a:lnTo>
                    <a:lnTo>
                      <a:pt x="2" y="76"/>
                    </a:lnTo>
                    <a:lnTo>
                      <a:pt x="4" y="76"/>
                    </a:lnTo>
                    <a:lnTo>
                      <a:pt x="4" y="78"/>
                    </a:lnTo>
                    <a:lnTo>
                      <a:pt x="6" y="7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1" name="Freeform 155">
                <a:extLst>
                  <a:ext uri="{FF2B5EF4-FFF2-40B4-BE49-F238E27FC236}">
                    <a16:creationId xmlns:a16="http://schemas.microsoft.com/office/drawing/2014/main" id="{132CA928-EE74-4E8B-A884-4934DC6BF903}"/>
                  </a:ext>
                </a:extLst>
              </p:cNvPr>
              <p:cNvSpPr>
                <a:spLocks noChangeAspect="1"/>
              </p:cNvSpPr>
              <p:nvPr/>
            </p:nvSpPr>
            <p:spPr bwMode="auto">
              <a:xfrm>
                <a:off x="5001373" y="2389545"/>
                <a:ext cx="223633" cy="153469"/>
              </a:xfrm>
              <a:custGeom>
                <a:avLst/>
                <a:gdLst/>
                <a:ahLst/>
                <a:cxnLst>
                  <a:cxn ang="0">
                    <a:pos x="6" y="80"/>
                  </a:cxn>
                  <a:cxn ang="0">
                    <a:pos x="12" y="84"/>
                  </a:cxn>
                  <a:cxn ang="0">
                    <a:pos x="20" y="78"/>
                  </a:cxn>
                  <a:cxn ang="0">
                    <a:pos x="28" y="78"/>
                  </a:cxn>
                  <a:cxn ang="0">
                    <a:pos x="36" y="76"/>
                  </a:cxn>
                  <a:cxn ang="0">
                    <a:pos x="42" y="78"/>
                  </a:cxn>
                  <a:cxn ang="0">
                    <a:pos x="54" y="80"/>
                  </a:cxn>
                  <a:cxn ang="0">
                    <a:pos x="60" y="82"/>
                  </a:cxn>
                  <a:cxn ang="0">
                    <a:pos x="64" y="82"/>
                  </a:cxn>
                  <a:cxn ang="0">
                    <a:pos x="70" y="82"/>
                  </a:cxn>
                  <a:cxn ang="0">
                    <a:pos x="74" y="84"/>
                  </a:cxn>
                  <a:cxn ang="0">
                    <a:pos x="78" y="84"/>
                  </a:cxn>
                  <a:cxn ang="0">
                    <a:pos x="82" y="86"/>
                  </a:cxn>
                  <a:cxn ang="0">
                    <a:pos x="86" y="82"/>
                  </a:cxn>
                  <a:cxn ang="0">
                    <a:pos x="92" y="86"/>
                  </a:cxn>
                  <a:cxn ang="0">
                    <a:pos x="100" y="86"/>
                  </a:cxn>
                  <a:cxn ang="0">
                    <a:pos x="108" y="86"/>
                  </a:cxn>
                  <a:cxn ang="0">
                    <a:pos x="108" y="80"/>
                  </a:cxn>
                  <a:cxn ang="0">
                    <a:pos x="120" y="74"/>
                  </a:cxn>
                  <a:cxn ang="0">
                    <a:pos x="122" y="66"/>
                  </a:cxn>
                  <a:cxn ang="0">
                    <a:pos x="118" y="60"/>
                  </a:cxn>
                  <a:cxn ang="0">
                    <a:pos x="118" y="54"/>
                  </a:cxn>
                  <a:cxn ang="0">
                    <a:pos x="124" y="56"/>
                  </a:cxn>
                  <a:cxn ang="0">
                    <a:pos x="134" y="50"/>
                  </a:cxn>
                  <a:cxn ang="0">
                    <a:pos x="130" y="46"/>
                  </a:cxn>
                  <a:cxn ang="0">
                    <a:pos x="126" y="42"/>
                  </a:cxn>
                  <a:cxn ang="0">
                    <a:pos x="120" y="38"/>
                  </a:cxn>
                  <a:cxn ang="0">
                    <a:pos x="114" y="34"/>
                  </a:cxn>
                  <a:cxn ang="0">
                    <a:pos x="112" y="30"/>
                  </a:cxn>
                  <a:cxn ang="0">
                    <a:pos x="106" y="22"/>
                  </a:cxn>
                  <a:cxn ang="0">
                    <a:pos x="104" y="16"/>
                  </a:cxn>
                  <a:cxn ang="0">
                    <a:pos x="106" y="12"/>
                  </a:cxn>
                  <a:cxn ang="0">
                    <a:pos x="94" y="4"/>
                  </a:cxn>
                  <a:cxn ang="0">
                    <a:pos x="84" y="8"/>
                  </a:cxn>
                  <a:cxn ang="0">
                    <a:pos x="80" y="4"/>
                  </a:cxn>
                  <a:cxn ang="0">
                    <a:pos x="72" y="4"/>
                  </a:cxn>
                  <a:cxn ang="0">
                    <a:pos x="66" y="0"/>
                  </a:cxn>
                  <a:cxn ang="0">
                    <a:pos x="60" y="2"/>
                  </a:cxn>
                  <a:cxn ang="0">
                    <a:pos x="56" y="6"/>
                  </a:cxn>
                  <a:cxn ang="0">
                    <a:pos x="50" y="4"/>
                  </a:cxn>
                  <a:cxn ang="0">
                    <a:pos x="42" y="10"/>
                  </a:cxn>
                  <a:cxn ang="0">
                    <a:pos x="46" y="16"/>
                  </a:cxn>
                  <a:cxn ang="0">
                    <a:pos x="36" y="16"/>
                  </a:cxn>
                  <a:cxn ang="0">
                    <a:pos x="38" y="20"/>
                  </a:cxn>
                  <a:cxn ang="0">
                    <a:pos x="34" y="28"/>
                  </a:cxn>
                  <a:cxn ang="0">
                    <a:pos x="32" y="30"/>
                  </a:cxn>
                  <a:cxn ang="0">
                    <a:pos x="32" y="36"/>
                  </a:cxn>
                  <a:cxn ang="0">
                    <a:pos x="28" y="34"/>
                  </a:cxn>
                  <a:cxn ang="0">
                    <a:pos x="24" y="38"/>
                  </a:cxn>
                  <a:cxn ang="0">
                    <a:pos x="20" y="38"/>
                  </a:cxn>
                  <a:cxn ang="0">
                    <a:pos x="14" y="40"/>
                  </a:cxn>
                  <a:cxn ang="0">
                    <a:pos x="8" y="38"/>
                  </a:cxn>
                  <a:cxn ang="0">
                    <a:pos x="2" y="40"/>
                  </a:cxn>
                  <a:cxn ang="0">
                    <a:pos x="6" y="50"/>
                  </a:cxn>
                  <a:cxn ang="0">
                    <a:pos x="10" y="56"/>
                  </a:cxn>
                  <a:cxn ang="0">
                    <a:pos x="6" y="62"/>
                  </a:cxn>
                  <a:cxn ang="0">
                    <a:pos x="4" y="66"/>
                  </a:cxn>
                  <a:cxn ang="0">
                    <a:pos x="0" y="70"/>
                  </a:cxn>
                </a:cxnLst>
                <a:rect l="0" t="0" r="r" b="b"/>
                <a:pathLst>
                  <a:path w="136" h="88">
                    <a:moveTo>
                      <a:pt x="6" y="74"/>
                    </a:moveTo>
                    <a:lnTo>
                      <a:pt x="6" y="74"/>
                    </a:lnTo>
                    <a:lnTo>
                      <a:pt x="6" y="76"/>
                    </a:lnTo>
                    <a:lnTo>
                      <a:pt x="6" y="78"/>
                    </a:lnTo>
                    <a:lnTo>
                      <a:pt x="6" y="80"/>
                    </a:lnTo>
                    <a:lnTo>
                      <a:pt x="6" y="82"/>
                    </a:lnTo>
                    <a:lnTo>
                      <a:pt x="8" y="82"/>
                    </a:lnTo>
                    <a:lnTo>
                      <a:pt x="8" y="84"/>
                    </a:lnTo>
                    <a:lnTo>
                      <a:pt x="10" y="84"/>
                    </a:lnTo>
                    <a:lnTo>
                      <a:pt x="12" y="84"/>
                    </a:lnTo>
                    <a:lnTo>
                      <a:pt x="14" y="84"/>
                    </a:lnTo>
                    <a:lnTo>
                      <a:pt x="16" y="82"/>
                    </a:lnTo>
                    <a:lnTo>
                      <a:pt x="16" y="80"/>
                    </a:lnTo>
                    <a:lnTo>
                      <a:pt x="16" y="78"/>
                    </a:lnTo>
                    <a:lnTo>
                      <a:pt x="20" y="78"/>
                    </a:lnTo>
                    <a:lnTo>
                      <a:pt x="22" y="78"/>
                    </a:lnTo>
                    <a:lnTo>
                      <a:pt x="24" y="78"/>
                    </a:lnTo>
                    <a:lnTo>
                      <a:pt x="26" y="78"/>
                    </a:lnTo>
                    <a:lnTo>
                      <a:pt x="28" y="78"/>
                    </a:lnTo>
                    <a:lnTo>
                      <a:pt x="30" y="76"/>
                    </a:lnTo>
                    <a:lnTo>
                      <a:pt x="32" y="76"/>
                    </a:lnTo>
                    <a:lnTo>
                      <a:pt x="34" y="76"/>
                    </a:lnTo>
                    <a:lnTo>
                      <a:pt x="36" y="76"/>
                    </a:lnTo>
                    <a:lnTo>
                      <a:pt x="38" y="76"/>
                    </a:lnTo>
                    <a:lnTo>
                      <a:pt x="40" y="76"/>
                    </a:lnTo>
                    <a:lnTo>
                      <a:pt x="42" y="76"/>
                    </a:lnTo>
                    <a:lnTo>
                      <a:pt x="42" y="78"/>
                    </a:lnTo>
                    <a:lnTo>
                      <a:pt x="44" y="78"/>
                    </a:lnTo>
                    <a:lnTo>
                      <a:pt x="44" y="80"/>
                    </a:lnTo>
                    <a:lnTo>
                      <a:pt x="46" y="80"/>
                    </a:lnTo>
                    <a:lnTo>
                      <a:pt x="48" y="80"/>
                    </a:lnTo>
                    <a:lnTo>
                      <a:pt x="50" y="80"/>
                    </a:lnTo>
                    <a:lnTo>
                      <a:pt x="52" y="80"/>
                    </a:lnTo>
                    <a:lnTo>
                      <a:pt x="54" y="80"/>
                    </a:lnTo>
                    <a:lnTo>
                      <a:pt x="56" y="80"/>
                    </a:lnTo>
                    <a:lnTo>
                      <a:pt x="58" y="80"/>
                    </a:lnTo>
                    <a:lnTo>
                      <a:pt x="60" y="80"/>
                    </a:lnTo>
                    <a:lnTo>
                      <a:pt x="60" y="82"/>
                    </a:lnTo>
                    <a:lnTo>
                      <a:pt x="62" y="82"/>
                    </a:lnTo>
                    <a:lnTo>
                      <a:pt x="64" y="82"/>
                    </a:lnTo>
                    <a:lnTo>
                      <a:pt x="66" y="84"/>
                    </a:lnTo>
                    <a:lnTo>
                      <a:pt x="68" y="84"/>
                    </a:lnTo>
                    <a:lnTo>
                      <a:pt x="70" y="82"/>
                    </a:lnTo>
                    <a:lnTo>
                      <a:pt x="72" y="82"/>
                    </a:lnTo>
                    <a:lnTo>
                      <a:pt x="72" y="84"/>
                    </a:lnTo>
                    <a:lnTo>
                      <a:pt x="74" y="84"/>
                    </a:lnTo>
                    <a:lnTo>
                      <a:pt x="76" y="84"/>
                    </a:lnTo>
                    <a:lnTo>
                      <a:pt x="78" y="84"/>
                    </a:lnTo>
                    <a:lnTo>
                      <a:pt x="80" y="84"/>
                    </a:lnTo>
                    <a:lnTo>
                      <a:pt x="80" y="82"/>
                    </a:lnTo>
                    <a:lnTo>
                      <a:pt x="82" y="84"/>
                    </a:lnTo>
                    <a:lnTo>
                      <a:pt x="82" y="86"/>
                    </a:lnTo>
                    <a:lnTo>
                      <a:pt x="84" y="84"/>
                    </a:lnTo>
                    <a:lnTo>
                      <a:pt x="84" y="82"/>
                    </a:lnTo>
                    <a:lnTo>
                      <a:pt x="86" y="82"/>
                    </a:lnTo>
                    <a:lnTo>
                      <a:pt x="88" y="82"/>
                    </a:lnTo>
                    <a:lnTo>
                      <a:pt x="90" y="84"/>
                    </a:lnTo>
                    <a:lnTo>
                      <a:pt x="90" y="86"/>
                    </a:lnTo>
                    <a:lnTo>
                      <a:pt x="92" y="86"/>
                    </a:lnTo>
                    <a:lnTo>
                      <a:pt x="94" y="86"/>
                    </a:lnTo>
                    <a:lnTo>
                      <a:pt x="96" y="86"/>
                    </a:lnTo>
                    <a:lnTo>
                      <a:pt x="98" y="86"/>
                    </a:lnTo>
                    <a:lnTo>
                      <a:pt x="100" y="86"/>
                    </a:lnTo>
                    <a:lnTo>
                      <a:pt x="102" y="86"/>
                    </a:lnTo>
                    <a:lnTo>
                      <a:pt x="104" y="88"/>
                    </a:lnTo>
                    <a:lnTo>
                      <a:pt x="106" y="88"/>
                    </a:lnTo>
                    <a:lnTo>
                      <a:pt x="108" y="86"/>
                    </a:lnTo>
                    <a:lnTo>
                      <a:pt x="108" y="84"/>
                    </a:lnTo>
                    <a:lnTo>
                      <a:pt x="106" y="84"/>
                    </a:lnTo>
                    <a:lnTo>
                      <a:pt x="106" y="82"/>
                    </a:lnTo>
                    <a:lnTo>
                      <a:pt x="106" y="80"/>
                    </a:lnTo>
                    <a:lnTo>
                      <a:pt x="108" y="80"/>
                    </a:lnTo>
                    <a:lnTo>
                      <a:pt x="110" y="78"/>
                    </a:lnTo>
                    <a:lnTo>
                      <a:pt x="110" y="76"/>
                    </a:lnTo>
                    <a:lnTo>
                      <a:pt x="112" y="74"/>
                    </a:lnTo>
                    <a:lnTo>
                      <a:pt x="114" y="74"/>
                    </a:lnTo>
                    <a:lnTo>
                      <a:pt x="116" y="74"/>
                    </a:lnTo>
                    <a:lnTo>
                      <a:pt x="118" y="74"/>
                    </a:lnTo>
                    <a:lnTo>
                      <a:pt x="120" y="74"/>
                    </a:lnTo>
                    <a:lnTo>
                      <a:pt x="124" y="74"/>
                    </a:lnTo>
                    <a:lnTo>
                      <a:pt x="124" y="72"/>
                    </a:lnTo>
                    <a:lnTo>
                      <a:pt x="122" y="70"/>
                    </a:lnTo>
                    <a:lnTo>
                      <a:pt x="122" y="68"/>
                    </a:lnTo>
                    <a:lnTo>
                      <a:pt x="122" y="66"/>
                    </a:lnTo>
                    <a:lnTo>
                      <a:pt x="122" y="64"/>
                    </a:lnTo>
                    <a:lnTo>
                      <a:pt x="122" y="62"/>
                    </a:lnTo>
                    <a:lnTo>
                      <a:pt x="120" y="62"/>
                    </a:lnTo>
                    <a:lnTo>
                      <a:pt x="120" y="60"/>
                    </a:lnTo>
                    <a:lnTo>
                      <a:pt x="118" y="60"/>
                    </a:lnTo>
                    <a:lnTo>
                      <a:pt x="116" y="58"/>
                    </a:lnTo>
                    <a:lnTo>
                      <a:pt x="116" y="56"/>
                    </a:lnTo>
                    <a:lnTo>
                      <a:pt x="114" y="56"/>
                    </a:lnTo>
                    <a:lnTo>
                      <a:pt x="114" y="54"/>
                    </a:lnTo>
                    <a:lnTo>
                      <a:pt x="116" y="54"/>
                    </a:lnTo>
                    <a:lnTo>
                      <a:pt x="118" y="54"/>
                    </a:lnTo>
                    <a:lnTo>
                      <a:pt x="120" y="54"/>
                    </a:lnTo>
                    <a:lnTo>
                      <a:pt x="122" y="54"/>
                    </a:lnTo>
                    <a:lnTo>
                      <a:pt x="122" y="56"/>
                    </a:lnTo>
                    <a:lnTo>
                      <a:pt x="124" y="56"/>
                    </a:lnTo>
                    <a:lnTo>
                      <a:pt x="126" y="56"/>
                    </a:lnTo>
                    <a:lnTo>
                      <a:pt x="128" y="56"/>
                    </a:lnTo>
                    <a:lnTo>
                      <a:pt x="130" y="56"/>
                    </a:lnTo>
                    <a:lnTo>
                      <a:pt x="132" y="54"/>
                    </a:lnTo>
                    <a:lnTo>
                      <a:pt x="134" y="52"/>
                    </a:lnTo>
                    <a:lnTo>
                      <a:pt x="134" y="50"/>
                    </a:lnTo>
                    <a:lnTo>
                      <a:pt x="136" y="50"/>
                    </a:lnTo>
                    <a:lnTo>
                      <a:pt x="134" y="48"/>
                    </a:lnTo>
                    <a:lnTo>
                      <a:pt x="132" y="48"/>
                    </a:lnTo>
                    <a:lnTo>
                      <a:pt x="130" y="46"/>
                    </a:lnTo>
                    <a:lnTo>
                      <a:pt x="132" y="44"/>
                    </a:lnTo>
                    <a:lnTo>
                      <a:pt x="130" y="44"/>
                    </a:lnTo>
                    <a:lnTo>
                      <a:pt x="130" y="42"/>
                    </a:lnTo>
                    <a:lnTo>
                      <a:pt x="126" y="42"/>
                    </a:lnTo>
                    <a:lnTo>
                      <a:pt x="124" y="42"/>
                    </a:lnTo>
                    <a:lnTo>
                      <a:pt x="122" y="42"/>
                    </a:lnTo>
                    <a:lnTo>
                      <a:pt x="120" y="42"/>
                    </a:lnTo>
                    <a:lnTo>
                      <a:pt x="120" y="40"/>
                    </a:lnTo>
                    <a:lnTo>
                      <a:pt x="120" y="38"/>
                    </a:lnTo>
                    <a:lnTo>
                      <a:pt x="120" y="36"/>
                    </a:lnTo>
                    <a:lnTo>
                      <a:pt x="118" y="36"/>
                    </a:lnTo>
                    <a:lnTo>
                      <a:pt x="116" y="34"/>
                    </a:lnTo>
                    <a:lnTo>
                      <a:pt x="114" y="34"/>
                    </a:lnTo>
                    <a:lnTo>
                      <a:pt x="112" y="34"/>
                    </a:lnTo>
                    <a:lnTo>
                      <a:pt x="112" y="32"/>
                    </a:lnTo>
                    <a:lnTo>
                      <a:pt x="112" y="30"/>
                    </a:lnTo>
                    <a:lnTo>
                      <a:pt x="110" y="28"/>
                    </a:lnTo>
                    <a:lnTo>
                      <a:pt x="110" y="26"/>
                    </a:lnTo>
                    <a:lnTo>
                      <a:pt x="108" y="26"/>
                    </a:lnTo>
                    <a:lnTo>
                      <a:pt x="106" y="26"/>
                    </a:lnTo>
                    <a:lnTo>
                      <a:pt x="106" y="24"/>
                    </a:lnTo>
                    <a:lnTo>
                      <a:pt x="104" y="24"/>
                    </a:lnTo>
                    <a:lnTo>
                      <a:pt x="106" y="22"/>
                    </a:lnTo>
                    <a:lnTo>
                      <a:pt x="106" y="20"/>
                    </a:lnTo>
                    <a:lnTo>
                      <a:pt x="106" y="18"/>
                    </a:lnTo>
                    <a:lnTo>
                      <a:pt x="104" y="16"/>
                    </a:lnTo>
                    <a:lnTo>
                      <a:pt x="104" y="14"/>
                    </a:lnTo>
                    <a:lnTo>
                      <a:pt x="106" y="12"/>
                    </a:lnTo>
                    <a:lnTo>
                      <a:pt x="106" y="10"/>
                    </a:lnTo>
                    <a:lnTo>
                      <a:pt x="106" y="8"/>
                    </a:lnTo>
                    <a:lnTo>
                      <a:pt x="104" y="8"/>
                    </a:lnTo>
                    <a:lnTo>
                      <a:pt x="102" y="8"/>
                    </a:lnTo>
                    <a:lnTo>
                      <a:pt x="100" y="8"/>
                    </a:lnTo>
                    <a:lnTo>
                      <a:pt x="96" y="6"/>
                    </a:lnTo>
                    <a:lnTo>
                      <a:pt x="94" y="4"/>
                    </a:lnTo>
                    <a:lnTo>
                      <a:pt x="92" y="4"/>
                    </a:lnTo>
                    <a:lnTo>
                      <a:pt x="90" y="4"/>
                    </a:lnTo>
                    <a:lnTo>
                      <a:pt x="88" y="6"/>
                    </a:lnTo>
                    <a:lnTo>
                      <a:pt x="86" y="6"/>
                    </a:lnTo>
                    <a:lnTo>
                      <a:pt x="84" y="8"/>
                    </a:lnTo>
                    <a:lnTo>
                      <a:pt x="84" y="6"/>
                    </a:lnTo>
                    <a:lnTo>
                      <a:pt x="84" y="4"/>
                    </a:lnTo>
                    <a:lnTo>
                      <a:pt x="82" y="4"/>
                    </a:lnTo>
                    <a:lnTo>
                      <a:pt x="80" y="4"/>
                    </a:lnTo>
                    <a:lnTo>
                      <a:pt x="78" y="2"/>
                    </a:lnTo>
                    <a:lnTo>
                      <a:pt x="76" y="2"/>
                    </a:lnTo>
                    <a:lnTo>
                      <a:pt x="74" y="2"/>
                    </a:lnTo>
                    <a:lnTo>
                      <a:pt x="72" y="4"/>
                    </a:lnTo>
                    <a:lnTo>
                      <a:pt x="72" y="2"/>
                    </a:lnTo>
                    <a:lnTo>
                      <a:pt x="70" y="2"/>
                    </a:lnTo>
                    <a:lnTo>
                      <a:pt x="68" y="2"/>
                    </a:lnTo>
                    <a:lnTo>
                      <a:pt x="66" y="0"/>
                    </a:lnTo>
                    <a:lnTo>
                      <a:pt x="64" y="0"/>
                    </a:lnTo>
                    <a:lnTo>
                      <a:pt x="62" y="0"/>
                    </a:lnTo>
                    <a:lnTo>
                      <a:pt x="60" y="0"/>
                    </a:lnTo>
                    <a:lnTo>
                      <a:pt x="60" y="2"/>
                    </a:lnTo>
                    <a:lnTo>
                      <a:pt x="58" y="4"/>
                    </a:lnTo>
                    <a:lnTo>
                      <a:pt x="56" y="4"/>
                    </a:lnTo>
                    <a:lnTo>
                      <a:pt x="56" y="6"/>
                    </a:lnTo>
                    <a:lnTo>
                      <a:pt x="56" y="8"/>
                    </a:lnTo>
                    <a:lnTo>
                      <a:pt x="56" y="6"/>
                    </a:lnTo>
                    <a:lnTo>
                      <a:pt x="54" y="6"/>
                    </a:lnTo>
                    <a:lnTo>
                      <a:pt x="52" y="6"/>
                    </a:lnTo>
                    <a:lnTo>
                      <a:pt x="50" y="4"/>
                    </a:lnTo>
                    <a:lnTo>
                      <a:pt x="48" y="4"/>
                    </a:lnTo>
                    <a:lnTo>
                      <a:pt x="48" y="6"/>
                    </a:lnTo>
                    <a:lnTo>
                      <a:pt x="46" y="6"/>
                    </a:lnTo>
                    <a:lnTo>
                      <a:pt x="44" y="8"/>
                    </a:lnTo>
                    <a:lnTo>
                      <a:pt x="42" y="8"/>
                    </a:lnTo>
                    <a:lnTo>
                      <a:pt x="42" y="10"/>
                    </a:lnTo>
                    <a:lnTo>
                      <a:pt x="42" y="12"/>
                    </a:lnTo>
                    <a:lnTo>
                      <a:pt x="44" y="14"/>
                    </a:lnTo>
                    <a:lnTo>
                      <a:pt x="46" y="16"/>
                    </a:lnTo>
                    <a:lnTo>
                      <a:pt x="44" y="18"/>
                    </a:lnTo>
                    <a:lnTo>
                      <a:pt x="42" y="18"/>
                    </a:lnTo>
                    <a:lnTo>
                      <a:pt x="40" y="18"/>
                    </a:lnTo>
                    <a:lnTo>
                      <a:pt x="38" y="18"/>
                    </a:lnTo>
                    <a:lnTo>
                      <a:pt x="38" y="16"/>
                    </a:lnTo>
                    <a:lnTo>
                      <a:pt x="36" y="16"/>
                    </a:lnTo>
                    <a:lnTo>
                      <a:pt x="38" y="18"/>
                    </a:lnTo>
                    <a:lnTo>
                      <a:pt x="38" y="20"/>
                    </a:lnTo>
                    <a:lnTo>
                      <a:pt x="38" y="22"/>
                    </a:lnTo>
                    <a:lnTo>
                      <a:pt x="38" y="20"/>
                    </a:lnTo>
                    <a:lnTo>
                      <a:pt x="36" y="20"/>
                    </a:lnTo>
                    <a:lnTo>
                      <a:pt x="34" y="20"/>
                    </a:lnTo>
                    <a:lnTo>
                      <a:pt x="34" y="22"/>
                    </a:lnTo>
                    <a:lnTo>
                      <a:pt x="34" y="24"/>
                    </a:lnTo>
                    <a:lnTo>
                      <a:pt x="34" y="26"/>
                    </a:lnTo>
                    <a:lnTo>
                      <a:pt x="34" y="28"/>
                    </a:lnTo>
                    <a:lnTo>
                      <a:pt x="32" y="28"/>
                    </a:lnTo>
                    <a:lnTo>
                      <a:pt x="32" y="30"/>
                    </a:lnTo>
                    <a:lnTo>
                      <a:pt x="34" y="32"/>
                    </a:lnTo>
                    <a:lnTo>
                      <a:pt x="34" y="34"/>
                    </a:lnTo>
                    <a:lnTo>
                      <a:pt x="34" y="36"/>
                    </a:lnTo>
                    <a:lnTo>
                      <a:pt x="32" y="36"/>
                    </a:lnTo>
                    <a:lnTo>
                      <a:pt x="34" y="34"/>
                    </a:lnTo>
                    <a:lnTo>
                      <a:pt x="32" y="34"/>
                    </a:lnTo>
                    <a:lnTo>
                      <a:pt x="28" y="34"/>
                    </a:lnTo>
                    <a:lnTo>
                      <a:pt x="26" y="34"/>
                    </a:lnTo>
                    <a:lnTo>
                      <a:pt x="26" y="36"/>
                    </a:lnTo>
                    <a:lnTo>
                      <a:pt x="24" y="36"/>
                    </a:lnTo>
                    <a:lnTo>
                      <a:pt x="24" y="38"/>
                    </a:lnTo>
                    <a:lnTo>
                      <a:pt x="24" y="40"/>
                    </a:lnTo>
                    <a:lnTo>
                      <a:pt x="22" y="38"/>
                    </a:lnTo>
                    <a:lnTo>
                      <a:pt x="20" y="36"/>
                    </a:lnTo>
                    <a:lnTo>
                      <a:pt x="20" y="38"/>
                    </a:lnTo>
                    <a:lnTo>
                      <a:pt x="20" y="40"/>
                    </a:lnTo>
                    <a:lnTo>
                      <a:pt x="18" y="40"/>
                    </a:lnTo>
                    <a:lnTo>
                      <a:pt x="16" y="40"/>
                    </a:lnTo>
                    <a:lnTo>
                      <a:pt x="14" y="40"/>
                    </a:lnTo>
                    <a:lnTo>
                      <a:pt x="12" y="40"/>
                    </a:lnTo>
                    <a:lnTo>
                      <a:pt x="12" y="38"/>
                    </a:lnTo>
                    <a:lnTo>
                      <a:pt x="10" y="38"/>
                    </a:lnTo>
                    <a:lnTo>
                      <a:pt x="8" y="38"/>
                    </a:lnTo>
                    <a:lnTo>
                      <a:pt x="4" y="40"/>
                    </a:lnTo>
                    <a:lnTo>
                      <a:pt x="2" y="40"/>
                    </a:lnTo>
                    <a:lnTo>
                      <a:pt x="2" y="42"/>
                    </a:lnTo>
                    <a:lnTo>
                      <a:pt x="4" y="44"/>
                    </a:lnTo>
                    <a:lnTo>
                      <a:pt x="4" y="46"/>
                    </a:lnTo>
                    <a:lnTo>
                      <a:pt x="4" y="48"/>
                    </a:lnTo>
                    <a:lnTo>
                      <a:pt x="6" y="50"/>
                    </a:lnTo>
                    <a:lnTo>
                      <a:pt x="8" y="52"/>
                    </a:lnTo>
                    <a:lnTo>
                      <a:pt x="10" y="54"/>
                    </a:lnTo>
                    <a:lnTo>
                      <a:pt x="10" y="56"/>
                    </a:lnTo>
                    <a:lnTo>
                      <a:pt x="10" y="58"/>
                    </a:lnTo>
                    <a:lnTo>
                      <a:pt x="10" y="60"/>
                    </a:lnTo>
                    <a:lnTo>
                      <a:pt x="8" y="60"/>
                    </a:lnTo>
                    <a:lnTo>
                      <a:pt x="8" y="62"/>
                    </a:lnTo>
                    <a:lnTo>
                      <a:pt x="6" y="62"/>
                    </a:lnTo>
                    <a:lnTo>
                      <a:pt x="4" y="62"/>
                    </a:lnTo>
                    <a:lnTo>
                      <a:pt x="4" y="64"/>
                    </a:lnTo>
                    <a:lnTo>
                      <a:pt x="4" y="66"/>
                    </a:lnTo>
                    <a:lnTo>
                      <a:pt x="4" y="68"/>
                    </a:lnTo>
                    <a:lnTo>
                      <a:pt x="2" y="68"/>
                    </a:lnTo>
                    <a:lnTo>
                      <a:pt x="0" y="68"/>
                    </a:lnTo>
                    <a:lnTo>
                      <a:pt x="0" y="70"/>
                    </a:lnTo>
                    <a:lnTo>
                      <a:pt x="2" y="72"/>
                    </a:lnTo>
                    <a:lnTo>
                      <a:pt x="6" y="72"/>
                    </a:lnTo>
                    <a:lnTo>
                      <a:pt x="6" y="7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2" name="Freeform 156">
                <a:extLst>
                  <a:ext uri="{FF2B5EF4-FFF2-40B4-BE49-F238E27FC236}">
                    <a16:creationId xmlns:a16="http://schemas.microsoft.com/office/drawing/2014/main" id="{E3EA3C88-60B3-4A12-9651-406B087B45C5}"/>
                  </a:ext>
                </a:extLst>
              </p:cNvPr>
              <p:cNvSpPr>
                <a:spLocks noChangeAspect="1"/>
              </p:cNvSpPr>
              <p:nvPr/>
            </p:nvSpPr>
            <p:spPr bwMode="auto">
              <a:xfrm>
                <a:off x="4938886" y="2326763"/>
                <a:ext cx="167725" cy="76734"/>
              </a:xfrm>
              <a:custGeom>
                <a:avLst/>
                <a:gdLst/>
                <a:ahLst/>
                <a:cxnLst>
                  <a:cxn ang="0">
                    <a:pos x="6" y="32"/>
                  </a:cxn>
                  <a:cxn ang="0">
                    <a:pos x="14" y="30"/>
                  </a:cxn>
                  <a:cxn ang="0">
                    <a:pos x="20" y="30"/>
                  </a:cxn>
                  <a:cxn ang="0">
                    <a:pos x="26" y="30"/>
                  </a:cxn>
                  <a:cxn ang="0">
                    <a:pos x="28" y="32"/>
                  </a:cxn>
                  <a:cxn ang="0">
                    <a:pos x="32" y="30"/>
                  </a:cxn>
                  <a:cxn ang="0">
                    <a:pos x="36" y="32"/>
                  </a:cxn>
                  <a:cxn ang="0">
                    <a:pos x="40" y="32"/>
                  </a:cxn>
                  <a:cxn ang="0">
                    <a:pos x="44" y="32"/>
                  </a:cxn>
                  <a:cxn ang="0">
                    <a:pos x="50" y="32"/>
                  </a:cxn>
                  <a:cxn ang="0">
                    <a:pos x="52" y="30"/>
                  </a:cxn>
                  <a:cxn ang="0">
                    <a:pos x="56" y="32"/>
                  </a:cxn>
                  <a:cxn ang="0">
                    <a:pos x="58" y="34"/>
                  </a:cxn>
                  <a:cxn ang="0">
                    <a:pos x="66" y="34"/>
                  </a:cxn>
                  <a:cxn ang="0">
                    <a:pos x="72" y="38"/>
                  </a:cxn>
                  <a:cxn ang="0">
                    <a:pos x="74" y="40"/>
                  </a:cxn>
                  <a:cxn ang="0">
                    <a:pos x="76" y="42"/>
                  </a:cxn>
                  <a:cxn ang="0">
                    <a:pos x="80" y="42"/>
                  </a:cxn>
                  <a:cxn ang="0">
                    <a:pos x="82" y="44"/>
                  </a:cxn>
                  <a:cxn ang="0">
                    <a:pos x="88" y="40"/>
                  </a:cxn>
                  <a:cxn ang="0">
                    <a:pos x="94" y="42"/>
                  </a:cxn>
                  <a:cxn ang="0">
                    <a:pos x="94" y="40"/>
                  </a:cxn>
                  <a:cxn ang="0">
                    <a:pos x="96" y="40"/>
                  </a:cxn>
                  <a:cxn ang="0">
                    <a:pos x="98" y="36"/>
                  </a:cxn>
                  <a:cxn ang="0">
                    <a:pos x="100" y="34"/>
                  </a:cxn>
                  <a:cxn ang="0">
                    <a:pos x="102" y="32"/>
                  </a:cxn>
                  <a:cxn ang="0">
                    <a:pos x="98" y="24"/>
                  </a:cxn>
                  <a:cxn ang="0">
                    <a:pos x="96" y="22"/>
                  </a:cxn>
                  <a:cxn ang="0">
                    <a:pos x="92" y="22"/>
                  </a:cxn>
                  <a:cxn ang="0">
                    <a:pos x="92" y="18"/>
                  </a:cxn>
                  <a:cxn ang="0">
                    <a:pos x="94" y="18"/>
                  </a:cxn>
                  <a:cxn ang="0">
                    <a:pos x="96" y="16"/>
                  </a:cxn>
                  <a:cxn ang="0">
                    <a:pos x="94" y="14"/>
                  </a:cxn>
                  <a:cxn ang="0">
                    <a:pos x="88" y="10"/>
                  </a:cxn>
                  <a:cxn ang="0">
                    <a:pos x="86" y="10"/>
                  </a:cxn>
                  <a:cxn ang="0">
                    <a:pos x="84" y="10"/>
                  </a:cxn>
                  <a:cxn ang="0">
                    <a:pos x="80" y="8"/>
                  </a:cxn>
                  <a:cxn ang="0">
                    <a:pos x="76" y="12"/>
                  </a:cxn>
                  <a:cxn ang="0">
                    <a:pos x="72" y="8"/>
                  </a:cxn>
                  <a:cxn ang="0">
                    <a:pos x="66" y="2"/>
                  </a:cxn>
                  <a:cxn ang="0">
                    <a:pos x="60" y="0"/>
                  </a:cxn>
                  <a:cxn ang="0">
                    <a:pos x="54" y="0"/>
                  </a:cxn>
                  <a:cxn ang="0">
                    <a:pos x="50" y="2"/>
                  </a:cxn>
                  <a:cxn ang="0">
                    <a:pos x="46" y="2"/>
                  </a:cxn>
                  <a:cxn ang="0">
                    <a:pos x="44" y="4"/>
                  </a:cxn>
                  <a:cxn ang="0">
                    <a:pos x="42" y="4"/>
                  </a:cxn>
                  <a:cxn ang="0">
                    <a:pos x="44" y="6"/>
                  </a:cxn>
                  <a:cxn ang="0">
                    <a:pos x="46" y="14"/>
                  </a:cxn>
                  <a:cxn ang="0">
                    <a:pos x="46" y="20"/>
                  </a:cxn>
                  <a:cxn ang="0">
                    <a:pos x="36" y="18"/>
                  </a:cxn>
                  <a:cxn ang="0">
                    <a:pos x="30" y="18"/>
                  </a:cxn>
                  <a:cxn ang="0">
                    <a:pos x="28" y="14"/>
                  </a:cxn>
                  <a:cxn ang="0">
                    <a:pos x="26" y="10"/>
                  </a:cxn>
                  <a:cxn ang="0">
                    <a:pos x="20" y="6"/>
                  </a:cxn>
                  <a:cxn ang="0">
                    <a:pos x="20" y="6"/>
                  </a:cxn>
                  <a:cxn ang="0">
                    <a:pos x="12" y="8"/>
                  </a:cxn>
                  <a:cxn ang="0">
                    <a:pos x="8" y="10"/>
                  </a:cxn>
                  <a:cxn ang="0">
                    <a:pos x="6" y="16"/>
                  </a:cxn>
                  <a:cxn ang="0">
                    <a:pos x="4" y="18"/>
                  </a:cxn>
                  <a:cxn ang="0">
                    <a:pos x="0" y="22"/>
                  </a:cxn>
                  <a:cxn ang="0">
                    <a:pos x="0" y="28"/>
                  </a:cxn>
                  <a:cxn ang="0">
                    <a:pos x="2" y="36"/>
                  </a:cxn>
                  <a:cxn ang="0">
                    <a:pos x="2" y="36"/>
                  </a:cxn>
                </a:cxnLst>
                <a:rect l="0" t="0" r="r" b="b"/>
                <a:pathLst>
                  <a:path w="102" h="44">
                    <a:moveTo>
                      <a:pt x="2" y="34"/>
                    </a:moveTo>
                    <a:lnTo>
                      <a:pt x="4" y="32"/>
                    </a:lnTo>
                    <a:lnTo>
                      <a:pt x="6" y="32"/>
                    </a:lnTo>
                    <a:lnTo>
                      <a:pt x="8" y="32"/>
                    </a:lnTo>
                    <a:lnTo>
                      <a:pt x="10" y="32"/>
                    </a:lnTo>
                    <a:lnTo>
                      <a:pt x="12" y="30"/>
                    </a:lnTo>
                    <a:lnTo>
                      <a:pt x="14" y="30"/>
                    </a:lnTo>
                    <a:lnTo>
                      <a:pt x="16" y="30"/>
                    </a:lnTo>
                    <a:lnTo>
                      <a:pt x="18" y="30"/>
                    </a:lnTo>
                    <a:lnTo>
                      <a:pt x="20" y="30"/>
                    </a:lnTo>
                    <a:lnTo>
                      <a:pt x="22" y="28"/>
                    </a:lnTo>
                    <a:lnTo>
                      <a:pt x="24" y="28"/>
                    </a:lnTo>
                    <a:lnTo>
                      <a:pt x="26" y="30"/>
                    </a:lnTo>
                    <a:lnTo>
                      <a:pt x="28" y="30"/>
                    </a:lnTo>
                    <a:lnTo>
                      <a:pt x="28" y="32"/>
                    </a:lnTo>
                    <a:lnTo>
                      <a:pt x="28" y="30"/>
                    </a:lnTo>
                    <a:lnTo>
                      <a:pt x="30" y="30"/>
                    </a:lnTo>
                    <a:lnTo>
                      <a:pt x="32" y="30"/>
                    </a:lnTo>
                    <a:lnTo>
                      <a:pt x="34" y="32"/>
                    </a:lnTo>
                    <a:lnTo>
                      <a:pt x="36" y="32"/>
                    </a:lnTo>
                    <a:lnTo>
                      <a:pt x="38" y="32"/>
                    </a:lnTo>
                    <a:lnTo>
                      <a:pt x="40" y="32"/>
                    </a:lnTo>
                    <a:lnTo>
                      <a:pt x="42" y="32"/>
                    </a:lnTo>
                    <a:lnTo>
                      <a:pt x="42" y="30"/>
                    </a:lnTo>
                    <a:lnTo>
                      <a:pt x="44" y="32"/>
                    </a:lnTo>
                    <a:lnTo>
                      <a:pt x="46" y="32"/>
                    </a:lnTo>
                    <a:lnTo>
                      <a:pt x="48" y="32"/>
                    </a:lnTo>
                    <a:lnTo>
                      <a:pt x="50" y="32"/>
                    </a:lnTo>
                    <a:lnTo>
                      <a:pt x="50" y="30"/>
                    </a:lnTo>
                    <a:lnTo>
                      <a:pt x="52" y="30"/>
                    </a:lnTo>
                    <a:lnTo>
                      <a:pt x="54" y="30"/>
                    </a:lnTo>
                    <a:lnTo>
                      <a:pt x="56" y="30"/>
                    </a:lnTo>
                    <a:lnTo>
                      <a:pt x="56" y="32"/>
                    </a:lnTo>
                    <a:lnTo>
                      <a:pt x="58" y="34"/>
                    </a:lnTo>
                    <a:lnTo>
                      <a:pt x="60" y="34"/>
                    </a:lnTo>
                    <a:lnTo>
                      <a:pt x="62" y="34"/>
                    </a:lnTo>
                    <a:lnTo>
                      <a:pt x="66" y="34"/>
                    </a:lnTo>
                    <a:lnTo>
                      <a:pt x="68" y="34"/>
                    </a:lnTo>
                    <a:lnTo>
                      <a:pt x="68" y="36"/>
                    </a:lnTo>
                    <a:lnTo>
                      <a:pt x="70" y="36"/>
                    </a:lnTo>
                    <a:lnTo>
                      <a:pt x="72" y="38"/>
                    </a:lnTo>
                    <a:lnTo>
                      <a:pt x="74" y="40"/>
                    </a:lnTo>
                    <a:lnTo>
                      <a:pt x="76" y="42"/>
                    </a:lnTo>
                    <a:lnTo>
                      <a:pt x="78" y="42"/>
                    </a:lnTo>
                    <a:lnTo>
                      <a:pt x="80" y="42"/>
                    </a:lnTo>
                    <a:lnTo>
                      <a:pt x="82" y="44"/>
                    </a:lnTo>
                    <a:lnTo>
                      <a:pt x="84" y="42"/>
                    </a:lnTo>
                    <a:lnTo>
                      <a:pt x="84" y="40"/>
                    </a:lnTo>
                    <a:lnTo>
                      <a:pt x="86" y="40"/>
                    </a:lnTo>
                    <a:lnTo>
                      <a:pt x="88" y="40"/>
                    </a:lnTo>
                    <a:lnTo>
                      <a:pt x="90" y="40"/>
                    </a:lnTo>
                    <a:lnTo>
                      <a:pt x="92" y="40"/>
                    </a:lnTo>
                    <a:lnTo>
                      <a:pt x="92" y="42"/>
                    </a:lnTo>
                    <a:lnTo>
                      <a:pt x="94" y="42"/>
                    </a:lnTo>
                    <a:lnTo>
                      <a:pt x="94" y="40"/>
                    </a:lnTo>
                    <a:lnTo>
                      <a:pt x="96" y="40"/>
                    </a:lnTo>
                    <a:lnTo>
                      <a:pt x="96" y="38"/>
                    </a:lnTo>
                    <a:lnTo>
                      <a:pt x="98" y="38"/>
                    </a:lnTo>
                    <a:lnTo>
                      <a:pt x="98" y="36"/>
                    </a:lnTo>
                    <a:lnTo>
                      <a:pt x="100" y="36"/>
                    </a:lnTo>
                    <a:lnTo>
                      <a:pt x="100" y="34"/>
                    </a:lnTo>
                    <a:lnTo>
                      <a:pt x="102" y="36"/>
                    </a:lnTo>
                    <a:lnTo>
                      <a:pt x="102" y="34"/>
                    </a:lnTo>
                    <a:lnTo>
                      <a:pt x="102" y="32"/>
                    </a:lnTo>
                    <a:lnTo>
                      <a:pt x="102" y="30"/>
                    </a:lnTo>
                    <a:lnTo>
                      <a:pt x="100" y="28"/>
                    </a:lnTo>
                    <a:lnTo>
                      <a:pt x="98" y="26"/>
                    </a:lnTo>
                    <a:lnTo>
                      <a:pt x="98" y="24"/>
                    </a:lnTo>
                    <a:lnTo>
                      <a:pt x="98" y="22"/>
                    </a:lnTo>
                    <a:lnTo>
                      <a:pt x="96" y="22"/>
                    </a:lnTo>
                    <a:lnTo>
                      <a:pt x="94" y="22"/>
                    </a:lnTo>
                    <a:lnTo>
                      <a:pt x="92" y="22"/>
                    </a:lnTo>
                    <a:lnTo>
                      <a:pt x="92" y="20"/>
                    </a:lnTo>
                    <a:lnTo>
                      <a:pt x="92" y="18"/>
                    </a:lnTo>
                    <a:lnTo>
                      <a:pt x="94" y="18"/>
                    </a:lnTo>
                    <a:lnTo>
                      <a:pt x="96" y="18"/>
                    </a:lnTo>
                    <a:lnTo>
                      <a:pt x="96" y="16"/>
                    </a:lnTo>
                    <a:lnTo>
                      <a:pt x="96" y="14"/>
                    </a:lnTo>
                    <a:lnTo>
                      <a:pt x="94" y="14"/>
                    </a:lnTo>
                    <a:lnTo>
                      <a:pt x="92" y="12"/>
                    </a:lnTo>
                    <a:lnTo>
                      <a:pt x="90" y="10"/>
                    </a:lnTo>
                    <a:lnTo>
                      <a:pt x="88" y="10"/>
                    </a:lnTo>
                    <a:lnTo>
                      <a:pt x="86" y="10"/>
                    </a:lnTo>
                    <a:lnTo>
                      <a:pt x="84" y="10"/>
                    </a:lnTo>
                    <a:lnTo>
                      <a:pt x="82" y="10"/>
                    </a:lnTo>
                    <a:lnTo>
                      <a:pt x="80" y="8"/>
                    </a:lnTo>
                    <a:lnTo>
                      <a:pt x="80" y="10"/>
                    </a:lnTo>
                    <a:lnTo>
                      <a:pt x="78" y="10"/>
                    </a:lnTo>
                    <a:lnTo>
                      <a:pt x="76" y="12"/>
                    </a:lnTo>
                    <a:lnTo>
                      <a:pt x="74" y="10"/>
                    </a:lnTo>
                    <a:lnTo>
                      <a:pt x="72" y="8"/>
                    </a:lnTo>
                    <a:lnTo>
                      <a:pt x="70" y="6"/>
                    </a:lnTo>
                    <a:lnTo>
                      <a:pt x="68" y="6"/>
                    </a:lnTo>
                    <a:lnTo>
                      <a:pt x="68" y="4"/>
                    </a:lnTo>
                    <a:lnTo>
                      <a:pt x="66" y="2"/>
                    </a:lnTo>
                    <a:lnTo>
                      <a:pt x="64" y="2"/>
                    </a:lnTo>
                    <a:lnTo>
                      <a:pt x="62" y="2"/>
                    </a:lnTo>
                    <a:lnTo>
                      <a:pt x="62" y="0"/>
                    </a:lnTo>
                    <a:lnTo>
                      <a:pt x="60" y="0"/>
                    </a:lnTo>
                    <a:lnTo>
                      <a:pt x="58" y="0"/>
                    </a:lnTo>
                    <a:lnTo>
                      <a:pt x="56" y="0"/>
                    </a:lnTo>
                    <a:lnTo>
                      <a:pt x="54" y="0"/>
                    </a:lnTo>
                    <a:lnTo>
                      <a:pt x="52" y="0"/>
                    </a:lnTo>
                    <a:lnTo>
                      <a:pt x="50" y="2"/>
                    </a:lnTo>
                    <a:lnTo>
                      <a:pt x="48" y="2"/>
                    </a:lnTo>
                    <a:lnTo>
                      <a:pt x="46" y="2"/>
                    </a:lnTo>
                    <a:lnTo>
                      <a:pt x="44" y="2"/>
                    </a:lnTo>
                    <a:lnTo>
                      <a:pt x="44" y="4"/>
                    </a:lnTo>
                    <a:lnTo>
                      <a:pt x="42" y="4"/>
                    </a:lnTo>
                    <a:lnTo>
                      <a:pt x="44" y="4"/>
                    </a:lnTo>
                    <a:lnTo>
                      <a:pt x="44" y="6"/>
                    </a:lnTo>
                    <a:lnTo>
                      <a:pt x="44" y="8"/>
                    </a:lnTo>
                    <a:lnTo>
                      <a:pt x="46" y="12"/>
                    </a:lnTo>
                    <a:lnTo>
                      <a:pt x="46" y="14"/>
                    </a:lnTo>
                    <a:lnTo>
                      <a:pt x="46" y="16"/>
                    </a:lnTo>
                    <a:lnTo>
                      <a:pt x="46" y="18"/>
                    </a:lnTo>
                    <a:lnTo>
                      <a:pt x="46" y="20"/>
                    </a:lnTo>
                    <a:lnTo>
                      <a:pt x="44" y="20"/>
                    </a:lnTo>
                    <a:lnTo>
                      <a:pt x="42" y="20"/>
                    </a:lnTo>
                    <a:lnTo>
                      <a:pt x="40" y="20"/>
                    </a:lnTo>
                    <a:lnTo>
                      <a:pt x="36" y="18"/>
                    </a:lnTo>
                    <a:lnTo>
                      <a:pt x="34" y="18"/>
                    </a:lnTo>
                    <a:lnTo>
                      <a:pt x="32" y="18"/>
                    </a:lnTo>
                    <a:lnTo>
                      <a:pt x="30" y="18"/>
                    </a:lnTo>
                    <a:lnTo>
                      <a:pt x="30" y="16"/>
                    </a:lnTo>
                    <a:lnTo>
                      <a:pt x="28" y="14"/>
                    </a:lnTo>
                    <a:lnTo>
                      <a:pt x="28" y="12"/>
                    </a:lnTo>
                    <a:lnTo>
                      <a:pt x="26" y="10"/>
                    </a:lnTo>
                    <a:lnTo>
                      <a:pt x="24" y="8"/>
                    </a:lnTo>
                    <a:lnTo>
                      <a:pt x="22" y="8"/>
                    </a:lnTo>
                    <a:lnTo>
                      <a:pt x="22" y="6"/>
                    </a:lnTo>
                    <a:lnTo>
                      <a:pt x="20" y="6"/>
                    </a:lnTo>
                    <a:lnTo>
                      <a:pt x="18" y="6"/>
                    </a:lnTo>
                    <a:lnTo>
                      <a:pt x="16" y="6"/>
                    </a:lnTo>
                    <a:lnTo>
                      <a:pt x="14" y="8"/>
                    </a:lnTo>
                    <a:lnTo>
                      <a:pt x="12" y="8"/>
                    </a:lnTo>
                    <a:lnTo>
                      <a:pt x="10" y="8"/>
                    </a:lnTo>
                    <a:lnTo>
                      <a:pt x="8" y="10"/>
                    </a:lnTo>
                    <a:lnTo>
                      <a:pt x="6" y="12"/>
                    </a:lnTo>
                    <a:lnTo>
                      <a:pt x="6" y="14"/>
                    </a:lnTo>
                    <a:lnTo>
                      <a:pt x="6" y="16"/>
                    </a:lnTo>
                    <a:lnTo>
                      <a:pt x="4" y="16"/>
                    </a:lnTo>
                    <a:lnTo>
                      <a:pt x="4" y="18"/>
                    </a:lnTo>
                    <a:lnTo>
                      <a:pt x="2" y="20"/>
                    </a:lnTo>
                    <a:lnTo>
                      <a:pt x="2" y="22"/>
                    </a:lnTo>
                    <a:lnTo>
                      <a:pt x="0" y="22"/>
                    </a:lnTo>
                    <a:lnTo>
                      <a:pt x="0" y="24"/>
                    </a:lnTo>
                    <a:lnTo>
                      <a:pt x="0" y="26"/>
                    </a:lnTo>
                    <a:lnTo>
                      <a:pt x="0" y="28"/>
                    </a:lnTo>
                    <a:lnTo>
                      <a:pt x="2" y="30"/>
                    </a:lnTo>
                    <a:lnTo>
                      <a:pt x="2" y="32"/>
                    </a:lnTo>
                    <a:lnTo>
                      <a:pt x="2" y="34"/>
                    </a:lnTo>
                    <a:lnTo>
                      <a:pt x="2" y="36"/>
                    </a:lnTo>
                    <a:lnTo>
                      <a:pt x="2" y="3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3" name="Freeform 159">
                <a:extLst>
                  <a:ext uri="{FF2B5EF4-FFF2-40B4-BE49-F238E27FC236}">
                    <a16:creationId xmlns:a16="http://schemas.microsoft.com/office/drawing/2014/main" id="{4895379C-8CBD-4321-AFD9-08BD6199479F}"/>
                  </a:ext>
                </a:extLst>
              </p:cNvPr>
              <p:cNvSpPr>
                <a:spLocks noChangeAspect="1"/>
              </p:cNvSpPr>
              <p:nvPr/>
            </p:nvSpPr>
            <p:spPr bwMode="auto">
              <a:xfrm>
                <a:off x="4869823" y="2333738"/>
                <a:ext cx="26310" cy="31392"/>
              </a:xfrm>
              <a:custGeom>
                <a:avLst/>
                <a:gdLst/>
                <a:ahLst/>
                <a:cxnLst>
                  <a:cxn ang="0">
                    <a:pos x="0" y="6"/>
                  </a:cxn>
                  <a:cxn ang="0">
                    <a:pos x="0" y="8"/>
                  </a:cxn>
                  <a:cxn ang="0">
                    <a:pos x="0" y="10"/>
                  </a:cxn>
                  <a:cxn ang="0">
                    <a:pos x="0" y="12"/>
                  </a:cxn>
                  <a:cxn ang="0">
                    <a:pos x="2" y="14"/>
                  </a:cxn>
                  <a:cxn ang="0">
                    <a:pos x="2" y="16"/>
                  </a:cxn>
                  <a:cxn ang="0">
                    <a:pos x="2" y="18"/>
                  </a:cxn>
                  <a:cxn ang="0">
                    <a:pos x="4" y="18"/>
                  </a:cxn>
                  <a:cxn ang="0">
                    <a:pos x="4" y="18"/>
                  </a:cxn>
                  <a:cxn ang="0">
                    <a:pos x="4" y="16"/>
                  </a:cxn>
                  <a:cxn ang="0">
                    <a:pos x="6" y="14"/>
                  </a:cxn>
                  <a:cxn ang="0">
                    <a:pos x="6" y="14"/>
                  </a:cxn>
                  <a:cxn ang="0">
                    <a:pos x="6" y="12"/>
                  </a:cxn>
                  <a:cxn ang="0">
                    <a:pos x="6" y="12"/>
                  </a:cxn>
                  <a:cxn ang="0">
                    <a:pos x="6" y="12"/>
                  </a:cxn>
                  <a:cxn ang="0">
                    <a:pos x="6" y="12"/>
                  </a:cxn>
                  <a:cxn ang="0">
                    <a:pos x="6" y="12"/>
                  </a:cxn>
                  <a:cxn ang="0">
                    <a:pos x="8" y="12"/>
                  </a:cxn>
                  <a:cxn ang="0">
                    <a:pos x="8" y="12"/>
                  </a:cxn>
                  <a:cxn ang="0">
                    <a:pos x="10" y="12"/>
                  </a:cxn>
                  <a:cxn ang="0">
                    <a:pos x="10" y="10"/>
                  </a:cxn>
                  <a:cxn ang="0">
                    <a:pos x="10" y="10"/>
                  </a:cxn>
                  <a:cxn ang="0">
                    <a:pos x="12" y="8"/>
                  </a:cxn>
                  <a:cxn ang="0">
                    <a:pos x="12" y="8"/>
                  </a:cxn>
                  <a:cxn ang="0">
                    <a:pos x="12" y="6"/>
                  </a:cxn>
                  <a:cxn ang="0">
                    <a:pos x="12" y="6"/>
                  </a:cxn>
                  <a:cxn ang="0">
                    <a:pos x="10" y="4"/>
                  </a:cxn>
                  <a:cxn ang="0">
                    <a:pos x="10" y="4"/>
                  </a:cxn>
                  <a:cxn ang="0">
                    <a:pos x="10" y="4"/>
                  </a:cxn>
                  <a:cxn ang="0">
                    <a:pos x="12" y="2"/>
                  </a:cxn>
                  <a:cxn ang="0">
                    <a:pos x="14" y="0"/>
                  </a:cxn>
                  <a:cxn ang="0">
                    <a:pos x="14" y="0"/>
                  </a:cxn>
                  <a:cxn ang="0">
                    <a:pos x="14" y="0"/>
                  </a:cxn>
                  <a:cxn ang="0">
                    <a:pos x="14" y="0"/>
                  </a:cxn>
                  <a:cxn ang="0">
                    <a:pos x="16" y="0"/>
                  </a:cxn>
                  <a:cxn ang="0">
                    <a:pos x="14" y="0"/>
                  </a:cxn>
                  <a:cxn ang="0">
                    <a:pos x="14" y="0"/>
                  </a:cxn>
                  <a:cxn ang="0">
                    <a:pos x="12" y="0"/>
                  </a:cxn>
                  <a:cxn ang="0">
                    <a:pos x="10" y="0"/>
                  </a:cxn>
                  <a:cxn ang="0">
                    <a:pos x="8" y="0"/>
                  </a:cxn>
                  <a:cxn ang="0">
                    <a:pos x="6" y="2"/>
                  </a:cxn>
                  <a:cxn ang="0">
                    <a:pos x="2" y="2"/>
                  </a:cxn>
                  <a:cxn ang="0">
                    <a:pos x="2" y="4"/>
                  </a:cxn>
                  <a:cxn ang="0">
                    <a:pos x="0" y="6"/>
                  </a:cxn>
                  <a:cxn ang="0">
                    <a:pos x="0" y="6"/>
                  </a:cxn>
                  <a:cxn ang="0">
                    <a:pos x="0" y="6"/>
                  </a:cxn>
                  <a:cxn ang="0">
                    <a:pos x="0" y="6"/>
                  </a:cxn>
                </a:cxnLst>
                <a:rect l="0" t="0" r="r" b="b"/>
                <a:pathLst>
                  <a:path w="16" h="18">
                    <a:moveTo>
                      <a:pt x="0" y="6"/>
                    </a:moveTo>
                    <a:lnTo>
                      <a:pt x="0" y="8"/>
                    </a:lnTo>
                    <a:lnTo>
                      <a:pt x="0" y="10"/>
                    </a:lnTo>
                    <a:lnTo>
                      <a:pt x="0" y="12"/>
                    </a:lnTo>
                    <a:lnTo>
                      <a:pt x="2" y="14"/>
                    </a:lnTo>
                    <a:lnTo>
                      <a:pt x="2" y="16"/>
                    </a:lnTo>
                    <a:lnTo>
                      <a:pt x="2" y="18"/>
                    </a:lnTo>
                    <a:lnTo>
                      <a:pt x="4" y="18"/>
                    </a:lnTo>
                    <a:lnTo>
                      <a:pt x="4" y="16"/>
                    </a:lnTo>
                    <a:lnTo>
                      <a:pt x="6" y="14"/>
                    </a:lnTo>
                    <a:lnTo>
                      <a:pt x="6" y="12"/>
                    </a:lnTo>
                    <a:lnTo>
                      <a:pt x="8" y="12"/>
                    </a:lnTo>
                    <a:lnTo>
                      <a:pt x="10" y="12"/>
                    </a:lnTo>
                    <a:lnTo>
                      <a:pt x="10" y="10"/>
                    </a:lnTo>
                    <a:lnTo>
                      <a:pt x="12" y="8"/>
                    </a:lnTo>
                    <a:lnTo>
                      <a:pt x="12" y="6"/>
                    </a:lnTo>
                    <a:lnTo>
                      <a:pt x="10" y="4"/>
                    </a:lnTo>
                    <a:lnTo>
                      <a:pt x="12" y="2"/>
                    </a:lnTo>
                    <a:lnTo>
                      <a:pt x="14" y="0"/>
                    </a:lnTo>
                    <a:lnTo>
                      <a:pt x="16" y="0"/>
                    </a:lnTo>
                    <a:lnTo>
                      <a:pt x="14" y="0"/>
                    </a:lnTo>
                    <a:lnTo>
                      <a:pt x="12" y="0"/>
                    </a:lnTo>
                    <a:lnTo>
                      <a:pt x="10" y="0"/>
                    </a:lnTo>
                    <a:lnTo>
                      <a:pt x="8" y="0"/>
                    </a:lnTo>
                    <a:lnTo>
                      <a:pt x="6" y="2"/>
                    </a:lnTo>
                    <a:lnTo>
                      <a:pt x="2" y="2"/>
                    </a:lnTo>
                    <a:lnTo>
                      <a:pt x="2" y="4"/>
                    </a:lnTo>
                    <a:lnTo>
                      <a:pt x="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4" name="Freeform 160">
                <a:extLst>
                  <a:ext uri="{FF2B5EF4-FFF2-40B4-BE49-F238E27FC236}">
                    <a16:creationId xmlns:a16="http://schemas.microsoft.com/office/drawing/2014/main" id="{E5AB9B4E-BE0F-4CA5-8D94-ECBDC0AB08C4}"/>
                  </a:ext>
                </a:extLst>
              </p:cNvPr>
              <p:cNvSpPr>
                <a:spLocks noChangeAspect="1"/>
              </p:cNvSpPr>
              <p:nvPr/>
            </p:nvSpPr>
            <p:spPr bwMode="auto">
              <a:xfrm>
                <a:off x="4688944" y="2403498"/>
                <a:ext cx="13155" cy="20928"/>
              </a:xfrm>
              <a:custGeom>
                <a:avLst/>
                <a:gdLst/>
                <a:ahLst/>
                <a:cxnLst>
                  <a:cxn ang="0">
                    <a:pos x="0" y="0"/>
                  </a:cxn>
                  <a:cxn ang="0">
                    <a:pos x="0" y="2"/>
                  </a:cxn>
                  <a:cxn ang="0">
                    <a:pos x="0" y="6"/>
                  </a:cxn>
                  <a:cxn ang="0">
                    <a:pos x="0" y="6"/>
                  </a:cxn>
                  <a:cxn ang="0">
                    <a:pos x="0" y="8"/>
                  </a:cxn>
                  <a:cxn ang="0">
                    <a:pos x="0" y="8"/>
                  </a:cxn>
                  <a:cxn ang="0">
                    <a:pos x="0" y="8"/>
                  </a:cxn>
                  <a:cxn ang="0">
                    <a:pos x="0" y="8"/>
                  </a:cxn>
                  <a:cxn ang="0">
                    <a:pos x="0" y="10"/>
                  </a:cxn>
                  <a:cxn ang="0">
                    <a:pos x="2" y="10"/>
                  </a:cxn>
                  <a:cxn ang="0">
                    <a:pos x="4" y="10"/>
                  </a:cxn>
                  <a:cxn ang="0">
                    <a:pos x="6" y="12"/>
                  </a:cxn>
                  <a:cxn ang="0">
                    <a:pos x="6" y="12"/>
                  </a:cxn>
                  <a:cxn ang="0">
                    <a:pos x="6" y="12"/>
                  </a:cxn>
                  <a:cxn ang="0">
                    <a:pos x="6" y="10"/>
                  </a:cxn>
                  <a:cxn ang="0">
                    <a:pos x="8" y="8"/>
                  </a:cxn>
                  <a:cxn ang="0">
                    <a:pos x="8" y="8"/>
                  </a:cxn>
                  <a:cxn ang="0">
                    <a:pos x="8" y="6"/>
                  </a:cxn>
                  <a:cxn ang="0">
                    <a:pos x="8" y="6"/>
                  </a:cxn>
                  <a:cxn ang="0">
                    <a:pos x="8" y="6"/>
                  </a:cxn>
                  <a:cxn ang="0">
                    <a:pos x="8" y="6"/>
                  </a:cxn>
                  <a:cxn ang="0">
                    <a:pos x="6" y="4"/>
                  </a:cxn>
                  <a:cxn ang="0">
                    <a:pos x="6" y="2"/>
                  </a:cxn>
                  <a:cxn ang="0">
                    <a:pos x="4" y="2"/>
                  </a:cxn>
                  <a:cxn ang="0">
                    <a:pos x="4" y="2"/>
                  </a:cxn>
                  <a:cxn ang="0">
                    <a:pos x="4" y="0"/>
                  </a:cxn>
                  <a:cxn ang="0">
                    <a:pos x="4" y="0"/>
                  </a:cxn>
                  <a:cxn ang="0">
                    <a:pos x="0" y="0"/>
                  </a:cxn>
                  <a:cxn ang="0">
                    <a:pos x="0" y="0"/>
                  </a:cxn>
                  <a:cxn ang="0">
                    <a:pos x="0" y="0"/>
                  </a:cxn>
                </a:cxnLst>
                <a:rect l="0" t="0" r="r" b="b"/>
                <a:pathLst>
                  <a:path w="8" h="12">
                    <a:moveTo>
                      <a:pt x="0" y="0"/>
                    </a:moveTo>
                    <a:lnTo>
                      <a:pt x="0" y="2"/>
                    </a:lnTo>
                    <a:lnTo>
                      <a:pt x="0" y="6"/>
                    </a:lnTo>
                    <a:lnTo>
                      <a:pt x="0" y="8"/>
                    </a:lnTo>
                    <a:lnTo>
                      <a:pt x="0" y="10"/>
                    </a:lnTo>
                    <a:lnTo>
                      <a:pt x="2" y="10"/>
                    </a:lnTo>
                    <a:lnTo>
                      <a:pt x="4" y="10"/>
                    </a:lnTo>
                    <a:lnTo>
                      <a:pt x="6" y="12"/>
                    </a:lnTo>
                    <a:lnTo>
                      <a:pt x="6" y="10"/>
                    </a:lnTo>
                    <a:lnTo>
                      <a:pt x="8" y="8"/>
                    </a:lnTo>
                    <a:lnTo>
                      <a:pt x="8" y="6"/>
                    </a:lnTo>
                    <a:lnTo>
                      <a:pt x="6" y="4"/>
                    </a:lnTo>
                    <a:lnTo>
                      <a:pt x="6" y="2"/>
                    </a:lnTo>
                    <a:lnTo>
                      <a:pt x="4" y="2"/>
                    </a:lnTo>
                    <a:lnTo>
                      <a:pt x="4" y="0"/>
                    </a:lnTo>
                    <a:lnTo>
                      <a:pt x="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5" name="Freeform 161">
                <a:extLst>
                  <a:ext uri="{FF2B5EF4-FFF2-40B4-BE49-F238E27FC236}">
                    <a16:creationId xmlns:a16="http://schemas.microsoft.com/office/drawing/2014/main" id="{590FB77D-681E-49A8-9871-67368B0E12E4}"/>
                  </a:ext>
                </a:extLst>
              </p:cNvPr>
              <p:cNvSpPr>
                <a:spLocks noChangeAspect="1"/>
              </p:cNvSpPr>
              <p:nvPr/>
            </p:nvSpPr>
            <p:spPr bwMode="auto">
              <a:xfrm>
                <a:off x="4711965" y="2386058"/>
                <a:ext cx="32887" cy="41855"/>
              </a:xfrm>
              <a:custGeom>
                <a:avLst/>
                <a:gdLst/>
                <a:ahLst/>
                <a:cxnLst>
                  <a:cxn ang="0">
                    <a:pos x="4" y="16"/>
                  </a:cxn>
                  <a:cxn ang="0">
                    <a:pos x="2" y="18"/>
                  </a:cxn>
                  <a:cxn ang="0">
                    <a:pos x="2" y="20"/>
                  </a:cxn>
                  <a:cxn ang="0">
                    <a:pos x="4" y="20"/>
                  </a:cxn>
                  <a:cxn ang="0">
                    <a:pos x="10" y="20"/>
                  </a:cxn>
                  <a:cxn ang="0">
                    <a:pos x="10" y="20"/>
                  </a:cxn>
                  <a:cxn ang="0">
                    <a:pos x="12" y="20"/>
                  </a:cxn>
                  <a:cxn ang="0">
                    <a:pos x="12" y="22"/>
                  </a:cxn>
                  <a:cxn ang="0">
                    <a:pos x="14" y="24"/>
                  </a:cxn>
                  <a:cxn ang="0">
                    <a:pos x="14" y="24"/>
                  </a:cxn>
                  <a:cxn ang="0">
                    <a:pos x="16" y="22"/>
                  </a:cxn>
                  <a:cxn ang="0">
                    <a:pos x="18" y="18"/>
                  </a:cxn>
                  <a:cxn ang="0">
                    <a:pos x="18" y="16"/>
                  </a:cxn>
                  <a:cxn ang="0">
                    <a:pos x="20" y="16"/>
                  </a:cxn>
                  <a:cxn ang="0">
                    <a:pos x="20" y="16"/>
                  </a:cxn>
                  <a:cxn ang="0">
                    <a:pos x="20" y="14"/>
                  </a:cxn>
                  <a:cxn ang="0">
                    <a:pos x="18" y="12"/>
                  </a:cxn>
                  <a:cxn ang="0">
                    <a:pos x="16" y="10"/>
                  </a:cxn>
                  <a:cxn ang="0">
                    <a:pos x="16" y="10"/>
                  </a:cxn>
                  <a:cxn ang="0">
                    <a:pos x="16" y="10"/>
                  </a:cxn>
                  <a:cxn ang="0">
                    <a:pos x="18" y="10"/>
                  </a:cxn>
                  <a:cxn ang="0">
                    <a:pos x="18" y="10"/>
                  </a:cxn>
                  <a:cxn ang="0">
                    <a:pos x="18" y="8"/>
                  </a:cxn>
                  <a:cxn ang="0">
                    <a:pos x="18" y="8"/>
                  </a:cxn>
                  <a:cxn ang="0">
                    <a:pos x="20" y="6"/>
                  </a:cxn>
                  <a:cxn ang="0">
                    <a:pos x="20" y="4"/>
                  </a:cxn>
                  <a:cxn ang="0">
                    <a:pos x="20" y="4"/>
                  </a:cxn>
                  <a:cxn ang="0">
                    <a:pos x="18" y="2"/>
                  </a:cxn>
                  <a:cxn ang="0">
                    <a:pos x="18" y="0"/>
                  </a:cxn>
                  <a:cxn ang="0">
                    <a:pos x="16" y="0"/>
                  </a:cxn>
                  <a:cxn ang="0">
                    <a:pos x="14" y="2"/>
                  </a:cxn>
                  <a:cxn ang="0">
                    <a:pos x="12" y="4"/>
                  </a:cxn>
                  <a:cxn ang="0">
                    <a:pos x="12" y="6"/>
                  </a:cxn>
                  <a:cxn ang="0">
                    <a:pos x="12" y="8"/>
                  </a:cxn>
                  <a:cxn ang="0">
                    <a:pos x="12" y="6"/>
                  </a:cxn>
                  <a:cxn ang="0">
                    <a:pos x="10" y="4"/>
                  </a:cxn>
                  <a:cxn ang="0">
                    <a:pos x="8" y="4"/>
                  </a:cxn>
                  <a:cxn ang="0">
                    <a:pos x="8" y="4"/>
                  </a:cxn>
                  <a:cxn ang="0">
                    <a:pos x="6" y="6"/>
                  </a:cxn>
                  <a:cxn ang="0">
                    <a:pos x="4" y="8"/>
                  </a:cxn>
                  <a:cxn ang="0">
                    <a:pos x="2" y="10"/>
                  </a:cxn>
                  <a:cxn ang="0">
                    <a:pos x="0" y="10"/>
                  </a:cxn>
                  <a:cxn ang="0">
                    <a:pos x="0" y="10"/>
                  </a:cxn>
                  <a:cxn ang="0">
                    <a:pos x="2" y="10"/>
                  </a:cxn>
                  <a:cxn ang="0">
                    <a:pos x="4" y="12"/>
                  </a:cxn>
                  <a:cxn ang="0">
                    <a:pos x="4" y="14"/>
                  </a:cxn>
                </a:cxnLst>
                <a:rect l="0" t="0" r="r" b="b"/>
                <a:pathLst>
                  <a:path w="20" h="24">
                    <a:moveTo>
                      <a:pt x="4" y="14"/>
                    </a:moveTo>
                    <a:lnTo>
                      <a:pt x="4" y="16"/>
                    </a:lnTo>
                    <a:lnTo>
                      <a:pt x="2" y="16"/>
                    </a:lnTo>
                    <a:lnTo>
                      <a:pt x="2" y="18"/>
                    </a:lnTo>
                    <a:lnTo>
                      <a:pt x="2" y="20"/>
                    </a:lnTo>
                    <a:lnTo>
                      <a:pt x="4" y="20"/>
                    </a:lnTo>
                    <a:lnTo>
                      <a:pt x="8" y="20"/>
                    </a:lnTo>
                    <a:lnTo>
                      <a:pt x="10" y="20"/>
                    </a:lnTo>
                    <a:lnTo>
                      <a:pt x="12" y="20"/>
                    </a:lnTo>
                    <a:lnTo>
                      <a:pt x="12" y="22"/>
                    </a:lnTo>
                    <a:lnTo>
                      <a:pt x="12" y="24"/>
                    </a:lnTo>
                    <a:lnTo>
                      <a:pt x="14" y="24"/>
                    </a:lnTo>
                    <a:lnTo>
                      <a:pt x="14" y="22"/>
                    </a:lnTo>
                    <a:lnTo>
                      <a:pt x="16" y="22"/>
                    </a:lnTo>
                    <a:lnTo>
                      <a:pt x="16" y="20"/>
                    </a:lnTo>
                    <a:lnTo>
                      <a:pt x="18" y="18"/>
                    </a:lnTo>
                    <a:lnTo>
                      <a:pt x="18" y="16"/>
                    </a:lnTo>
                    <a:lnTo>
                      <a:pt x="20" y="16"/>
                    </a:lnTo>
                    <a:lnTo>
                      <a:pt x="20" y="14"/>
                    </a:lnTo>
                    <a:lnTo>
                      <a:pt x="18" y="12"/>
                    </a:lnTo>
                    <a:lnTo>
                      <a:pt x="16" y="12"/>
                    </a:lnTo>
                    <a:lnTo>
                      <a:pt x="16" y="10"/>
                    </a:lnTo>
                    <a:lnTo>
                      <a:pt x="18" y="10"/>
                    </a:lnTo>
                    <a:lnTo>
                      <a:pt x="18" y="8"/>
                    </a:lnTo>
                    <a:lnTo>
                      <a:pt x="18" y="6"/>
                    </a:lnTo>
                    <a:lnTo>
                      <a:pt x="20" y="6"/>
                    </a:lnTo>
                    <a:lnTo>
                      <a:pt x="20" y="4"/>
                    </a:lnTo>
                    <a:lnTo>
                      <a:pt x="20" y="2"/>
                    </a:lnTo>
                    <a:lnTo>
                      <a:pt x="18" y="2"/>
                    </a:lnTo>
                    <a:lnTo>
                      <a:pt x="18" y="0"/>
                    </a:lnTo>
                    <a:lnTo>
                      <a:pt x="16" y="0"/>
                    </a:lnTo>
                    <a:lnTo>
                      <a:pt x="16" y="2"/>
                    </a:lnTo>
                    <a:lnTo>
                      <a:pt x="14" y="2"/>
                    </a:lnTo>
                    <a:lnTo>
                      <a:pt x="12" y="4"/>
                    </a:lnTo>
                    <a:lnTo>
                      <a:pt x="12" y="6"/>
                    </a:lnTo>
                    <a:lnTo>
                      <a:pt x="12" y="8"/>
                    </a:lnTo>
                    <a:lnTo>
                      <a:pt x="12" y="6"/>
                    </a:lnTo>
                    <a:lnTo>
                      <a:pt x="10" y="6"/>
                    </a:lnTo>
                    <a:lnTo>
                      <a:pt x="10" y="4"/>
                    </a:lnTo>
                    <a:lnTo>
                      <a:pt x="8" y="4"/>
                    </a:lnTo>
                    <a:lnTo>
                      <a:pt x="6" y="6"/>
                    </a:lnTo>
                    <a:lnTo>
                      <a:pt x="4" y="6"/>
                    </a:lnTo>
                    <a:lnTo>
                      <a:pt x="4" y="8"/>
                    </a:lnTo>
                    <a:lnTo>
                      <a:pt x="2" y="8"/>
                    </a:lnTo>
                    <a:lnTo>
                      <a:pt x="2" y="10"/>
                    </a:lnTo>
                    <a:lnTo>
                      <a:pt x="0" y="10"/>
                    </a:lnTo>
                    <a:lnTo>
                      <a:pt x="2" y="10"/>
                    </a:lnTo>
                    <a:lnTo>
                      <a:pt x="4" y="12"/>
                    </a:lnTo>
                    <a:lnTo>
                      <a:pt x="4" y="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6" name="Freeform 162">
                <a:extLst>
                  <a:ext uri="{FF2B5EF4-FFF2-40B4-BE49-F238E27FC236}">
                    <a16:creationId xmlns:a16="http://schemas.microsoft.com/office/drawing/2014/main" id="{750B1E83-A534-4E77-917A-A495C2F3CA21}"/>
                  </a:ext>
                </a:extLst>
              </p:cNvPr>
              <p:cNvSpPr>
                <a:spLocks noChangeAspect="1"/>
              </p:cNvSpPr>
              <p:nvPr/>
            </p:nvSpPr>
            <p:spPr bwMode="auto">
              <a:xfrm>
                <a:off x="4984929" y="2281420"/>
                <a:ext cx="108527" cy="62783"/>
              </a:xfrm>
              <a:custGeom>
                <a:avLst/>
                <a:gdLst/>
                <a:ahLst/>
                <a:cxnLst>
                  <a:cxn ang="0">
                    <a:pos x="60" y="24"/>
                  </a:cxn>
                  <a:cxn ang="0">
                    <a:pos x="60" y="24"/>
                  </a:cxn>
                  <a:cxn ang="0">
                    <a:pos x="60" y="20"/>
                  </a:cxn>
                  <a:cxn ang="0">
                    <a:pos x="62" y="20"/>
                  </a:cxn>
                  <a:cxn ang="0">
                    <a:pos x="58" y="18"/>
                  </a:cxn>
                  <a:cxn ang="0">
                    <a:pos x="58" y="18"/>
                  </a:cxn>
                  <a:cxn ang="0">
                    <a:pos x="58" y="14"/>
                  </a:cxn>
                  <a:cxn ang="0">
                    <a:pos x="58" y="12"/>
                  </a:cxn>
                  <a:cxn ang="0">
                    <a:pos x="62" y="10"/>
                  </a:cxn>
                  <a:cxn ang="0">
                    <a:pos x="62" y="8"/>
                  </a:cxn>
                  <a:cxn ang="0">
                    <a:pos x="62" y="6"/>
                  </a:cxn>
                  <a:cxn ang="0">
                    <a:pos x="62" y="4"/>
                  </a:cxn>
                  <a:cxn ang="0">
                    <a:pos x="62" y="2"/>
                  </a:cxn>
                  <a:cxn ang="0">
                    <a:pos x="54" y="0"/>
                  </a:cxn>
                  <a:cxn ang="0">
                    <a:pos x="46" y="0"/>
                  </a:cxn>
                  <a:cxn ang="0">
                    <a:pos x="40" y="0"/>
                  </a:cxn>
                  <a:cxn ang="0">
                    <a:pos x="32" y="0"/>
                  </a:cxn>
                  <a:cxn ang="0">
                    <a:pos x="22" y="0"/>
                  </a:cxn>
                  <a:cxn ang="0">
                    <a:pos x="20" y="0"/>
                  </a:cxn>
                  <a:cxn ang="0">
                    <a:pos x="18" y="0"/>
                  </a:cxn>
                  <a:cxn ang="0">
                    <a:pos x="14" y="2"/>
                  </a:cxn>
                  <a:cxn ang="0">
                    <a:pos x="4" y="8"/>
                  </a:cxn>
                  <a:cxn ang="0">
                    <a:pos x="2" y="10"/>
                  </a:cxn>
                  <a:cxn ang="0">
                    <a:pos x="2" y="12"/>
                  </a:cxn>
                  <a:cxn ang="0">
                    <a:pos x="2" y="18"/>
                  </a:cxn>
                  <a:cxn ang="0">
                    <a:pos x="6" y="20"/>
                  </a:cxn>
                  <a:cxn ang="0">
                    <a:pos x="12" y="20"/>
                  </a:cxn>
                  <a:cxn ang="0">
                    <a:pos x="16" y="20"/>
                  </a:cxn>
                  <a:cxn ang="0">
                    <a:pos x="18" y="20"/>
                  </a:cxn>
                  <a:cxn ang="0">
                    <a:pos x="16" y="26"/>
                  </a:cxn>
                  <a:cxn ang="0">
                    <a:pos x="16" y="28"/>
                  </a:cxn>
                  <a:cxn ang="0">
                    <a:pos x="16" y="28"/>
                  </a:cxn>
                  <a:cxn ang="0">
                    <a:pos x="16" y="28"/>
                  </a:cxn>
                  <a:cxn ang="0">
                    <a:pos x="22" y="28"/>
                  </a:cxn>
                  <a:cxn ang="0">
                    <a:pos x="24" y="26"/>
                  </a:cxn>
                  <a:cxn ang="0">
                    <a:pos x="24" y="26"/>
                  </a:cxn>
                  <a:cxn ang="0">
                    <a:pos x="28" y="26"/>
                  </a:cxn>
                  <a:cxn ang="0">
                    <a:pos x="34" y="26"/>
                  </a:cxn>
                  <a:cxn ang="0">
                    <a:pos x="38" y="28"/>
                  </a:cxn>
                  <a:cxn ang="0">
                    <a:pos x="42" y="32"/>
                  </a:cxn>
                  <a:cxn ang="0">
                    <a:pos x="46" y="36"/>
                  </a:cxn>
                  <a:cxn ang="0">
                    <a:pos x="50" y="36"/>
                  </a:cxn>
                  <a:cxn ang="0">
                    <a:pos x="52" y="34"/>
                  </a:cxn>
                  <a:cxn ang="0">
                    <a:pos x="56" y="36"/>
                  </a:cxn>
                  <a:cxn ang="0">
                    <a:pos x="58" y="36"/>
                  </a:cxn>
                  <a:cxn ang="0">
                    <a:pos x="60" y="36"/>
                  </a:cxn>
                  <a:cxn ang="0">
                    <a:pos x="60" y="36"/>
                  </a:cxn>
                  <a:cxn ang="0">
                    <a:pos x="60" y="34"/>
                  </a:cxn>
                  <a:cxn ang="0">
                    <a:pos x="64" y="32"/>
                  </a:cxn>
                  <a:cxn ang="0">
                    <a:pos x="64" y="30"/>
                  </a:cxn>
                  <a:cxn ang="0">
                    <a:pos x="62" y="26"/>
                  </a:cxn>
                </a:cxnLst>
                <a:rect l="0" t="0" r="r" b="b"/>
                <a:pathLst>
                  <a:path w="66" h="36">
                    <a:moveTo>
                      <a:pt x="62" y="26"/>
                    </a:moveTo>
                    <a:lnTo>
                      <a:pt x="60" y="24"/>
                    </a:lnTo>
                    <a:lnTo>
                      <a:pt x="60" y="22"/>
                    </a:lnTo>
                    <a:lnTo>
                      <a:pt x="60" y="20"/>
                    </a:lnTo>
                    <a:lnTo>
                      <a:pt x="62" y="20"/>
                    </a:lnTo>
                    <a:lnTo>
                      <a:pt x="60" y="18"/>
                    </a:lnTo>
                    <a:lnTo>
                      <a:pt x="58" y="18"/>
                    </a:lnTo>
                    <a:lnTo>
                      <a:pt x="58" y="16"/>
                    </a:lnTo>
                    <a:lnTo>
                      <a:pt x="58" y="14"/>
                    </a:lnTo>
                    <a:lnTo>
                      <a:pt x="58" y="12"/>
                    </a:lnTo>
                    <a:lnTo>
                      <a:pt x="60" y="10"/>
                    </a:lnTo>
                    <a:lnTo>
                      <a:pt x="62" y="10"/>
                    </a:lnTo>
                    <a:lnTo>
                      <a:pt x="62" y="8"/>
                    </a:lnTo>
                    <a:lnTo>
                      <a:pt x="62" y="6"/>
                    </a:lnTo>
                    <a:lnTo>
                      <a:pt x="62" y="4"/>
                    </a:lnTo>
                    <a:lnTo>
                      <a:pt x="62" y="2"/>
                    </a:lnTo>
                    <a:lnTo>
                      <a:pt x="60" y="2"/>
                    </a:lnTo>
                    <a:lnTo>
                      <a:pt x="58" y="2"/>
                    </a:lnTo>
                    <a:lnTo>
                      <a:pt x="54" y="0"/>
                    </a:lnTo>
                    <a:lnTo>
                      <a:pt x="50" y="0"/>
                    </a:lnTo>
                    <a:lnTo>
                      <a:pt x="48" y="0"/>
                    </a:lnTo>
                    <a:lnTo>
                      <a:pt x="46" y="0"/>
                    </a:lnTo>
                    <a:lnTo>
                      <a:pt x="42" y="0"/>
                    </a:lnTo>
                    <a:lnTo>
                      <a:pt x="40" y="0"/>
                    </a:lnTo>
                    <a:lnTo>
                      <a:pt x="38" y="0"/>
                    </a:lnTo>
                    <a:lnTo>
                      <a:pt x="36" y="0"/>
                    </a:lnTo>
                    <a:lnTo>
                      <a:pt x="32" y="0"/>
                    </a:lnTo>
                    <a:lnTo>
                      <a:pt x="28" y="0"/>
                    </a:lnTo>
                    <a:lnTo>
                      <a:pt x="24" y="0"/>
                    </a:lnTo>
                    <a:lnTo>
                      <a:pt x="22" y="0"/>
                    </a:lnTo>
                    <a:lnTo>
                      <a:pt x="20" y="0"/>
                    </a:lnTo>
                    <a:lnTo>
                      <a:pt x="18" y="0"/>
                    </a:lnTo>
                    <a:lnTo>
                      <a:pt x="18" y="2"/>
                    </a:lnTo>
                    <a:lnTo>
                      <a:pt x="16" y="2"/>
                    </a:lnTo>
                    <a:lnTo>
                      <a:pt x="14" y="2"/>
                    </a:lnTo>
                    <a:lnTo>
                      <a:pt x="10" y="4"/>
                    </a:lnTo>
                    <a:lnTo>
                      <a:pt x="6" y="6"/>
                    </a:lnTo>
                    <a:lnTo>
                      <a:pt x="4" y="8"/>
                    </a:lnTo>
                    <a:lnTo>
                      <a:pt x="2" y="8"/>
                    </a:lnTo>
                    <a:lnTo>
                      <a:pt x="2" y="10"/>
                    </a:lnTo>
                    <a:lnTo>
                      <a:pt x="0" y="10"/>
                    </a:lnTo>
                    <a:lnTo>
                      <a:pt x="2" y="12"/>
                    </a:lnTo>
                    <a:lnTo>
                      <a:pt x="2" y="16"/>
                    </a:lnTo>
                    <a:lnTo>
                      <a:pt x="2" y="18"/>
                    </a:lnTo>
                    <a:lnTo>
                      <a:pt x="4" y="18"/>
                    </a:lnTo>
                    <a:lnTo>
                      <a:pt x="4" y="20"/>
                    </a:lnTo>
                    <a:lnTo>
                      <a:pt x="6" y="20"/>
                    </a:lnTo>
                    <a:lnTo>
                      <a:pt x="8" y="20"/>
                    </a:lnTo>
                    <a:lnTo>
                      <a:pt x="10" y="20"/>
                    </a:lnTo>
                    <a:lnTo>
                      <a:pt x="12" y="20"/>
                    </a:lnTo>
                    <a:lnTo>
                      <a:pt x="14" y="20"/>
                    </a:lnTo>
                    <a:lnTo>
                      <a:pt x="16" y="20"/>
                    </a:lnTo>
                    <a:lnTo>
                      <a:pt x="18" y="20"/>
                    </a:lnTo>
                    <a:lnTo>
                      <a:pt x="16" y="24"/>
                    </a:lnTo>
                    <a:lnTo>
                      <a:pt x="16" y="26"/>
                    </a:lnTo>
                    <a:lnTo>
                      <a:pt x="16" y="28"/>
                    </a:lnTo>
                    <a:lnTo>
                      <a:pt x="20" y="28"/>
                    </a:lnTo>
                    <a:lnTo>
                      <a:pt x="22" y="28"/>
                    </a:lnTo>
                    <a:lnTo>
                      <a:pt x="22" y="26"/>
                    </a:lnTo>
                    <a:lnTo>
                      <a:pt x="24" y="26"/>
                    </a:lnTo>
                    <a:lnTo>
                      <a:pt x="26" y="26"/>
                    </a:lnTo>
                    <a:lnTo>
                      <a:pt x="28" y="26"/>
                    </a:lnTo>
                    <a:lnTo>
                      <a:pt x="30" y="26"/>
                    </a:lnTo>
                    <a:lnTo>
                      <a:pt x="32" y="26"/>
                    </a:lnTo>
                    <a:lnTo>
                      <a:pt x="34" y="26"/>
                    </a:lnTo>
                    <a:lnTo>
                      <a:pt x="34" y="28"/>
                    </a:lnTo>
                    <a:lnTo>
                      <a:pt x="36" y="28"/>
                    </a:lnTo>
                    <a:lnTo>
                      <a:pt x="38" y="28"/>
                    </a:lnTo>
                    <a:lnTo>
                      <a:pt x="40" y="30"/>
                    </a:lnTo>
                    <a:lnTo>
                      <a:pt x="40" y="32"/>
                    </a:lnTo>
                    <a:lnTo>
                      <a:pt x="42" y="32"/>
                    </a:lnTo>
                    <a:lnTo>
                      <a:pt x="44" y="34"/>
                    </a:lnTo>
                    <a:lnTo>
                      <a:pt x="46" y="36"/>
                    </a:lnTo>
                    <a:lnTo>
                      <a:pt x="48" y="36"/>
                    </a:lnTo>
                    <a:lnTo>
                      <a:pt x="50" y="36"/>
                    </a:lnTo>
                    <a:lnTo>
                      <a:pt x="52" y="34"/>
                    </a:lnTo>
                    <a:lnTo>
                      <a:pt x="54" y="36"/>
                    </a:lnTo>
                    <a:lnTo>
                      <a:pt x="56" y="36"/>
                    </a:lnTo>
                    <a:lnTo>
                      <a:pt x="58" y="36"/>
                    </a:lnTo>
                    <a:lnTo>
                      <a:pt x="60" y="36"/>
                    </a:lnTo>
                    <a:lnTo>
                      <a:pt x="60" y="34"/>
                    </a:lnTo>
                    <a:lnTo>
                      <a:pt x="62" y="32"/>
                    </a:lnTo>
                    <a:lnTo>
                      <a:pt x="64" y="32"/>
                    </a:lnTo>
                    <a:lnTo>
                      <a:pt x="64" y="30"/>
                    </a:lnTo>
                    <a:lnTo>
                      <a:pt x="66" y="30"/>
                    </a:lnTo>
                    <a:lnTo>
                      <a:pt x="62"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7" name="Freeform 163">
                <a:extLst>
                  <a:ext uri="{FF2B5EF4-FFF2-40B4-BE49-F238E27FC236}">
                    <a16:creationId xmlns:a16="http://schemas.microsoft.com/office/drawing/2014/main" id="{746B3E06-26AA-42CB-922E-5C2B91BD857B}"/>
                  </a:ext>
                </a:extLst>
              </p:cNvPr>
              <p:cNvSpPr>
                <a:spLocks noChangeAspect="1"/>
              </p:cNvSpPr>
              <p:nvPr/>
            </p:nvSpPr>
            <p:spPr bwMode="auto">
              <a:xfrm>
                <a:off x="4896134" y="2795890"/>
                <a:ext cx="52620" cy="59295"/>
              </a:xfrm>
              <a:custGeom>
                <a:avLst/>
                <a:gdLst/>
                <a:ahLst/>
                <a:cxnLst>
                  <a:cxn ang="0">
                    <a:pos x="14" y="28"/>
                  </a:cxn>
                  <a:cxn ang="0">
                    <a:pos x="12" y="28"/>
                  </a:cxn>
                  <a:cxn ang="0">
                    <a:pos x="10" y="26"/>
                  </a:cxn>
                  <a:cxn ang="0">
                    <a:pos x="14" y="26"/>
                  </a:cxn>
                  <a:cxn ang="0">
                    <a:pos x="16" y="26"/>
                  </a:cxn>
                  <a:cxn ang="0">
                    <a:pos x="18" y="24"/>
                  </a:cxn>
                  <a:cxn ang="0">
                    <a:pos x="18" y="24"/>
                  </a:cxn>
                  <a:cxn ang="0">
                    <a:pos x="18" y="20"/>
                  </a:cxn>
                  <a:cxn ang="0">
                    <a:pos x="20" y="18"/>
                  </a:cxn>
                  <a:cxn ang="0">
                    <a:pos x="22" y="20"/>
                  </a:cxn>
                  <a:cxn ang="0">
                    <a:pos x="26" y="22"/>
                  </a:cxn>
                  <a:cxn ang="0">
                    <a:pos x="26" y="20"/>
                  </a:cxn>
                  <a:cxn ang="0">
                    <a:pos x="28" y="20"/>
                  </a:cxn>
                  <a:cxn ang="0">
                    <a:pos x="28" y="20"/>
                  </a:cxn>
                  <a:cxn ang="0">
                    <a:pos x="28" y="18"/>
                  </a:cxn>
                  <a:cxn ang="0">
                    <a:pos x="28" y="16"/>
                  </a:cxn>
                  <a:cxn ang="0">
                    <a:pos x="28" y="14"/>
                  </a:cxn>
                  <a:cxn ang="0">
                    <a:pos x="28" y="16"/>
                  </a:cxn>
                  <a:cxn ang="0">
                    <a:pos x="30" y="16"/>
                  </a:cxn>
                  <a:cxn ang="0">
                    <a:pos x="32" y="14"/>
                  </a:cxn>
                  <a:cxn ang="0">
                    <a:pos x="28" y="10"/>
                  </a:cxn>
                  <a:cxn ang="0">
                    <a:pos x="22" y="6"/>
                  </a:cxn>
                  <a:cxn ang="0">
                    <a:pos x="18" y="2"/>
                  </a:cxn>
                  <a:cxn ang="0">
                    <a:pos x="16" y="2"/>
                  </a:cxn>
                  <a:cxn ang="0">
                    <a:pos x="14" y="2"/>
                  </a:cxn>
                  <a:cxn ang="0">
                    <a:pos x="12" y="0"/>
                  </a:cxn>
                  <a:cxn ang="0">
                    <a:pos x="10" y="2"/>
                  </a:cxn>
                  <a:cxn ang="0">
                    <a:pos x="10" y="6"/>
                  </a:cxn>
                  <a:cxn ang="0">
                    <a:pos x="10" y="6"/>
                  </a:cxn>
                  <a:cxn ang="0">
                    <a:pos x="8" y="6"/>
                  </a:cxn>
                  <a:cxn ang="0">
                    <a:pos x="6" y="6"/>
                  </a:cxn>
                  <a:cxn ang="0">
                    <a:pos x="4" y="10"/>
                  </a:cxn>
                  <a:cxn ang="0">
                    <a:pos x="4" y="12"/>
                  </a:cxn>
                  <a:cxn ang="0">
                    <a:pos x="2" y="12"/>
                  </a:cxn>
                  <a:cxn ang="0">
                    <a:pos x="2" y="12"/>
                  </a:cxn>
                  <a:cxn ang="0">
                    <a:pos x="2" y="14"/>
                  </a:cxn>
                  <a:cxn ang="0">
                    <a:pos x="4" y="16"/>
                  </a:cxn>
                  <a:cxn ang="0">
                    <a:pos x="6" y="18"/>
                  </a:cxn>
                  <a:cxn ang="0">
                    <a:pos x="2" y="22"/>
                  </a:cxn>
                  <a:cxn ang="0">
                    <a:pos x="2" y="24"/>
                  </a:cxn>
                  <a:cxn ang="0">
                    <a:pos x="2" y="24"/>
                  </a:cxn>
                  <a:cxn ang="0">
                    <a:pos x="6" y="24"/>
                  </a:cxn>
                  <a:cxn ang="0">
                    <a:pos x="8" y="24"/>
                  </a:cxn>
                  <a:cxn ang="0">
                    <a:pos x="8" y="26"/>
                  </a:cxn>
                  <a:cxn ang="0">
                    <a:pos x="8" y="28"/>
                  </a:cxn>
                  <a:cxn ang="0">
                    <a:pos x="12" y="32"/>
                  </a:cxn>
                  <a:cxn ang="0">
                    <a:pos x="14" y="34"/>
                  </a:cxn>
                  <a:cxn ang="0">
                    <a:pos x="16" y="32"/>
                  </a:cxn>
                  <a:cxn ang="0">
                    <a:pos x="16" y="30"/>
                  </a:cxn>
                  <a:cxn ang="0">
                    <a:pos x="16" y="26"/>
                  </a:cxn>
                </a:cxnLst>
                <a:rect l="0" t="0" r="r" b="b"/>
                <a:pathLst>
                  <a:path w="32" h="34">
                    <a:moveTo>
                      <a:pt x="16" y="26"/>
                    </a:moveTo>
                    <a:lnTo>
                      <a:pt x="14" y="28"/>
                    </a:lnTo>
                    <a:lnTo>
                      <a:pt x="12" y="28"/>
                    </a:lnTo>
                    <a:lnTo>
                      <a:pt x="12" y="26"/>
                    </a:lnTo>
                    <a:lnTo>
                      <a:pt x="10" y="26"/>
                    </a:lnTo>
                    <a:lnTo>
                      <a:pt x="12" y="26"/>
                    </a:lnTo>
                    <a:lnTo>
                      <a:pt x="14" y="26"/>
                    </a:lnTo>
                    <a:lnTo>
                      <a:pt x="16" y="26"/>
                    </a:lnTo>
                    <a:lnTo>
                      <a:pt x="18" y="24"/>
                    </a:lnTo>
                    <a:lnTo>
                      <a:pt x="18" y="22"/>
                    </a:lnTo>
                    <a:lnTo>
                      <a:pt x="18" y="20"/>
                    </a:lnTo>
                    <a:lnTo>
                      <a:pt x="20" y="20"/>
                    </a:lnTo>
                    <a:lnTo>
                      <a:pt x="20" y="18"/>
                    </a:lnTo>
                    <a:lnTo>
                      <a:pt x="22" y="20"/>
                    </a:lnTo>
                    <a:lnTo>
                      <a:pt x="24" y="22"/>
                    </a:lnTo>
                    <a:lnTo>
                      <a:pt x="26" y="22"/>
                    </a:lnTo>
                    <a:lnTo>
                      <a:pt x="26" y="20"/>
                    </a:lnTo>
                    <a:lnTo>
                      <a:pt x="28" y="20"/>
                    </a:lnTo>
                    <a:lnTo>
                      <a:pt x="28" y="18"/>
                    </a:lnTo>
                    <a:lnTo>
                      <a:pt x="28" y="16"/>
                    </a:lnTo>
                    <a:lnTo>
                      <a:pt x="28" y="14"/>
                    </a:lnTo>
                    <a:lnTo>
                      <a:pt x="28" y="16"/>
                    </a:lnTo>
                    <a:lnTo>
                      <a:pt x="30" y="16"/>
                    </a:lnTo>
                    <a:lnTo>
                      <a:pt x="32" y="14"/>
                    </a:lnTo>
                    <a:lnTo>
                      <a:pt x="28" y="12"/>
                    </a:lnTo>
                    <a:lnTo>
                      <a:pt x="28" y="10"/>
                    </a:lnTo>
                    <a:lnTo>
                      <a:pt x="24" y="10"/>
                    </a:lnTo>
                    <a:lnTo>
                      <a:pt x="24" y="8"/>
                    </a:lnTo>
                    <a:lnTo>
                      <a:pt x="22" y="6"/>
                    </a:lnTo>
                    <a:lnTo>
                      <a:pt x="20" y="6"/>
                    </a:lnTo>
                    <a:lnTo>
                      <a:pt x="18" y="4"/>
                    </a:lnTo>
                    <a:lnTo>
                      <a:pt x="18" y="2"/>
                    </a:lnTo>
                    <a:lnTo>
                      <a:pt x="16" y="2"/>
                    </a:lnTo>
                    <a:lnTo>
                      <a:pt x="14" y="2"/>
                    </a:lnTo>
                    <a:lnTo>
                      <a:pt x="12" y="0"/>
                    </a:lnTo>
                    <a:lnTo>
                      <a:pt x="10" y="0"/>
                    </a:lnTo>
                    <a:lnTo>
                      <a:pt x="10" y="2"/>
                    </a:lnTo>
                    <a:lnTo>
                      <a:pt x="10" y="4"/>
                    </a:lnTo>
                    <a:lnTo>
                      <a:pt x="10" y="6"/>
                    </a:lnTo>
                    <a:lnTo>
                      <a:pt x="8" y="6"/>
                    </a:lnTo>
                    <a:lnTo>
                      <a:pt x="6" y="6"/>
                    </a:lnTo>
                    <a:lnTo>
                      <a:pt x="4" y="8"/>
                    </a:lnTo>
                    <a:lnTo>
                      <a:pt x="4" y="10"/>
                    </a:lnTo>
                    <a:lnTo>
                      <a:pt x="4" y="12"/>
                    </a:lnTo>
                    <a:lnTo>
                      <a:pt x="2" y="12"/>
                    </a:lnTo>
                    <a:lnTo>
                      <a:pt x="2" y="14"/>
                    </a:lnTo>
                    <a:lnTo>
                      <a:pt x="0" y="14"/>
                    </a:lnTo>
                    <a:lnTo>
                      <a:pt x="2" y="14"/>
                    </a:lnTo>
                    <a:lnTo>
                      <a:pt x="2" y="16"/>
                    </a:lnTo>
                    <a:lnTo>
                      <a:pt x="4" y="16"/>
                    </a:lnTo>
                    <a:lnTo>
                      <a:pt x="4" y="18"/>
                    </a:lnTo>
                    <a:lnTo>
                      <a:pt x="6" y="18"/>
                    </a:lnTo>
                    <a:lnTo>
                      <a:pt x="4" y="20"/>
                    </a:lnTo>
                    <a:lnTo>
                      <a:pt x="4" y="22"/>
                    </a:lnTo>
                    <a:lnTo>
                      <a:pt x="2" y="22"/>
                    </a:lnTo>
                    <a:lnTo>
                      <a:pt x="2" y="24"/>
                    </a:lnTo>
                    <a:lnTo>
                      <a:pt x="4" y="24"/>
                    </a:lnTo>
                    <a:lnTo>
                      <a:pt x="6" y="24"/>
                    </a:lnTo>
                    <a:lnTo>
                      <a:pt x="8" y="24"/>
                    </a:lnTo>
                    <a:lnTo>
                      <a:pt x="8" y="26"/>
                    </a:lnTo>
                    <a:lnTo>
                      <a:pt x="8" y="28"/>
                    </a:lnTo>
                    <a:lnTo>
                      <a:pt x="10" y="30"/>
                    </a:lnTo>
                    <a:lnTo>
                      <a:pt x="12" y="32"/>
                    </a:lnTo>
                    <a:lnTo>
                      <a:pt x="14" y="34"/>
                    </a:lnTo>
                    <a:lnTo>
                      <a:pt x="16" y="32"/>
                    </a:lnTo>
                    <a:lnTo>
                      <a:pt x="16" y="30"/>
                    </a:lnTo>
                    <a:lnTo>
                      <a:pt x="16"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8" name="Freeform 164">
                <a:extLst>
                  <a:ext uri="{FF2B5EF4-FFF2-40B4-BE49-F238E27FC236}">
                    <a16:creationId xmlns:a16="http://schemas.microsoft.com/office/drawing/2014/main" id="{E670C5B8-2936-4FD8-9AF4-E8274E819011}"/>
                  </a:ext>
                </a:extLst>
              </p:cNvPr>
              <p:cNvSpPr>
                <a:spLocks noChangeAspect="1" noEditPoints="1"/>
              </p:cNvSpPr>
              <p:nvPr/>
            </p:nvSpPr>
            <p:spPr bwMode="auto">
              <a:xfrm>
                <a:off x="5090168" y="2841232"/>
                <a:ext cx="506463" cy="212764"/>
              </a:xfrm>
              <a:custGeom>
                <a:avLst/>
                <a:gdLst/>
                <a:ahLst/>
                <a:cxnLst>
                  <a:cxn ang="0">
                    <a:pos x="296" y="82"/>
                  </a:cxn>
                  <a:cxn ang="0">
                    <a:pos x="298" y="74"/>
                  </a:cxn>
                  <a:cxn ang="0">
                    <a:pos x="292" y="64"/>
                  </a:cxn>
                  <a:cxn ang="0">
                    <a:pos x="294" y="52"/>
                  </a:cxn>
                  <a:cxn ang="0">
                    <a:pos x="282" y="40"/>
                  </a:cxn>
                  <a:cxn ang="0">
                    <a:pos x="274" y="22"/>
                  </a:cxn>
                  <a:cxn ang="0">
                    <a:pos x="262" y="12"/>
                  </a:cxn>
                  <a:cxn ang="0">
                    <a:pos x="246" y="12"/>
                  </a:cxn>
                  <a:cxn ang="0">
                    <a:pos x="230" y="24"/>
                  </a:cxn>
                  <a:cxn ang="0">
                    <a:pos x="204" y="26"/>
                  </a:cxn>
                  <a:cxn ang="0">
                    <a:pos x="190" y="22"/>
                  </a:cxn>
                  <a:cxn ang="0">
                    <a:pos x="176" y="22"/>
                  </a:cxn>
                  <a:cxn ang="0">
                    <a:pos x="168" y="18"/>
                  </a:cxn>
                  <a:cxn ang="0">
                    <a:pos x="160" y="14"/>
                  </a:cxn>
                  <a:cxn ang="0">
                    <a:pos x="144" y="10"/>
                  </a:cxn>
                  <a:cxn ang="0">
                    <a:pos x="136" y="4"/>
                  </a:cxn>
                  <a:cxn ang="0">
                    <a:pos x="106" y="6"/>
                  </a:cxn>
                  <a:cxn ang="0">
                    <a:pos x="88" y="14"/>
                  </a:cxn>
                  <a:cxn ang="0">
                    <a:pos x="80" y="22"/>
                  </a:cxn>
                  <a:cxn ang="0">
                    <a:pos x="52" y="18"/>
                  </a:cxn>
                  <a:cxn ang="0">
                    <a:pos x="34" y="10"/>
                  </a:cxn>
                  <a:cxn ang="0">
                    <a:pos x="20" y="2"/>
                  </a:cxn>
                  <a:cxn ang="0">
                    <a:pos x="8" y="6"/>
                  </a:cxn>
                  <a:cxn ang="0">
                    <a:pos x="12" y="16"/>
                  </a:cxn>
                  <a:cxn ang="0">
                    <a:pos x="6" y="28"/>
                  </a:cxn>
                  <a:cxn ang="0">
                    <a:pos x="16" y="32"/>
                  </a:cxn>
                  <a:cxn ang="0">
                    <a:pos x="28" y="26"/>
                  </a:cxn>
                  <a:cxn ang="0">
                    <a:pos x="48" y="24"/>
                  </a:cxn>
                  <a:cxn ang="0">
                    <a:pos x="52" y="30"/>
                  </a:cxn>
                  <a:cxn ang="0">
                    <a:pos x="24" y="34"/>
                  </a:cxn>
                  <a:cxn ang="0">
                    <a:pos x="12" y="40"/>
                  </a:cxn>
                  <a:cxn ang="0">
                    <a:pos x="10" y="52"/>
                  </a:cxn>
                  <a:cxn ang="0">
                    <a:pos x="22" y="64"/>
                  </a:cxn>
                  <a:cxn ang="0">
                    <a:pos x="22" y="72"/>
                  </a:cxn>
                  <a:cxn ang="0">
                    <a:pos x="26" y="82"/>
                  </a:cxn>
                  <a:cxn ang="0">
                    <a:pos x="40" y="100"/>
                  </a:cxn>
                  <a:cxn ang="0">
                    <a:pos x="46" y="104"/>
                  </a:cxn>
                  <a:cxn ang="0">
                    <a:pos x="62" y="114"/>
                  </a:cxn>
                  <a:cxn ang="0">
                    <a:pos x="88" y="102"/>
                  </a:cxn>
                  <a:cxn ang="0">
                    <a:pos x="104" y="110"/>
                  </a:cxn>
                  <a:cxn ang="0">
                    <a:pos x="118" y="118"/>
                  </a:cxn>
                  <a:cxn ang="0">
                    <a:pos x="138" y="108"/>
                  </a:cxn>
                  <a:cxn ang="0">
                    <a:pos x="160" y="108"/>
                  </a:cxn>
                  <a:cxn ang="0">
                    <a:pos x="170" y="108"/>
                  </a:cxn>
                  <a:cxn ang="0">
                    <a:pos x="170" y="122"/>
                  </a:cxn>
                  <a:cxn ang="0">
                    <a:pos x="178" y="116"/>
                  </a:cxn>
                  <a:cxn ang="0">
                    <a:pos x="182" y="104"/>
                  </a:cxn>
                  <a:cxn ang="0">
                    <a:pos x="196" y="106"/>
                  </a:cxn>
                  <a:cxn ang="0">
                    <a:pos x="206" y="102"/>
                  </a:cxn>
                  <a:cxn ang="0">
                    <a:pos x="222" y="106"/>
                  </a:cxn>
                  <a:cxn ang="0">
                    <a:pos x="240" y="98"/>
                  </a:cxn>
                  <a:cxn ang="0">
                    <a:pos x="256" y="98"/>
                  </a:cxn>
                  <a:cxn ang="0">
                    <a:pos x="266" y="92"/>
                  </a:cxn>
                  <a:cxn ang="0">
                    <a:pos x="272" y="98"/>
                  </a:cxn>
                  <a:cxn ang="0">
                    <a:pos x="290" y="94"/>
                  </a:cxn>
                  <a:cxn ang="0">
                    <a:pos x="306" y="92"/>
                  </a:cxn>
                  <a:cxn ang="0">
                    <a:pos x="0" y="40"/>
                  </a:cxn>
                </a:cxnLst>
                <a:rect l="0" t="0" r="r" b="b"/>
                <a:pathLst>
                  <a:path w="308" h="122">
                    <a:moveTo>
                      <a:pt x="306" y="92"/>
                    </a:moveTo>
                    <a:lnTo>
                      <a:pt x="302" y="92"/>
                    </a:lnTo>
                    <a:lnTo>
                      <a:pt x="302" y="84"/>
                    </a:lnTo>
                    <a:lnTo>
                      <a:pt x="298" y="84"/>
                    </a:lnTo>
                    <a:lnTo>
                      <a:pt x="296" y="84"/>
                    </a:lnTo>
                    <a:lnTo>
                      <a:pt x="296" y="82"/>
                    </a:lnTo>
                    <a:lnTo>
                      <a:pt x="294" y="82"/>
                    </a:lnTo>
                    <a:lnTo>
                      <a:pt x="294" y="80"/>
                    </a:lnTo>
                    <a:lnTo>
                      <a:pt x="296" y="80"/>
                    </a:lnTo>
                    <a:lnTo>
                      <a:pt x="296" y="78"/>
                    </a:lnTo>
                    <a:lnTo>
                      <a:pt x="296" y="76"/>
                    </a:lnTo>
                    <a:lnTo>
                      <a:pt x="298" y="74"/>
                    </a:lnTo>
                    <a:lnTo>
                      <a:pt x="296" y="74"/>
                    </a:lnTo>
                    <a:lnTo>
                      <a:pt x="296" y="72"/>
                    </a:lnTo>
                    <a:lnTo>
                      <a:pt x="294" y="70"/>
                    </a:lnTo>
                    <a:lnTo>
                      <a:pt x="294" y="68"/>
                    </a:lnTo>
                    <a:lnTo>
                      <a:pt x="292" y="66"/>
                    </a:lnTo>
                    <a:lnTo>
                      <a:pt x="292" y="64"/>
                    </a:lnTo>
                    <a:lnTo>
                      <a:pt x="292" y="62"/>
                    </a:lnTo>
                    <a:lnTo>
                      <a:pt x="292" y="60"/>
                    </a:lnTo>
                    <a:lnTo>
                      <a:pt x="290" y="56"/>
                    </a:lnTo>
                    <a:lnTo>
                      <a:pt x="288" y="54"/>
                    </a:lnTo>
                    <a:lnTo>
                      <a:pt x="290" y="54"/>
                    </a:lnTo>
                    <a:lnTo>
                      <a:pt x="292" y="54"/>
                    </a:lnTo>
                    <a:lnTo>
                      <a:pt x="294" y="54"/>
                    </a:lnTo>
                    <a:lnTo>
                      <a:pt x="294" y="52"/>
                    </a:lnTo>
                    <a:lnTo>
                      <a:pt x="294" y="50"/>
                    </a:lnTo>
                    <a:lnTo>
                      <a:pt x="294" y="48"/>
                    </a:lnTo>
                    <a:lnTo>
                      <a:pt x="292" y="44"/>
                    </a:lnTo>
                    <a:lnTo>
                      <a:pt x="292" y="42"/>
                    </a:lnTo>
                    <a:lnTo>
                      <a:pt x="282" y="42"/>
                    </a:lnTo>
                    <a:lnTo>
                      <a:pt x="282" y="40"/>
                    </a:lnTo>
                    <a:lnTo>
                      <a:pt x="280" y="40"/>
                    </a:lnTo>
                    <a:lnTo>
                      <a:pt x="280" y="38"/>
                    </a:lnTo>
                    <a:lnTo>
                      <a:pt x="278" y="36"/>
                    </a:lnTo>
                    <a:lnTo>
                      <a:pt x="278" y="32"/>
                    </a:lnTo>
                    <a:lnTo>
                      <a:pt x="276" y="28"/>
                    </a:lnTo>
                    <a:lnTo>
                      <a:pt x="276" y="26"/>
                    </a:lnTo>
                    <a:lnTo>
                      <a:pt x="276" y="24"/>
                    </a:lnTo>
                    <a:lnTo>
                      <a:pt x="274" y="22"/>
                    </a:lnTo>
                    <a:lnTo>
                      <a:pt x="274" y="20"/>
                    </a:lnTo>
                    <a:lnTo>
                      <a:pt x="274" y="18"/>
                    </a:lnTo>
                    <a:lnTo>
                      <a:pt x="268" y="18"/>
                    </a:lnTo>
                    <a:lnTo>
                      <a:pt x="268" y="16"/>
                    </a:lnTo>
                    <a:lnTo>
                      <a:pt x="266" y="14"/>
                    </a:lnTo>
                    <a:lnTo>
                      <a:pt x="264" y="12"/>
                    </a:lnTo>
                    <a:lnTo>
                      <a:pt x="262" y="12"/>
                    </a:lnTo>
                    <a:lnTo>
                      <a:pt x="258" y="12"/>
                    </a:lnTo>
                    <a:lnTo>
                      <a:pt x="256" y="12"/>
                    </a:lnTo>
                    <a:lnTo>
                      <a:pt x="256" y="14"/>
                    </a:lnTo>
                    <a:lnTo>
                      <a:pt x="252" y="14"/>
                    </a:lnTo>
                    <a:lnTo>
                      <a:pt x="250" y="14"/>
                    </a:lnTo>
                    <a:lnTo>
                      <a:pt x="248" y="12"/>
                    </a:lnTo>
                    <a:lnTo>
                      <a:pt x="246" y="12"/>
                    </a:lnTo>
                    <a:lnTo>
                      <a:pt x="244" y="14"/>
                    </a:lnTo>
                    <a:lnTo>
                      <a:pt x="244" y="16"/>
                    </a:lnTo>
                    <a:lnTo>
                      <a:pt x="240" y="18"/>
                    </a:lnTo>
                    <a:lnTo>
                      <a:pt x="238" y="20"/>
                    </a:lnTo>
                    <a:lnTo>
                      <a:pt x="236" y="22"/>
                    </a:lnTo>
                    <a:lnTo>
                      <a:pt x="234" y="22"/>
                    </a:lnTo>
                    <a:lnTo>
                      <a:pt x="232" y="24"/>
                    </a:lnTo>
                    <a:lnTo>
                      <a:pt x="230" y="24"/>
                    </a:lnTo>
                    <a:lnTo>
                      <a:pt x="228" y="24"/>
                    </a:lnTo>
                    <a:lnTo>
                      <a:pt x="224" y="24"/>
                    </a:lnTo>
                    <a:lnTo>
                      <a:pt x="214" y="24"/>
                    </a:lnTo>
                    <a:lnTo>
                      <a:pt x="212" y="22"/>
                    </a:lnTo>
                    <a:lnTo>
                      <a:pt x="210" y="24"/>
                    </a:lnTo>
                    <a:lnTo>
                      <a:pt x="208" y="24"/>
                    </a:lnTo>
                    <a:lnTo>
                      <a:pt x="206" y="24"/>
                    </a:lnTo>
                    <a:lnTo>
                      <a:pt x="204" y="26"/>
                    </a:lnTo>
                    <a:lnTo>
                      <a:pt x="202" y="26"/>
                    </a:lnTo>
                    <a:lnTo>
                      <a:pt x="200" y="26"/>
                    </a:lnTo>
                    <a:lnTo>
                      <a:pt x="198" y="26"/>
                    </a:lnTo>
                    <a:lnTo>
                      <a:pt x="196" y="26"/>
                    </a:lnTo>
                    <a:lnTo>
                      <a:pt x="194" y="24"/>
                    </a:lnTo>
                    <a:lnTo>
                      <a:pt x="192" y="24"/>
                    </a:lnTo>
                    <a:lnTo>
                      <a:pt x="190" y="24"/>
                    </a:lnTo>
                    <a:lnTo>
                      <a:pt x="190" y="22"/>
                    </a:lnTo>
                    <a:lnTo>
                      <a:pt x="188" y="22"/>
                    </a:lnTo>
                    <a:lnTo>
                      <a:pt x="186" y="22"/>
                    </a:lnTo>
                    <a:lnTo>
                      <a:pt x="182" y="22"/>
                    </a:lnTo>
                    <a:lnTo>
                      <a:pt x="180" y="22"/>
                    </a:lnTo>
                    <a:lnTo>
                      <a:pt x="178" y="22"/>
                    </a:lnTo>
                    <a:lnTo>
                      <a:pt x="178" y="24"/>
                    </a:lnTo>
                    <a:lnTo>
                      <a:pt x="178" y="22"/>
                    </a:lnTo>
                    <a:lnTo>
                      <a:pt x="176" y="22"/>
                    </a:lnTo>
                    <a:lnTo>
                      <a:pt x="176" y="20"/>
                    </a:lnTo>
                    <a:lnTo>
                      <a:pt x="174" y="18"/>
                    </a:lnTo>
                    <a:lnTo>
                      <a:pt x="174" y="16"/>
                    </a:lnTo>
                    <a:lnTo>
                      <a:pt x="172" y="16"/>
                    </a:lnTo>
                    <a:lnTo>
                      <a:pt x="170" y="16"/>
                    </a:lnTo>
                    <a:lnTo>
                      <a:pt x="168" y="18"/>
                    </a:lnTo>
                    <a:lnTo>
                      <a:pt x="166" y="18"/>
                    </a:lnTo>
                    <a:lnTo>
                      <a:pt x="164" y="18"/>
                    </a:lnTo>
                    <a:lnTo>
                      <a:pt x="162" y="16"/>
                    </a:lnTo>
                    <a:lnTo>
                      <a:pt x="160" y="16"/>
                    </a:lnTo>
                    <a:lnTo>
                      <a:pt x="160" y="14"/>
                    </a:lnTo>
                    <a:lnTo>
                      <a:pt x="160" y="12"/>
                    </a:lnTo>
                    <a:lnTo>
                      <a:pt x="158" y="12"/>
                    </a:lnTo>
                    <a:lnTo>
                      <a:pt x="158" y="10"/>
                    </a:lnTo>
                    <a:lnTo>
                      <a:pt x="154" y="10"/>
                    </a:lnTo>
                    <a:lnTo>
                      <a:pt x="152" y="12"/>
                    </a:lnTo>
                    <a:lnTo>
                      <a:pt x="148" y="12"/>
                    </a:lnTo>
                    <a:lnTo>
                      <a:pt x="144" y="10"/>
                    </a:lnTo>
                    <a:lnTo>
                      <a:pt x="142" y="8"/>
                    </a:lnTo>
                    <a:lnTo>
                      <a:pt x="142" y="6"/>
                    </a:lnTo>
                    <a:lnTo>
                      <a:pt x="140" y="4"/>
                    </a:lnTo>
                    <a:lnTo>
                      <a:pt x="138" y="4"/>
                    </a:lnTo>
                    <a:lnTo>
                      <a:pt x="136" y="4"/>
                    </a:lnTo>
                    <a:lnTo>
                      <a:pt x="132" y="6"/>
                    </a:lnTo>
                    <a:lnTo>
                      <a:pt x="124" y="6"/>
                    </a:lnTo>
                    <a:lnTo>
                      <a:pt x="120" y="6"/>
                    </a:lnTo>
                    <a:lnTo>
                      <a:pt x="116" y="4"/>
                    </a:lnTo>
                    <a:lnTo>
                      <a:pt x="112" y="4"/>
                    </a:lnTo>
                    <a:lnTo>
                      <a:pt x="110" y="6"/>
                    </a:lnTo>
                    <a:lnTo>
                      <a:pt x="108" y="6"/>
                    </a:lnTo>
                    <a:lnTo>
                      <a:pt x="106" y="6"/>
                    </a:lnTo>
                    <a:lnTo>
                      <a:pt x="102" y="8"/>
                    </a:lnTo>
                    <a:lnTo>
                      <a:pt x="100" y="10"/>
                    </a:lnTo>
                    <a:lnTo>
                      <a:pt x="98" y="10"/>
                    </a:lnTo>
                    <a:lnTo>
                      <a:pt x="96" y="12"/>
                    </a:lnTo>
                    <a:lnTo>
                      <a:pt x="94" y="12"/>
                    </a:lnTo>
                    <a:lnTo>
                      <a:pt x="92" y="14"/>
                    </a:lnTo>
                    <a:lnTo>
                      <a:pt x="90" y="14"/>
                    </a:lnTo>
                    <a:lnTo>
                      <a:pt x="88" y="14"/>
                    </a:lnTo>
                    <a:lnTo>
                      <a:pt x="88" y="16"/>
                    </a:lnTo>
                    <a:lnTo>
                      <a:pt x="86" y="18"/>
                    </a:lnTo>
                    <a:lnTo>
                      <a:pt x="86" y="22"/>
                    </a:lnTo>
                    <a:lnTo>
                      <a:pt x="84" y="22"/>
                    </a:lnTo>
                    <a:lnTo>
                      <a:pt x="82" y="22"/>
                    </a:lnTo>
                    <a:lnTo>
                      <a:pt x="80" y="22"/>
                    </a:lnTo>
                    <a:lnTo>
                      <a:pt x="78" y="22"/>
                    </a:lnTo>
                    <a:lnTo>
                      <a:pt x="76" y="20"/>
                    </a:lnTo>
                    <a:lnTo>
                      <a:pt x="72" y="20"/>
                    </a:lnTo>
                    <a:lnTo>
                      <a:pt x="66" y="20"/>
                    </a:lnTo>
                    <a:lnTo>
                      <a:pt x="60" y="20"/>
                    </a:lnTo>
                    <a:lnTo>
                      <a:pt x="58" y="18"/>
                    </a:lnTo>
                    <a:lnTo>
                      <a:pt x="54" y="18"/>
                    </a:lnTo>
                    <a:lnTo>
                      <a:pt x="52" y="18"/>
                    </a:lnTo>
                    <a:lnTo>
                      <a:pt x="48" y="18"/>
                    </a:lnTo>
                    <a:lnTo>
                      <a:pt x="46" y="16"/>
                    </a:lnTo>
                    <a:lnTo>
                      <a:pt x="40" y="16"/>
                    </a:lnTo>
                    <a:lnTo>
                      <a:pt x="38" y="16"/>
                    </a:lnTo>
                    <a:lnTo>
                      <a:pt x="36" y="14"/>
                    </a:lnTo>
                    <a:lnTo>
                      <a:pt x="34" y="14"/>
                    </a:lnTo>
                    <a:lnTo>
                      <a:pt x="34" y="12"/>
                    </a:lnTo>
                    <a:lnTo>
                      <a:pt x="34" y="10"/>
                    </a:lnTo>
                    <a:lnTo>
                      <a:pt x="32" y="8"/>
                    </a:lnTo>
                    <a:lnTo>
                      <a:pt x="32" y="6"/>
                    </a:lnTo>
                    <a:lnTo>
                      <a:pt x="24" y="6"/>
                    </a:lnTo>
                    <a:lnTo>
                      <a:pt x="24" y="4"/>
                    </a:lnTo>
                    <a:lnTo>
                      <a:pt x="22" y="2"/>
                    </a:lnTo>
                    <a:lnTo>
                      <a:pt x="22" y="0"/>
                    </a:lnTo>
                    <a:lnTo>
                      <a:pt x="20" y="2"/>
                    </a:lnTo>
                    <a:lnTo>
                      <a:pt x="18" y="4"/>
                    </a:lnTo>
                    <a:lnTo>
                      <a:pt x="16" y="4"/>
                    </a:lnTo>
                    <a:lnTo>
                      <a:pt x="14" y="4"/>
                    </a:lnTo>
                    <a:lnTo>
                      <a:pt x="10" y="4"/>
                    </a:lnTo>
                    <a:lnTo>
                      <a:pt x="10" y="6"/>
                    </a:lnTo>
                    <a:lnTo>
                      <a:pt x="8" y="6"/>
                    </a:lnTo>
                    <a:lnTo>
                      <a:pt x="8" y="8"/>
                    </a:lnTo>
                    <a:lnTo>
                      <a:pt x="8" y="10"/>
                    </a:lnTo>
                    <a:lnTo>
                      <a:pt x="8" y="12"/>
                    </a:lnTo>
                    <a:lnTo>
                      <a:pt x="10" y="12"/>
                    </a:lnTo>
                    <a:lnTo>
                      <a:pt x="12" y="12"/>
                    </a:lnTo>
                    <a:lnTo>
                      <a:pt x="12" y="14"/>
                    </a:lnTo>
                    <a:lnTo>
                      <a:pt x="12" y="16"/>
                    </a:lnTo>
                    <a:lnTo>
                      <a:pt x="8" y="16"/>
                    </a:lnTo>
                    <a:lnTo>
                      <a:pt x="8" y="20"/>
                    </a:lnTo>
                    <a:lnTo>
                      <a:pt x="8" y="22"/>
                    </a:lnTo>
                    <a:lnTo>
                      <a:pt x="8" y="24"/>
                    </a:lnTo>
                    <a:lnTo>
                      <a:pt x="8" y="26"/>
                    </a:lnTo>
                    <a:lnTo>
                      <a:pt x="6" y="26"/>
                    </a:lnTo>
                    <a:lnTo>
                      <a:pt x="6" y="28"/>
                    </a:lnTo>
                    <a:lnTo>
                      <a:pt x="6" y="30"/>
                    </a:lnTo>
                    <a:lnTo>
                      <a:pt x="6" y="32"/>
                    </a:lnTo>
                    <a:lnTo>
                      <a:pt x="12" y="32"/>
                    </a:lnTo>
                    <a:lnTo>
                      <a:pt x="14" y="30"/>
                    </a:lnTo>
                    <a:lnTo>
                      <a:pt x="16" y="30"/>
                    </a:lnTo>
                    <a:lnTo>
                      <a:pt x="16" y="32"/>
                    </a:lnTo>
                    <a:lnTo>
                      <a:pt x="18" y="32"/>
                    </a:lnTo>
                    <a:lnTo>
                      <a:pt x="20" y="32"/>
                    </a:lnTo>
                    <a:lnTo>
                      <a:pt x="22" y="30"/>
                    </a:lnTo>
                    <a:lnTo>
                      <a:pt x="24" y="28"/>
                    </a:lnTo>
                    <a:lnTo>
                      <a:pt x="26" y="26"/>
                    </a:lnTo>
                    <a:lnTo>
                      <a:pt x="28" y="26"/>
                    </a:lnTo>
                    <a:lnTo>
                      <a:pt x="28" y="24"/>
                    </a:lnTo>
                    <a:lnTo>
                      <a:pt x="30" y="24"/>
                    </a:lnTo>
                    <a:lnTo>
                      <a:pt x="32" y="22"/>
                    </a:lnTo>
                    <a:lnTo>
                      <a:pt x="34" y="22"/>
                    </a:lnTo>
                    <a:lnTo>
                      <a:pt x="38" y="22"/>
                    </a:lnTo>
                    <a:lnTo>
                      <a:pt x="42" y="22"/>
                    </a:lnTo>
                    <a:lnTo>
                      <a:pt x="48" y="24"/>
                    </a:lnTo>
                    <a:lnTo>
                      <a:pt x="52" y="26"/>
                    </a:lnTo>
                    <a:lnTo>
                      <a:pt x="54" y="26"/>
                    </a:lnTo>
                    <a:lnTo>
                      <a:pt x="56" y="26"/>
                    </a:lnTo>
                    <a:lnTo>
                      <a:pt x="58" y="28"/>
                    </a:lnTo>
                    <a:lnTo>
                      <a:pt x="56" y="28"/>
                    </a:lnTo>
                    <a:lnTo>
                      <a:pt x="54" y="28"/>
                    </a:lnTo>
                    <a:lnTo>
                      <a:pt x="52" y="28"/>
                    </a:lnTo>
                    <a:lnTo>
                      <a:pt x="52" y="30"/>
                    </a:lnTo>
                    <a:lnTo>
                      <a:pt x="50" y="30"/>
                    </a:lnTo>
                    <a:lnTo>
                      <a:pt x="48" y="32"/>
                    </a:lnTo>
                    <a:lnTo>
                      <a:pt x="48" y="34"/>
                    </a:lnTo>
                    <a:lnTo>
                      <a:pt x="46" y="34"/>
                    </a:lnTo>
                    <a:lnTo>
                      <a:pt x="26" y="34"/>
                    </a:lnTo>
                    <a:lnTo>
                      <a:pt x="24" y="34"/>
                    </a:lnTo>
                    <a:lnTo>
                      <a:pt x="22" y="34"/>
                    </a:lnTo>
                    <a:lnTo>
                      <a:pt x="20" y="34"/>
                    </a:lnTo>
                    <a:lnTo>
                      <a:pt x="16" y="36"/>
                    </a:lnTo>
                    <a:lnTo>
                      <a:pt x="14" y="36"/>
                    </a:lnTo>
                    <a:lnTo>
                      <a:pt x="12" y="36"/>
                    </a:lnTo>
                    <a:lnTo>
                      <a:pt x="12" y="38"/>
                    </a:lnTo>
                    <a:lnTo>
                      <a:pt x="12" y="40"/>
                    </a:lnTo>
                    <a:lnTo>
                      <a:pt x="10" y="42"/>
                    </a:lnTo>
                    <a:lnTo>
                      <a:pt x="10" y="44"/>
                    </a:lnTo>
                    <a:lnTo>
                      <a:pt x="8" y="46"/>
                    </a:lnTo>
                    <a:lnTo>
                      <a:pt x="8" y="48"/>
                    </a:lnTo>
                    <a:lnTo>
                      <a:pt x="8" y="50"/>
                    </a:lnTo>
                    <a:lnTo>
                      <a:pt x="8" y="52"/>
                    </a:lnTo>
                    <a:lnTo>
                      <a:pt x="6" y="52"/>
                    </a:lnTo>
                    <a:lnTo>
                      <a:pt x="10" y="52"/>
                    </a:lnTo>
                    <a:lnTo>
                      <a:pt x="12" y="52"/>
                    </a:lnTo>
                    <a:lnTo>
                      <a:pt x="16" y="52"/>
                    </a:lnTo>
                    <a:lnTo>
                      <a:pt x="16" y="58"/>
                    </a:lnTo>
                    <a:lnTo>
                      <a:pt x="18" y="58"/>
                    </a:lnTo>
                    <a:lnTo>
                      <a:pt x="18" y="60"/>
                    </a:lnTo>
                    <a:lnTo>
                      <a:pt x="20" y="62"/>
                    </a:lnTo>
                    <a:lnTo>
                      <a:pt x="22" y="62"/>
                    </a:lnTo>
                    <a:lnTo>
                      <a:pt x="22" y="64"/>
                    </a:lnTo>
                    <a:lnTo>
                      <a:pt x="20" y="64"/>
                    </a:lnTo>
                    <a:lnTo>
                      <a:pt x="20" y="66"/>
                    </a:lnTo>
                    <a:lnTo>
                      <a:pt x="20" y="68"/>
                    </a:lnTo>
                    <a:lnTo>
                      <a:pt x="20" y="70"/>
                    </a:lnTo>
                    <a:lnTo>
                      <a:pt x="22" y="70"/>
                    </a:lnTo>
                    <a:lnTo>
                      <a:pt x="22" y="72"/>
                    </a:lnTo>
                    <a:lnTo>
                      <a:pt x="24" y="72"/>
                    </a:lnTo>
                    <a:lnTo>
                      <a:pt x="22" y="74"/>
                    </a:lnTo>
                    <a:lnTo>
                      <a:pt x="22" y="76"/>
                    </a:lnTo>
                    <a:lnTo>
                      <a:pt x="20" y="76"/>
                    </a:lnTo>
                    <a:lnTo>
                      <a:pt x="22" y="80"/>
                    </a:lnTo>
                    <a:lnTo>
                      <a:pt x="26" y="82"/>
                    </a:lnTo>
                    <a:lnTo>
                      <a:pt x="26" y="84"/>
                    </a:lnTo>
                    <a:lnTo>
                      <a:pt x="28" y="84"/>
                    </a:lnTo>
                    <a:lnTo>
                      <a:pt x="28" y="94"/>
                    </a:lnTo>
                    <a:lnTo>
                      <a:pt x="34" y="96"/>
                    </a:lnTo>
                    <a:lnTo>
                      <a:pt x="38" y="98"/>
                    </a:lnTo>
                    <a:lnTo>
                      <a:pt x="40" y="100"/>
                    </a:lnTo>
                    <a:lnTo>
                      <a:pt x="40" y="102"/>
                    </a:lnTo>
                    <a:lnTo>
                      <a:pt x="42" y="104"/>
                    </a:lnTo>
                    <a:lnTo>
                      <a:pt x="42" y="106"/>
                    </a:lnTo>
                    <a:lnTo>
                      <a:pt x="42" y="108"/>
                    </a:lnTo>
                    <a:lnTo>
                      <a:pt x="42" y="106"/>
                    </a:lnTo>
                    <a:lnTo>
                      <a:pt x="44" y="106"/>
                    </a:lnTo>
                    <a:lnTo>
                      <a:pt x="44" y="104"/>
                    </a:lnTo>
                    <a:lnTo>
                      <a:pt x="46" y="104"/>
                    </a:lnTo>
                    <a:lnTo>
                      <a:pt x="48" y="106"/>
                    </a:lnTo>
                    <a:lnTo>
                      <a:pt x="52" y="108"/>
                    </a:lnTo>
                    <a:lnTo>
                      <a:pt x="54" y="110"/>
                    </a:lnTo>
                    <a:lnTo>
                      <a:pt x="56" y="110"/>
                    </a:lnTo>
                    <a:lnTo>
                      <a:pt x="58" y="112"/>
                    </a:lnTo>
                    <a:lnTo>
                      <a:pt x="60" y="112"/>
                    </a:lnTo>
                    <a:lnTo>
                      <a:pt x="62" y="114"/>
                    </a:lnTo>
                    <a:lnTo>
                      <a:pt x="78" y="114"/>
                    </a:lnTo>
                    <a:lnTo>
                      <a:pt x="78" y="110"/>
                    </a:lnTo>
                    <a:lnTo>
                      <a:pt x="80" y="108"/>
                    </a:lnTo>
                    <a:lnTo>
                      <a:pt x="80" y="106"/>
                    </a:lnTo>
                    <a:lnTo>
                      <a:pt x="82" y="104"/>
                    </a:lnTo>
                    <a:lnTo>
                      <a:pt x="82" y="102"/>
                    </a:lnTo>
                    <a:lnTo>
                      <a:pt x="88" y="102"/>
                    </a:lnTo>
                    <a:lnTo>
                      <a:pt x="90" y="104"/>
                    </a:lnTo>
                    <a:lnTo>
                      <a:pt x="92" y="104"/>
                    </a:lnTo>
                    <a:lnTo>
                      <a:pt x="98" y="106"/>
                    </a:lnTo>
                    <a:lnTo>
                      <a:pt x="100" y="106"/>
                    </a:lnTo>
                    <a:lnTo>
                      <a:pt x="102" y="106"/>
                    </a:lnTo>
                    <a:lnTo>
                      <a:pt x="102" y="108"/>
                    </a:lnTo>
                    <a:lnTo>
                      <a:pt x="104" y="108"/>
                    </a:lnTo>
                    <a:lnTo>
                      <a:pt x="104" y="110"/>
                    </a:lnTo>
                    <a:lnTo>
                      <a:pt x="106" y="112"/>
                    </a:lnTo>
                    <a:lnTo>
                      <a:pt x="106" y="114"/>
                    </a:lnTo>
                    <a:lnTo>
                      <a:pt x="108" y="116"/>
                    </a:lnTo>
                    <a:lnTo>
                      <a:pt x="110" y="116"/>
                    </a:lnTo>
                    <a:lnTo>
                      <a:pt x="112" y="116"/>
                    </a:lnTo>
                    <a:lnTo>
                      <a:pt x="114" y="116"/>
                    </a:lnTo>
                    <a:lnTo>
                      <a:pt x="116" y="118"/>
                    </a:lnTo>
                    <a:lnTo>
                      <a:pt x="118" y="118"/>
                    </a:lnTo>
                    <a:lnTo>
                      <a:pt x="122" y="116"/>
                    </a:lnTo>
                    <a:lnTo>
                      <a:pt x="126" y="116"/>
                    </a:lnTo>
                    <a:lnTo>
                      <a:pt x="130" y="114"/>
                    </a:lnTo>
                    <a:lnTo>
                      <a:pt x="134" y="112"/>
                    </a:lnTo>
                    <a:lnTo>
                      <a:pt x="136" y="110"/>
                    </a:lnTo>
                    <a:lnTo>
                      <a:pt x="138" y="108"/>
                    </a:lnTo>
                    <a:lnTo>
                      <a:pt x="142" y="106"/>
                    </a:lnTo>
                    <a:lnTo>
                      <a:pt x="146" y="106"/>
                    </a:lnTo>
                    <a:lnTo>
                      <a:pt x="148" y="104"/>
                    </a:lnTo>
                    <a:lnTo>
                      <a:pt x="152" y="104"/>
                    </a:lnTo>
                    <a:lnTo>
                      <a:pt x="154" y="106"/>
                    </a:lnTo>
                    <a:lnTo>
                      <a:pt x="154" y="108"/>
                    </a:lnTo>
                    <a:lnTo>
                      <a:pt x="156" y="108"/>
                    </a:lnTo>
                    <a:lnTo>
                      <a:pt x="160" y="108"/>
                    </a:lnTo>
                    <a:lnTo>
                      <a:pt x="162" y="108"/>
                    </a:lnTo>
                    <a:lnTo>
                      <a:pt x="164" y="106"/>
                    </a:lnTo>
                    <a:lnTo>
                      <a:pt x="166" y="104"/>
                    </a:lnTo>
                    <a:lnTo>
                      <a:pt x="166" y="102"/>
                    </a:lnTo>
                    <a:lnTo>
                      <a:pt x="170" y="102"/>
                    </a:lnTo>
                    <a:lnTo>
                      <a:pt x="170" y="104"/>
                    </a:lnTo>
                    <a:lnTo>
                      <a:pt x="170" y="108"/>
                    </a:lnTo>
                    <a:lnTo>
                      <a:pt x="168" y="110"/>
                    </a:lnTo>
                    <a:lnTo>
                      <a:pt x="168" y="112"/>
                    </a:lnTo>
                    <a:lnTo>
                      <a:pt x="166" y="114"/>
                    </a:lnTo>
                    <a:lnTo>
                      <a:pt x="166" y="118"/>
                    </a:lnTo>
                    <a:lnTo>
                      <a:pt x="168" y="118"/>
                    </a:lnTo>
                    <a:lnTo>
                      <a:pt x="168" y="120"/>
                    </a:lnTo>
                    <a:lnTo>
                      <a:pt x="170" y="122"/>
                    </a:lnTo>
                    <a:lnTo>
                      <a:pt x="172" y="122"/>
                    </a:lnTo>
                    <a:lnTo>
                      <a:pt x="174" y="120"/>
                    </a:lnTo>
                    <a:lnTo>
                      <a:pt x="174" y="116"/>
                    </a:lnTo>
                    <a:lnTo>
                      <a:pt x="176" y="116"/>
                    </a:lnTo>
                    <a:lnTo>
                      <a:pt x="178" y="116"/>
                    </a:lnTo>
                    <a:lnTo>
                      <a:pt x="180" y="114"/>
                    </a:lnTo>
                    <a:lnTo>
                      <a:pt x="180" y="112"/>
                    </a:lnTo>
                    <a:lnTo>
                      <a:pt x="178" y="112"/>
                    </a:lnTo>
                    <a:lnTo>
                      <a:pt x="178" y="110"/>
                    </a:lnTo>
                    <a:lnTo>
                      <a:pt x="178" y="104"/>
                    </a:lnTo>
                    <a:lnTo>
                      <a:pt x="184" y="104"/>
                    </a:lnTo>
                    <a:lnTo>
                      <a:pt x="182" y="104"/>
                    </a:lnTo>
                    <a:lnTo>
                      <a:pt x="182" y="106"/>
                    </a:lnTo>
                    <a:lnTo>
                      <a:pt x="182" y="108"/>
                    </a:lnTo>
                    <a:lnTo>
                      <a:pt x="188" y="108"/>
                    </a:lnTo>
                    <a:lnTo>
                      <a:pt x="190" y="106"/>
                    </a:lnTo>
                    <a:lnTo>
                      <a:pt x="194" y="106"/>
                    </a:lnTo>
                    <a:lnTo>
                      <a:pt x="196" y="106"/>
                    </a:lnTo>
                    <a:lnTo>
                      <a:pt x="196" y="104"/>
                    </a:lnTo>
                    <a:lnTo>
                      <a:pt x="198" y="104"/>
                    </a:lnTo>
                    <a:lnTo>
                      <a:pt x="200" y="102"/>
                    </a:lnTo>
                    <a:lnTo>
                      <a:pt x="202" y="100"/>
                    </a:lnTo>
                    <a:lnTo>
                      <a:pt x="204" y="100"/>
                    </a:lnTo>
                    <a:lnTo>
                      <a:pt x="204" y="102"/>
                    </a:lnTo>
                    <a:lnTo>
                      <a:pt x="206" y="102"/>
                    </a:lnTo>
                    <a:lnTo>
                      <a:pt x="208" y="102"/>
                    </a:lnTo>
                    <a:lnTo>
                      <a:pt x="210" y="104"/>
                    </a:lnTo>
                    <a:lnTo>
                      <a:pt x="212" y="104"/>
                    </a:lnTo>
                    <a:lnTo>
                      <a:pt x="212" y="106"/>
                    </a:lnTo>
                    <a:lnTo>
                      <a:pt x="214" y="106"/>
                    </a:lnTo>
                    <a:lnTo>
                      <a:pt x="216" y="106"/>
                    </a:lnTo>
                    <a:lnTo>
                      <a:pt x="222" y="106"/>
                    </a:lnTo>
                    <a:lnTo>
                      <a:pt x="226" y="106"/>
                    </a:lnTo>
                    <a:lnTo>
                      <a:pt x="228" y="104"/>
                    </a:lnTo>
                    <a:lnTo>
                      <a:pt x="230" y="104"/>
                    </a:lnTo>
                    <a:lnTo>
                      <a:pt x="232" y="102"/>
                    </a:lnTo>
                    <a:lnTo>
                      <a:pt x="234" y="100"/>
                    </a:lnTo>
                    <a:lnTo>
                      <a:pt x="238" y="98"/>
                    </a:lnTo>
                    <a:lnTo>
                      <a:pt x="240" y="98"/>
                    </a:lnTo>
                    <a:lnTo>
                      <a:pt x="242" y="98"/>
                    </a:lnTo>
                    <a:lnTo>
                      <a:pt x="246" y="98"/>
                    </a:lnTo>
                    <a:lnTo>
                      <a:pt x="248" y="98"/>
                    </a:lnTo>
                    <a:lnTo>
                      <a:pt x="250" y="98"/>
                    </a:lnTo>
                    <a:lnTo>
                      <a:pt x="250" y="100"/>
                    </a:lnTo>
                    <a:lnTo>
                      <a:pt x="252" y="100"/>
                    </a:lnTo>
                    <a:lnTo>
                      <a:pt x="254" y="100"/>
                    </a:lnTo>
                    <a:lnTo>
                      <a:pt x="256" y="98"/>
                    </a:lnTo>
                    <a:lnTo>
                      <a:pt x="258" y="98"/>
                    </a:lnTo>
                    <a:lnTo>
                      <a:pt x="260" y="96"/>
                    </a:lnTo>
                    <a:lnTo>
                      <a:pt x="262" y="96"/>
                    </a:lnTo>
                    <a:lnTo>
                      <a:pt x="264" y="94"/>
                    </a:lnTo>
                    <a:lnTo>
                      <a:pt x="266" y="94"/>
                    </a:lnTo>
                    <a:lnTo>
                      <a:pt x="266" y="92"/>
                    </a:lnTo>
                    <a:lnTo>
                      <a:pt x="266" y="94"/>
                    </a:lnTo>
                    <a:lnTo>
                      <a:pt x="268" y="94"/>
                    </a:lnTo>
                    <a:lnTo>
                      <a:pt x="268" y="98"/>
                    </a:lnTo>
                    <a:lnTo>
                      <a:pt x="268" y="100"/>
                    </a:lnTo>
                    <a:lnTo>
                      <a:pt x="270" y="98"/>
                    </a:lnTo>
                    <a:lnTo>
                      <a:pt x="272" y="98"/>
                    </a:lnTo>
                    <a:lnTo>
                      <a:pt x="272" y="96"/>
                    </a:lnTo>
                    <a:lnTo>
                      <a:pt x="272" y="94"/>
                    </a:lnTo>
                    <a:lnTo>
                      <a:pt x="274" y="94"/>
                    </a:lnTo>
                    <a:lnTo>
                      <a:pt x="284" y="94"/>
                    </a:lnTo>
                    <a:lnTo>
                      <a:pt x="284" y="96"/>
                    </a:lnTo>
                    <a:lnTo>
                      <a:pt x="286" y="96"/>
                    </a:lnTo>
                    <a:lnTo>
                      <a:pt x="290" y="96"/>
                    </a:lnTo>
                    <a:lnTo>
                      <a:pt x="290" y="94"/>
                    </a:lnTo>
                    <a:lnTo>
                      <a:pt x="292" y="94"/>
                    </a:lnTo>
                    <a:lnTo>
                      <a:pt x="294" y="94"/>
                    </a:lnTo>
                    <a:lnTo>
                      <a:pt x="296" y="94"/>
                    </a:lnTo>
                    <a:lnTo>
                      <a:pt x="298" y="96"/>
                    </a:lnTo>
                    <a:lnTo>
                      <a:pt x="298" y="100"/>
                    </a:lnTo>
                    <a:lnTo>
                      <a:pt x="308" y="96"/>
                    </a:lnTo>
                    <a:lnTo>
                      <a:pt x="308" y="94"/>
                    </a:lnTo>
                    <a:lnTo>
                      <a:pt x="306" y="92"/>
                    </a:lnTo>
                    <a:close/>
                    <a:moveTo>
                      <a:pt x="4" y="36"/>
                    </a:moveTo>
                    <a:lnTo>
                      <a:pt x="2" y="36"/>
                    </a:lnTo>
                    <a:lnTo>
                      <a:pt x="0" y="36"/>
                    </a:lnTo>
                    <a:lnTo>
                      <a:pt x="0" y="38"/>
                    </a:lnTo>
                    <a:lnTo>
                      <a:pt x="0" y="40"/>
                    </a:lnTo>
                    <a:lnTo>
                      <a:pt x="2" y="42"/>
                    </a:lnTo>
                    <a:lnTo>
                      <a:pt x="4" y="42"/>
                    </a:lnTo>
                    <a:lnTo>
                      <a:pt x="4" y="40"/>
                    </a:lnTo>
                    <a:lnTo>
                      <a:pt x="4" y="38"/>
                    </a:lnTo>
                    <a:lnTo>
                      <a:pt x="4" y="3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69" name="Freeform 165">
                <a:extLst>
                  <a:ext uri="{FF2B5EF4-FFF2-40B4-BE49-F238E27FC236}">
                    <a16:creationId xmlns:a16="http://schemas.microsoft.com/office/drawing/2014/main" id="{47CE97E8-0A05-47BD-9B9B-C7B69DAAD474}"/>
                  </a:ext>
                </a:extLst>
              </p:cNvPr>
              <p:cNvSpPr>
                <a:spLocks noChangeAspect="1"/>
              </p:cNvSpPr>
              <p:nvPr/>
            </p:nvSpPr>
            <p:spPr bwMode="auto">
              <a:xfrm>
                <a:off x="4672500" y="2672067"/>
                <a:ext cx="6578" cy="6976"/>
              </a:xfrm>
              <a:custGeom>
                <a:avLst/>
                <a:gdLst/>
                <a:ahLst/>
                <a:cxnLst>
                  <a:cxn ang="0">
                    <a:pos x="2" y="0"/>
                  </a:cxn>
                  <a:cxn ang="0">
                    <a:pos x="0" y="0"/>
                  </a:cxn>
                  <a:cxn ang="0">
                    <a:pos x="0" y="2"/>
                  </a:cxn>
                  <a:cxn ang="0">
                    <a:pos x="0" y="4"/>
                  </a:cxn>
                  <a:cxn ang="0">
                    <a:pos x="0" y="4"/>
                  </a:cxn>
                  <a:cxn ang="0">
                    <a:pos x="0" y="4"/>
                  </a:cxn>
                  <a:cxn ang="0">
                    <a:pos x="0" y="4"/>
                  </a:cxn>
                  <a:cxn ang="0">
                    <a:pos x="2" y="4"/>
                  </a:cxn>
                  <a:cxn ang="0">
                    <a:pos x="2" y="4"/>
                  </a:cxn>
                  <a:cxn ang="0">
                    <a:pos x="2" y="4"/>
                  </a:cxn>
                  <a:cxn ang="0">
                    <a:pos x="4" y="4"/>
                  </a:cxn>
                  <a:cxn ang="0">
                    <a:pos x="4" y="4"/>
                  </a:cxn>
                  <a:cxn ang="0">
                    <a:pos x="4" y="4"/>
                  </a:cxn>
                  <a:cxn ang="0">
                    <a:pos x="4" y="4"/>
                  </a:cxn>
                  <a:cxn ang="0">
                    <a:pos x="4" y="4"/>
                  </a:cxn>
                  <a:cxn ang="0">
                    <a:pos x="4" y="2"/>
                  </a:cxn>
                  <a:cxn ang="0">
                    <a:pos x="4" y="0"/>
                  </a:cxn>
                  <a:cxn ang="0">
                    <a:pos x="2" y="0"/>
                  </a:cxn>
                  <a:cxn ang="0">
                    <a:pos x="2" y="0"/>
                  </a:cxn>
                  <a:cxn ang="0">
                    <a:pos x="2" y="0"/>
                  </a:cxn>
                  <a:cxn ang="0">
                    <a:pos x="2" y="0"/>
                  </a:cxn>
                </a:cxnLst>
                <a:rect l="0" t="0" r="r" b="b"/>
                <a:pathLst>
                  <a:path w="4" h="4">
                    <a:moveTo>
                      <a:pt x="2" y="0"/>
                    </a:moveTo>
                    <a:lnTo>
                      <a:pt x="0" y="0"/>
                    </a:lnTo>
                    <a:lnTo>
                      <a:pt x="0" y="2"/>
                    </a:lnTo>
                    <a:lnTo>
                      <a:pt x="0" y="4"/>
                    </a:lnTo>
                    <a:lnTo>
                      <a:pt x="2" y="4"/>
                    </a:lnTo>
                    <a:lnTo>
                      <a:pt x="4" y="4"/>
                    </a:lnTo>
                    <a:lnTo>
                      <a:pt x="4" y="2"/>
                    </a:lnTo>
                    <a:lnTo>
                      <a:pt x="4" y="0"/>
                    </a:lnTo>
                    <a:lnTo>
                      <a:pt x="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0" name="Freeform 169">
                <a:extLst>
                  <a:ext uri="{FF2B5EF4-FFF2-40B4-BE49-F238E27FC236}">
                    <a16:creationId xmlns:a16="http://schemas.microsoft.com/office/drawing/2014/main" id="{DAE21A24-7C24-40FB-880B-3B113BCCE927}"/>
                  </a:ext>
                </a:extLst>
              </p:cNvPr>
              <p:cNvSpPr>
                <a:spLocks noChangeAspect="1"/>
              </p:cNvSpPr>
              <p:nvPr/>
            </p:nvSpPr>
            <p:spPr bwMode="auto">
              <a:xfrm>
                <a:off x="5271048" y="3060971"/>
                <a:ext cx="59197" cy="34879"/>
              </a:xfrm>
              <a:custGeom>
                <a:avLst/>
                <a:gdLst/>
                <a:ahLst/>
                <a:cxnLst>
                  <a:cxn ang="0">
                    <a:pos x="0" y="14"/>
                  </a:cxn>
                  <a:cxn ang="0">
                    <a:pos x="4" y="16"/>
                  </a:cxn>
                  <a:cxn ang="0">
                    <a:pos x="8" y="20"/>
                  </a:cxn>
                  <a:cxn ang="0">
                    <a:pos x="12" y="20"/>
                  </a:cxn>
                  <a:cxn ang="0">
                    <a:pos x="14" y="20"/>
                  </a:cxn>
                  <a:cxn ang="0">
                    <a:pos x="18" y="16"/>
                  </a:cxn>
                  <a:cxn ang="0">
                    <a:pos x="20" y="14"/>
                  </a:cxn>
                  <a:cxn ang="0">
                    <a:pos x="22" y="14"/>
                  </a:cxn>
                  <a:cxn ang="0">
                    <a:pos x="22" y="14"/>
                  </a:cxn>
                  <a:cxn ang="0">
                    <a:pos x="24" y="14"/>
                  </a:cxn>
                  <a:cxn ang="0">
                    <a:pos x="26" y="16"/>
                  </a:cxn>
                  <a:cxn ang="0">
                    <a:pos x="28" y="14"/>
                  </a:cxn>
                  <a:cxn ang="0">
                    <a:pos x="28" y="12"/>
                  </a:cxn>
                  <a:cxn ang="0">
                    <a:pos x="28" y="10"/>
                  </a:cxn>
                  <a:cxn ang="0">
                    <a:pos x="28" y="8"/>
                  </a:cxn>
                  <a:cxn ang="0">
                    <a:pos x="32" y="4"/>
                  </a:cxn>
                  <a:cxn ang="0">
                    <a:pos x="34" y="2"/>
                  </a:cxn>
                  <a:cxn ang="0">
                    <a:pos x="34" y="2"/>
                  </a:cxn>
                  <a:cxn ang="0">
                    <a:pos x="32" y="2"/>
                  </a:cxn>
                  <a:cxn ang="0">
                    <a:pos x="28" y="6"/>
                  </a:cxn>
                  <a:cxn ang="0">
                    <a:pos x="26" y="6"/>
                  </a:cxn>
                  <a:cxn ang="0">
                    <a:pos x="26" y="6"/>
                  </a:cxn>
                  <a:cxn ang="0">
                    <a:pos x="24" y="6"/>
                  </a:cxn>
                  <a:cxn ang="0">
                    <a:pos x="20" y="6"/>
                  </a:cxn>
                  <a:cxn ang="0">
                    <a:pos x="14" y="6"/>
                  </a:cxn>
                  <a:cxn ang="0">
                    <a:pos x="12" y="6"/>
                  </a:cxn>
                  <a:cxn ang="0">
                    <a:pos x="12" y="6"/>
                  </a:cxn>
                  <a:cxn ang="0">
                    <a:pos x="12" y="8"/>
                  </a:cxn>
                  <a:cxn ang="0">
                    <a:pos x="12" y="10"/>
                  </a:cxn>
                  <a:cxn ang="0">
                    <a:pos x="12" y="10"/>
                  </a:cxn>
                  <a:cxn ang="0">
                    <a:pos x="8" y="8"/>
                  </a:cxn>
                  <a:cxn ang="0">
                    <a:pos x="4" y="8"/>
                  </a:cxn>
                  <a:cxn ang="0">
                    <a:pos x="0" y="10"/>
                  </a:cxn>
                  <a:cxn ang="0">
                    <a:pos x="0" y="12"/>
                  </a:cxn>
                </a:cxnLst>
                <a:rect l="0" t="0" r="r" b="b"/>
                <a:pathLst>
                  <a:path w="36" h="20">
                    <a:moveTo>
                      <a:pt x="0" y="12"/>
                    </a:moveTo>
                    <a:lnTo>
                      <a:pt x="0" y="14"/>
                    </a:lnTo>
                    <a:lnTo>
                      <a:pt x="2" y="16"/>
                    </a:lnTo>
                    <a:lnTo>
                      <a:pt x="4" y="16"/>
                    </a:lnTo>
                    <a:lnTo>
                      <a:pt x="6" y="18"/>
                    </a:lnTo>
                    <a:lnTo>
                      <a:pt x="8" y="20"/>
                    </a:lnTo>
                    <a:lnTo>
                      <a:pt x="10" y="20"/>
                    </a:lnTo>
                    <a:lnTo>
                      <a:pt x="12" y="20"/>
                    </a:lnTo>
                    <a:lnTo>
                      <a:pt x="14" y="20"/>
                    </a:lnTo>
                    <a:lnTo>
                      <a:pt x="18" y="16"/>
                    </a:lnTo>
                    <a:lnTo>
                      <a:pt x="20" y="16"/>
                    </a:lnTo>
                    <a:lnTo>
                      <a:pt x="20" y="14"/>
                    </a:lnTo>
                    <a:lnTo>
                      <a:pt x="22" y="14"/>
                    </a:lnTo>
                    <a:lnTo>
                      <a:pt x="24" y="14"/>
                    </a:lnTo>
                    <a:lnTo>
                      <a:pt x="26" y="16"/>
                    </a:lnTo>
                    <a:lnTo>
                      <a:pt x="28" y="14"/>
                    </a:lnTo>
                    <a:lnTo>
                      <a:pt x="28" y="12"/>
                    </a:lnTo>
                    <a:lnTo>
                      <a:pt x="28" y="10"/>
                    </a:lnTo>
                    <a:lnTo>
                      <a:pt x="28" y="8"/>
                    </a:lnTo>
                    <a:lnTo>
                      <a:pt x="30" y="6"/>
                    </a:lnTo>
                    <a:lnTo>
                      <a:pt x="32" y="4"/>
                    </a:lnTo>
                    <a:lnTo>
                      <a:pt x="34" y="4"/>
                    </a:lnTo>
                    <a:lnTo>
                      <a:pt x="34" y="2"/>
                    </a:lnTo>
                    <a:lnTo>
                      <a:pt x="36" y="0"/>
                    </a:lnTo>
                    <a:lnTo>
                      <a:pt x="32" y="2"/>
                    </a:lnTo>
                    <a:lnTo>
                      <a:pt x="30" y="4"/>
                    </a:lnTo>
                    <a:lnTo>
                      <a:pt x="28" y="6"/>
                    </a:lnTo>
                    <a:lnTo>
                      <a:pt x="26" y="6"/>
                    </a:lnTo>
                    <a:lnTo>
                      <a:pt x="24" y="6"/>
                    </a:lnTo>
                    <a:lnTo>
                      <a:pt x="22" y="6"/>
                    </a:lnTo>
                    <a:lnTo>
                      <a:pt x="20" y="6"/>
                    </a:lnTo>
                    <a:lnTo>
                      <a:pt x="16" y="6"/>
                    </a:lnTo>
                    <a:lnTo>
                      <a:pt x="14" y="6"/>
                    </a:lnTo>
                    <a:lnTo>
                      <a:pt x="12" y="6"/>
                    </a:lnTo>
                    <a:lnTo>
                      <a:pt x="12" y="8"/>
                    </a:lnTo>
                    <a:lnTo>
                      <a:pt x="12" y="10"/>
                    </a:lnTo>
                    <a:lnTo>
                      <a:pt x="10" y="10"/>
                    </a:lnTo>
                    <a:lnTo>
                      <a:pt x="8" y="8"/>
                    </a:lnTo>
                    <a:lnTo>
                      <a:pt x="6" y="8"/>
                    </a:lnTo>
                    <a:lnTo>
                      <a:pt x="4" y="8"/>
                    </a:lnTo>
                    <a:lnTo>
                      <a:pt x="2" y="10"/>
                    </a:lnTo>
                    <a:lnTo>
                      <a:pt x="0" y="10"/>
                    </a:lnTo>
                    <a:lnTo>
                      <a:pt x="0" y="1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1" name="Freeform 174">
                <a:extLst>
                  <a:ext uri="{FF2B5EF4-FFF2-40B4-BE49-F238E27FC236}">
                    <a16:creationId xmlns:a16="http://schemas.microsoft.com/office/drawing/2014/main" id="{3F31D589-A41F-4131-8E2E-E6DF4D1541E5}"/>
                  </a:ext>
                </a:extLst>
              </p:cNvPr>
              <p:cNvSpPr>
                <a:spLocks noChangeAspect="1"/>
              </p:cNvSpPr>
              <p:nvPr/>
            </p:nvSpPr>
            <p:spPr bwMode="auto">
              <a:xfrm>
                <a:off x="5346688" y="3095851"/>
                <a:ext cx="42754" cy="62783"/>
              </a:xfrm>
              <a:custGeom>
                <a:avLst/>
                <a:gdLst/>
                <a:ahLst/>
                <a:cxnLst>
                  <a:cxn ang="0">
                    <a:pos x="16" y="22"/>
                  </a:cxn>
                  <a:cxn ang="0">
                    <a:pos x="16" y="20"/>
                  </a:cxn>
                  <a:cxn ang="0">
                    <a:pos x="16" y="18"/>
                  </a:cxn>
                  <a:cxn ang="0">
                    <a:pos x="16" y="16"/>
                  </a:cxn>
                  <a:cxn ang="0">
                    <a:pos x="20" y="16"/>
                  </a:cxn>
                  <a:cxn ang="0">
                    <a:pos x="22" y="14"/>
                  </a:cxn>
                  <a:cxn ang="0">
                    <a:pos x="24" y="12"/>
                  </a:cxn>
                  <a:cxn ang="0">
                    <a:pos x="26" y="10"/>
                  </a:cxn>
                  <a:cxn ang="0">
                    <a:pos x="24" y="8"/>
                  </a:cxn>
                  <a:cxn ang="0">
                    <a:pos x="24" y="6"/>
                  </a:cxn>
                  <a:cxn ang="0">
                    <a:pos x="22" y="4"/>
                  </a:cxn>
                  <a:cxn ang="0">
                    <a:pos x="22" y="2"/>
                  </a:cxn>
                  <a:cxn ang="0">
                    <a:pos x="22" y="0"/>
                  </a:cxn>
                  <a:cxn ang="0">
                    <a:pos x="22" y="0"/>
                  </a:cxn>
                  <a:cxn ang="0">
                    <a:pos x="20" y="0"/>
                  </a:cxn>
                  <a:cxn ang="0">
                    <a:pos x="16" y="0"/>
                  </a:cxn>
                  <a:cxn ang="0">
                    <a:pos x="14" y="0"/>
                  </a:cxn>
                  <a:cxn ang="0">
                    <a:pos x="14" y="0"/>
                  </a:cxn>
                  <a:cxn ang="0">
                    <a:pos x="14" y="0"/>
                  </a:cxn>
                  <a:cxn ang="0">
                    <a:pos x="14" y="0"/>
                  </a:cxn>
                  <a:cxn ang="0">
                    <a:pos x="10" y="4"/>
                  </a:cxn>
                  <a:cxn ang="0">
                    <a:pos x="8" y="8"/>
                  </a:cxn>
                  <a:cxn ang="0">
                    <a:pos x="6" y="8"/>
                  </a:cxn>
                  <a:cxn ang="0">
                    <a:pos x="6" y="12"/>
                  </a:cxn>
                  <a:cxn ang="0">
                    <a:pos x="4" y="14"/>
                  </a:cxn>
                  <a:cxn ang="0">
                    <a:pos x="4" y="16"/>
                  </a:cxn>
                  <a:cxn ang="0">
                    <a:pos x="4" y="16"/>
                  </a:cxn>
                  <a:cxn ang="0">
                    <a:pos x="2" y="18"/>
                  </a:cxn>
                  <a:cxn ang="0">
                    <a:pos x="0" y="24"/>
                  </a:cxn>
                  <a:cxn ang="0">
                    <a:pos x="0" y="28"/>
                  </a:cxn>
                  <a:cxn ang="0">
                    <a:pos x="0" y="34"/>
                  </a:cxn>
                  <a:cxn ang="0">
                    <a:pos x="0" y="36"/>
                  </a:cxn>
                  <a:cxn ang="0">
                    <a:pos x="2" y="34"/>
                  </a:cxn>
                  <a:cxn ang="0">
                    <a:pos x="2" y="32"/>
                  </a:cxn>
                  <a:cxn ang="0">
                    <a:pos x="4" y="32"/>
                  </a:cxn>
                  <a:cxn ang="0">
                    <a:pos x="4" y="30"/>
                  </a:cxn>
                  <a:cxn ang="0">
                    <a:pos x="4" y="30"/>
                  </a:cxn>
                  <a:cxn ang="0">
                    <a:pos x="6" y="32"/>
                  </a:cxn>
                  <a:cxn ang="0">
                    <a:pos x="8" y="32"/>
                  </a:cxn>
                  <a:cxn ang="0">
                    <a:pos x="10" y="30"/>
                  </a:cxn>
                  <a:cxn ang="0">
                    <a:pos x="10" y="26"/>
                  </a:cxn>
                  <a:cxn ang="0">
                    <a:pos x="12" y="24"/>
                  </a:cxn>
                  <a:cxn ang="0">
                    <a:pos x="12" y="24"/>
                  </a:cxn>
                  <a:cxn ang="0">
                    <a:pos x="16" y="24"/>
                  </a:cxn>
                  <a:cxn ang="0">
                    <a:pos x="16" y="24"/>
                  </a:cxn>
                  <a:cxn ang="0">
                    <a:pos x="16" y="24"/>
                  </a:cxn>
                </a:cxnLst>
                <a:rect l="0" t="0" r="r" b="b"/>
                <a:pathLst>
                  <a:path w="26" h="36">
                    <a:moveTo>
                      <a:pt x="16" y="24"/>
                    </a:moveTo>
                    <a:lnTo>
                      <a:pt x="16" y="22"/>
                    </a:lnTo>
                    <a:lnTo>
                      <a:pt x="16" y="20"/>
                    </a:lnTo>
                    <a:lnTo>
                      <a:pt x="16" y="18"/>
                    </a:lnTo>
                    <a:lnTo>
                      <a:pt x="16" y="16"/>
                    </a:lnTo>
                    <a:lnTo>
                      <a:pt x="18" y="16"/>
                    </a:lnTo>
                    <a:lnTo>
                      <a:pt x="20" y="16"/>
                    </a:lnTo>
                    <a:lnTo>
                      <a:pt x="22" y="14"/>
                    </a:lnTo>
                    <a:lnTo>
                      <a:pt x="24" y="14"/>
                    </a:lnTo>
                    <a:lnTo>
                      <a:pt x="24" y="12"/>
                    </a:lnTo>
                    <a:lnTo>
                      <a:pt x="26" y="10"/>
                    </a:lnTo>
                    <a:lnTo>
                      <a:pt x="26" y="8"/>
                    </a:lnTo>
                    <a:lnTo>
                      <a:pt x="24" y="8"/>
                    </a:lnTo>
                    <a:lnTo>
                      <a:pt x="24" y="6"/>
                    </a:lnTo>
                    <a:lnTo>
                      <a:pt x="22" y="4"/>
                    </a:lnTo>
                    <a:lnTo>
                      <a:pt x="22" y="2"/>
                    </a:lnTo>
                    <a:lnTo>
                      <a:pt x="22" y="0"/>
                    </a:lnTo>
                    <a:lnTo>
                      <a:pt x="20" y="0"/>
                    </a:lnTo>
                    <a:lnTo>
                      <a:pt x="18" y="0"/>
                    </a:lnTo>
                    <a:lnTo>
                      <a:pt x="16" y="0"/>
                    </a:lnTo>
                    <a:lnTo>
                      <a:pt x="14" y="0"/>
                    </a:lnTo>
                    <a:lnTo>
                      <a:pt x="12" y="2"/>
                    </a:lnTo>
                    <a:lnTo>
                      <a:pt x="10" y="4"/>
                    </a:lnTo>
                    <a:lnTo>
                      <a:pt x="8" y="6"/>
                    </a:lnTo>
                    <a:lnTo>
                      <a:pt x="8" y="8"/>
                    </a:lnTo>
                    <a:lnTo>
                      <a:pt x="6" y="8"/>
                    </a:lnTo>
                    <a:lnTo>
                      <a:pt x="6" y="10"/>
                    </a:lnTo>
                    <a:lnTo>
                      <a:pt x="6" y="12"/>
                    </a:lnTo>
                    <a:lnTo>
                      <a:pt x="4" y="14"/>
                    </a:lnTo>
                    <a:lnTo>
                      <a:pt x="4" y="16"/>
                    </a:lnTo>
                    <a:lnTo>
                      <a:pt x="2" y="18"/>
                    </a:lnTo>
                    <a:lnTo>
                      <a:pt x="2" y="20"/>
                    </a:lnTo>
                    <a:lnTo>
                      <a:pt x="0" y="24"/>
                    </a:lnTo>
                    <a:lnTo>
                      <a:pt x="0" y="26"/>
                    </a:lnTo>
                    <a:lnTo>
                      <a:pt x="0" y="28"/>
                    </a:lnTo>
                    <a:lnTo>
                      <a:pt x="0" y="32"/>
                    </a:lnTo>
                    <a:lnTo>
                      <a:pt x="0" y="34"/>
                    </a:lnTo>
                    <a:lnTo>
                      <a:pt x="0" y="36"/>
                    </a:lnTo>
                    <a:lnTo>
                      <a:pt x="2" y="34"/>
                    </a:lnTo>
                    <a:lnTo>
                      <a:pt x="2" y="32"/>
                    </a:lnTo>
                    <a:lnTo>
                      <a:pt x="4" y="32"/>
                    </a:lnTo>
                    <a:lnTo>
                      <a:pt x="4" y="30"/>
                    </a:lnTo>
                    <a:lnTo>
                      <a:pt x="6" y="32"/>
                    </a:lnTo>
                    <a:lnTo>
                      <a:pt x="8" y="32"/>
                    </a:lnTo>
                    <a:lnTo>
                      <a:pt x="10" y="30"/>
                    </a:lnTo>
                    <a:lnTo>
                      <a:pt x="10" y="28"/>
                    </a:lnTo>
                    <a:lnTo>
                      <a:pt x="10" y="26"/>
                    </a:lnTo>
                    <a:lnTo>
                      <a:pt x="12" y="24"/>
                    </a:lnTo>
                    <a:lnTo>
                      <a:pt x="14" y="24"/>
                    </a:lnTo>
                    <a:lnTo>
                      <a:pt x="16" y="2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2" name="Freeform 175">
                <a:extLst>
                  <a:ext uri="{FF2B5EF4-FFF2-40B4-BE49-F238E27FC236}">
                    <a16:creationId xmlns:a16="http://schemas.microsoft.com/office/drawing/2014/main" id="{E6098A9F-4874-4CF7-8B59-1B7568A6975B}"/>
                  </a:ext>
                </a:extLst>
              </p:cNvPr>
              <p:cNvSpPr>
                <a:spLocks noChangeAspect="1"/>
              </p:cNvSpPr>
              <p:nvPr/>
            </p:nvSpPr>
            <p:spPr bwMode="auto">
              <a:xfrm>
                <a:off x="5149365" y="3033067"/>
                <a:ext cx="13155" cy="20928"/>
              </a:xfrm>
              <a:custGeom>
                <a:avLst/>
                <a:gdLst/>
                <a:ahLst/>
                <a:cxnLst>
                  <a:cxn ang="0">
                    <a:pos x="8" y="0"/>
                  </a:cxn>
                  <a:cxn ang="0">
                    <a:pos x="8" y="0"/>
                  </a:cxn>
                  <a:cxn ang="0">
                    <a:pos x="6" y="0"/>
                  </a:cxn>
                  <a:cxn ang="0">
                    <a:pos x="6" y="0"/>
                  </a:cxn>
                  <a:cxn ang="0">
                    <a:pos x="4" y="2"/>
                  </a:cxn>
                  <a:cxn ang="0">
                    <a:pos x="2" y="2"/>
                  </a:cxn>
                  <a:cxn ang="0">
                    <a:pos x="2" y="6"/>
                  </a:cxn>
                  <a:cxn ang="0">
                    <a:pos x="0" y="8"/>
                  </a:cxn>
                  <a:cxn ang="0">
                    <a:pos x="0" y="10"/>
                  </a:cxn>
                  <a:cxn ang="0">
                    <a:pos x="0" y="12"/>
                  </a:cxn>
                  <a:cxn ang="0">
                    <a:pos x="0" y="12"/>
                  </a:cxn>
                  <a:cxn ang="0">
                    <a:pos x="2" y="12"/>
                  </a:cxn>
                  <a:cxn ang="0">
                    <a:pos x="2" y="12"/>
                  </a:cxn>
                  <a:cxn ang="0">
                    <a:pos x="2" y="12"/>
                  </a:cxn>
                  <a:cxn ang="0">
                    <a:pos x="4" y="10"/>
                  </a:cxn>
                  <a:cxn ang="0">
                    <a:pos x="6" y="8"/>
                  </a:cxn>
                  <a:cxn ang="0">
                    <a:pos x="6" y="6"/>
                  </a:cxn>
                  <a:cxn ang="0">
                    <a:pos x="8" y="2"/>
                  </a:cxn>
                  <a:cxn ang="0">
                    <a:pos x="8" y="0"/>
                  </a:cxn>
                  <a:cxn ang="0">
                    <a:pos x="8" y="0"/>
                  </a:cxn>
                  <a:cxn ang="0">
                    <a:pos x="8" y="0"/>
                  </a:cxn>
                  <a:cxn ang="0">
                    <a:pos x="8" y="0"/>
                  </a:cxn>
                </a:cxnLst>
                <a:rect l="0" t="0" r="r" b="b"/>
                <a:pathLst>
                  <a:path w="8" h="12">
                    <a:moveTo>
                      <a:pt x="8" y="0"/>
                    </a:moveTo>
                    <a:lnTo>
                      <a:pt x="8" y="0"/>
                    </a:lnTo>
                    <a:lnTo>
                      <a:pt x="6" y="0"/>
                    </a:lnTo>
                    <a:lnTo>
                      <a:pt x="4" y="2"/>
                    </a:lnTo>
                    <a:lnTo>
                      <a:pt x="2" y="2"/>
                    </a:lnTo>
                    <a:lnTo>
                      <a:pt x="2" y="6"/>
                    </a:lnTo>
                    <a:lnTo>
                      <a:pt x="0" y="8"/>
                    </a:lnTo>
                    <a:lnTo>
                      <a:pt x="0" y="10"/>
                    </a:lnTo>
                    <a:lnTo>
                      <a:pt x="0" y="12"/>
                    </a:lnTo>
                    <a:lnTo>
                      <a:pt x="2" y="12"/>
                    </a:lnTo>
                    <a:lnTo>
                      <a:pt x="4" y="10"/>
                    </a:lnTo>
                    <a:lnTo>
                      <a:pt x="6" y="8"/>
                    </a:lnTo>
                    <a:lnTo>
                      <a:pt x="6" y="6"/>
                    </a:lnTo>
                    <a:lnTo>
                      <a:pt x="8" y="2"/>
                    </a:lnTo>
                    <a:lnTo>
                      <a:pt x="8"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3" name="Freeform 176">
                <a:extLst>
                  <a:ext uri="{FF2B5EF4-FFF2-40B4-BE49-F238E27FC236}">
                    <a16:creationId xmlns:a16="http://schemas.microsoft.com/office/drawing/2014/main" id="{762AC71E-3D92-4597-8BB2-D9B6776DE266}"/>
                  </a:ext>
                </a:extLst>
              </p:cNvPr>
              <p:cNvSpPr>
                <a:spLocks noChangeAspect="1"/>
              </p:cNvSpPr>
              <p:nvPr/>
            </p:nvSpPr>
            <p:spPr bwMode="auto">
              <a:xfrm>
                <a:off x="4672500" y="2672067"/>
                <a:ext cx="6578" cy="6976"/>
              </a:xfrm>
              <a:custGeom>
                <a:avLst/>
                <a:gdLst/>
                <a:ahLst/>
                <a:cxnLst>
                  <a:cxn ang="0">
                    <a:pos x="2" y="0"/>
                  </a:cxn>
                  <a:cxn ang="0">
                    <a:pos x="0" y="0"/>
                  </a:cxn>
                  <a:cxn ang="0">
                    <a:pos x="0" y="2"/>
                  </a:cxn>
                  <a:cxn ang="0">
                    <a:pos x="0" y="4"/>
                  </a:cxn>
                  <a:cxn ang="0">
                    <a:pos x="0" y="4"/>
                  </a:cxn>
                  <a:cxn ang="0">
                    <a:pos x="0" y="4"/>
                  </a:cxn>
                  <a:cxn ang="0">
                    <a:pos x="0" y="4"/>
                  </a:cxn>
                  <a:cxn ang="0">
                    <a:pos x="2" y="4"/>
                  </a:cxn>
                  <a:cxn ang="0">
                    <a:pos x="2" y="4"/>
                  </a:cxn>
                  <a:cxn ang="0">
                    <a:pos x="2" y="4"/>
                  </a:cxn>
                  <a:cxn ang="0">
                    <a:pos x="4" y="4"/>
                  </a:cxn>
                  <a:cxn ang="0">
                    <a:pos x="4" y="4"/>
                  </a:cxn>
                  <a:cxn ang="0">
                    <a:pos x="4" y="4"/>
                  </a:cxn>
                  <a:cxn ang="0">
                    <a:pos x="4" y="4"/>
                  </a:cxn>
                  <a:cxn ang="0">
                    <a:pos x="4" y="4"/>
                  </a:cxn>
                  <a:cxn ang="0">
                    <a:pos x="4" y="2"/>
                  </a:cxn>
                  <a:cxn ang="0">
                    <a:pos x="4" y="0"/>
                  </a:cxn>
                  <a:cxn ang="0">
                    <a:pos x="2" y="0"/>
                  </a:cxn>
                  <a:cxn ang="0">
                    <a:pos x="2" y="0"/>
                  </a:cxn>
                  <a:cxn ang="0">
                    <a:pos x="2" y="0"/>
                  </a:cxn>
                  <a:cxn ang="0">
                    <a:pos x="2" y="0"/>
                  </a:cxn>
                </a:cxnLst>
                <a:rect l="0" t="0" r="r" b="b"/>
                <a:pathLst>
                  <a:path w="4" h="4">
                    <a:moveTo>
                      <a:pt x="2" y="0"/>
                    </a:moveTo>
                    <a:lnTo>
                      <a:pt x="0" y="0"/>
                    </a:lnTo>
                    <a:lnTo>
                      <a:pt x="0" y="2"/>
                    </a:lnTo>
                    <a:lnTo>
                      <a:pt x="0" y="4"/>
                    </a:lnTo>
                    <a:lnTo>
                      <a:pt x="2" y="4"/>
                    </a:lnTo>
                    <a:lnTo>
                      <a:pt x="4" y="4"/>
                    </a:lnTo>
                    <a:lnTo>
                      <a:pt x="4" y="2"/>
                    </a:lnTo>
                    <a:lnTo>
                      <a:pt x="4" y="0"/>
                    </a:lnTo>
                    <a:lnTo>
                      <a:pt x="2"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4" name="Freeform 177">
                <a:extLst>
                  <a:ext uri="{FF2B5EF4-FFF2-40B4-BE49-F238E27FC236}">
                    <a16:creationId xmlns:a16="http://schemas.microsoft.com/office/drawing/2014/main" id="{D44456BB-9CCD-4939-B4A9-916F642F9715}"/>
                  </a:ext>
                </a:extLst>
              </p:cNvPr>
              <p:cNvSpPr>
                <a:spLocks noChangeAspect="1"/>
              </p:cNvSpPr>
              <p:nvPr/>
            </p:nvSpPr>
            <p:spPr bwMode="auto">
              <a:xfrm>
                <a:off x="5586765" y="2924942"/>
                <a:ext cx="29599" cy="27904"/>
              </a:xfrm>
              <a:custGeom>
                <a:avLst/>
                <a:gdLst/>
                <a:ahLst/>
                <a:cxnLst>
                  <a:cxn ang="0">
                    <a:pos x="14" y="4"/>
                  </a:cxn>
                  <a:cxn ang="0">
                    <a:pos x="12" y="4"/>
                  </a:cxn>
                  <a:cxn ang="0">
                    <a:pos x="10" y="4"/>
                  </a:cxn>
                  <a:cxn ang="0">
                    <a:pos x="10" y="4"/>
                  </a:cxn>
                  <a:cxn ang="0">
                    <a:pos x="10" y="4"/>
                  </a:cxn>
                  <a:cxn ang="0">
                    <a:pos x="8" y="4"/>
                  </a:cxn>
                  <a:cxn ang="0">
                    <a:pos x="8" y="4"/>
                  </a:cxn>
                  <a:cxn ang="0">
                    <a:pos x="6" y="4"/>
                  </a:cxn>
                  <a:cxn ang="0">
                    <a:pos x="4" y="2"/>
                  </a:cxn>
                  <a:cxn ang="0">
                    <a:pos x="4" y="2"/>
                  </a:cxn>
                  <a:cxn ang="0">
                    <a:pos x="2" y="0"/>
                  </a:cxn>
                  <a:cxn ang="0">
                    <a:pos x="2" y="0"/>
                  </a:cxn>
                  <a:cxn ang="0">
                    <a:pos x="2" y="0"/>
                  </a:cxn>
                  <a:cxn ang="0">
                    <a:pos x="0" y="0"/>
                  </a:cxn>
                  <a:cxn ang="0">
                    <a:pos x="0" y="2"/>
                  </a:cxn>
                  <a:cxn ang="0">
                    <a:pos x="0" y="2"/>
                  </a:cxn>
                  <a:cxn ang="0">
                    <a:pos x="0" y="6"/>
                  </a:cxn>
                  <a:cxn ang="0">
                    <a:pos x="2" y="8"/>
                  </a:cxn>
                  <a:cxn ang="0">
                    <a:pos x="2" y="10"/>
                  </a:cxn>
                  <a:cxn ang="0">
                    <a:pos x="6" y="12"/>
                  </a:cxn>
                  <a:cxn ang="0">
                    <a:pos x="10" y="14"/>
                  </a:cxn>
                  <a:cxn ang="0">
                    <a:pos x="12" y="14"/>
                  </a:cxn>
                  <a:cxn ang="0">
                    <a:pos x="14" y="16"/>
                  </a:cxn>
                  <a:cxn ang="0">
                    <a:pos x="16" y="16"/>
                  </a:cxn>
                  <a:cxn ang="0">
                    <a:pos x="18" y="16"/>
                  </a:cxn>
                  <a:cxn ang="0">
                    <a:pos x="18" y="16"/>
                  </a:cxn>
                  <a:cxn ang="0">
                    <a:pos x="18" y="14"/>
                  </a:cxn>
                  <a:cxn ang="0">
                    <a:pos x="16" y="12"/>
                  </a:cxn>
                  <a:cxn ang="0">
                    <a:pos x="16" y="10"/>
                  </a:cxn>
                  <a:cxn ang="0">
                    <a:pos x="16" y="10"/>
                  </a:cxn>
                  <a:cxn ang="0">
                    <a:pos x="16" y="10"/>
                  </a:cxn>
                  <a:cxn ang="0">
                    <a:pos x="14" y="8"/>
                  </a:cxn>
                  <a:cxn ang="0">
                    <a:pos x="14" y="8"/>
                  </a:cxn>
                  <a:cxn ang="0">
                    <a:pos x="14" y="6"/>
                  </a:cxn>
                  <a:cxn ang="0">
                    <a:pos x="14" y="4"/>
                  </a:cxn>
                  <a:cxn ang="0">
                    <a:pos x="14" y="4"/>
                  </a:cxn>
                  <a:cxn ang="0">
                    <a:pos x="14" y="4"/>
                  </a:cxn>
                  <a:cxn ang="0">
                    <a:pos x="14" y="4"/>
                  </a:cxn>
                  <a:cxn ang="0">
                    <a:pos x="14" y="4"/>
                  </a:cxn>
                  <a:cxn ang="0">
                    <a:pos x="14" y="4"/>
                  </a:cxn>
                </a:cxnLst>
                <a:rect l="0" t="0" r="r" b="b"/>
                <a:pathLst>
                  <a:path w="18" h="16">
                    <a:moveTo>
                      <a:pt x="14" y="4"/>
                    </a:moveTo>
                    <a:lnTo>
                      <a:pt x="12" y="4"/>
                    </a:lnTo>
                    <a:lnTo>
                      <a:pt x="10" y="4"/>
                    </a:lnTo>
                    <a:lnTo>
                      <a:pt x="8" y="4"/>
                    </a:lnTo>
                    <a:lnTo>
                      <a:pt x="6" y="4"/>
                    </a:lnTo>
                    <a:lnTo>
                      <a:pt x="4" y="2"/>
                    </a:lnTo>
                    <a:lnTo>
                      <a:pt x="2" y="0"/>
                    </a:lnTo>
                    <a:lnTo>
                      <a:pt x="0" y="0"/>
                    </a:lnTo>
                    <a:lnTo>
                      <a:pt x="0" y="2"/>
                    </a:lnTo>
                    <a:lnTo>
                      <a:pt x="0" y="6"/>
                    </a:lnTo>
                    <a:lnTo>
                      <a:pt x="2" y="8"/>
                    </a:lnTo>
                    <a:lnTo>
                      <a:pt x="2" y="10"/>
                    </a:lnTo>
                    <a:lnTo>
                      <a:pt x="6" y="12"/>
                    </a:lnTo>
                    <a:lnTo>
                      <a:pt x="10" y="14"/>
                    </a:lnTo>
                    <a:lnTo>
                      <a:pt x="12" y="14"/>
                    </a:lnTo>
                    <a:lnTo>
                      <a:pt x="14" y="16"/>
                    </a:lnTo>
                    <a:lnTo>
                      <a:pt x="16" y="16"/>
                    </a:lnTo>
                    <a:lnTo>
                      <a:pt x="18" y="16"/>
                    </a:lnTo>
                    <a:lnTo>
                      <a:pt x="18" y="14"/>
                    </a:lnTo>
                    <a:lnTo>
                      <a:pt x="16" y="12"/>
                    </a:lnTo>
                    <a:lnTo>
                      <a:pt x="16" y="10"/>
                    </a:lnTo>
                    <a:lnTo>
                      <a:pt x="14" y="8"/>
                    </a:lnTo>
                    <a:lnTo>
                      <a:pt x="14" y="6"/>
                    </a:lnTo>
                    <a:lnTo>
                      <a:pt x="14"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5" name="Freeform 178">
                <a:extLst>
                  <a:ext uri="{FF2B5EF4-FFF2-40B4-BE49-F238E27FC236}">
                    <a16:creationId xmlns:a16="http://schemas.microsoft.com/office/drawing/2014/main" id="{0C64EAD4-B869-4D1C-BE28-21A59C8E7F0A}"/>
                  </a:ext>
                </a:extLst>
              </p:cNvPr>
              <p:cNvSpPr>
                <a:spLocks noChangeAspect="1"/>
              </p:cNvSpPr>
              <p:nvPr/>
            </p:nvSpPr>
            <p:spPr bwMode="auto">
              <a:xfrm>
                <a:off x="5349977" y="3165609"/>
                <a:ext cx="19733" cy="41855"/>
              </a:xfrm>
              <a:custGeom>
                <a:avLst/>
                <a:gdLst/>
                <a:ahLst/>
                <a:cxnLst>
                  <a:cxn ang="0">
                    <a:pos x="8" y="20"/>
                  </a:cxn>
                  <a:cxn ang="0">
                    <a:pos x="8" y="20"/>
                  </a:cxn>
                  <a:cxn ang="0">
                    <a:pos x="8" y="20"/>
                  </a:cxn>
                  <a:cxn ang="0">
                    <a:pos x="10" y="20"/>
                  </a:cxn>
                  <a:cxn ang="0">
                    <a:pos x="10" y="18"/>
                  </a:cxn>
                  <a:cxn ang="0">
                    <a:pos x="10" y="18"/>
                  </a:cxn>
                  <a:cxn ang="0">
                    <a:pos x="10" y="18"/>
                  </a:cxn>
                  <a:cxn ang="0">
                    <a:pos x="12" y="16"/>
                  </a:cxn>
                  <a:cxn ang="0">
                    <a:pos x="10" y="14"/>
                  </a:cxn>
                  <a:cxn ang="0">
                    <a:pos x="10" y="12"/>
                  </a:cxn>
                  <a:cxn ang="0">
                    <a:pos x="10" y="10"/>
                  </a:cxn>
                  <a:cxn ang="0">
                    <a:pos x="10" y="8"/>
                  </a:cxn>
                  <a:cxn ang="0">
                    <a:pos x="10" y="6"/>
                  </a:cxn>
                  <a:cxn ang="0">
                    <a:pos x="10" y="4"/>
                  </a:cxn>
                  <a:cxn ang="0">
                    <a:pos x="10" y="4"/>
                  </a:cxn>
                  <a:cxn ang="0">
                    <a:pos x="10" y="2"/>
                  </a:cxn>
                  <a:cxn ang="0">
                    <a:pos x="10" y="2"/>
                  </a:cxn>
                  <a:cxn ang="0">
                    <a:pos x="10" y="2"/>
                  </a:cxn>
                  <a:cxn ang="0">
                    <a:pos x="10" y="0"/>
                  </a:cxn>
                  <a:cxn ang="0">
                    <a:pos x="10" y="0"/>
                  </a:cxn>
                  <a:cxn ang="0">
                    <a:pos x="10" y="0"/>
                  </a:cxn>
                  <a:cxn ang="0">
                    <a:pos x="8" y="0"/>
                  </a:cxn>
                  <a:cxn ang="0">
                    <a:pos x="6" y="0"/>
                  </a:cxn>
                  <a:cxn ang="0">
                    <a:pos x="4" y="2"/>
                  </a:cxn>
                  <a:cxn ang="0">
                    <a:pos x="4" y="2"/>
                  </a:cxn>
                  <a:cxn ang="0">
                    <a:pos x="2" y="2"/>
                  </a:cxn>
                  <a:cxn ang="0">
                    <a:pos x="2" y="6"/>
                  </a:cxn>
                  <a:cxn ang="0">
                    <a:pos x="2" y="6"/>
                  </a:cxn>
                  <a:cxn ang="0">
                    <a:pos x="2" y="8"/>
                  </a:cxn>
                  <a:cxn ang="0">
                    <a:pos x="2" y="8"/>
                  </a:cxn>
                  <a:cxn ang="0">
                    <a:pos x="2" y="8"/>
                  </a:cxn>
                  <a:cxn ang="0">
                    <a:pos x="2" y="8"/>
                  </a:cxn>
                  <a:cxn ang="0">
                    <a:pos x="2" y="10"/>
                  </a:cxn>
                  <a:cxn ang="0">
                    <a:pos x="2" y="10"/>
                  </a:cxn>
                  <a:cxn ang="0">
                    <a:pos x="2" y="10"/>
                  </a:cxn>
                  <a:cxn ang="0">
                    <a:pos x="2" y="14"/>
                  </a:cxn>
                  <a:cxn ang="0">
                    <a:pos x="2" y="16"/>
                  </a:cxn>
                  <a:cxn ang="0">
                    <a:pos x="2" y="16"/>
                  </a:cxn>
                  <a:cxn ang="0">
                    <a:pos x="0" y="18"/>
                  </a:cxn>
                  <a:cxn ang="0">
                    <a:pos x="0" y="20"/>
                  </a:cxn>
                  <a:cxn ang="0">
                    <a:pos x="0" y="20"/>
                  </a:cxn>
                  <a:cxn ang="0">
                    <a:pos x="2" y="22"/>
                  </a:cxn>
                  <a:cxn ang="0">
                    <a:pos x="2" y="22"/>
                  </a:cxn>
                  <a:cxn ang="0">
                    <a:pos x="2" y="24"/>
                  </a:cxn>
                  <a:cxn ang="0">
                    <a:pos x="4" y="24"/>
                  </a:cxn>
                  <a:cxn ang="0">
                    <a:pos x="4" y="22"/>
                  </a:cxn>
                  <a:cxn ang="0">
                    <a:pos x="6" y="22"/>
                  </a:cxn>
                  <a:cxn ang="0">
                    <a:pos x="6" y="20"/>
                  </a:cxn>
                  <a:cxn ang="0">
                    <a:pos x="6" y="20"/>
                  </a:cxn>
                  <a:cxn ang="0">
                    <a:pos x="8" y="20"/>
                  </a:cxn>
                  <a:cxn ang="0">
                    <a:pos x="8" y="20"/>
                  </a:cxn>
                </a:cxnLst>
                <a:rect l="0" t="0" r="r" b="b"/>
                <a:pathLst>
                  <a:path w="12" h="24">
                    <a:moveTo>
                      <a:pt x="8" y="20"/>
                    </a:moveTo>
                    <a:lnTo>
                      <a:pt x="8" y="20"/>
                    </a:lnTo>
                    <a:lnTo>
                      <a:pt x="10" y="20"/>
                    </a:lnTo>
                    <a:lnTo>
                      <a:pt x="10" y="18"/>
                    </a:lnTo>
                    <a:lnTo>
                      <a:pt x="12" y="16"/>
                    </a:lnTo>
                    <a:lnTo>
                      <a:pt x="10" y="14"/>
                    </a:lnTo>
                    <a:lnTo>
                      <a:pt x="10" y="12"/>
                    </a:lnTo>
                    <a:lnTo>
                      <a:pt x="10" y="10"/>
                    </a:lnTo>
                    <a:lnTo>
                      <a:pt x="10" y="8"/>
                    </a:lnTo>
                    <a:lnTo>
                      <a:pt x="10" y="6"/>
                    </a:lnTo>
                    <a:lnTo>
                      <a:pt x="10" y="4"/>
                    </a:lnTo>
                    <a:lnTo>
                      <a:pt x="10" y="2"/>
                    </a:lnTo>
                    <a:lnTo>
                      <a:pt x="10" y="0"/>
                    </a:lnTo>
                    <a:lnTo>
                      <a:pt x="8" y="0"/>
                    </a:lnTo>
                    <a:lnTo>
                      <a:pt x="6" y="0"/>
                    </a:lnTo>
                    <a:lnTo>
                      <a:pt x="4" y="2"/>
                    </a:lnTo>
                    <a:lnTo>
                      <a:pt x="2" y="2"/>
                    </a:lnTo>
                    <a:lnTo>
                      <a:pt x="2" y="6"/>
                    </a:lnTo>
                    <a:lnTo>
                      <a:pt x="2" y="8"/>
                    </a:lnTo>
                    <a:lnTo>
                      <a:pt x="2" y="10"/>
                    </a:lnTo>
                    <a:lnTo>
                      <a:pt x="2" y="14"/>
                    </a:lnTo>
                    <a:lnTo>
                      <a:pt x="2" y="16"/>
                    </a:lnTo>
                    <a:lnTo>
                      <a:pt x="0" y="18"/>
                    </a:lnTo>
                    <a:lnTo>
                      <a:pt x="0" y="20"/>
                    </a:lnTo>
                    <a:lnTo>
                      <a:pt x="2" y="22"/>
                    </a:lnTo>
                    <a:lnTo>
                      <a:pt x="2" y="24"/>
                    </a:lnTo>
                    <a:lnTo>
                      <a:pt x="4" y="24"/>
                    </a:lnTo>
                    <a:lnTo>
                      <a:pt x="4" y="22"/>
                    </a:lnTo>
                    <a:lnTo>
                      <a:pt x="6" y="22"/>
                    </a:lnTo>
                    <a:lnTo>
                      <a:pt x="6" y="20"/>
                    </a:lnTo>
                    <a:lnTo>
                      <a:pt x="8" y="2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6" name="Freeform 183">
                <a:extLst>
                  <a:ext uri="{FF2B5EF4-FFF2-40B4-BE49-F238E27FC236}">
                    <a16:creationId xmlns:a16="http://schemas.microsoft.com/office/drawing/2014/main" id="{538117DA-48A7-41BF-B0B9-F685CACC088E}"/>
                  </a:ext>
                </a:extLst>
              </p:cNvPr>
              <p:cNvSpPr>
                <a:spLocks noChangeAspect="1" noEditPoints="1"/>
              </p:cNvSpPr>
              <p:nvPr/>
            </p:nvSpPr>
            <p:spPr bwMode="auto">
              <a:xfrm>
                <a:off x="4955331" y="2295371"/>
                <a:ext cx="29599" cy="38367"/>
              </a:xfrm>
              <a:custGeom>
                <a:avLst/>
                <a:gdLst/>
                <a:ahLst/>
                <a:cxnLst>
                  <a:cxn ang="0">
                    <a:pos x="16" y="12"/>
                  </a:cxn>
                  <a:cxn ang="0">
                    <a:pos x="16" y="10"/>
                  </a:cxn>
                  <a:cxn ang="0">
                    <a:pos x="16" y="8"/>
                  </a:cxn>
                  <a:cxn ang="0">
                    <a:pos x="8" y="10"/>
                  </a:cxn>
                  <a:cxn ang="0">
                    <a:pos x="4" y="10"/>
                  </a:cxn>
                  <a:cxn ang="0">
                    <a:pos x="2" y="10"/>
                  </a:cxn>
                  <a:cxn ang="0">
                    <a:pos x="0" y="10"/>
                  </a:cxn>
                  <a:cxn ang="0">
                    <a:pos x="0" y="12"/>
                  </a:cxn>
                  <a:cxn ang="0">
                    <a:pos x="0" y="16"/>
                  </a:cxn>
                  <a:cxn ang="0">
                    <a:pos x="0" y="16"/>
                  </a:cxn>
                  <a:cxn ang="0">
                    <a:pos x="0" y="16"/>
                  </a:cxn>
                  <a:cxn ang="0">
                    <a:pos x="2" y="18"/>
                  </a:cxn>
                  <a:cxn ang="0">
                    <a:pos x="2" y="20"/>
                  </a:cxn>
                  <a:cxn ang="0">
                    <a:pos x="2" y="20"/>
                  </a:cxn>
                  <a:cxn ang="0">
                    <a:pos x="2" y="22"/>
                  </a:cxn>
                  <a:cxn ang="0">
                    <a:pos x="4" y="22"/>
                  </a:cxn>
                  <a:cxn ang="0">
                    <a:pos x="4" y="20"/>
                  </a:cxn>
                  <a:cxn ang="0">
                    <a:pos x="4" y="20"/>
                  </a:cxn>
                  <a:cxn ang="0">
                    <a:pos x="6" y="20"/>
                  </a:cxn>
                  <a:cxn ang="0">
                    <a:pos x="8" y="18"/>
                  </a:cxn>
                  <a:cxn ang="0">
                    <a:pos x="10" y="16"/>
                  </a:cxn>
                  <a:cxn ang="0">
                    <a:pos x="12" y="16"/>
                  </a:cxn>
                  <a:cxn ang="0">
                    <a:pos x="12" y="16"/>
                  </a:cxn>
                  <a:cxn ang="0">
                    <a:pos x="14" y="16"/>
                  </a:cxn>
                  <a:cxn ang="0">
                    <a:pos x="16" y="14"/>
                  </a:cxn>
                  <a:cxn ang="0">
                    <a:pos x="16" y="14"/>
                  </a:cxn>
                  <a:cxn ang="0">
                    <a:pos x="16" y="12"/>
                  </a:cxn>
                  <a:cxn ang="0">
                    <a:pos x="18" y="12"/>
                  </a:cxn>
                  <a:cxn ang="0">
                    <a:pos x="16" y="12"/>
                  </a:cxn>
                  <a:cxn ang="0">
                    <a:pos x="10" y="6"/>
                  </a:cxn>
                  <a:cxn ang="0">
                    <a:pos x="12" y="6"/>
                  </a:cxn>
                  <a:cxn ang="0">
                    <a:pos x="12" y="4"/>
                  </a:cxn>
                  <a:cxn ang="0">
                    <a:pos x="14" y="2"/>
                  </a:cxn>
                  <a:cxn ang="0">
                    <a:pos x="14" y="0"/>
                  </a:cxn>
                  <a:cxn ang="0">
                    <a:pos x="12" y="0"/>
                  </a:cxn>
                  <a:cxn ang="0">
                    <a:pos x="10" y="0"/>
                  </a:cxn>
                  <a:cxn ang="0">
                    <a:pos x="8" y="0"/>
                  </a:cxn>
                  <a:cxn ang="0">
                    <a:pos x="8" y="2"/>
                  </a:cxn>
                  <a:cxn ang="0">
                    <a:pos x="6" y="2"/>
                  </a:cxn>
                  <a:cxn ang="0">
                    <a:pos x="6" y="4"/>
                  </a:cxn>
                  <a:cxn ang="0">
                    <a:pos x="6" y="6"/>
                  </a:cxn>
                  <a:cxn ang="0">
                    <a:pos x="6" y="6"/>
                  </a:cxn>
                  <a:cxn ang="0">
                    <a:pos x="10" y="6"/>
                  </a:cxn>
                </a:cxnLst>
                <a:rect l="0" t="0" r="r" b="b"/>
                <a:pathLst>
                  <a:path w="18" h="22">
                    <a:moveTo>
                      <a:pt x="16" y="12"/>
                    </a:moveTo>
                    <a:lnTo>
                      <a:pt x="16" y="10"/>
                    </a:lnTo>
                    <a:lnTo>
                      <a:pt x="16" y="8"/>
                    </a:lnTo>
                    <a:lnTo>
                      <a:pt x="8" y="10"/>
                    </a:lnTo>
                    <a:lnTo>
                      <a:pt x="4" y="10"/>
                    </a:lnTo>
                    <a:lnTo>
                      <a:pt x="2" y="10"/>
                    </a:lnTo>
                    <a:lnTo>
                      <a:pt x="0" y="10"/>
                    </a:lnTo>
                    <a:lnTo>
                      <a:pt x="0" y="12"/>
                    </a:lnTo>
                    <a:lnTo>
                      <a:pt x="0" y="16"/>
                    </a:lnTo>
                    <a:lnTo>
                      <a:pt x="2" y="18"/>
                    </a:lnTo>
                    <a:lnTo>
                      <a:pt x="2" y="20"/>
                    </a:lnTo>
                    <a:lnTo>
                      <a:pt x="2" y="22"/>
                    </a:lnTo>
                    <a:lnTo>
                      <a:pt x="4" y="22"/>
                    </a:lnTo>
                    <a:lnTo>
                      <a:pt x="4" y="20"/>
                    </a:lnTo>
                    <a:lnTo>
                      <a:pt x="6" y="20"/>
                    </a:lnTo>
                    <a:lnTo>
                      <a:pt x="8" y="18"/>
                    </a:lnTo>
                    <a:lnTo>
                      <a:pt x="10" y="16"/>
                    </a:lnTo>
                    <a:lnTo>
                      <a:pt x="12" y="16"/>
                    </a:lnTo>
                    <a:lnTo>
                      <a:pt x="14" y="16"/>
                    </a:lnTo>
                    <a:lnTo>
                      <a:pt x="16" y="14"/>
                    </a:lnTo>
                    <a:lnTo>
                      <a:pt x="16" y="12"/>
                    </a:lnTo>
                    <a:lnTo>
                      <a:pt x="18" y="12"/>
                    </a:lnTo>
                    <a:lnTo>
                      <a:pt x="16" y="12"/>
                    </a:lnTo>
                    <a:close/>
                    <a:moveTo>
                      <a:pt x="10" y="6"/>
                    </a:moveTo>
                    <a:lnTo>
                      <a:pt x="12" y="6"/>
                    </a:lnTo>
                    <a:lnTo>
                      <a:pt x="12" y="4"/>
                    </a:lnTo>
                    <a:lnTo>
                      <a:pt x="14" y="2"/>
                    </a:lnTo>
                    <a:lnTo>
                      <a:pt x="14" y="0"/>
                    </a:lnTo>
                    <a:lnTo>
                      <a:pt x="12" y="0"/>
                    </a:lnTo>
                    <a:lnTo>
                      <a:pt x="10" y="0"/>
                    </a:lnTo>
                    <a:lnTo>
                      <a:pt x="8" y="0"/>
                    </a:lnTo>
                    <a:lnTo>
                      <a:pt x="8" y="2"/>
                    </a:lnTo>
                    <a:lnTo>
                      <a:pt x="6" y="2"/>
                    </a:lnTo>
                    <a:lnTo>
                      <a:pt x="6" y="4"/>
                    </a:lnTo>
                    <a:lnTo>
                      <a:pt x="6" y="6"/>
                    </a:lnTo>
                    <a:lnTo>
                      <a:pt x="10"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7" name="Freeform 184">
                <a:extLst>
                  <a:ext uri="{FF2B5EF4-FFF2-40B4-BE49-F238E27FC236}">
                    <a16:creationId xmlns:a16="http://schemas.microsoft.com/office/drawing/2014/main" id="{F52C0797-FCC1-457A-AA94-12CD64CEE3DA}"/>
                  </a:ext>
                </a:extLst>
              </p:cNvPr>
              <p:cNvSpPr>
                <a:spLocks noChangeAspect="1"/>
              </p:cNvSpPr>
              <p:nvPr/>
            </p:nvSpPr>
            <p:spPr bwMode="auto">
              <a:xfrm>
                <a:off x="6627646" y="3932953"/>
                <a:ext cx="65775" cy="129053"/>
              </a:xfrm>
              <a:custGeom>
                <a:avLst/>
                <a:gdLst/>
                <a:ahLst/>
                <a:cxnLst>
                  <a:cxn ang="0">
                    <a:pos x="6" y="0"/>
                  </a:cxn>
                  <a:cxn ang="0">
                    <a:pos x="10" y="0"/>
                  </a:cxn>
                  <a:cxn ang="0">
                    <a:pos x="14" y="2"/>
                  </a:cxn>
                  <a:cxn ang="0">
                    <a:pos x="18" y="4"/>
                  </a:cxn>
                  <a:cxn ang="0">
                    <a:pos x="22" y="10"/>
                  </a:cxn>
                  <a:cxn ang="0">
                    <a:pos x="26" y="16"/>
                  </a:cxn>
                  <a:cxn ang="0">
                    <a:pos x="28" y="18"/>
                  </a:cxn>
                  <a:cxn ang="0">
                    <a:pos x="30" y="20"/>
                  </a:cxn>
                  <a:cxn ang="0">
                    <a:pos x="30" y="24"/>
                  </a:cxn>
                  <a:cxn ang="0">
                    <a:pos x="28" y="28"/>
                  </a:cxn>
                  <a:cxn ang="0">
                    <a:pos x="28" y="28"/>
                  </a:cxn>
                  <a:cxn ang="0">
                    <a:pos x="28" y="28"/>
                  </a:cxn>
                  <a:cxn ang="0">
                    <a:pos x="32" y="28"/>
                  </a:cxn>
                  <a:cxn ang="0">
                    <a:pos x="34" y="28"/>
                  </a:cxn>
                  <a:cxn ang="0">
                    <a:pos x="34" y="28"/>
                  </a:cxn>
                  <a:cxn ang="0">
                    <a:pos x="36" y="30"/>
                  </a:cxn>
                  <a:cxn ang="0">
                    <a:pos x="36" y="34"/>
                  </a:cxn>
                  <a:cxn ang="0">
                    <a:pos x="36" y="36"/>
                  </a:cxn>
                  <a:cxn ang="0">
                    <a:pos x="36" y="38"/>
                  </a:cxn>
                  <a:cxn ang="0">
                    <a:pos x="36" y="40"/>
                  </a:cxn>
                  <a:cxn ang="0">
                    <a:pos x="36" y="40"/>
                  </a:cxn>
                  <a:cxn ang="0">
                    <a:pos x="36" y="42"/>
                  </a:cxn>
                  <a:cxn ang="0">
                    <a:pos x="36" y="44"/>
                  </a:cxn>
                  <a:cxn ang="0">
                    <a:pos x="38" y="48"/>
                  </a:cxn>
                  <a:cxn ang="0">
                    <a:pos x="40" y="56"/>
                  </a:cxn>
                  <a:cxn ang="0">
                    <a:pos x="40" y="60"/>
                  </a:cxn>
                  <a:cxn ang="0">
                    <a:pos x="38" y="64"/>
                  </a:cxn>
                  <a:cxn ang="0">
                    <a:pos x="36" y="66"/>
                  </a:cxn>
                  <a:cxn ang="0">
                    <a:pos x="28" y="70"/>
                  </a:cxn>
                  <a:cxn ang="0">
                    <a:pos x="18" y="74"/>
                  </a:cxn>
                  <a:cxn ang="0">
                    <a:pos x="14" y="74"/>
                  </a:cxn>
                  <a:cxn ang="0">
                    <a:pos x="10" y="74"/>
                  </a:cxn>
                  <a:cxn ang="0">
                    <a:pos x="6" y="72"/>
                  </a:cxn>
                  <a:cxn ang="0">
                    <a:pos x="4" y="68"/>
                  </a:cxn>
                  <a:cxn ang="0">
                    <a:pos x="2" y="56"/>
                  </a:cxn>
                  <a:cxn ang="0">
                    <a:pos x="0" y="46"/>
                  </a:cxn>
                  <a:cxn ang="0">
                    <a:pos x="0" y="40"/>
                  </a:cxn>
                  <a:cxn ang="0">
                    <a:pos x="0" y="36"/>
                  </a:cxn>
                  <a:cxn ang="0">
                    <a:pos x="2" y="34"/>
                  </a:cxn>
                  <a:cxn ang="0">
                    <a:pos x="4" y="32"/>
                  </a:cxn>
                  <a:cxn ang="0">
                    <a:pos x="4" y="28"/>
                  </a:cxn>
                  <a:cxn ang="0">
                    <a:pos x="6" y="22"/>
                  </a:cxn>
                  <a:cxn ang="0">
                    <a:pos x="6" y="20"/>
                  </a:cxn>
                  <a:cxn ang="0">
                    <a:pos x="6" y="18"/>
                  </a:cxn>
                  <a:cxn ang="0">
                    <a:pos x="2" y="12"/>
                  </a:cxn>
                  <a:cxn ang="0">
                    <a:pos x="0" y="10"/>
                  </a:cxn>
                  <a:cxn ang="0">
                    <a:pos x="0" y="8"/>
                  </a:cxn>
                  <a:cxn ang="0">
                    <a:pos x="2" y="8"/>
                  </a:cxn>
                  <a:cxn ang="0">
                    <a:pos x="4" y="8"/>
                  </a:cxn>
                  <a:cxn ang="0">
                    <a:pos x="4" y="8"/>
                  </a:cxn>
                  <a:cxn ang="0">
                    <a:pos x="4" y="2"/>
                  </a:cxn>
                  <a:cxn ang="0">
                    <a:pos x="4" y="2"/>
                  </a:cxn>
                </a:cxnLst>
                <a:rect l="0" t="0" r="r" b="b"/>
                <a:pathLst>
                  <a:path w="40" h="74">
                    <a:moveTo>
                      <a:pt x="4" y="2"/>
                    </a:moveTo>
                    <a:lnTo>
                      <a:pt x="6" y="0"/>
                    </a:lnTo>
                    <a:lnTo>
                      <a:pt x="8" y="0"/>
                    </a:lnTo>
                    <a:lnTo>
                      <a:pt x="10" y="0"/>
                    </a:lnTo>
                    <a:lnTo>
                      <a:pt x="12" y="0"/>
                    </a:lnTo>
                    <a:lnTo>
                      <a:pt x="14" y="2"/>
                    </a:lnTo>
                    <a:lnTo>
                      <a:pt x="16" y="4"/>
                    </a:lnTo>
                    <a:lnTo>
                      <a:pt x="18" y="4"/>
                    </a:lnTo>
                    <a:lnTo>
                      <a:pt x="20" y="8"/>
                    </a:lnTo>
                    <a:lnTo>
                      <a:pt x="22" y="10"/>
                    </a:lnTo>
                    <a:lnTo>
                      <a:pt x="24" y="14"/>
                    </a:lnTo>
                    <a:lnTo>
                      <a:pt x="26" y="16"/>
                    </a:lnTo>
                    <a:lnTo>
                      <a:pt x="28" y="18"/>
                    </a:lnTo>
                    <a:lnTo>
                      <a:pt x="30" y="20"/>
                    </a:lnTo>
                    <a:lnTo>
                      <a:pt x="30" y="22"/>
                    </a:lnTo>
                    <a:lnTo>
                      <a:pt x="30" y="24"/>
                    </a:lnTo>
                    <a:lnTo>
                      <a:pt x="30" y="26"/>
                    </a:lnTo>
                    <a:lnTo>
                      <a:pt x="28" y="28"/>
                    </a:lnTo>
                    <a:lnTo>
                      <a:pt x="30" y="28"/>
                    </a:lnTo>
                    <a:lnTo>
                      <a:pt x="32" y="28"/>
                    </a:lnTo>
                    <a:lnTo>
                      <a:pt x="34" y="28"/>
                    </a:lnTo>
                    <a:lnTo>
                      <a:pt x="36" y="28"/>
                    </a:lnTo>
                    <a:lnTo>
                      <a:pt x="36" y="30"/>
                    </a:lnTo>
                    <a:lnTo>
                      <a:pt x="36" y="32"/>
                    </a:lnTo>
                    <a:lnTo>
                      <a:pt x="36" y="34"/>
                    </a:lnTo>
                    <a:lnTo>
                      <a:pt x="36" y="36"/>
                    </a:lnTo>
                    <a:lnTo>
                      <a:pt x="36" y="38"/>
                    </a:lnTo>
                    <a:lnTo>
                      <a:pt x="36" y="40"/>
                    </a:lnTo>
                    <a:lnTo>
                      <a:pt x="36" y="42"/>
                    </a:lnTo>
                    <a:lnTo>
                      <a:pt x="36" y="44"/>
                    </a:lnTo>
                    <a:lnTo>
                      <a:pt x="38" y="46"/>
                    </a:lnTo>
                    <a:lnTo>
                      <a:pt x="38" y="48"/>
                    </a:lnTo>
                    <a:lnTo>
                      <a:pt x="40" y="52"/>
                    </a:lnTo>
                    <a:lnTo>
                      <a:pt x="40" y="56"/>
                    </a:lnTo>
                    <a:lnTo>
                      <a:pt x="40" y="58"/>
                    </a:lnTo>
                    <a:lnTo>
                      <a:pt x="40" y="60"/>
                    </a:lnTo>
                    <a:lnTo>
                      <a:pt x="40" y="62"/>
                    </a:lnTo>
                    <a:lnTo>
                      <a:pt x="38" y="64"/>
                    </a:lnTo>
                    <a:lnTo>
                      <a:pt x="36" y="66"/>
                    </a:lnTo>
                    <a:lnTo>
                      <a:pt x="30" y="68"/>
                    </a:lnTo>
                    <a:lnTo>
                      <a:pt x="28" y="70"/>
                    </a:lnTo>
                    <a:lnTo>
                      <a:pt x="22" y="72"/>
                    </a:lnTo>
                    <a:lnTo>
                      <a:pt x="18" y="74"/>
                    </a:lnTo>
                    <a:lnTo>
                      <a:pt x="16" y="74"/>
                    </a:lnTo>
                    <a:lnTo>
                      <a:pt x="14" y="74"/>
                    </a:lnTo>
                    <a:lnTo>
                      <a:pt x="12" y="74"/>
                    </a:lnTo>
                    <a:lnTo>
                      <a:pt x="10" y="74"/>
                    </a:lnTo>
                    <a:lnTo>
                      <a:pt x="8" y="72"/>
                    </a:lnTo>
                    <a:lnTo>
                      <a:pt x="6" y="72"/>
                    </a:lnTo>
                    <a:lnTo>
                      <a:pt x="6" y="70"/>
                    </a:lnTo>
                    <a:lnTo>
                      <a:pt x="4" y="68"/>
                    </a:lnTo>
                    <a:lnTo>
                      <a:pt x="2" y="62"/>
                    </a:lnTo>
                    <a:lnTo>
                      <a:pt x="2" y="56"/>
                    </a:lnTo>
                    <a:lnTo>
                      <a:pt x="0" y="52"/>
                    </a:lnTo>
                    <a:lnTo>
                      <a:pt x="0" y="46"/>
                    </a:lnTo>
                    <a:lnTo>
                      <a:pt x="0" y="42"/>
                    </a:lnTo>
                    <a:lnTo>
                      <a:pt x="0" y="40"/>
                    </a:lnTo>
                    <a:lnTo>
                      <a:pt x="0" y="38"/>
                    </a:lnTo>
                    <a:lnTo>
                      <a:pt x="0" y="36"/>
                    </a:lnTo>
                    <a:lnTo>
                      <a:pt x="0" y="34"/>
                    </a:lnTo>
                    <a:lnTo>
                      <a:pt x="2" y="34"/>
                    </a:lnTo>
                    <a:lnTo>
                      <a:pt x="2" y="32"/>
                    </a:lnTo>
                    <a:lnTo>
                      <a:pt x="4" y="32"/>
                    </a:lnTo>
                    <a:lnTo>
                      <a:pt x="4" y="30"/>
                    </a:lnTo>
                    <a:lnTo>
                      <a:pt x="4" y="28"/>
                    </a:lnTo>
                    <a:lnTo>
                      <a:pt x="6" y="26"/>
                    </a:lnTo>
                    <a:lnTo>
                      <a:pt x="6" y="22"/>
                    </a:lnTo>
                    <a:lnTo>
                      <a:pt x="6" y="20"/>
                    </a:lnTo>
                    <a:lnTo>
                      <a:pt x="6" y="18"/>
                    </a:lnTo>
                    <a:lnTo>
                      <a:pt x="4" y="16"/>
                    </a:lnTo>
                    <a:lnTo>
                      <a:pt x="2" y="12"/>
                    </a:lnTo>
                    <a:lnTo>
                      <a:pt x="0" y="10"/>
                    </a:lnTo>
                    <a:lnTo>
                      <a:pt x="0" y="8"/>
                    </a:lnTo>
                    <a:lnTo>
                      <a:pt x="2" y="8"/>
                    </a:lnTo>
                    <a:lnTo>
                      <a:pt x="4" y="8"/>
                    </a:lnTo>
                    <a:lnTo>
                      <a:pt x="4"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8" name="Freeform 185">
                <a:extLst>
                  <a:ext uri="{FF2B5EF4-FFF2-40B4-BE49-F238E27FC236}">
                    <a16:creationId xmlns:a16="http://schemas.microsoft.com/office/drawing/2014/main" id="{114036C1-2862-4F8E-9893-3B2ABFF74267}"/>
                  </a:ext>
                </a:extLst>
              </p:cNvPr>
              <p:cNvSpPr>
                <a:spLocks noChangeAspect="1"/>
              </p:cNvSpPr>
              <p:nvPr/>
            </p:nvSpPr>
            <p:spPr bwMode="auto">
              <a:xfrm>
                <a:off x="7153842" y="3500449"/>
                <a:ext cx="236788" cy="292986"/>
              </a:xfrm>
              <a:custGeom>
                <a:avLst/>
                <a:gdLst/>
                <a:ahLst/>
                <a:cxnLst>
                  <a:cxn ang="0">
                    <a:pos x="10" y="46"/>
                  </a:cxn>
                  <a:cxn ang="0">
                    <a:pos x="16" y="60"/>
                  </a:cxn>
                  <a:cxn ang="0">
                    <a:pos x="18" y="56"/>
                  </a:cxn>
                  <a:cxn ang="0">
                    <a:pos x="24" y="62"/>
                  </a:cxn>
                  <a:cxn ang="0">
                    <a:pos x="26" y="70"/>
                  </a:cxn>
                  <a:cxn ang="0">
                    <a:pos x="22" y="78"/>
                  </a:cxn>
                  <a:cxn ang="0">
                    <a:pos x="24" y="86"/>
                  </a:cxn>
                  <a:cxn ang="0">
                    <a:pos x="26" y="96"/>
                  </a:cxn>
                  <a:cxn ang="0">
                    <a:pos x="34" y="88"/>
                  </a:cxn>
                  <a:cxn ang="0">
                    <a:pos x="50" y="88"/>
                  </a:cxn>
                  <a:cxn ang="0">
                    <a:pos x="60" y="80"/>
                  </a:cxn>
                  <a:cxn ang="0">
                    <a:pos x="68" y="82"/>
                  </a:cxn>
                  <a:cxn ang="0">
                    <a:pos x="74" y="86"/>
                  </a:cxn>
                  <a:cxn ang="0">
                    <a:pos x="88" y="98"/>
                  </a:cxn>
                  <a:cxn ang="0">
                    <a:pos x="90" y="108"/>
                  </a:cxn>
                  <a:cxn ang="0">
                    <a:pos x="98" y="122"/>
                  </a:cxn>
                  <a:cxn ang="0">
                    <a:pos x="102" y="132"/>
                  </a:cxn>
                  <a:cxn ang="0">
                    <a:pos x="106" y="134"/>
                  </a:cxn>
                  <a:cxn ang="0">
                    <a:pos x="104" y="144"/>
                  </a:cxn>
                  <a:cxn ang="0">
                    <a:pos x="106" y="156"/>
                  </a:cxn>
                  <a:cxn ang="0">
                    <a:pos x="110" y="162"/>
                  </a:cxn>
                  <a:cxn ang="0">
                    <a:pos x="114" y="168"/>
                  </a:cxn>
                  <a:cxn ang="0">
                    <a:pos x="116" y="160"/>
                  </a:cxn>
                  <a:cxn ang="0">
                    <a:pos x="122" y="156"/>
                  </a:cxn>
                  <a:cxn ang="0">
                    <a:pos x="130" y="158"/>
                  </a:cxn>
                  <a:cxn ang="0">
                    <a:pos x="138" y="156"/>
                  </a:cxn>
                  <a:cxn ang="0">
                    <a:pos x="144" y="154"/>
                  </a:cxn>
                  <a:cxn ang="0">
                    <a:pos x="142" y="144"/>
                  </a:cxn>
                  <a:cxn ang="0">
                    <a:pos x="140" y="138"/>
                  </a:cxn>
                  <a:cxn ang="0">
                    <a:pos x="136" y="126"/>
                  </a:cxn>
                  <a:cxn ang="0">
                    <a:pos x="130" y="120"/>
                  </a:cxn>
                  <a:cxn ang="0">
                    <a:pos x="120" y="110"/>
                  </a:cxn>
                  <a:cxn ang="0">
                    <a:pos x="114" y="108"/>
                  </a:cxn>
                  <a:cxn ang="0">
                    <a:pos x="114" y="104"/>
                  </a:cxn>
                  <a:cxn ang="0">
                    <a:pos x="102" y="86"/>
                  </a:cxn>
                  <a:cxn ang="0">
                    <a:pos x="94" y="82"/>
                  </a:cxn>
                  <a:cxn ang="0">
                    <a:pos x="92" y="74"/>
                  </a:cxn>
                  <a:cxn ang="0">
                    <a:pos x="78" y="66"/>
                  </a:cxn>
                  <a:cxn ang="0">
                    <a:pos x="68" y="60"/>
                  </a:cxn>
                  <a:cxn ang="0">
                    <a:pos x="74" y="56"/>
                  </a:cxn>
                  <a:cxn ang="0">
                    <a:pos x="86" y="52"/>
                  </a:cxn>
                  <a:cxn ang="0">
                    <a:pos x="76" y="40"/>
                  </a:cxn>
                  <a:cxn ang="0">
                    <a:pos x="76" y="36"/>
                  </a:cxn>
                  <a:cxn ang="0">
                    <a:pos x="66" y="30"/>
                  </a:cxn>
                  <a:cxn ang="0">
                    <a:pos x="60" y="38"/>
                  </a:cxn>
                  <a:cxn ang="0">
                    <a:pos x="54" y="34"/>
                  </a:cxn>
                  <a:cxn ang="0">
                    <a:pos x="44" y="20"/>
                  </a:cxn>
                  <a:cxn ang="0">
                    <a:pos x="42" y="14"/>
                  </a:cxn>
                  <a:cxn ang="0">
                    <a:pos x="36" y="6"/>
                  </a:cxn>
                  <a:cxn ang="0">
                    <a:pos x="24" y="0"/>
                  </a:cxn>
                  <a:cxn ang="0">
                    <a:pos x="22" y="10"/>
                  </a:cxn>
                  <a:cxn ang="0">
                    <a:pos x="28" y="22"/>
                  </a:cxn>
                  <a:cxn ang="0">
                    <a:pos x="20" y="26"/>
                  </a:cxn>
                  <a:cxn ang="0">
                    <a:pos x="18" y="22"/>
                  </a:cxn>
                  <a:cxn ang="0">
                    <a:pos x="10" y="24"/>
                  </a:cxn>
                  <a:cxn ang="0">
                    <a:pos x="8" y="30"/>
                  </a:cxn>
                  <a:cxn ang="0">
                    <a:pos x="6" y="34"/>
                  </a:cxn>
                  <a:cxn ang="0">
                    <a:pos x="2" y="40"/>
                  </a:cxn>
                </a:cxnLst>
                <a:rect l="0" t="0" r="r" b="b"/>
                <a:pathLst>
                  <a:path w="144" h="168">
                    <a:moveTo>
                      <a:pt x="6" y="44"/>
                    </a:moveTo>
                    <a:lnTo>
                      <a:pt x="6" y="44"/>
                    </a:lnTo>
                    <a:lnTo>
                      <a:pt x="8" y="44"/>
                    </a:lnTo>
                    <a:lnTo>
                      <a:pt x="10" y="44"/>
                    </a:lnTo>
                    <a:lnTo>
                      <a:pt x="10" y="46"/>
                    </a:lnTo>
                    <a:lnTo>
                      <a:pt x="10" y="48"/>
                    </a:lnTo>
                    <a:lnTo>
                      <a:pt x="10" y="52"/>
                    </a:lnTo>
                    <a:lnTo>
                      <a:pt x="10" y="54"/>
                    </a:lnTo>
                    <a:lnTo>
                      <a:pt x="10" y="56"/>
                    </a:lnTo>
                    <a:lnTo>
                      <a:pt x="10" y="58"/>
                    </a:lnTo>
                    <a:lnTo>
                      <a:pt x="12" y="58"/>
                    </a:lnTo>
                    <a:lnTo>
                      <a:pt x="16" y="60"/>
                    </a:lnTo>
                    <a:lnTo>
                      <a:pt x="18" y="60"/>
                    </a:lnTo>
                    <a:lnTo>
                      <a:pt x="18" y="58"/>
                    </a:lnTo>
                    <a:lnTo>
                      <a:pt x="18" y="56"/>
                    </a:lnTo>
                    <a:lnTo>
                      <a:pt x="20" y="56"/>
                    </a:lnTo>
                    <a:lnTo>
                      <a:pt x="22" y="56"/>
                    </a:lnTo>
                    <a:lnTo>
                      <a:pt x="24" y="56"/>
                    </a:lnTo>
                    <a:lnTo>
                      <a:pt x="24" y="58"/>
                    </a:lnTo>
                    <a:lnTo>
                      <a:pt x="24" y="60"/>
                    </a:lnTo>
                    <a:lnTo>
                      <a:pt x="24" y="62"/>
                    </a:lnTo>
                    <a:lnTo>
                      <a:pt x="24" y="64"/>
                    </a:lnTo>
                    <a:lnTo>
                      <a:pt x="24" y="66"/>
                    </a:lnTo>
                    <a:lnTo>
                      <a:pt x="26" y="66"/>
                    </a:lnTo>
                    <a:lnTo>
                      <a:pt x="26" y="68"/>
                    </a:lnTo>
                    <a:lnTo>
                      <a:pt x="26" y="70"/>
                    </a:lnTo>
                    <a:lnTo>
                      <a:pt x="26" y="72"/>
                    </a:lnTo>
                    <a:lnTo>
                      <a:pt x="26" y="74"/>
                    </a:lnTo>
                    <a:lnTo>
                      <a:pt x="24" y="76"/>
                    </a:lnTo>
                    <a:lnTo>
                      <a:pt x="24" y="78"/>
                    </a:lnTo>
                    <a:lnTo>
                      <a:pt x="22" y="78"/>
                    </a:lnTo>
                    <a:lnTo>
                      <a:pt x="24" y="78"/>
                    </a:lnTo>
                    <a:lnTo>
                      <a:pt x="26" y="80"/>
                    </a:lnTo>
                    <a:lnTo>
                      <a:pt x="26" y="82"/>
                    </a:lnTo>
                    <a:lnTo>
                      <a:pt x="26" y="84"/>
                    </a:lnTo>
                    <a:lnTo>
                      <a:pt x="26" y="86"/>
                    </a:lnTo>
                    <a:lnTo>
                      <a:pt x="24" y="86"/>
                    </a:lnTo>
                    <a:lnTo>
                      <a:pt x="22" y="90"/>
                    </a:lnTo>
                    <a:lnTo>
                      <a:pt x="22" y="92"/>
                    </a:lnTo>
                    <a:lnTo>
                      <a:pt x="20" y="94"/>
                    </a:lnTo>
                    <a:lnTo>
                      <a:pt x="20" y="96"/>
                    </a:lnTo>
                    <a:lnTo>
                      <a:pt x="22" y="96"/>
                    </a:lnTo>
                    <a:lnTo>
                      <a:pt x="24" y="96"/>
                    </a:lnTo>
                    <a:lnTo>
                      <a:pt x="26" y="96"/>
                    </a:lnTo>
                    <a:lnTo>
                      <a:pt x="28" y="94"/>
                    </a:lnTo>
                    <a:lnTo>
                      <a:pt x="30" y="94"/>
                    </a:lnTo>
                    <a:lnTo>
                      <a:pt x="30" y="92"/>
                    </a:lnTo>
                    <a:lnTo>
                      <a:pt x="32" y="92"/>
                    </a:lnTo>
                    <a:lnTo>
                      <a:pt x="32" y="90"/>
                    </a:lnTo>
                    <a:lnTo>
                      <a:pt x="34" y="88"/>
                    </a:lnTo>
                    <a:lnTo>
                      <a:pt x="36" y="86"/>
                    </a:lnTo>
                    <a:lnTo>
                      <a:pt x="38" y="86"/>
                    </a:lnTo>
                    <a:lnTo>
                      <a:pt x="38" y="84"/>
                    </a:lnTo>
                    <a:lnTo>
                      <a:pt x="40" y="84"/>
                    </a:lnTo>
                    <a:lnTo>
                      <a:pt x="42" y="86"/>
                    </a:lnTo>
                    <a:lnTo>
                      <a:pt x="44" y="86"/>
                    </a:lnTo>
                    <a:lnTo>
                      <a:pt x="48" y="88"/>
                    </a:lnTo>
                    <a:lnTo>
                      <a:pt x="50" y="88"/>
                    </a:lnTo>
                    <a:lnTo>
                      <a:pt x="52" y="88"/>
                    </a:lnTo>
                    <a:lnTo>
                      <a:pt x="54" y="88"/>
                    </a:lnTo>
                    <a:lnTo>
                      <a:pt x="56" y="86"/>
                    </a:lnTo>
                    <a:lnTo>
                      <a:pt x="56" y="84"/>
                    </a:lnTo>
                    <a:lnTo>
                      <a:pt x="58" y="82"/>
                    </a:lnTo>
                    <a:lnTo>
                      <a:pt x="58" y="80"/>
                    </a:lnTo>
                    <a:lnTo>
                      <a:pt x="60" y="80"/>
                    </a:lnTo>
                    <a:lnTo>
                      <a:pt x="62" y="80"/>
                    </a:lnTo>
                    <a:lnTo>
                      <a:pt x="64" y="82"/>
                    </a:lnTo>
                    <a:lnTo>
                      <a:pt x="66" y="82"/>
                    </a:lnTo>
                    <a:lnTo>
                      <a:pt x="66" y="84"/>
                    </a:lnTo>
                    <a:lnTo>
                      <a:pt x="66" y="82"/>
                    </a:lnTo>
                    <a:lnTo>
                      <a:pt x="68" y="82"/>
                    </a:lnTo>
                    <a:lnTo>
                      <a:pt x="70" y="82"/>
                    </a:lnTo>
                    <a:lnTo>
                      <a:pt x="72" y="84"/>
                    </a:lnTo>
                    <a:lnTo>
                      <a:pt x="74" y="84"/>
                    </a:lnTo>
                    <a:lnTo>
                      <a:pt x="74" y="86"/>
                    </a:lnTo>
                    <a:lnTo>
                      <a:pt x="76" y="88"/>
                    </a:lnTo>
                    <a:lnTo>
                      <a:pt x="78" y="90"/>
                    </a:lnTo>
                    <a:lnTo>
                      <a:pt x="82" y="92"/>
                    </a:lnTo>
                    <a:lnTo>
                      <a:pt x="84" y="94"/>
                    </a:lnTo>
                    <a:lnTo>
                      <a:pt x="86" y="94"/>
                    </a:lnTo>
                    <a:lnTo>
                      <a:pt x="88" y="96"/>
                    </a:lnTo>
                    <a:lnTo>
                      <a:pt x="88" y="98"/>
                    </a:lnTo>
                    <a:lnTo>
                      <a:pt x="90" y="98"/>
                    </a:lnTo>
                    <a:lnTo>
                      <a:pt x="90" y="100"/>
                    </a:lnTo>
                    <a:lnTo>
                      <a:pt x="90" y="104"/>
                    </a:lnTo>
                    <a:lnTo>
                      <a:pt x="90" y="106"/>
                    </a:lnTo>
                    <a:lnTo>
                      <a:pt x="90" y="108"/>
                    </a:lnTo>
                    <a:lnTo>
                      <a:pt x="90" y="110"/>
                    </a:lnTo>
                    <a:lnTo>
                      <a:pt x="90" y="112"/>
                    </a:lnTo>
                    <a:lnTo>
                      <a:pt x="92" y="114"/>
                    </a:lnTo>
                    <a:lnTo>
                      <a:pt x="92" y="116"/>
                    </a:lnTo>
                    <a:lnTo>
                      <a:pt x="94" y="118"/>
                    </a:lnTo>
                    <a:lnTo>
                      <a:pt x="94" y="120"/>
                    </a:lnTo>
                    <a:lnTo>
                      <a:pt x="96" y="120"/>
                    </a:lnTo>
                    <a:lnTo>
                      <a:pt x="98" y="122"/>
                    </a:lnTo>
                    <a:lnTo>
                      <a:pt x="100" y="124"/>
                    </a:lnTo>
                    <a:lnTo>
                      <a:pt x="102" y="124"/>
                    </a:lnTo>
                    <a:lnTo>
                      <a:pt x="102" y="126"/>
                    </a:lnTo>
                    <a:lnTo>
                      <a:pt x="102" y="128"/>
                    </a:lnTo>
                    <a:lnTo>
                      <a:pt x="102" y="130"/>
                    </a:lnTo>
                    <a:lnTo>
                      <a:pt x="102" y="132"/>
                    </a:lnTo>
                    <a:lnTo>
                      <a:pt x="104" y="130"/>
                    </a:lnTo>
                    <a:lnTo>
                      <a:pt x="104" y="132"/>
                    </a:lnTo>
                    <a:lnTo>
                      <a:pt x="106" y="134"/>
                    </a:lnTo>
                    <a:lnTo>
                      <a:pt x="106" y="136"/>
                    </a:lnTo>
                    <a:lnTo>
                      <a:pt x="104" y="138"/>
                    </a:lnTo>
                    <a:lnTo>
                      <a:pt x="104" y="140"/>
                    </a:lnTo>
                    <a:lnTo>
                      <a:pt x="104" y="142"/>
                    </a:lnTo>
                    <a:lnTo>
                      <a:pt x="104" y="144"/>
                    </a:lnTo>
                    <a:lnTo>
                      <a:pt x="106" y="146"/>
                    </a:lnTo>
                    <a:lnTo>
                      <a:pt x="108" y="146"/>
                    </a:lnTo>
                    <a:lnTo>
                      <a:pt x="108" y="148"/>
                    </a:lnTo>
                    <a:lnTo>
                      <a:pt x="110" y="150"/>
                    </a:lnTo>
                    <a:lnTo>
                      <a:pt x="110" y="152"/>
                    </a:lnTo>
                    <a:lnTo>
                      <a:pt x="108" y="154"/>
                    </a:lnTo>
                    <a:lnTo>
                      <a:pt x="106" y="156"/>
                    </a:lnTo>
                    <a:lnTo>
                      <a:pt x="104" y="158"/>
                    </a:lnTo>
                    <a:lnTo>
                      <a:pt x="104" y="160"/>
                    </a:lnTo>
                    <a:lnTo>
                      <a:pt x="104" y="162"/>
                    </a:lnTo>
                    <a:lnTo>
                      <a:pt x="106" y="162"/>
                    </a:lnTo>
                    <a:lnTo>
                      <a:pt x="108" y="162"/>
                    </a:lnTo>
                    <a:lnTo>
                      <a:pt x="110" y="162"/>
                    </a:lnTo>
                    <a:lnTo>
                      <a:pt x="112" y="162"/>
                    </a:lnTo>
                    <a:lnTo>
                      <a:pt x="112" y="164"/>
                    </a:lnTo>
                    <a:lnTo>
                      <a:pt x="114" y="166"/>
                    </a:lnTo>
                    <a:lnTo>
                      <a:pt x="114" y="168"/>
                    </a:lnTo>
                    <a:lnTo>
                      <a:pt x="116" y="168"/>
                    </a:lnTo>
                    <a:lnTo>
                      <a:pt x="116" y="166"/>
                    </a:lnTo>
                    <a:lnTo>
                      <a:pt x="118" y="166"/>
                    </a:lnTo>
                    <a:lnTo>
                      <a:pt x="118" y="164"/>
                    </a:lnTo>
                    <a:lnTo>
                      <a:pt x="118" y="162"/>
                    </a:lnTo>
                    <a:lnTo>
                      <a:pt x="116" y="160"/>
                    </a:lnTo>
                    <a:lnTo>
                      <a:pt x="116" y="158"/>
                    </a:lnTo>
                    <a:lnTo>
                      <a:pt x="118" y="158"/>
                    </a:lnTo>
                    <a:lnTo>
                      <a:pt x="120" y="158"/>
                    </a:lnTo>
                    <a:lnTo>
                      <a:pt x="120" y="156"/>
                    </a:lnTo>
                    <a:lnTo>
                      <a:pt x="122" y="156"/>
                    </a:lnTo>
                    <a:lnTo>
                      <a:pt x="122" y="154"/>
                    </a:lnTo>
                    <a:lnTo>
                      <a:pt x="126" y="156"/>
                    </a:lnTo>
                    <a:lnTo>
                      <a:pt x="128" y="156"/>
                    </a:lnTo>
                    <a:lnTo>
                      <a:pt x="130" y="156"/>
                    </a:lnTo>
                    <a:lnTo>
                      <a:pt x="130" y="158"/>
                    </a:lnTo>
                    <a:lnTo>
                      <a:pt x="132" y="158"/>
                    </a:lnTo>
                    <a:lnTo>
                      <a:pt x="132" y="156"/>
                    </a:lnTo>
                    <a:lnTo>
                      <a:pt x="134" y="154"/>
                    </a:lnTo>
                    <a:lnTo>
                      <a:pt x="136" y="154"/>
                    </a:lnTo>
                    <a:lnTo>
                      <a:pt x="138" y="154"/>
                    </a:lnTo>
                    <a:lnTo>
                      <a:pt x="138" y="156"/>
                    </a:lnTo>
                    <a:lnTo>
                      <a:pt x="140" y="156"/>
                    </a:lnTo>
                    <a:lnTo>
                      <a:pt x="142" y="154"/>
                    </a:lnTo>
                    <a:lnTo>
                      <a:pt x="144" y="154"/>
                    </a:lnTo>
                    <a:lnTo>
                      <a:pt x="144" y="152"/>
                    </a:lnTo>
                    <a:lnTo>
                      <a:pt x="144" y="150"/>
                    </a:lnTo>
                    <a:lnTo>
                      <a:pt x="142" y="150"/>
                    </a:lnTo>
                    <a:lnTo>
                      <a:pt x="140" y="148"/>
                    </a:lnTo>
                    <a:lnTo>
                      <a:pt x="140" y="146"/>
                    </a:lnTo>
                    <a:lnTo>
                      <a:pt x="142" y="144"/>
                    </a:lnTo>
                    <a:lnTo>
                      <a:pt x="142" y="142"/>
                    </a:lnTo>
                    <a:lnTo>
                      <a:pt x="144" y="142"/>
                    </a:lnTo>
                    <a:lnTo>
                      <a:pt x="144" y="140"/>
                    </a:lnTo>
                    <a:lnTo>
                      <a:pt x="142" y="140"/>
                    </a:lnTo>
                    <a:lnTo>
                      <a:pt x="142" y="138"/>
                    </a:lnTo>
                    <a:lnTo>
                      <a:pt x="140" y="138"/>
                    </a:lnTo>
                    <a:lnTo>
                      <a:pt x="136" y="136"/>
                    </a:lnTo>
                    <a:lnTo>
                      <a:pt x="132" y="134"/>
                    </a:lnTo>
                    <a:lnTo>
                      <a:pt x="130" y="132"/>
                    </a:lnTo>
                    <a:lnTo>
                      <a:pt x="130" y="130"/>
                    </a:lnTo>
                    <a:lnTo>
                      <a:pt x="132" y="128"/>
                    </a:lnTo>
                    <a:lnTo>
                      <a:pt x="136" y="126"/>
                    </a:lnTo>
                    <a:lnTo>
                      <a:pt x="136" y="124"/>
                    </a:lnTo>
                    <a:lnTo>
                      <a:pt x="134" y="124"/>
                    </a:lnTo>
                    <a:lnTo>
                      <a:pt x="134" y="122"/>
                    </a:lnTo>
                    <a:lnTo>
                      <a:pt x="132" y="122"/>
                    </a:lnTo>
                    <a:lnTo>
                      <a:pt x="130" y="120"/>
                    </a:lnTo>
                    <a:lnTo>
                      <a:pt x="128" y="120"/>
                    </a:lnTo>
                    <a:lnTo>
                      <a:pt x="128" y="118"/>
                    </a:lnTo>
                    <a:lnTo>
                      <a:pt x="126" y="118"/>
                    </a:lnTo>
                    <a:lnTo>
                      <a:pt x="124" y="116"/>
                    </a:lnTo>
                    <a:lnTo>
                      <a:pt x="122" y="116"/>
                    </a:lnTo>
                    <a:lnTo>
                      <a:pt x="122" y="114"/>
                    </a:lnTo>
                    <a:lnTo>
                      <a:pt x="120" y="110"/>
                    </a:lnTo>
                    <a:lnTo>
                      <a:pt x="120" y="108"/>
                    </a:lnTo>
                    <a:lnTo>
                      <a:pt x="118" y="108"/>
                    </a:lnTo>
                    <a:lnTo>
                      <a:pt x="116" y="108"/>
                    </a:lnTo>
                    <a:lnTo>
                      <a:pt x="114" y="108"/>
                    </a:lnTo>
                    <a:lnTo>
                      <a:pt x="114" y="106"/>
                    </a:lnTo>
                    <a:lnTo>
                      <a:pt x="114" y="104"/>
                    </a:lnTo>
                    <a:lnTo>
                      <a:pt x="112" y="102"/>
                    </a:lnTo>
                    <a:lnTo>
                      <a:pt x="110" y="100"/>
                    </a:lnTo>
                    <a:lnTo>
                      <a:pt x="106" y="96"/>
                    </a:lnTo>
                    <a:lnTo>
                      <a:pt x="104" y="94"/>
                    </a:lnTo>
                    <a:lnTo>
                      <a:pt x="102" y="92"/>
                    </a:lnTo>
                    <a:lnTo>
                      <a:pt x="102" y="90"/>
                    </a:lnTo>
                    <a:lnTo>
                      <a:pt x="102" y="88"/>
                    </a:lnTo>
                    <a:lnTo>
                      <a:pt x="102" y="86"/>
                    </a:lnTo>
                    <a:lnTo>
                      <a:pt x="100" y="86"/>
                    </a:lnTo>
                    <a:lnTo>
                      <a:pt x="100" y="84"/>
                    </a:lnTo>
                    <a:lnTo>
                      <a:pt x="98" y="84"/>
                    </a:lnTo>
                    <a:lnTo>
                      <a:pt x="96" y="84"/>
                    </a:lnTo>
                    <a:lnTo>
                      <a:pt x="94" y="82"/>
                    </a:lnTo>
                    <a:lnTo>
                      <a:pt x="92" y="82"/>
                    </a:lnTo>
                    <a:lnTo>
                      <a:pt x="92" y="80"/>
                    </a:lnTo>
                    <a:lnTo>
                      <a:pt x="92" y="76"/>
                    </a:lnTo>
                    <a:lnTo>
                      <a:pt x="92" y="74"/>
                    </a:lnTo>
                    <a:lnTo>
                      <a:pt x="90" y="74"/>
                    </a:lnTo>
                    <a:lnTo>
                      <a:pt x="90" y="72"/>
                    </a:lnTo>
                    <a:lnTo>
                      <a:pt x="88" y="72"/>
                    </a:lnTo>
                    <a:lnTo>
                      <a:pt x="86" y="72"/>
                    </a:lnTo>
                    <a:lnTo>
                      <a:pt x="84" y="70"/>
                    </a:lnTo>
                    <a:lnTo>
                      <a:pt x="82" y="68"/>
                    </a:lnTo>
                    <a:lnTo>
                      <a:pt x="80" y="68"/>
                    </a:lnTo>
                    <a:lnTo>
                      <a:pt x="78" y="66"/>
                    </a:lnTo>
                    <a:lnTo>
                      <a:pt x="76" y="64"/>
                    </a:lnTo>
                    <a:lnTo>
                      <a:pt x="74" y="62"/>
                    </a:lnTo>
                    <a:lnTo>
                      <a:pt x="70" y="62"/>
                    </a:lnTo>
                    <a:lnTo>
                      <a:pt x="70" y="60"/>
                    </a:lnTo>
                    <a:lnTo>
                      <a:pt x="68" y="60"/>
                    </a:lnTo>
                    <a:lnTo>
                      <a:pt x="68" y="58"/>
                    </a:lnTo>
                    <a:lnTo>
                      <a:pt x="68" y="56"/>
                    </a:lnTo>
                    <a:lnTo>
                      <a:pt x="70" y="56"/>
                    </a:lnTo>
                    <a:lnTo>
                      <a:pt x="72" y="56"/>
                    </a:lnTo>
                    <a:lnTo>
                      <a:pt x="74" y="56"/>
                    </a:lnTo>
                    <a:lnTo>
                      <a:pt x="76" y="56"/>
                    </a:lnTo>
                    <a:lnTo>
                      <a:pt x="78" y="56"/>
                    </a:lnTo>
                    <a:lnTo>
                      <a:pt x="78" y="58"/>
                    </a:lnTo>
                    <a:lnTo>
                      <a:pt x="78" y="56"/>
                    </a:lnTo>
                    <a:lnTo>
                      <a:pt x="80" y="56"/>
                    </a:lnTo>
                    <a:lnTo>
                      <a:pt x="82" y="54"/>
                    </a:lnTo>
                    <a:lnTo>
                      <a:pt x="86" y="52"/>
                    </a:lnTo>
                    <a:lnTo>
                      <a:pt x="86" y="50"/>
                    </a:lnTo>
                    <a:lnTo>
                      <a:pt x="88" y="48"/>
                    </a:lnTo>
                    <a:lnTo>
                      <a:pt x="88" y="46"/>
                    </a:lnTo>
                    <a:lnTo>
                      <a:pt x="86" y="44"/>
                    </a:lnTo>
                    <a:lnTo>
                      <a:pt x="84" y="44"/>
                    </a:lnTo>
                    <a:lnTo>
                      <a:pt x="80" y="42"/>
                    </a:lnTo>
                    <a:lnTo>
                      <a:pt x="76" y="40"/>
                    </a:lnTo>
                    <a:lnTo>
                      <a:pt x="74" y="40"/>
                    </a:lnTo>
                    <a:lnTo>
                      <a:pt x="74" y="38"/>
                    </a:lnTo>
                    <a:lnTo>
                      <a:pt x="76" y="36"/>
                    </a:lnTo>
                    <a:lnTo>
                      <a:pt x="74" y="34"/>
                    </a:lnTo>
                    <a:lnTo>
                      <a:pt x="72" y="32"/>
                    </a:lnTo>
                    <a:lnTo>
                      <a:pt x="70" y="32"/>
                    </a:lnTo>
                    <a:lnTo>
                      <a:pt x="68" y="30"/>
                    </a:lnTo>
                    <a:lnTo>
                      <a:pt x="66" y="30"/>
                    </a:lnTo>
                    <a:lnTo>
                      <a:pt x="64" y="30"/>
                    </a:lnTo>
                    <a:lnTo>
                      <a:pt x="64" y="32"/>
                    </a:lnTo>
                    <a:lnTo>
                      <a:pt x="64" y="34"/>
                    </a:lnTo>
                    <a:lnTo>
                      <a:pt x="64" y="36"/>
                    </a:lnTo>
                    <a:lnTo>
                      <a:pt x="62" y="36"/>
                    </a:lnTo>
                    <a:lnTo>
                      <a:pt x="62" y="38"/>
                    </a:lnTo>
                    <a:lnTo>
                      <a:pt x="60" y="38"/>
                    </a:lnTo>
                    <a:lnTo>
                      <a:pt x="60" y="36"/>
                    </a:lnTo>
                    <a:lnTo>
                      <a:pt x="58" y="34"/>
                    </a:lnTo>
                    <a:lnTo>
                      <a:pt x="56" y="34"/>
                    </a:lnTo>
                    <a:lnTo>
                      <a:pt x="54" y="34"/>
                    </a:lnTo>
                    <a:lnTo>
                      <a:pt x="54" y="32"/>
                    </a:lnTo>
                    <a:lnTo>
                      <a:pt x="52" y="32"/>
                    </a:lnTo>
                    <a:lnTo>
                      <a:pt x="52" y="30"/>
                    </a:lnTo>
                    <a:lnTo>
                      <a:pt x="48" y="26"/>
                    </a:lnTo>
                    <a:lnTo>
                      <a:pt x="46" y="24"/>
                    </a:lnTo>
                    <a:lnTo>
                      <a:pt x="44" y="22"/>
                    </a:lnTo>
                    <a:lnTo>
                      <a:pt x="44" y="20"/>
                    </a:lnTo>
                    <a:lnTo>
                      <a:pt x="44" y="18"/>
                    </a:lnTo>
                    <a:lnTo>
                      <a:pt x="44" y="16"/>
                    </a:lnTo>
                    <a:lnTo>
                      <a:pt x="46" y="14"/>
                    </a:lnTo>
                    <a:lnTo>
                      <a:pt x="44" y="14"/>
                    </a:lnTo>
                    <a:lnTo>
                      <a:pt x="42" y="14"/>
                    </a:lnTo>
                    <a:lnTo>
                      <a:pt x="40" y="12"/>
                    </a:lnTo>
                    <a:lnTo>
                      <a:pt x="38" y="8"/>
                    </a:lnTo>
                    <a:lnTo>
                      <a:pt x="36" y="8"/>
                    </a:lnTo>
                    <a:lnTo>
                      <a:pt x="36" y="6"/>
                    </a:lnTo>
                    <a:lnTo>
                      <a:pt x="34" y="6"/>
                    </a:lnTo>
                    <a:lnTo>
                      <a:pt x="34" y="4"/>
                    </a:lnTo>
                    <a:lnTo>
                      <a:pt x="34" y="2"/>
                    </a:lnTo>
                    <a:lnTo>
                      <a:pt x="30" y="2"/>
                    </a:lnTo>
                    <a:lnTo>
                      <a:pt x="28" y="0"/>
                    </a:lnTo>
                    <a:lnTo>
                      <a:pt x="26" y="0"/>
                    </a:lnTo>
                    <a:lnTo>
                      <a:pt x="24" y="0"/>
                    </a:lnTo>
                    <a:lnTo>
                      <a:pt x="24" y="2"/>
                    </a:lnTo>
                    <a:lnTo>
                      <a:pt x="22" y="2"/>
                    </a:lnTo>
                    <a:lnTo>
                      <a:pt x="22" y="6"/>
                    </a:lnTo>
                    <a:lnTo>
                      <a:pt x="22" y="8"/>
                    </a:lnTo>
                    <a:lnTo>
                      <a:pt x="22" y="10"/>
                    </a:lnTo>
                    <a:lnTo>
                      <a:pt x="22" y="12"/>
                    </a:lnTo>
                    <a:lnTo>
                      <a:pt x="24" y="14"/>
                    </a:lnTo>
                    <a:lnTo>
                      <a:pt x="26" y="14"/>
                    </a:lnTo>
                    <a:lnTo>
                      <a:pt x="26" y="16"/>
                    </a:lnTo>
                    <a:lnTo>
                      <a:pt x="28" y="16"/>
                    </a:lnTo>
                    <a:lnTo>
                      <a:pt x="28" y="18"/>
                    </a:lnTo>
                    <a:lnTo>
                      <a:pt x="28" y="20"/>
                    </a:lnTo>
                    <a:lnTo>
                      <a:pt x="28" y="22"/>
                    </a:lnTo>
                    <a:lnTo>
                      <a:pt x="28" y="24"/>
                    </a:lnTo>
                    <a:lnTo>
                      <a:pt x="28" y="26"/>
                    </a:lnTo>
                    <a:lnTo>
                      <a:pt x="26" y="26"/>
                    </a:lnTo>
                    <a:lnTo>
                      <a:pt x="22" y="26"/>
                    </a:lnTo>
                    <a:lnTo>
                      <a:pt x="20" y="26"/>
                    </a:lnTo>
                    <a:lnTo>
                      <a:pt x="18" y="26"/>
                    </a:lnTo>
                    <a:lnTo>
                      <a:pt x="18" y="24"/>
                    </a:lnTo>
                    <a:lnTo>
                      <a:pt x="18" y="22"/>
                    </a:lnTo>
                    <a:lnTo>
                      <a:pt x="18" y="20"/>
                    </a:lnTo>
                    <a:lnTo>
                      <a:pt x="16" y="22"/>
                    </a:lnTo>
                    <a:lnTo>
                      <a:pt x="14" y="22"/>
                    </a:lnTo>
                    <a:lnTo>
                      <a:pt x="12" y="24"/>
                    </a:lnTo>
                    <a:lnTo>
                      <a:pt x="10" y="24"/>
                    </a:lnTo>
                    <a:lnTo>
                      <a:pt x="10" y="26"/>
                    </a:lnTo>
                    <a:lnTo>
                      <a:pt x="10" y="28"/>
                    </a:lnTo>
                    <a:lnTo>
                      <a:pt x="10" y="30"/>
                    </a:lnTo>
                    <a:lnTo>
                      <a:pt x="8" y="30"/>
                    </a:lnTo>
                    <a:lnTo>
                      <a:pt x="10" y="32"/>
                    </a:lnTo>
                    <a:lnTo>
                      <a:pt x="8" y="34"/>
                    </a:lnTo>
                    <a:lnTo>
                      <a:pt x="6" y="34"/>
                    </a:lnTo>
                    <a:lnTo>
                      <a:pt x="4" y="36"/>
                    </a:lnTo>
                    <a:lnTo>
                      <a:pt x="2" y="36"/>
                    </a:lnTo>
                    <a:lnTo>
                      <a:pt x="2" y="38"/>
                    </a:lnTo>
                    <a:lnTo>
                      <a:pt x="0" y="40"/>
                    </a:lnTo>
                    <a:lnTo>
                      <a:pt x="2" y="40"/>
                    </a:lnTo>
                    <a:lnTo>
                      <a:pt x="4" y="42"/>
                    </a:lnTo>
                    <a:lnTo>
                      <a:pt x="6" y="4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79" name="Freeform 186">
                <a:extLst>
                  <a:ext uri="{FF2B5EF4-FFF2-40B4-BE49-F238E27FC236}">
                    <a16:creationId xmlns:a16="http://schemas.microsoft.com/office/drawing/2014/main" id="{6A835679-B4B8-4EBA-A94B-0BE5BF609D50}"/>
                  </a:ext>
                </a:extLst>
              </p:cNvPr>
              <p:cNvSpPr>
                <a:spLocks noChangeAspect="1"/>
              </p:cNvSpPr>
              <p:nvPr/>
            </p:nvSpPr>
            <p:spPr bwMode="auto">
              <a:xfrm>
                <a:off x="7091356" y="3570208"/>
                <a:ext cx="243365" cy="495286"/>
              </a:xfrm>
              <a:custGeom>
                <a:avLst/>
                <a:gdLst/>
                <a:ahLst/>
                <a:cxnLst>
                  <a:cxn ang="0">
                    <a:pos x="140" y="92"/>
                  </a:cxn>
                  <a:cxn ang="0">
                    <a:pos x="136" y="82"/>
                  </a:cxn>
                  <a:cxn ang="0">
                    <a:pos x="126" y="60"/>
                  </a:cxn>
                  <a:cxn ang="0">
                    <a:pos x="112" y="48"/>
                  </a:cxn>
                  <a:cxn ang="0">
                    <a:pos x="104" y="42"/>
                  </a:cxn>
                  <a:cxn ang="0">
                    <a:pos x="90" y="48"/>
                  </a:cxn>
                  <a:cxn ang="0">
                    <a:pos x="70" y="52"/>
                  </a:cxn>
                  <a:cxn ang="0">
                    <a:pos x="58" y="52"/>
                  </a:cxn>
                  <a:cxn ang="0">
                    <a:pos x="60" y="38"/>
                  </a:cxn>
                  <a:cxn ang="0">
                    <a:pos x="62" y="24"/>
                  </a:cxn>
                  <a:cxn ang="0">
                    <a:pos x="56" y="20"/>
                  </a:cxn>
                  <a:cxn ang="0">
                    <a:pos x="48" y="14"/>
                  </a:cxn>
                  <a:cxn ang="0">
                    <a:pos x="44" y="4"/>
                  </a:cxn>
                  <a:cxn ang="0">
                    <a:pos x="30" y="6"/>
                  </a:cxn>
                  <a:cxn ang="0">
                    <a:pos x="22" y="8"/>
                  </a:cxn>
                  <a:cxn ang="0">
                    <a:pos x="8" y="14"/>
                  </a:cxn>
                  <a:cxn ang="0">
                    <a:pos x="2" y="28"/>
                  </a:cxn>
                  <a:cxn ang="0">
                    <a:pos x="0" y="40"/>
                  </a:cxn>
                  <a:cxn ang="0">
                    <a:pos x="8" y="50"/>
                  </a:cxn>
                  <a:cxn ang="0">
                    <a:pos x="16" y="62"/>
                  </a:cxn>
                  <a:cxn ang="0">
                    <a:pos x="24" y="76"/>
                  </a:cxn>
                  <a:cxn ang="0">
                    <a:pos x="30" y="80"/>
                  </a:cxn>
                  <a:cxn ang="0">
                    <a:pos x="28" y="92"/>
                  </a:cxn>
                  <a:cxn ang="0">
                    <a:pos x="22" y="108"/>
                  </a:cxn>
                  <a:cxn ang="0">
                    <a:pos x="34" y="124"/>
                  </a:cxn>
                  <a:cxn ang="0">
                    <a:pos x="44" y="150"/>
                  </a:cxn>
                  <a:cxn ang="0">
                    <a:pos x="48" y="168"/>
                  </a:cxn>
                  <a:cxn ang="0">
                    <a:pos x="38" y="190"/>
                  </a:cxn>
                  <a:cxn ang="0">
                    <a:pos x="34" y="206"/>
                  </a:cxn>
                  <a:cxn ang="0">
                    <a:pos x="30" y="240"/>
                  </a:cxn>
                  <a:cxn ang="0">
                    <a:pos x="34" y="238"/>
                  </a:cxn>
                  <a:cxn ang="0">
                    <a:pos x="36" y="238"/>
                  </a:cxn>
                  <a:cxn ang="0">
                    <a:pos x="50" y="252"/>
                  </a:cxn>
                  <a:cxn ang="0">
                    <a:pos x="56" y="264"/>
                  </a:cxn>
                  <a:cxn ang="0">
                    <a:pos x="66" y="264"/>
                  </a:cxn>
                  <a:cxn ang="0">
                    <a:pos x="78" y="270"/>
                  </a:cxn>
                  <a:cxn ang="0">
                    <a:pos x="80" y="278"/>
                  </a:cxn>
                  <a:cxn ang="0">
                    <a:pos x="88" y="282"/>
                  </a:cxn>
                  <a:cxn ang="0">
                    <a:pos x="96" y="272"/>
                  </a:cxn>
                  <a:cxn ang="0">
                    <a:pos x="90" y="258"/>
                  </a:cxn>
                  <a:cxn ang="0">
                    <a:pos x="72" y="250"/>
                  </a:cxn>
                  <a:cxn ang="0">
                    <a:pos x="66" y="252"/>
                  </a:cxn>
                  <a:cxn ang="0">
                    <a:pos x="66" y="244"/>
                  </a:cxn>
                  <a:cxn ang="0">
                    <a:pos x="60" y="228"/>
                  </a:cxn>
                  <a:cxn ang="0">
                    <a:pos x="58" y="214"/>
                  </a:cxn>
                  <a:cxn ang="0">
                    <a:pos x="46" y="216"/>
                  </a:cxn>
                  <a:cxn ang="0">
                    <a:pos x="42" y="188"/>
                  </a:cxn>
                  <a:cxn ang="0">
                    <a:pos x="48" y="168"/>
                  </a:cxn>
                  <a:cxn ang="0">
                    <a:pos x="54" y="150"/>
                  </a:cxn>
                  <a:cxn ang="0">
                    <a:pos x="54" y="134"/>
                  </a:cxn>
                  <a:cxn ang="0">
                    <a:pos x="62" y="132"/>
                  </a:cxn>
                  <a:cxn ang="0">
                    <a:pos x="68" y="140"/>
                  </a:cxn>
                  <a:cxn ang="0">
                    <a:pos x="84" y="146"/>
                  </a:cxn>
                  <a:cxn ang="0">
                    <a:pos x="94" y="162"/>
                  </a:cxn>
                  <a:cxn ang="0">
                    <a:pos x="102" y="158"/>
                  </a:cxn>
                  <a:cxn ang="0">
                    <a:pos x="98" y="146"/>
                  </a:cxn>
                  <a:cxn ang="0">
                    <a:pos x="96" y="136"/>
                  </a:cxn>
                  <a:cxn ang="0">
                    <a:pos x="102" y="124"/>
                  </a:cxn>
                  <a:cxn ang="0">
                    <a:pos x="122" y="118"/>
                  </a:cxn>
                  <a:cxn ang="0">
                    <a:pos x="138" y="118"/>
                  </a:cxn>
                  <a:cxn ang="0">
                    <a:pos x="146" y="106"/>
                  </a:cxn>
                </a:cxnLst>
                <a:rect l="0" t="0" r="r" b="b"/>
                <a:pathLst>
                  <a:path w="148" h="284">
                    <a:moveTo>
                      <a:pt x="140" y="102"/>
                    </a:moveTo>
                    <a:lnTo>
                      <a:pt x="140" y="102"/>
                    </a:lnTo>
                    <a:lnTo>
                      <a:pt x="142" y="100"/>
                    </a:lnTo>
                    <a:lnTo>
                      <a:pt x="142" y="98"/>
                    </a:lnTo>
                    <a:lnTo>
                      <a:pt x="144" y="96"/>
                    </a:lnTo>
                    <a:lnTo>
                      <a:pt x="144" y="94"/>
                    </a:lnTo>
                    <a:lnTo>
                      <a:pt x="142" y="92"/>
                    </a:lnTo>
                    <a:lnTo>
                      <a:pt x="140" y="92"/>
                    </a:lnTo>
                    <a:lnTo>
                      <a:pt x="140" y="90"/>
                    </a:lnTo>
                    <a:lnTo>
                      <a:pt x="140" y="88"/>
                    </a:lnTo>
                    <a:lnTo>
                      <a:pt x="140" y="86"/>
                    </a:lnTo>
                    <a:lnTo>
                      <a:pt x="138" y="86"/>
                    </a:lnTo>
                    <a:lnTo>
                      <a:pt x="138" y="84"/>
                    </a:lnTo>
                    <a:lnTo>
                      <a:pt x="136" y="82"/>
                    </a:lnTo>
                    <a:lnTo>
                      <a:pt x="132" y="80"/>
                    </a:lnTo>
                    <a:lnTo>
                      <a:pt x="130" y="78"/>
                    </a:lnTo>
                    <a:lnTo>
                      <a:pt x="130" y="76"/>
                    </a:lnTo>
                    <a:lnTo>
                      <a:pt x="128" y="72"/>
                    </a:lnTo>
                    <a:lnTo>
                      <a:pt x="128" y="70"/>
                    </a:lnTo>
                    <a:lnTo>
                      <a:pt x="128" y="68"/>
                    </a:lnTo>
                    <a:lnTo>
                      <a:pt x="128" y="66"/>
                    </a:lnTo>
                    <a:lnTo>
                      <a:pt x="126" y="62"/>
                    </a:lnTo>
                    <a:lnTo>
                      <a:pt x="126" y="60"/>
                    </a:lnTo>
                    <a:lnTo>
                      <a:pt x="126" y="58"/>
                    </a:lnTo>
                    <a:lnTo>
                      <a:pt x="124" y="56"/>
                    </a:lnTo>
                    <a:lnTo>
                      <a:pt x="122" y="54"/>
                    </a:lnTo>
                    <a:lnTo>
                      <a:pt x="120" y="52"/>
                    </a:lnTo>
                    <a:lnTo>
                      <a:pt x="116" y="50"/>
                    </a:lnTo>
                    <a:lnTo>
                      <a:pt x="114" y="48"/>
                    </a:lnTo>
                    <a:lnTo>
                      <a:pt x="112" y="48"/>
                    </a:lnTo>
                    <a:lnTo>
                      <a:pt x="112" y="46"/>
                    </a:lnTo>
                    <a:lnTo>
                      <a:pt x="112" y="44"/>
                    </a:lnTo>
                    <a:lnTo>
                      <a:pt x="110" y="44"/>
                    </a:lnTo>
                    <a:lnTo>
                      <a:pt x="108" y="44"/>
                    </a:lnTo>
                    <a:lnTo>
                      <a:pt x="106" y="44"/>
                    </a:lnTo>
                    <a:lnTo>
                      <a:pt x="104" y="44"/>
                    </a:lnTo>
                    <a:lnTo>
                      <a:pt x="104" y="42"/>
                    </a:lnTo>
                    <a:lnTo>
                      <a:pt x="102" y="42"/>
                    </a:lnTo>
                    <a:lnTo>
                      <a:pt x="100" y="40"/>
                    </a:lnTo>
                    <a:lnTo>
                      <a:pt x="98" y="40"/>
                    </a:lnTo>
                    <a:lnTo>
                      <a:pt x="96" y="42"/>
                    </a:lnTo>
                    <a:lnTo>
                      <a:pt x="94" y="42"/>
                    </a:lnTo>
                    <a:lnTo>
                      <a:pt x="94" y="44"/>
                    </a:lnTo>
                    <a:lnTo>
                      <a:pt x="94" y="46"/>
                    </a:lnTo>
                    <a:lnTo>
                      <a:pt x="92" y="46"/>
                    </a:lnTo>
                    <a:lnTo>
                      <a:pt x="92" y="48"/>
                    </a:lnTo>
                    <a:lnTo>
                      <a:pt x="90" y="48"/>
                    </a:lnTo>
                    <a:lnTo>
                      <a:pt x="88" y="48"/>
                    </a:lnTo>
                    <a:lnTo>
                      <a:pt x="86" y="48"/>
                    </a:lnTo>
                    <a:lnTo>
                      <a:pt x="82" y="46"/>
                    </a:lnTo>
                    <a:lnTo>
                      <a:pt x="80" y="46"/>
                    </a:lnTo>
                    <a:lnTo>
                      <a:pt x="78" y="44"/>
                    </a:lnTo>
                    <a:lnTo>
                      <a:pt x="76" y="44"/>
                    </a:lnTo>
                    <a:lnTo>
                      <a:pt x="74" y="46"/>
                    </a:lnTo>
                    <a:lnTo>
                      <a:pt x="72" y="48"/>
                    </a:lnTo>
                    <a:lnTo>
                      <a:pt x="72" y="50"/>
                    </a:lnTo>
                    <a:lnTo>
                      <a:pt x="70" y="50"/>
                    </a:lnTo>
                    <a:lnTo>
                      <a:pt x="70" y="52"/>
                    </a:lnTo>
                    <a:lnTo>
                      <a:pt x="68" y="54"/>
                    </a:lnTo>
                    <a:lnTo>
                      <a:pt x="66" y="56"/>
                    </a:lnTo>
                    <a:lnTo>
                      <a:pt x="64" y="56"/>
                    </a:lnTo>
                    <a:lnTo>
                      <a:pt x="62" y="56"/>
                    </a:lnTo>
                    <a:lnTo>
                      <a:pt x="60" y="58"/>
                    </a:lnTo>
                    <a:lnTo>
                      <a:pt x="58" y="58"/>
                    </a:lnTo>
                    <a:lnTo>
                      <a:pt x="58" y="56"/>
                    </a:lnTo>
                    <a:lnTo>
                      <a:pt x="58" y="54"/>
                    </a:lnTo>
                    <a:lnTo>
                      <a:pt x="58" y="52"/>
                    </a:lnTo>
                    <a:lnTo>
                      <a:pt x="60" y="50"/>
                    </a:lnTo>
                    <a:lnTo>
                      <a:pt x="62" y="48"/>
                    </a:lnTo>
                    <a:lnTo>
                      <a:pt x="62" y="46"/>
                    </a:lnTo>
                    <a:lnTo>
                      <a:pt x="64" y="44"/>
                    </a:lnTo>
                    <a:lnTo>
                      <a:pt x="64" y="42"/>
                    </a:lnTo>
                    <a:lnTo>
                      <a:pt x="64" y="40"/>
                    </a:lnTo>
                    <a:lnTo>
                      <a:pt x="62" y="40"/>
                    </a:lnTo>
                    <a:lnTo>
                      <a:pt x="60" y="40"/>
                    </a:lnTo>
                    <a:lnTo>
                      <a:pt x="60" y="38"/>
                    </a:lnTo>
                    <a:lnTo>
                      <a:pt x="62" y="36"/>
                    </a:lnTo>
                    <a:lnTo>
                      <a:pt x="64" y="34"/>
                    </a:lnTo>
                    <a:lnTo>
                      <a:pt x="64" y="32"/>
                    </a:lnTo>
                    <a:lnTo>
                      <a:pt x="64" y="30"/>
                    </a:lnTo>
                    <a:lnTo>
                      <a:pt x="64" y="28"/>
                    </a:lnTo>
                    <a:lnTo>
                      <a:pt x="62" y="26"/>
                    </a:lnTo>
                    <a:lnTo>
                      <a:pt x="62" y="24"/>
                    </a:lnTo>
                    <a:lnTo>
                      <a:pt x="62" y="22"/>
                    </a:lnTo>
                    <a:lnTo>
                      <a:pt x="62" y="20"/>
                    </a:lnTo>
                    <a:lnTo>
                      <a:pt x="62" y="18"/>
                    </a:lnTo>
                    <a:lnTo>
                      <a:pt x="60" y="16"/>
                    </a:lnTo>
                    <a:lnTo>
                      <a:pt x="58" y="16"/>
                    </a:lnTo>
                    <a:lnTo>
                      <a:pt x="56" y="16"/>
                    </a:lnTo>
                    <a:lnTo>
                      <a:pt x="56" y="18"/>
                    </a:lnTo>
                    <a:lnTo>
                      <a:pt x="54" y="18"/>
                    </a:lnTo>
                    <a:lnTo>
                      <a:pt x="56" y="18"/>
                    </a:lnTo>
                    <a:lnTo>
                      <a:pt x="56" y="20"/>
                    </a:lnTo>
                    <a:lnTo>
                      <a:pt x="54" y="20"/>
                    </a:lnTo>
                    <a:lnTo>
                      <a:pt x="52" y="20"/>
                    </a:lnTo>
                    <a:lnTo>
                      <a:pt x="50" y="20"/>
                    </a:lnTo>
                    <a:lnTo>
                      <a:pt x="48" y="18"/>
                    </a:lnTo>
                    <a:lnTo>
                      <a:pt x="48" y="16"/>
                    </a:lnTo>
                    <a:lnTo>
                      <a:pt x="48" y="14"/>
                    </a:lnTo>
                    <a:lnTo>
                      <a:pt x="48" y="12"/>
                    </a:lnTo>
                    <a:lnTo>
                      <a:pt x="48" y="8"/>
                    </a:lnTo>
                    <a:lnTo>
                      <a:pt x="48" y="6"/>
                    </a:lnTo>
                    <a:lnTo>
                      <a:pt x="48" y="4"/>
                    </a:lnTo>
                    <a:lnTo>
                      <a:pt x="46" y="4"/>
                    </a:lnTo>
                    <a:lnTo>
                      <a:pt x="44" y="4"/>
                    </a:lnTo>
                    <a:lnTo>
                      <a:pt x="42" y="2"/>
                    </a:lnTo>
                    <a:lnTo>
                      <a:pt x="40" y="2"/>
                    </a:lnTo>
                    <a:lnTo>
                      <a:pt x="40" y="0"/>
                    </a:lnTo>
                    <a:lnTo>
                      <a:pt x="38" y="0"/>
                    </a:lnTo>
                    <a:lnTo>
                      <a:pt x="36" y="0"/>
                    </a:lnTo>
                    <a:lnTo>
                      <a:pt x="34" y="2"/>
                    </a:lnTo>
                    <a:lnTo>
                      <a:pt x="32" y="2"/>
                    </a:lnTo>
                    <a:lnTo>
                      <a:pt x="30" y="4"/>
                    </a:lnTo>
                    <a:lnTo>
                      <a:pt x="30" y="6"/>
                    </a:lnTo>
                    <a:lnTo>
                      <a:pt x="30" y="8"/>
                    </a:lnTo>
                    <a:lnTo>
                      <a:pt x="28" y="8"/>
                    </a:lnTo>
                    <a:lnTo>
                      <a:pt x="26" y="8"/>
                    </a:lnTo>
                    <a:lnTo>
                      <a:pt x="24" y="8"/>
                    </a:lnTo>
                    <a:lnTo>
                      <a:pt x="22" y="8"/>
                    </a:lnTo>
                    <a:lnTo>
                      <a:pt x="22" y="10"/>
                    </a:lnTo>
                    <a:lnTo>
                      <a:pt x="22" y="12"/>
                    </a:lnTo>
                    <a:lnTo>
                      <a:pt x="20" y="14"/>
                    </a:lnTo>
                    <a:lnTo>
                      <a:pt x="20" y="16"/>
                    </a:lnTo>
                    <a:lnTo>
                      <a:pt x="18" y="16"/>
                    </a:lnTo>
                    <a:lnTo>
                      <a:pt x="16" y="16"/>
                    </a:lnTo>
                    <a:lnTo>
                      <a:pt x="14" y="16"/>
                    </a:lnTo>
                    <a:lnTo>
                      <a:pt x="10" y="14"/>
                    </a:lnTo>
                    <a:lnTo>
                      <a:pt x="8" y="14"/>
                    </a:lnTo>
                    <a:lnTo>
                      <a:pt x="6" y="16"/>
                    </a:lnTo>
                    <a:lnTo>
                      <a:pt x="6" y="18"/>
                    </a:lnTo>
                    <a:lnTo>
                      <a:pt x="6" y="22"/>
                    </a:lnTo>
                    <a:lnTo>
                      <a:pt x="6" y="24"/>
                    </a:lnTo>
                    <a:lnTo>
                      <a:pt x="6" y="26"/>
                    </a:lnTo>
                    <a:lnTo>
                      <a:pt x="4" y="26"/>
                    </a:lnTo>
                    <a:lnTo>
                      <a:pt x="4" y="28"/>
                    </a:lnTo>
                    <a:lnTo>
                      <a:pt x="2" y="28"/>
                    </a:lnTo>
                    <a:lnTo>
                      <a:pt x="2" y="30"/>
                    </a:lnTo>
                    <a:lnTo>
                      <a:pt x="4" y="32"/>
                    </a:lnTo>
                    <a:lnTo>
                      <a:pt x="6" y="34"/>
                    </a:lnTo>
                    <a:lnTo>
                      <a:pt x="6" y="36"/>
                    </a:lnTo>
                    <a:lnTo>
                      <a:pt x="6" y="38"/>
                    </a:lnTo>
                    <a:lnTo>
                      <a:pt x="4" y="40"/>
                    </a:lnTo>
                    <a:lnTo>
                      <a:pt x="2" y="40"/>
                    </a:lnTo>
                    <a:lnTo>
                      <a:pt x="0" y="40"/>
                    </a:lnTo>
                    <a:lnTo>
                      <a:pt x="0" y="42"/>
                    </a:lnTo>
                    <a:lnTo>
                      <a:pt x="2" y="42"/>
                    </a:lnTo>
                    <a:lnTo>
                      <a:pt x="2" y="44"/>
                    </a:lnTo>
                    <a:lnTo>
                      <a:pt x="4" y="44"/>
                    </a:lnTo>
                    <a:lnTo>
                      <a:pt x="6" y="46"/>
                    </a:lnTo>
                    <a:lnTo>
                      <a:pt x="8" y="46"/>
                    </a:lnTo>
                    <a:lnTo>
                      <a:pt x="8" y="48"/>
                    </a:lnTo>
                    <a:lnTo>
                      <a:pt x="8" y="50"/>
                    </a:lnTo>
                    <a:lnTo>
                      <a:pt x="8" y="52"/>
                    </a:lnTo>
                    <a:lnTo>
                      <a:pt x="8" y="54"/>
                    </a:lnTo>
                    <a:lnTo>
                      <a:pt x="10" y="54"/>
                    </a:lnTo>
                    <a:lnTo>
                      <a:pt x="10" y="56"/>
                    </a:lnTo>
                    <a:lnTo>
                      <a:pt x="10" y="58"/>
                    </a:lnTo>
                    <a:lnTo>
                      <a:pt x="12" y="60"/>
                    </a:lnTo>
                    <a:lnTo>
                      <a:pt x="14" y="62"/>
                    </a:lnTo>
                    <a:lnTo>
                      <a:pt x="16" y="62"/>
                    </a:lnTo>
                    <a:lnTo>
                      <a:pt x="18" y="64"/>
                    </a:lnTo>
                    <a:lnTo>
                      <a:pt x="20" y="66"/>
                    </a:lnTo>
                    <a:lnTo>
                      <a:pt x="22" y="66"/>
                    </a:lnTo>
                    <a:lnTo>
                      <a:pt x="24" y="68"/>
                    </a:lnTo>
                    <a:lnTo>
                      <a:pt x="24" y="70"/>
                    </a:lnTo>
                    <a:lnTo>
                      <a:pt x="24" y="72"/>
                    </a:lnTo>
                    <a:lnTo>
                      <a:pt x="22" y="72"/>
                    </a:lnTo>
                    <a:lnTo>
                      <a:pt x="24" y="74"/>
                    </a:lnTo>
                    <a:lnTo>
                      <a:pt x="24" y="76"/>
                    </a:lnTo>
                    <a:lnTo>
                      <a:pt x="26" y="78"/>
                    </a:lnTo>
                    <a:lnTo>
                      <a:pt x="28" y="78"/>
                    </a:lnTo>
                    <a:lnTo>
                      <a:pt x="30" y="78"/>
                    </a:lnTo>
                    <a:lnTo>
                      <a:pt x="30" y="80"/>
                    </a:lnTo>
                    <a:lnTo>
                      <a:pt x="30" y="82"/>
                    </a:lnTo>
                    <a:lnTo>
                      <a:pt x="30" y="84"/>
                    </a:lnTo>
                    <a:lnTo>
                      <a:pt x="28" y="84"/>
                    </a:lnTo>
                    <a:lnTo>
                      <a:pt x="26" y="86"/>
                    </a:lnTo>
                    <a:lnTo>
                      <a:pt x="26" y="88"/>
                    </a:lnTo>
                    <a:lnTo>
                      <a:pt x="26" y="90"/>
                    </a:lnTo>
                    <a:lnTo>
                      <a:pt x="28" y="92"/>
                    </a:lnTo>
                    <a:lnTo>
                      <a:pt x="26" y="94"/>
                    </a:lnTo>
                    <a:lnTo>
                      <a:pt x="26" y="96"/>
                    </a:lnTo>
                    <a:lnTo>
                      <a:pt x="26" y="98"/>
                    </a:lnTo>
                    <a:lnTo>
                      <a:pt x="24" y="98"/>
                    </a:lnTo>
                    <a:lnTo>
                      <a:pt x="24" y="100"/>
                    </a:lnTo>
                    <a:lnTo>
                      <a:pt x="22" y="102"/>
                    </a:lnTo>
                    <a:lnTo>
                      <a:pt x="22" y="104"/>
                    </a:lnTo>
                    <a:lnTo>
                      <a:pt x="22" y="106"/>
                    </a:lnTo>
                    <a:lnTo>
                      <a:pt x="22" y="108"/>
                    </a:lnTo>
                    <a:lnTo>
                      <a:pt x="22" y="110"/>
                    </a:lnTo>
                    <a:lnTo>
                      <a:pt x="24" y="110"/>
                    </a:lnTo>
                    <a:lnTo>
                      <a:pt x="24" y="112"/>
                    </a:lnTo>
                    <a:lnTo>
                      <a:pt x="26" y="114"/>
                    </a:lnTo>
                    <a:lnTo>
                      <a:pt x="28" y="116"/>
                    </a:lnTo>
                    <a:lnTo>
                      <a:pt x="28" y="118"/>
                    </a:lnTo>
                    <a:lnTo>
                      <a:pt x="30" y="118"/>
                    </a:lnTo>
                    <a:lnTo>
                      <a:pt x="30" y="120"/>
                    </a:lnTo>
                    <a:lnTo>
                      <a:pt x="32" y="122"/>
                    </a:lnTo>
                    <a:lnTo>
                      <a:pt x="34" y="124"/>
                    </a:lnTo>
                    <a:lnTo>
                      <a:pt x="36" y="126"/>
                    </a:lnTo>
                    <a:lnTo>
                      <a:pt x="38" y="128"/>
                    </a:lnTo>
                    <a:lnTo>
                      <a:pt x="38" y="130"/>
                    </a:lnTo>
                    <a:lnTo>
                      <a:pt x="38" y="132"/>
                    </a:lnTo>
                    <a:lnTo>
                      <a:pt x="38" y="136"/>
                    </a:lnTo>
                    <a:lnTo>
                      <a:pt x="38" y="140"/>
                    </a:lnTo>
                    <a:lnTo>
                      <a:pt x="38" y="142"/>
                    </a:lnTo>
                    <a:lnTo>
                      <a:pt x="38" y="144"/>
                    </a:lnTo>
                    <a:lnTo>
                      <a:pt x="40" y="146"/>
                    </a:lnTo>
                    <a:lnTo>
                      <a:pt x="40" y="148"/>
                    </a:lnTo>
                    <a:lnTo>
                      <a:pt x="42" y="148"/>
                    </a:lnTo>
                    <a:lnTo>
                      <a:pt x="44" y="150"/>
                    </a:lnTo>
                    <a:lnTo>
                      <a:pt x="44" y="152"/>
                    </a:lnTo>
                    <a:lnTo>
                      <a:pt x="46" y="152"/>
                    </a:lnTo>
                    <a:lnTo>
                      <a:pt x="46" y="154"/>
                    </a:lnTo>
                    <a:lnTo>
                      <a:pt x="46" y="156"/>
                    </a:lnTo>
                    <a:lnTo>
                      <a:pt x="46" y="158"/>
                    </a:lnTo>
                    <a:lnTo>
                      <a:pt x="48" y="162"/>
                    </a:lnTo>
                    <a:lnTo>
                      <a:pt x="48" y="164"/>
                    </a:lnTo>
                    <a:lnTo>
                      <a:pt x="48" y="166"/>
                    </a:lnTo>
                    <a:lnTo>
                      <a:pt x="48" y="168"/>
                    </a:lnTo>
                    <a:lnTo>
                      <a:pt x="48" y="170"/>
                    </a:lnTo>
                    <a:lnTo>
                      <a:pt x="46" y="172"/>
                    </a:lnTo>
                    <a:lnTo>
                      <a:pt x="46" y="174"/>
                    </a:lnTo>
                    <a:lnTo>
                      <a:pt x="46" y="176"/>
                    </a:lnTo>
                    <a:lnTo>
                      <a:pt x="46" y="178"/>
                    </a:lnTo>
                    <a:lnTo>
                      <a:pt x="44" y="182"/>
                    </a:lnTo>
                    <a:lnTo>
                      <a:pt x="42" y="184"/>
                    </a:lnTo>
                    <a:lnTo>
                      <a:pt x="40" y="186"/>
                    </a:lnTo>
                    <a:lnTo>
                      <a:pt x="38" y="188"/>
                    </a:lnTo>
                    <a:lnTo>
                      <a:pt x="38" y="190"/>
                    </a:lnTo>
                    <a:lnTo>
                      <a:pt x="38" y="192"/>
                    </a:lnTo>
                    <a:lnTo>
                      <a:pt x="38" y="194"/>
                    </a:lnTo>
                    <a:lnTo>
                      <a:pt x="38" y="196"/>
                    </a:lnTo>
                    <a:lnTo>
                      <a:pt x="38" y="198"/>
                    </a:lnTo>
                    <a:lnTo>
                      <a:pt x="36" y="200"/>
                    </a:lnTo>
                    <a:lnTo>
                      <a:pt x="36" y="202"/>
                    </a:lnTo>
                    <a:lnTo>
                      <a:pt x="34" y="202"/>
                    </a:lnTo>
                    <a:lnTo>
                      <a:pt x="34" y="204"/>
                    </a:lnTo>
                    <a:lnTo>
                      <a:pt x="34" y="206"/>
                    </a:lnTo>
                    <a:lnTo>
                      <a:pt x="32" y="208"/>
                    </a:lnTo>
                    <a:lnTo>
                      <a:pt x="32" y="210"/>
                    </a:lnTo>
                    <a:lnTo>
                      <a:pt x="32" y="212"/>
                    </a:lnTo>
                    <a:lnTo>
                      <a:pt x="32" y="214"/>
                    </a:lnTo>
                    <a:lnTo>
                      <a:pt x="30" y="218"/>
                    </a:lnTo>
                    <a:lnTo>
                      <a:pt x="30" y="220"/>
                    </a:lnTo>
                    <a:lnTo>
                      <a:pt x="30" y="222"/>
                    </a:lnTo>
                    <a:lnTo>
                      <a:pt x="30" y="226"/>
                    </a:lnTo>
                    <a:lnTo>
                      <a:pt x="30" y="230"/>
                    </a:lnTo>
                    <a:lnTo>
                      <a:pt x="30" y="234"/>
                    </a:lnTo>
                    <a:lnTo>
                      <a:pt x="30" y="236"/>
                    </a:lnTo>
                    <a:lnTo>
                      <a:pt x="30" y="240"/>
                    </a:lnTo>
                    <a:lnTo>
                      <a:pt x="30" y="242"/>
                    </a:lnTo>
                    <a:lnTo>
                      <a:pt x="32" y="244"/>
                    </a:lnTo>
                    <a:lnTo>
                      <a:pt x="34" y="244"/>
                    </a:lnTo>
                    <a:lnTo>
                      <a:pt x="34" y="242"/>
                    </a:lnTo>
                    <a:lnTo>
                      <a:pt x="34" y="240"/>
                    </a:lnTo>
                    <a:lnTo>
                      <a:pt x="34" y="238"/>
                    </a:lnTo>
                    <a:lnTo>
                      <a:pt x="34" y="236"/>
                    </a:lnTo>
                    <a:lnTo>
                      <a:pt x="34" y="234"/>
                    </a:lnTo>
                    <a:lnTo>
                      <a:pt x="36" y="234"/>
                    </a:lnTo>
                    <a:lnTo>
                      <a:pt x="36" y="236"/>
                    </a:lnTo>
                    <a:lnTo>
                      <a:pt x="36" y="238"/>
                    </a:lnTo>
                    <a:lnTo>
                      <a:pt x="38" y="238"/>
                    </a:lnTo>
                    <a:lnTo>
                      <a:pt x="40" y="240"/>
                    </a:lnTo>
                    <a:lnTo>
                      <a:pt x="42" y="240"/>
                    </a:lnTo>
                    <a:lnTo>
                      <a:pt x="44" y="242"/>
                    </a:lnTo>
                    <a:lnTo>
                      <a:pt x="44" y="244"/>
                    </a:lnTo>
                    <a:lnTo>
                      <a:pt x="46" y="246"/>
                    </a:lnTo>
                    <a:lnTo>
                      <a:pt x="46" y="248"/>
                    </a:lnTo>
                    <a:lnTo>
                      <a:pt x="46" y="250"/>
                    </a:lnTo>
                    <a:lnTo>
                      <a:pt x="50" y="252"/>
                    </a:lnTo>
                    <a:lnTo>
                      <a:pt x="52" y="254"/>
                    </a:lnTo>
                    <a:lnTo>
                      <a:pt x="54" y="256"/>
                    </a:lnTo>
                    <a:lnTo>
                      <a:pt x="56" y="258"/>
                    </a:lnTo>
                    <a:lnTo>
                      <a:pt x="56" y="260"/>
                    </a:lnTo>
                    <a:lnTo>
                      <a:pt x="54" y="260"/>
                    </a:lnTo>
                    <a:lnTo>
                      <a:pt x="56" y="260"/>
                    </a:lnTo>
                    <a:lnTo>
                      <a:pt x="56" y="262"/>
                    </a:lnTo>
                    <a:lnTo>
                      <a:pt x="56" y="264"/>
                    </a:lnTo>
                    <a:lnTo>
                      <a:pt x="56" y="266"/>
                    </a:lnTo>
                    <a:lnTo>
                      <a:pt x="58" y="268"/>
                    </a:lnTo>
                    <a:lnTo>
                      <a:pt x="60" y="272"/>
                    </a:lnTo>
                    <a:lnTo>
                      <a:pt x="62" y="274"/>
                    </a:lnTo>
                    <a:lnTo>
                      <a:pt x="64" y="274"/>
                    </a:lnTo>
                    <a:lnTo>
                      <a:pt x="64" y="272"/>
                    </a:lnTo>
                    <a:lnTo>
                      <a:pt x="66" y="272"/>
                    </a:lnTo>
                    <a:lnTo>
                      <a:pt x="66" y="270"/>
                    </a:lnTo>
                    <a:lnTo>
                      <a:pt x="64" y="268"/>
                    </a:lnTo>
                    <a:lnTo>
                      <a:pt x="66" y="266"/>
                    </a:lnTo>
                    <a:lnTo>
                      <a:pt x="66" y="264"/>
                    </a:lnTo>
                    <a:lnTo>
                      <a:pt x="68" y="264"/>
                    </a:lnTo>
                    <a:lnTo>
                      <a:pt x="70" y="266"/>
                    </a:lnTo>
                    <a:lnTo>
                      <a:pt x="70" y="268"/>
                    </a:lnTo>
                    <a:lnTo>
                      <a:pt x="72" y="268"/>
                    </a:lnTo>
                    <a:lnTo>
                      <a:pt x="74" y="268"/>
                    </a:lnTo>
                    <a:lnTo>
                      <a:pt x="78" y="270"/>
                    </a:lnTo>
                    <a:lnTo>
                      <a:pt x="80" y="272"/>
                    </a:lnTo>
                    <a:lnTo>
                      <a:pt x="80" y="274"/>
                    </a:lnTo>
                    <a:lnTo>
                      <a:pt x="82" y="276"/>
                    </a:lnTo>
                    <a:lnTo>
                      <a:pt x="80" y="276"/>
                    </a:lnTo>
                    <a:lnTo>
                      <a:pt x="80" y="278"/>
                    </a:lnTo>
                    <a:lnTo>
                      <a:pt x="80" y="280"/>
                    </a:lnTo>
                    <a:lnTo>
                      <a:pt x="80" y="282"/>
                    </a:lnTo>
                    <a:lnTo>
                      <a:pt x="78" y="282"/>
                    </a:lnTo>
                    <a:lnTo>
                      <a:pt x="80" y="284"/>
                    </a:lnTo>
                    <a:lnTo>
                      <a:pt x="82" y="284"/>
                    </a:lnTo>
                    <a:lnTo>
                      <a:pt x="84" y="284"/>
                    </a:lnTo>
                    <a:lnTo>
                      <a:pt x="86" y="282"/>
                    </a:lnTo>
                    <a:lnTo>
                      <a:pt x="88" y="282"/>
                    </a:lnTo>
                    <a:lnTo>
                      <a:pt x="90" y="282"/>
                    </a:lnTo>
                    <a:lnTo>
                      <a:pt x="92" y="284"/>
                    </a:lnTo>
                    <a:lnTo>
                      <a:pt x="94" y="284"/>
                    </a:lnTo>
                    <a:lnTo>
                      <a:pt x="96" y="284"/>
                    </a:lnTo>
                    <a:lnTo>
                      <a:pt x="96" y="282"/>
                    </a:lnTo>
                    <a:lnTo>
                      <a:pt x="98" y="280"/>
                    </a:lnTo>
                    <a:lnTo>
                      <a:pt x="100" y="278"/>
                    </a:lnTo>
                    <a:lnTo>
                      <a:pt x="100" y="276"/>
                    </a:lnTo>
                    <a:lnTo>
                      <a:pt x="98" y="274"/>
                    </a:lnTo>
                    <a:lnTo>
                      <a:pt x="96" y="272"/>
                    </a:lnTo>
                    <a:lnTo>
                      <a:pt x="94" y="272"/>
                    </a:lnTo>
                    <a:lnTo>
                      <a:pt x="94" y="270"/>
                    </a:lnTo>
                    <a:lnTo>
                      <a:pt x="92" y="270"/>
                    </a:lnTo>
                    <a:lnTo>
                      <a:pt x="92" y="268"/>
                    </a:lnTo>
                    <a:lnTo>
                      <a:pt x="92" y="266"/>
                    </a:lnTo>
                    <a:lnTo>
                      <a:pt x="90" y="262"/>
                    </a:lnTo>
                    <a:lnTo>
                      <a:pt x="90" y="260"/>
                    </a:lnTo>
                    <a:lnTo>
                      <a:pt x="90" y="258"/>
                    </a:lnTo>
                    <a:lnTo>
                      <a:pt x="88" y="258"/>
                    </a:lnTo>
                    <a:lnTo>
                      <a:pt x="86" y="258"/>
                    </a:lnTo>
                    <a:lnTo>
                      <a:pt x="84" y="260"/>
                    </a:lnTo>
                    <a:lnTo>
                      <a:pt x="82" y="260"/>
                    </a:lnTo>
                    <a:lnTo>
                      <a:pt x="80" y="260"/>
                    </a:lnTo>
                    <a:lnTo>
                      <a:pt x="78" y="260"/>
                    </a:lnTo>
                    <a:lnTo>
                      <a:pt x="76" y="260"/>
                    </a:lnTo>
                    <a:lnTo>
                      <a:pt x="74" y="258"/>
                    </a:lnTo>
                    <a:lnTo>
                      <a:pt x="74" y="256"/>
                    </a:lnTo>
                    <a:lnTo>
                      <a:pt x="72" y="252"/>
                    </a:lnTo>
                    <a:lnTo>
                      <a:pt x="72" y="250"/>
                    </a:lnTo>
                    <a:lnTo>
                      <a:pt x="72" y="248"/>
                    </a:lnTo>
                    <a:lnTo>
                      <a:pt x="70" y="248"/>
                    </a:lnTo>
                    <a:lnTo>
                      <a:pt x="70" y="246"/>
                    </a:lnTo>
                    <a:lnTo>
                      <a:pt x="70" y="248"/>
                    </a:lnTo>
                    <a:lnTo>
                      <a:pt x="68" y="248"/>
                    </a:lnTo>
                    <a:lnTo>
                      <a:pt x="68" y="250"/>
                    </a:lnTo>
                    <a:lnTo>
                      <a:pt x="68" y="252"/>
                    </a:lnTo>
                    <a:lnTo>
                      <a:pt x="66" y="252"/>
                    </a:lnTo>
                    <a:lnTo>
                      <a:pt x="64" y="250"/>
                    </a:lnTo>
                    <a:lnTo>
                      <a:pt x="64" y="248"/>
                    </a:lnTo>
                    <a:lnTo>
                      <a:pt x="62" y="246"/>
                    </a:lnTo>
                    <a:lnTo>
                      <a:pt x="62" y="244"/>
                    </a:lnTo>
                    <a:lnTo>
                      <a:pt x="62" y="242"/>
                    </a:lnTo>
                    <a:lnTo>
                      <a:pt x="64" y="240"/>
                    </a:lnTo>
                    <a:lnTo>
                      <a:pt x="64" y="242"/>
                    </a:lnTo>
                    <a:lnTo>
                      <a:pt x="66" y="242"/>
                    </a:lnTo>
                    <a:lnTo>
                      <a:pt x="66" y="244"/>
                    </a:lnTo>
                    <a:lnTo>
                      <a:pt x="68" y="244"/>
                    </a:lnTo>
                    <a:lnTo>
                      <a:pt x="68" y="242"/>
                    </a:lnTo>
                    <a:lnTo>
                      <a:pt x="68" y="240"/>
                    </a:lnTo>
                    <a:lnTo>
                      <a:pt x="68" y="238"/>
                    </a:lnTo>
                    <a:lnTo>
                      <a:pt x="66" y="236"/>
                    </a:lnTo>
                    <a:lnTo>
                      <a:pt x="66" y="234"/>
                    </a:lnTo>
                    <a:lnTo>
                      <a:pt x="64" y="232"/>
                    </a:lnTo>
                    <a:lnTo>
                      <a:pt x="64" y="230"/>
                    </a:lnTo>
                    <a:lnTo>
                      <a:pt x="62" y="228"/>
                    </a:lnTo>
                    <a:lnTo>
                      <a:pt x="60" y="228"/>
                    </a:lnTo>
                    <a:lnTo>
                      <a:pt x="58" y="228"/>
                    </a:lnTo>
                    <a:lnTo>
                      <a:pt x="58" y="226"/>
                    </a:lnTo>
                    <a:lnTo>
                      <a:pt x="58" y="224"/>
                    </a:lnTo>
                    <a:lnTo>
                      <a:pt x="58" y="222"/>
                    </a:lnTo>
                    <a:lnTo>
                      <a:pt x="58" y="220"/>
                    </a:lnTo>
                    <a:lnTo>
                      <a:pt x="58" y="218"/>
                    </a:lnTo>
                    <a:lnTo>
                      <a:pt x="58" y="216"/>
                    </a:lnTo>
                    <a:lnTo>
                      <a:pt x="58" y="214"/>
                    </a:lnTo>
                    <a:lnTo>
                      <a:pt x="56" y="214"/>
                    </a:lnTo>
                    <a:lnTo>
                      <a:pt x="56" y="216"/>
                    </a:lnTo>
                    <a:lnTo>
                      <a:pt x="54" y="216"/>
                    </a:lnTo>
                    <a:lnTo>
                      <a:pt x="52" y="216"/>
                    </a:lnTo>
                    <a:lnTo>
                      <a:pt x="50" y="216"/>
                    </a:lnTo>
                    <a:lnTo>
                      <a:pt x="48" y="218"/>
                    </a:lnTo>
                    <a:lnTo>
                      <a:pt x="46" y="218"/>
                    </a:lnTo>
                    <a:lnTo>
                      <a:pt x="46" y="216"/>
                    </a:lnTo>
                    <a:lnTo>
                      <a:pt x="46" y="214"/>
                    </a:lnTo>
                    <a:lnTo>
                      <a:pt x="46" y="212"/>
                    </a:lnTo>
                    <a:lnTo>
                      <a:pt x="46" y="208"/>
                    </a:lnTo>
                    <a:lnTo>
                      <a:pt x="46" y="202"/>
                    </a:lnTo>
                    <a:lnTo>
                      <a:pt x="46" y="198"/>
                    </a:lnTo>
                    <a:lnTo>
                      <a:pt x="44" y="198"/>
                    </a:lnTo>
                    <a:lnTo>
                      <a:pt x="44" y="196"/>
                    </a:lnTo>
                    <a:lnTo>
                      <a:pt x="44" y="194"/>
                    </a:lnTo>
                    <a:lnTo>
                      <a:pt x="44" y="192"/>
                    </a:lnTo>
                    <a:lnTo>
                      <a:pt x="44" y="190"/>
                    </a:lnTo>
                    <a:lnTo>
                      <a:pt x="42" y="188"/>
                    </a:lnTo>
                    <a:lnTo>
                      <a:pt x="44" y="188"/>
                    </a:lnTo>
                    <a:lnTo>
                      <a:pt x="44" y="186"/>
                    </a:lnTo>
                    <a:lnTo>
                      <a:pt x="46" y="186"/>
                    </a:lnTo>
                    <a:lnTo>
                      <a:pt x="46" y="184"/>
                    </a:lnTo>
                    <a:lnTo>
                      <a:pt x="48" y="182"/>
                    </a:lnTo>
                    <a:lnTo>
                      <a:pt x="48" y="180"/>
                    </a:lnTo>
                    <a:lnTo>
                      <a:pt x="48" y="178"/>
                    </a:lnTo>
                    <a:lnTo>
                      <a:pt x="48" y="174"/>
                    </a:lnTo>
                    <a:lnTo>
                      <a:pt x="48" y="170"/>
                    </a:lnTo>
                    <a:lnTo>
                      <a:pt x="48" y="168"/>
                    </a:lnTo>
                    <a:lnTo>
                      <a:pt x="50" y="166"/>
                    </a:lnTo>
                    <a:lnTo>
                      <a:pt x="50" y="164"/>
                    </a:lnTo>
                    <a:lnTo>
                      <a:pt x="50" y="162"/>
                    </a:lnTo>
                    <a:lnTo>
                      <a:pt x="52" y="162"/>
                    </a:lnTo>
                    <a:lnTo>
                      <a:pt x="52" y="160"/>
                    </a:lnTo>
                    <a:lnTo>
                      <a:pt x="54" y="158"/>
                    </a:lnTo>
                    <a:lnTo>
                      <a:pt x="54" y="156"/>
                    </a:lnTo>
                    <a:lnTo>
                      <a:pt x="54" y="152"/>
                    </a:lnTo>
                    <a:lnTo>
                      <a:pt x="54" y="150"/>
                    </a:lnTo>
                    <a:lnTo>
                      <a:pt x="54" y="146"/>
                    </a:lnTo>
                    <a:lnTo>
                      <a:pt x="54" y="144"/>
                    </a:lnTo>
                    <a:lnTo>
                      <a:pt x="54" y="142"/>
                    </a:lnTo>
                    <a:lnTo>
                      <a:pt x="52" y="142"/>
                    </a:lnTo>
                    <a:lnTo>
                      <a:pt x="54" y="140"/>
                    </a:lnTo>
                    <a:lnTo>
                      <a:pt x="54" y="138"/>
                    </a:lnTo>
                    <a:lnTo>
                      <a:pt x="54" y="136"/>
                    </a:lnTo>
                    <a:lnTo>
                      <a:pt x="54" y="134"/>
                    </a:lnTo>
                    <a:lnTo>
                      <a:pt x="56" y="134"/>
                    </a:lnTo>
                    <a:lnTo>
                      <a:pt x="56" y="132"/>
                    </a:lnTo>
                    <a:lnTo>
                      <a:pt x="58" y="132"/>
                    </a:lnTo>
                    <a:lnTo>
                      <a:pt x="60" y="132"/>
                    </a:lnTo>
                    <a:lnTo>
                      <a:pt x="62" y="132"/>
                    </a:lnTo>
                    <a:lnTo>
                      <a:pt x="64" y="132"/>
                    </a:lnTo>
                    <a:lnTo>
                      <a:pt x="68" y="134"/>
                    </a:lnTo>
                    <a:lnTo>
                      <a:pt x="70" y="136"/>
                    </a:lnTo>
                    <a:lnTo>
                      <a:pt x="72" y="136"/>
                    </a:lnTo>
                    <a:lnTo>
                      <a:pt x="72" y="138"/>
                    </a:lnTo>
                    <a:lnTo>
                      <a:pt x="70" y="138"/>
                    </a:lnTo>
                    <a:lnTo>
                      <a:pt x="68" y="138"/>
                    </a:lnTo>
                    <a:lnTo>
                      <a:pt x="68" y="140"/>
                    </a:lnTo>
                    <a:lnTo>
                      <a:pt x="68" y="142"/>
                    </a:lnTo>
                    <a:lnTo>
                      <a:pt x="68" y="144"/>
                    </a:lnTo>
                    <a:lnTo>
                      <a:pt x="68" y="146"/>
                    </a:lnTo>
                    <a:lnTo>
                      <a:pt x="68" y="148"/>
                    </a:lnTo>
                    <a:lnTo>
                      <a:pt x="70" y="150"/>
                    </a:lnTo>
                    <a:lnTo>
                      <a:pt x="72" y="150"/>
                    </a:lnTo>
                    <a:lnTo>
                      <a:pt x="76" y="150"/>
                    </a:lnTo>
                    <a:lnTo>
                      <a:pt x="78" y="148"/>
                    </a:lnTo>
                    <a:lnTo>
                      <a:pt x="80" y="148"/>
                    </a:lnTo>
                    <a:lnTo>
                      <a:pt x="84" y="146"/>
                    </a:lnTo>
                    <a:lnTo>
                      <a:pt x="86" y="146"/>
                    </a:lnTo>
                    <a:lnTo>
                      <a:pt x="86" y="144"/>
                    </a:lnTo>
                    <a:lnTo>
                      <a:pt x="88" y="144"/>
                    </a:lnTo>
                    <a:lnTo>
                      <a:pt x="88" y="148"/>
                    </a:lnTo>
                    <a:lnTo>
                      <a:pt x="90" y="150"/>
                    </a:lnTo>
                    <a:lnTo>
                      <a:pt x="90" y="154"/>
                    </a:lnTo>
                    <a:lnTo>
                      <a:pt x="92" y="156"/>
                    </a:lnTo>
                    <a:lnTo>
                      <a:pt x="92" y="158"/>
                    </a:lnTo>
                    <a:lnTo>
                      <a:pt x="92" y="160"/>
                    </a:lnTo>
                    <a:lnTo>
                      <a:pt x="94" y="160"/>
                    </a:lnTo>
                    <a:lnTo>
                      <a:pt x="94" y="162"/>
                    </a:lnTo>
                    <a:lnTo>
                      <a:pt x="94" y="164"/>
                    </a:lnTo>
                    <a:lnTo>
                      <a:pt x="96" y="162"/>
                    </a:lnTo>
                    <a:lnTo>
                      <a:pt x="98" y="162"/>
                    </a:lnTo>
                    <a:lnTo>
                      <a:pt x="100" y="162"/>
                    </a:lnTo>
                    <a:lnTo>
                      <a:pt x="102" y="162"/>
                    </a:lnTo>
                    <a:lnTo>
                      <a:pt x="102" y="160"/>
                    </a:lnTo>
                    <a:lnTo>
                      <a:pt x="102" y="158"/>
                    </a:lnTo>
                    <a:lnTo>
                      <a:pt x="102" y="156"/>
                    </a:lnTo>
                    <a:lnTo>
                      <a:pt x="102" y="154"/>
                    </a:lnTo>
                    <a:lnTo>
                      <a:pt x="100" y="152"/>
                    </a:lnTo>
                    <a:lnTo>
                      <a:pt x="98" y="152"/>
                    </a:lnTo>
                    <a:lnTo>
                      <a:pt x="98" y="148"/>
                    </a:lnTo>
                    <a:lnTo>
                      <a:pt x="98" y="146"/>
                    </a:lnTo>
                    <a:lnTo>
                      <a:pt x="98" y="144"/>
                    </a:lnTo>
                    <a:lnTo>
                      <a:pt x="96" y="142"/>
                    </a:lnTo>
                    <a:lnTo>
                      <a:pt x="96" y="140"/>
                    </a:lnTo>
                    <a:lnTo>
                      <a:pt x="96" y="138"/>
                    </a:lnTo>
                    <a:lnTo>
                      <a:pt x="96" y="136"/>
                    </a:lnTo>
                    <a:lnTo>
                      <a:pt x="96" y="134"/>
                    </a:lnTo>
                    <a:lnTo>
                      <a:pt x="98" y="130"/>
                    </a:lnTo>
                    <a:lnTo>
                      <a:pt x="100" y="128"/>
                    </a:lnTo>
                    <a:lnTo>
                      <a:pt x="102" y="126"/>
                    </a:lnTo>
                    <a:lnTo>
                      <a:pt x="102" y="124"/>
                    </a:lnTo>
                    <a:lnTo>
                      <a:pt x="104" y="122"/>
                    </a:lnTo>
                    <a:lnTo>
                      <a:pt x="104" y="120"/>
                    </a:lnTo>
                    <a:lnTo>
                      <a:pt x="106" y="120"/>
                    </a:lnTo>
                    <a:lnTo>
                      <a:pt x="108" y="118"/>
                    </a:lnTo>
                    <a:lnTo>
                      <a:pt x="112" y="118"/>
                    </a:lnTo>
                    <a:lnTo>
                      <a:pt x="114" y="118"/>
                    </a:lnTo>
                    <a:lnTo>
                      <a:pt x="118" y="118"/>
                    </a:lnTo>
                    <a:lnTo>
                      <a:pt x="120" y="118"/>
                    </a:lnTo>
                    <a:lnTo>
                      <a:pt x="122" y="118"/>
                    </a:lnTo>
                    <a:lnTo>
                      <a:pt x="124" y="118"/>
                    </a:lnTo>
                    <a:lnTo>
                      <a:pt x="126" y="118"/>
                    </a:lnTo>
                    <a:lnTo>
                      <a:pt x="128" y="118"/>
                    </a:lnTo>
                    <a:lnTo>
                      <a:pt x="130" y="118"/>
                    </a:lnTo>
                    <a:lnTo>
                      <a:pt x="132" y="118"/>
                    </a:lnTo>
                    <a:lnTo>
                      <a:pt x="136" y="118"/>
                    </a:lnTo>
                    <a:lnTo>
                      <a:pt x="138" y="118"/>
                    </a:lnTo>
                    <a:lnTo>
                      <a:pt x="138" y="120"/>
                    </a:lnTo>
                    <a:lnTo>
                      <a:pt x="140" y="118"/>
                    </a:lnTo>
                    <a:lnTo>
                      <a:pt x="142" y="118"/>
                    </a:lnTo>
                    <a:lnTo>
                      <a:pt x="144" y="116"/>
                    </a:lnTo>
                    <a:lnTo>
                      <a:pt x="146" y="114"/>
                    </a:lnTo>
                    <a:lnTo>
                      <a:pt x="146" y="112"/>
                    </a:lnTo>
                    <a:lnTo>
                      <a:pt x="148" y="112"/>
                    </a:lnTo>
                    <a:lnTo>
                      <a:pt x="148" y="110"/>
                    </a:lnTo>
                    <a:lnTo>
                      <a:pt x="146" y="108"/>
                    </a:lnTo>
                    <a:lnTo>
                      <a:pt x="146" y="106"/>
                    </a:lnTo>
                    <a:lnTo>
                      <a:pt x="144" y="106"/>
                    </a:lnTo>
                    <a:lnTo>
                      <a:pt x="142" y="104"/>
                    </a:lnTo>
                    <a:lnTo>
                      <a:pt x="140" y="10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0" name="Freeform 187">
                <a:extLst>
                  <a:ext uri="{FF2B5EF4-FFF2-40B4-BE49-F238E27FC236}">
                    <a16:creationId xmlns:a16="http://schemas.microsoft.com/office/drawing/2014/main" id="{48B49CDE-88AC-4E1D-AA4D-7A2945374156}"/>
                  </a:ext>
                </a:extLst>
              </p:cNvPr>
              <p:cNvSpPr>
                <a:spLocks noChangeAspect="1"/>
              </p:cNvSpPr>
              <p:nvPr/>
            </p:nvSpPr>
            <p:spPr bwMode="auto">
              <a:xfrm>
                <a:off x="7209750" y="3472547"/>
                <a:ext cx="236788" cy="495286"/>
              </a:xfrm>
              <a:custGeom>
                <a:avLst/>
                <a:gdLst/>
                <a:ahLst/>
                <a:cxnLst>
                  <a:cxn ang="0">
                    <a:pos x="8" y="30"/>
                  </a:cxn>
                  <a:cxn ang="0">
                    <a:pos x="10" y="36"/>
                  </a:cxn>
                  <a:cxn ang="0">
                    <a:pos x="24" y="50"/>
                  </a:cxn>
                  <a:cxn ang="0">
                    <a:pos x="30" y="46"/>
                  </a:cxn>
                  <a:cxn ang="0">
                    <a:pos x="42" y="52"/>
                  </a:cxn>
                  <a:cxn ang="0">
                    <a:pos x="52" y="60"/>
                  </a:cxn>
                  <a:cxn ang="0">
                    <a:pos x="44" y="72"/>
                  </a:cxn>
                  <a:cxn ang="0">
                    <a:pos x="34" y="74"/>
                  </a:cxn>
                  <a:cxn ang="0">
                    <a:pos x="50" y="86"/>
                  </a:cxn>
                  <a:cxn ang="0">
                    <a:pos x="58" y="96"/>
                  </a:cxn>
                  <a:cxn ang="0">
                    <a:pos x="68" y="102"/>
                  </a:cxn>
                  <a:cxn ang="0">
                    <a:pos x="80" y="120"/>
                  </a:cxn>
                  <a:cxn ang="0">
                    <a:pos x="86" y="124"/>
                  </a:cxn>
                  <a:cxn ang="0">
                    <a:pos x="96" y="136"/>
                  </a:cxn>
                  <a:cxn ang="0">
                    <a:pos x="96" y="144"/>
                  </a:cxn>
                  <a:cxn ang="0">
                    <a:pos x="108" y="160"/>
                  </a:cxn>
                  <a:cxn ang="0">
                    <a:pos x="108" y="168"/>
                  </a:cxn>
                  <a:cxn ang="0">
                    <a:pos x="106" y="180"/>
                  </a:cxn>
                  <a:cxn ang="0">
                    <a:pos x="110" y="194"/>
                  </a:cxn>
                  <a:cxn ang="0">
                    <a:pos x="112" y="208"/>
                  </a:cxn>
                  <a:cxn ang="0">
                    <a:pos x="108" y="214"/>
                  </a:cxn>
                  <a:cxn ang="0">
                    <a:pos x="96" y="218"/>
                  </a:cxn>
                  <a:cxn ang="0">
                    <a:pos x="94" y="224"/>
                  </a:cxn>
                  <a:cxn ang="0">
                    <a:pos x="88" y="234"/>
                  </a:cxn>
                  <a:cxn ang="0">
                    <a:pos x="88" y="240"/>
                  </a:cxn>
                  <a:cxn ang="0">
                    <a:pos x="76" y="240"/>
                  </a:cxn>
                  <a:cxn ang="0">
                    <a:pos x="76" y="244"/>
                  </a:cxn>
                  <a:cxn ang="0">
                    <a:pos x="64" y="252"/>
                  </a:cxn>
                  <a:cxn ang="0">
                    <a:pos x="68" y="264"/>
                  </a:cxn>
                  <a:cxn ang="0">
                    <a:pos x="70" y="280"/>
                  </a:cxn>
                  <a:cxn ang="0">
                    <a:pos x="80" y="278"/>
                  </a:cxn>
                  <a:cxn ang="0">
                    <a:pos x="90" y="268"/>
                  </a:cxn>
                  <a:cxn ang="0">
                    <a:pos x="94" y="266"/>
                  </a:cxn>
                  <a:cxn ang="0">
                    <a:pos x="96" y="254"/>
                  </a:cxn>
                  <a:cxn ang="0">
                    <a:pos x="108" y="248"/>
                  </a:cxn>
                  <a:cxn ang="0">
                    <a:pos x="138" y="228"/>
                  </a:cxn>
                  <a:cxn ang="0">
                    <a:pos x="140" y="198"/>
                  </a:cxn>
                  <a:cxn ang="0">
                    <a:pos x="140" y="192"/>
                  </a:cxn>
                  <a:cxn ang="0">
                    <a:pos x="132" y="166"/>
                  </a:cxn>
                  <a:cxn ang="0">
                    <a:pos x="128" y="150"/>
                  </a:cxn>
                  <a:cxn ang="0">
                    <a:pos x="94" y="124"/>
                  </a:cxn>
                  <a:cxn ang="0">
                    <a:pos x="88" y="110"/>
                  </a:cxn>
                  <a:cxn ang="0">
                    <a:pos x="66" y="78"/>
                  </a:cxn>
                  <a:cxn ang="0">
                    <a:pos x="68" y="56"/>
                  </a:cxn>
                  <a:cxn ang="0">
                    <a:pos x="80" y="46"/>
                  </a:cxn>
                  <a:cxn ang="0">
                    <a:pos x="90" y="40"/>
                  </a:cxn>
                  <a:cxn ang="0">
                    <a:pos x="90" y="32"/>
                  </a:cxn>
                  <a:cxn ang="0">
                    <a:pos x="74" y="26"/>
                  </a:cxn>
                  <a:cxn ang="0">
                    <a:pos x="70" y="20"/>
                  </a:cxn>
                  <a:cxn ang="0">
                    <a:pos x="72" y="12"/>
                  </a:cxn>
                  <a:cxn ang="0">
                    <a:pos x="62" y="6"/>
                  </a:cxn>
                  <a:cxn ang="0">
                    <a:pos x="48" y="2"/>
                  </a:cxn>
                  <a:cxn ang="0">
                    <a:pos x="40" y="4"/>
                  </a:cxn>
                  <a:cxn ang="0">
                    <a:pos x="32" y="10"/>
                  </a:cxn>
                  <a:cxn ang="0">
                    <a:pos x="30" y="12"/>
                  </a:cxn>
                  <a:cxn ang="0">
                    <a:pos x="24" y="14"/>
                  </a:cxn>
                  <a:cxn ang="0">
                    <a:pos x="20" y="12"/>
                  </a:cxn>
                  <a:cxn ang="0">
                    <a:pos x="14" y="12"/>
                  </a:cxn>
                  <a:cxn ang="0">
                    <a:pos x="2" y="10"/>
                  </a:cxn>
                </a:cxnLst>
                <a:rect l="0" t="0" r="r" b="b"/>
                <a:pathLst>
                  <a:path w="144" h="284">
                    <a:moveTo>
                      <a:pt x="0" y="10"/>
                    </a:moveTo>
                    <a:lnTo>
                      <a:pt x="0" y="14"/>
                    </a:lnTo>
                    <a:lnTo>
                      <a:pt x="0" y="16"/>
                    </a:lnTo>
                    <a:lnTo>
                      <a:pt x="0" y="20"/>
                    </a:lnTo>
                    <a:lnTo>
                      <a:pt x="2" y="22"/>
                    </a:lnTo>
                    <a:lnTo>
                      <a:pt x="2" y="24"/>
                    </a:lnTo>
                    <a:lnTo>
                      <a:pt x="4" y="24"/>
                    </a:lnTo>
                    <a:lnTo>
                      <a:pt x="6" y="28"/>
                    </a:lnTo>
                    <a:lnTo>
                      <a:pt x="8" y="30"/>
                    </a:lnTo>
                    <a:lnTo>
                      <a:pt x="10" y="30"/>
                    </a:lnTo>
                    <a:lnTo>
                      <a:pt x="12" y="30"/>
                    </a:lnTo>
                    <a:lnTo>
                      <a:pt x="12" y="32"/>
                    </a:lnTo>
                    <a:lnTo>
                      <a:pt x="10" y="32"/>
                    </a:lnTo>
                    <a:lnTo>
                      <a:pt x="10" y="34"/>
                    </a:lnTo>
                    <a:lnTo>
                      <a:pt x="10" y="36"/>
                    </a:lnTo>
                    <a:lnTo>
                      <a:pt x="10" y="38"/>
                    </a:lnTo>
                    <a:lnTo>
                      <a:pt x="12" y="38"/>
                    </a:lnTo>
                    <a:lnTo>
                      <a:pt x="14" y="42"/>
                    </a:lnTo>
                    <a:lnTo>
                      <a:pt x="18" y="46"/>
                    </a:lnTo>
                    <a:lnTo>
                      <a:pt x="18" y="48"/>
                    </a:lnTo>
                    <a:lnTo>
                      <a:pt x="20" y="48"/>
                    </a:lnTo>
                    <a:lnTo>
                      <a:pt x="20" y="50"/>
                    </a:lnTo>
                    <a:lnTo>
                      <a:pt x="22" y="50"/>
                    </a:lnTo>
                    <a:lnTo>
                      <a:pt x="24" y="50"/>
                    </a:lnTo>
                    <a:lnTo>
                      <a:pt x="24" y="52"/>
                    </a:lnTo>
                    <a:lnTo>
                      <a:pt x="26" y="52"/>
                    </a:lnTo>
                    <a:lnTo>
                      <a:pt x="28" y="52"/>
                    </a:lnTo>
                    <a:lnTo>
                      <a:pt x="30" y="50"/>
                    </a:lnTo>
                    <a:lnTo>
                      <a:pt x="30" y="48"/>
                    </a:lnTo>
                    <a:lnTo>
                      <a:pt x="30" y="46"/>
                    </a:lnTo>
                    <a:lnTo>
                      <a:pt x="32" y="44"/>
                    </a:lnTo>
                    <a:lnTo>
                      <a:pt x="32" y="46"/>
                    </a:lnTo>
                    <a:lnTo>
                      <a:pt x="34" y="46"/>
                    </a:lnTo>
                    <a:lnTo>
                      <a:pt x="36" y="48"/>
                    </a:lnTo>
                    <a:lnTo>
                      <a:pt x="38" y="48"/>
                    </a:lnTo>
                    <a:lnTo>
                      <a:pt x="40" y="50"/>
                    </a:lnTo>
                    <a:lnTo>
                      <a:pt x="42" y="50"/>
                    </a:lnTo>
                    <a:lnTo>
                      <a:pt x="42" y="52"/>
                    </a:lnTo>
                    <a:lnTo>
                      <a:pt x="40" y="52"/>
                    </a:lnTo>
                    <a:lnTo>
                      <a:pt x="40" y="54"/>
                    </a:lnTo>
                    <a:lnTo>
                      <a:pt x="40" y="56"/>
                    </a:lnTo>
                    <a:lnTo>
                      <a:pt x="42" y="56"/>
                    </a:lnTo>
                    <a:lnTo>
                      <a:pt x="46" y="58"/>
                    </a:lnTo>
                    <a:lnTo>
                      <a:pt x="50" y="58"/>
                    </a:lnTo>
                    <a:lnTo>
                      <a:pt x="52" y="60"/>
                    </a:lnTo>
                    <a:lnTo>
                      <a:pt x="54" y="62"/>
                    </a:lnTo>
                    <a:lnTo>
                      <a:pt x="54" y="64"/>
                    </a:lnTo>
                    <a:lnTo>
                      <a:pt x="52" y="66"/>
                    </a:lnTo>
                    <a:lnTo>
                      <a:pt x="48" y="70"/>
                    </a:lnTo>
                    <a:lnTo>
                      <a:pt x="46" y="70"/>
                    </a:lnTo>
                    <a:lnTo>
                      <a:pt x="46" y="72"/>
                    </a:lnTo>
                    <a:lnTo>
                      <a:pt x="44" y="72"/>
                    </a:lnTo>
                    <a:lnTo>
                      <a:pt x="42" y="72"/>
                    </a:lnTo>
                    <a:lnTo>
                      <a:pt x="40" y="72"/>
                    </a:lnTo>
                    <a:lnTo>
                      <a:pt x="38" y="72"/>
                    </a:lnTo>
                    <a:lnTo>
                      <a:pt x="38" y="70"/>
                    </a:lnTo>
                    <a:lnTo>
                      <a:pt x="36" y="70"/>
                    </a:lnTo>
                    <a:lnTo>
                      <a:pt x="34" y="70"/>
                    </a:lnTo>
                    <a:lnTo>
                      <a:pt x="34" y="72"/>
                    </a:lnTo>
                    <a:lnTo>
                      <a:pt x="34" y="74"/>
                    </a:lnTo>
                    <a:lnTo>
                      <a:pt x="36" y="76"/>
                    </a:lnTo>
                    <a:lnTo>
                      <a:pt x="36" y="78"/>
                    </a:lnTo>
                    <a:lnTo>
                      <a:pt x="40" y="78"/>
                    </a:lnTo>
                    <a:lnTo>
                      <a:pt x="42" y="80"/>
                    </a:lnTo>
                    <a:lnTo>
                      <a:pt x="44" y="82"/>
                    </a:lnTo>
                    <a:lnTo>
                      <a:pt x="46" y="84"/>
                    </a:lnTo>
                    <a:lnTo>
                      <a:pt x="48" y="84"/>
                    </a:lnTo>
                    <a:lnTo>
                      <a:pt x="50" y="86"/>
                    </a:lnTo>
                    <a:lnTo>
                      <a:pt x="52" y="86"/>
                    </a:lnTo>
                    <a:lnTo>
                      <a:pt x="54" y="88"/>
                    </a:lnTo>
                    <a:lnTo>
                      <a:pt x="56" y="88"/>
                    </a:lnTo>
                    <a:lnTo>
                      <a:pt x="56" y="90"/>
                    </a:lnTo>
                    <a:lnTo>
                      <a:pt x="58" y="90"/>
                    </a:lnTo>
                    <a:lnTo>
                      <a:pt x="58" y="92"/>
                    </a:lnTo>
                    <a:lnTo>
                      <a:pt x="58" y="96"/>
                    </a:lnTo>
                    <a:lnTo>
                      <a:pt x="58" y="98"/>
                    </a:lnTo>
                    <a:lnTo>
                      <a:pt x="60" y="98"/>
                    </a:lnTo>
                    <a:lnTo>
                      <a:pt x="62" y="100"/>
                    </a:lnTo>
                    <a:lnTo>
                      <a:pt x="64" y="100"/>
                    </a:lnTo>
                    <a:lnTo>
                      <a:pt x="66" y="100"/>
                    </a:lnTo>
                    <a:lnTo>
                      <a:pt x="66" y="102"/>
                    </a:lnTo>
                    <a:lnTo>
                      <a:pt x="68" y="102"/>
                    </a:lnTo>
                    <a:lnTo>
                      <a:pt x="68" y="104"/>
                    </a:lnTo>
                    <a:lnTo>
                      <a:pt x="68" y="106"/>
                    </a:lnTo>
                    <a:lnTo>
                      <a:pt x="70" y="108"/>
                    </a:lnTo>
                    <a:lnTo>
                      <a:pt x="70" y="110"/>
                    </a:lnTo>
                    <a:lnTo>
                      <a:pt x="72" y="112"/>
                    </a:lnTo>
                    <a:lnTo>
                      <a:pt x="76" y="116"/>
                    </a:lnTo>
                    <a:lnTo>
                      <a:pt x="78" y="118"/>
                    </a:lnTo>
                    <a:lnTo>
                      <a:pt x="80" y="118"/>
                    </a:lnTo>
                    <a:lnTo>
                      <a:pt x="80" y="120"/>
                    </a:lnTo>
                    <a:lnTo>
                      <a:pt x="80" y="122"/>
                    </a:lnTo>
                    <a:lnTo>
                      <a:pt x="80" y="124"/>
                    </a:lnTo>
                    <a:lnTo>
                      <a:pt x="82" y="124"/>
                    </a:lnTo>
                    <a:lnTo>
                      <a:pt x="84" y="124"/>
                    </a:lnTo>
                    <a:lnTo>
                      <a:pt x="86" y="124"/>
                    </a:lnTo>
                    <a:lnTo>
                      <a:pt x="86" y="126"/>
                    </a:lnTo>
                    <a:lnTo>
                      <a:pt x="88" y="130"/>
                    </a:lnTo>
                    <a:lnTo>
                      <a:pt x="90" y="132"/>
                    </a:lnTo>
                    <a:lnTo>
                      <a:pt x="92" y="134"/>
                    </a:lnTo>
                    <a:lnTo>
                      <a:pt x="94" y="134"/>
                    </a:lnTo>
                    <a:lnTo>
                      <a:pt x="96" y="134"/>
                    </a:lnTo>
                    <a:lnTo>
                      <a:pt x="96" y="136"/>
                    </a:lnTo>
                    <a:lnTo>
                      <a:pt x="98" y="136"/>
                    </a:lnTo>
                    <a:lnTo>
                      <a:pt x="100" y="138"/>
                    </a:lnTo>
                    <a:lnTo>
                      <a:pt x="100" y="140"/>
                    </a:lnTo>
                    <a:lnTo>
                      <a:pt x="102" y="140"/>
                    </a:lnTo>
                    <a:lnTo>
                      <a:pt x="102" y="142"/>
                    </a:lnTo>
                    <a:lnTo>
                      <a:pt x="98" y="144"/>
                    </a:lnTo>
                    <a:lnTo>
                      <a:pt x="96" y="144"/>
                    </a:lnTo>
                    <a:lnTo>
                      <a:pt x="96" y="146"/>
                    </a:lnTo>
                    <a:lnTo>
                      <a:pt x="96" y="148"/>
                    </a:lnTo>
                    <a:lnTo>
                      <a:pt x="98" y="150"/>
                    </a:lnTo>
                    <a:lnTo>
                      <a:pt x="102" y="152"/>
                    </a:lnTo>
                    <a:lnTo>
                      <a:pt x="106" y="154"/>
                    </a:lnTo>
                    <a:lnTo>
                      <a:pt x="108" y="154"/>
                    </a:lnTo>
                    <a:lnTo>
                      <a:pt x="110" y="156"/>
                    </a:lnTo>
                    <a:lnTo>
                      <a:pt x="108" y="158"/>
                    </a:lnTo>
                    <a:lnTo>
                      <a:pt x="108" y="160"/>
                    </a:lnTo>
                    <a:lnTo>
                      <a:pt x="106" y="162"/>
                    </a:lnTo>
                    <a:lnTo>
                      <a:pt x="106" y="164"/>
                    </a:lnTo>
                    <a:lnTo>
                      <a:pt x="108" y="164"/>
                    </a:lnTo>
                    <a:lnTo>
                      <a:pt x="108" y="166"/>
                    </a:lnTo>
                    <a:lnTo>
                      <a:pt x="110" y="168"/>
                    </a:lnTo>
                    <a:lnTo>
                      <a:pt x="108" y="168"/>
                    </a:lnTo>
                    <a:lnTo>
                      <a:pt x="108" y="170"/>
                    </a:lnTo>
                    <a:lnTo>
                      <a:pt x="106" y="170"/>
                    </a:lnTo>
                    <a:lnTo>
                      <a:pt x="106" y="172"/>
                    </a:lnTo>
                    <a:lnTo>
                      <a:pt x="106" y="174"/>
                    </a:lnTo>
                    <a:lnTo>
                      <a:pt x="106" y="176"/>
                    </a:lnTo>
                    <a:lnTo>
                      <a:pt x="106" y="178"/>
                    </a:lnTo>
                    <a:lnTo>
                      <a:pt x="106" y="180"/>
                    </a:lnTo>
                    <a:lnTo>
                      <a:pt x="106" y="182"/>
                    </a:lnTo>
                    <a:lnTo>
                      <a:pt x="108" y="182"/>
                    </a:lnTo>
                    <a:lnTo>
                      <a:pt x="110" y="184"/>
                    </a:lnTo>
                    <a:lnTo>
                      <a:pt x="112" y="186"/>
                    </a:lnTo>
                    <a:lnTo>
                      <a:pt x="112" y="188"/>
                    </a:lnTo>
                    <a:lnTo>
                      <a:pt x="112" y="190"/>
                    </a:lnTo>
                    <a:lnTo>
                      <a:pt x="112" y="192"/>
                    </a:lnTo>
                    <a:lnTo>
                      <a:pt x="110" y="194"/>
                    </a:lnTo>
                    <a:lnTo>
                      <a:pt x="108" y="194"/>
                    </a:lnTo>
                    <a:lnTo>
                      <a:pt x="108" y="196"/>
                    </a:lnTo>
                    <a:lnTo>
                      <a:pt x="108" y="198"/>
                    </a:lnTo>
                    <a:lnTo>
                      <a:pt x="108" y="200"/>
                    </a:lnTo>
                    <a:lnTo>
                      <a:pt x="110" y="202"/>
                    </a:lnTo>
                    <a:lnTo>
                      <a:pt x="110" y="204"/>
                    </a:lnTo>
                    <a:lnTo>
                      <a:pt x="110" y="206"/>
                    </a:lnTo>
                    <a:lnTo>
                      <a:pt x="112" y="208"/>
                    </a:lnTo>
                    <a:lnTo>
                      <a:pt x="110" y="210"/>
                    </a:lnTo>
                    <a:lnTo>
                      <a:pt x="110" y="212"/>
                    </a:lnTo>
                    <a:lnTo>
                      <a:pt x="110" y="214"/>
                    </a:lnTo>
                    <a:lnTo>
                      <a:pt x="108" y="214"/>
                    </a:lnTo>
                    <a:lnTo>
                      <a:pt x="106" y="212"/>
                    </a:lnTo>
                    <a:lnTo>
                      <a:pt x="104" y="214"/>
                    </a:lnTo>
                    <a:lnTo>
                      <a:pt x="104" y="216"/>
                    </a:lnTo>
                    <a:lnTo>
                      <a:pt x="102" y="218"/>
                    </a:lnTo>
                    <a:lnTo>
                      <a:pt x="100" y="218"/>
                    </a:lnTo>
                    <a:lnTo>
                      <a:pt x="98" y="218"/>
                    </a:lnTo>
                    <a:lnTo>
                      <a:pt x="96" y="218"/>
                    </a:lnTo>
                    <a:lnTo>
                      <a:pt x="96" y="220"/>
                    </a:lnTo>
                    <a:lnTo>
                      <a:pt x="96" y="222"/>
                    </a:lnTo>
                    <a:lnTo>
                      <a:pt x="96" y="224"/>
                    </a:lnTo>
                    <a:lnTo>
                      <a:pt x="94" y="224"/>
                    </a:lnTo>
                    <a:lnTo>
                      <a:pt x="92" y="222"/>
                    </a:lnTo>
                    <a:lnTo>
                      <a:pt x="90" y="222"/>
                    </a:lnTo>
                    <a:lnTo>
                      <a:pt x="88" y="222"/>
                    </a:lnTo>
                    <a:lnTo>
                      <a:pt x="86" y="224"/>
                    </a:lnTo>
                    <a:lnTo>
                      <a:pt x="86" y="226"/>
                    </a:lnTo>
                    <a:lnTo>
                      <a:pt x="84" y="226"/>
                    </a:lnTo>
                    <a:lnTo>
                      <a:pt x="86" y="230"/>
                    </a:lnTo>
                    <a:lnTo>
                      <a:pt x="86" y="232"/>
                    </a:lnTo>
                    <a:lnTo>
                      <a:pt x="86" y="234"/>
                    </a:lnTo>
                    <a:lnTo>
                      <a:pt x="88" y="234"/>
                    </a:lnTo>
                    <a:lnTo>
                      <a:pt x="88" y="236"/>
                    </a:lnTo>
                    <a:lnTo>
                      <a:pt x="90" y="238"/>
                    </a:lnTo>
                    <a:lnTo>
                      <a:pt x="92" y="240"/>
                    </a:lnTo>
                    <a:lnTo>
                      <a:pt x="92" y="242"/>
                    </a:lnTo>
                    <a:lnTo>
                      <a:pt x="94" y="242"/>
                    </a:lnTo>
                    <a:lnTo>
                      <a:pt x="92" y="242"/>
                    </a:lnTo>
                    <a:lnTo>
                      <a:pt x="92" y="244"/>
                    </a:lnTo>
                    <a:lnTo>
                      <a:pt x="90" y="242"/>
                    </a:lnTo>
                    <a:lnTo>
                      <a:pt x="88" y="242"/>
                    </a:lnTo>
                    <a:lnTo>
                      <a:pt x="88" y="240"/>
                    </a:lnTo>
                    <a:lnTo>
                      <a:pt x="86" y="240"/>
                    </a:lnTo>
                    <a:lnTo>
                      <a:pt x="86" y="238"/>
                    </a:lnTo>
                    <a:lnTo>
                      <a:pt x="84" y="238"/>
                    </a:lnTo>
                    <a:lnTo>
                      <a:pt x="82" y="238"/>
                    </a:lnTo>
                    <a:lnTo>
                      <a:pt x="80" y="238"/>
                    </a:lnTo>
                    <a:lnTo>
                      <a:pt x="80" y="240"/>
                    </a:lnTo>
                    <a:lnTo>
                      <a:pt x="78" y="240"/>
                    </a:lnTo>
                    <a:lnTo>
                      <a:pt x="76" y="240"/>
                    </a:lnTo>
                    <a:lnTo>
                      <a:pt x="74" y="240"/>
                    </a:lnTo>
                    <a:lnTo>
                      <a:pt x="72" y="240"/>
                    </a:lnTo>
                    <a:lnTo>
                      <a:pt x="74" y="242"/>
                    </a:lnTo>
                    <a:lnTo>
                      <a:pt x="76" y="244"/>
                    </a:lnTo>
                    <a:lnTo>
                      <a:pt x="74" y="244"/>
                    </a:lnTo>
                    <a:lnTo>
                      <a:pt x="74" y="246"/>
                    </a:lnTo>
                    <a:lnTo>
                      <a:pt x="70" y="246"/>
                    </a:lnTo>
                    <a:lnTo>
                      <a:pt x="68" y="246"/>
                    </a:lnTo>
                    <a:lnTo>
                      <a:pt x="66" y="246"/>
                    </a:lnTo>
                    <a:lnTo>
                      <a:pt x="64" y="248"/>
                    </a:lnTo>
                    <a:lnTo>
                      <a:pt x="62" y="248"/>
                    </a:lnTo>
                    <a:lnTo>
                      <a:pt x="62" y="250"/>
                    </a:lnTo>
                    <a:lnTo>
                      <a:pt x="62" y="252"/>
                    </a:lnTo>
                    <a:lnTo>
                      <a:pt x="64" y="252"/>
                    </a:lnTo>
                    <a:lnTo>
                      <a:pt x="66" y="254"/>
                    </a:lnTo>
                    <a:lnTo>
                      <a:pt x="68" y="256"/>
                    </a:lnTo>
                    <a:lnTo>
                      <a:pt x="70" y="258"/>
                    </a:lnTo>
                    <a:lnTo>
                      <a:pt x="72" y="258"/>
                    </a:lnTo>
                    <a:lnTo>
                      <a:pt x="74" y="258"/>
                    </a:lnTo>
                    <a:lnTo>
                      <a:pt x="72" y="260"/>
                    </a:lnTo>
                    <a:lnTo>
                      <a:pt x="70" y="262"/>
                    </a:lnTo>
                    <a:lnTo>
                      <a:pt x="68" y="262"/>
                    </a:lnTo>
                    <a:lnTo>
                      <a:pt x="68" y="264"/>
                    </a:lnTo>
                    <a:lnTo>
                      <a:pt x="70" y="266"/>
                    </a:lnTo>
                    <a:lnTo>
                      <a:pt x="70" y="268"/>
                    </a:lnTo>
                    <a:lnTo>
                      <a:pt x="72" y="272"/>
                    </a:lnTo>
                    <a:lnTo>
                      <a:pt x="72" y="274"/>
                    </a:lnTo>
                    <a:lnTo>
                      <a:pt x="72" y="276"/>
                    </a:lnTo>
                    <a:lnTo>
                      <a:pt x="72" y="278"/>
                    </a:lnTo>
                    <a:lnTo>
                      <a:pt x="70" y="278"/>
                    </a:lnTo>
                    <a:lnTo>
                      <a:pt x="70" y="280"/>
                    </a:lnTo>
                    <a:lnTo>
                      <a:pt x="68" y="282"/>
                    </a:lnTo>
                    <a:lnTo>
                      <a:pt x="70" y="284"/>
                    </a:lnTo>
                    <a:lnTo>
                      <a:pt x="72" y="284"/>
                    </a:lnTo>
                    <a:lnTo>
                      <a:pt x="74" y="284"/>
                    </a:lnTo>
                    <a:lnTo>
                      <a:pt x="76" y="284"/>
                    </a:lnTo>
                    <a:lnTo>
                      <a:pt x="78" y="282"/>
                    </a:lnTo>
                    <a:lnTo>
                      <a:pt x="80" y="280"/>
                    </a:lnTo>
                    <a:lnTo>
                      <a:pt x="80" y="278"/>
                    </a:lnTo>
                    <a:lnTo>
                      <a:pt x="82" y="278"/>
                    </a:lnTo>
                    <a:lnTo>
                      <a:pt x="86" y="276"/>
                    </a:lnTo>
                    <a:lnTo>
                      <a:pt x="88" y="274"/>
                    </a:lnTo>
                    <a:lnTo>
                      <a:pt x="88" y="272"/>
                    </a:lnTo>
                    <a:lnTo>
                      <a:pt x="90" y="270"/>
                    </a:lnTo>
                    <a:lnTo>
                      <a:pt x="90" y="268"/>
                    </a:lnTo>
                    <a:lnTo>
                      <a:pt x="90" y="266"/>
                    </a:lnTo>
                    <a:lnTo>
                      <a:pt x="90" y="264"/>
                    </a:lnTo>
                    <a:lnTo>
                      <a:pt x="92" y="264"/>
                    </a:lnTo>
                    <a:lnTo>
                      <a:pt x="94" y="266"/>
                    </a:lnTo>
                    <a:lnTo>
                      <a:pt x="96" y="266"/>
                    </a:lnTo>
                    <a:lnTo>
                      <a:pt x="98" y="266"/>
                    </a:lnTo>
                    <a:lnTo>
                      <a:pt x="100" y="264"/>
                    </a:lnTo>
                    <a:lnTo>
                      <a:pt x="100" y="262"/>
                    </a:lnTo>
                    <a:lnTo>
                      <a:pt x="100" y="260"/>
                    </a:lnTo>
                    <a:lnTo>
                      <a:pt x="100" y="258"/>
                    </a:lnTo>
                    <a:lnTo>
                      <a:pt x="98" y="256"/>
                    </a:lnTo>
                    <a:lnTo>
                      <a:pt x="96" y="254"/>
                    </a:lnTo>
                    <a:lnTo>
                      <a:pt x="96" y="252"/>
                    </a:lnTo>
                    <a:lnTo>
                      <a:pt x="98" y="252"/>
                    </a:lnTo>
                    <a:lnTo>
                      <a:pt x="100" y="250"/>
                    </a:lnTo>
                    <a:lnTo>
                      <a:pt x="102" y="250"/>
                    </a:lnTo>
                    <a:lnTo>
                      <a:pt x="104" y="248"/>
                    </a:lnTo>
                    <a:lnTo>
                      <a:pt x="106" y="248"/>
                    </a:lnTo>
                    <a:lnTo>
                      <a:pt x="108" y="248"/>
                    </a:lnTo>
                    <a:lnTo>
                      <a:pt x="110" y="248"/>
                    </a:lnTo>
                    <a:lnTo>
                      <a:pt x="112" y="248"/>
                    </a:lnTo>
                    <a:lnTo>
                      <a:pt x="114" y="248"/>
                    </a:lnTo>
                    <a:lnTo>
                      <a:pt x="118" y="246"/>
                    </a:lnTo>
                    <a:lnTo>
                      <a:pt x="120" y="244"/>
                    </a:lnTo>
                    <a:lnTo>
                      <a:pt x="124" y="244"/>
                    </a:lnTo>
                    <a:lnTo>
                      <a:pt x="128" y="242"/>
                    </a:lnTo>
                    <a:lnTo>
                      <a:pt x="130" y="238"/>
                    </a:lnTo>
                    <a:lnTo>
                      <a:pt x="132" y="236"/>
                    </a:lnTo>
                    <a:lnTo>
                      <a:pt x="134" y="234"/>
                    </a:lnTo>
                    <a:lnTo>
                      <a:pt x="136" y="230"/>
                    </a:lnTo>
                    <a:lnTo>
                      <a:pt x="138" y="228"/>
                    </a:lnTo>
                    <a:lnTo>
                      <a:pt x="138" y="226"/>
                    </a:lnTo>
                    <a:lnTo>
                      <a:pt x="140" y="222"/>
                    </a:lnTo>
                    <a:lnTo>
                      <a:pt x="140" y="220"/>
                    </a:lnTo>
                    <a:lnTo>
                      <a:pt x="142" y="214"/>
                    </a:lnTo>
                    <a:lnTo>
                      <a:pt x="142" y="210"/>
                    </a:lnTo>
                    <a:lnTo>
                      <a:pt x="142" y="208"/>
                    </a:lnTo>
                    <a:lnTo>
                      <a:pt x="144" y="204"/>
                    </a:lnTo>
                    <a:lnTo>
                      <a:pt x="144" y="202"/>
                    </a:lnTo>
                    <a:lnTo>
                      <a:pt x="142" y="200"/>
                    </a:lnTo>
                    <a:lnTo>
                      <a:pt x="140" y="198"/>
                    </a:lnTo>
                    <a:lnTo>
                      <a:pt x="138" y="196"/>
                    </a:lnTo>
                    <a:lnTo>
                      <a:pt x="136" y="194"/>
                    </a:lnTo>
                    <a:lnTo>
                      <a:pt x="136" y="192"/>
                    </a:lnTo>
                    <a:lnTo>
                      <a:pt x="138" y="192"/>
                    </a:lnTo>
                    <a:lnTo>
                      <a:pt x="140" y="192"/>
                    </a:lnTo>
                    <a:lnTo>
                      <a:pt x="140" y="190"/>
                    </a:lnTo>
                    <a:lnTo>
                      <a:pt x="140" y="186"/>
                    </a:lnTo>
                    <a:lnTo>
                      <a:pt x="140" y="184"/>
                    </a:lnTo>
                    <a:lnTo>
                      <a:pt x="138" y="180"/>
                    </a:lnTo>
                    <a:lnTo>
                      <a:pt x="138" y="178"/>
                    </a:lnTo>
                    <a:lnTo>
                      <a:pt x="138" y="176"/>
                    </a:lnTo>
                    <a:lnTo>
                      <a:pt x="138" y="174"/>
                    </a:lnTo>
                    <a:lnTo>
                      <a:pt x="136" y="172"/>
                    </a:lnTo>
                    <a:lnTo>
                      <a:pt x="136" y="170"/>
                    </a:lnTo>
                    <a:lnTo>
                      <a:pt x="132" y="166"/>
                    </a:lnTo>
                    <a:lnTo>
                      <a:pt x="132" y="164"/>
                    </a:lnTo>
                    <a:lnTo>
                      <a:pt x="130" y="162"/>
                    </a:lnTo>
                    <a:lnTo>
                      <a:pt x="130" y="160"/>
                    </a:lnTo>
                    <a:lnTo>
                      <a:pt x="130" y="158"/>
                    </a:lnTo>
                    <a:lnTo>
                      <a:pt x="130" y="156"/>
                    </a:lnTo>
                    <a:lnTo>
                      <a:pt x="130" y="154"/>
                    </a:lnTo>
                    <a:lnTo>
                      <a:pt x="130" y="152"/>
                    </a:lnTo>
                    <a:lnTo>
                      <a:pt x="128" y="150"/>
                    </a:lnTo>
                    <a:lnTo>
                      <a:pt x="128" y="148"/>
                    </a:lnTo>
                    <a:lnTo>
                      <a:pt x="126" y="148"/>
                    </a:lnTo>
                    <a:lnTo>
                      <a:pt x="122" y="144"/>
                    </a:lnTo>
                    <a:lnTo>
                      <a:pt x="118" y="140"/>
                    </a:lnTo>
                    <a:lnTo>
                      <a:pt x="114" y="136"/>
                    </a:lnTo>
                    <a:lnTo>
                      <a:pt x="110" y="134"/>
                    </a:lnTo>
                    <a:lnTo>
                      <a:pt x="106" y="130"/>
                    </a:lnTo>
                    <a:lnTo>
                      <a:pt x="104" y="128"/>
                    </a:lnTo>
                    <a:lnTo>
                      <a:pt x="102" y="126"/>
                    </a:lnTo>
                    <a:lnTo>
                      <a:pt x="98" y="126"/>
                    </a:lnTo>
                    <a:lnTo>
                      <a:pt x="94" y="124"/>
                    </a:lnTo>
                    <a:lnTo>
                      <a:pt x="92" y="122"/>
                    </a:lnTo>
                    <a:lnTo>
                      <a:pt x="90" y="120"/>
                    </a:lnTo>
                    <a:lnTo>
                      <a:pt x="90" y="118"/>
                    </a:lnTo>
                    <a:lnTo>
                      <a:pt x="90" y="116"/>
                    </a:lnTo>
                    <a:lnTo>
                      <a:pt x="90" y="114"/>
                    </a:lnTo>
                    <a:lnTo>
                      <a:pt x="90" y="112"/>
                    </a:lnTo>
                    <a:lnTo>
                      <a:pt x="90" y="110"/>
                    </a:lnTo>
                    <a:lnTo>
                      <a:pt x="88" y="110"/>
                    </a:lnTo>
                    <a:lnTo>
                      <a:pt x="88" y="108"/>
                    </a:lnTo>
                    <a:lnTo>
                      <a:pt x="86" y="108"/>
                    </a:lnTo>
                    <a:lnTo>
                      <a:pt x="84" y="106"/>
                    </a:lnTo>
                    <a:lnTo>
                      <a:pt x="82" y="102"/>
                    </a:lnTo>
                    <a:lnTo>
                      <a:pt x="78" y="100"/>
                    </a:lnTo>
                    <a:lnTo>
                      <a:pt x="76" y="96"/>
                    </a:lnTo>
                    <a:lnTo>
                      <a:pt x="72" y="92"/>
                    </a:lnTo>
                    <a:lnTo>
                      <a:pt x="70" y="90"/>
                    </a:lnTo>
                    <a:lnTo>
                      <a:pt x="68" y="88"/>
                    </a:lnTo>
                    <a:lnTo>
                      <a:pt x="68" y="86"/>
                    </a:lnTo>
                    <a:lnTo>
                      <a:pt x="68" y="84"/>
                    </a:lnTo>
                    <a:lnTo>
                      <a:pt x="66" y="78"/>
                    </a:lnTo>
                    <a:lnTo>
                      <a:pt x="66" y="74"/>
                    </a:lnTo>
                    <a:lnTo>
                      <a:pt x="64" y="72"/>
                    </a:lnTo>
                    <a:lnTo>
                      <a:pt x="64" y="68"/>
                    </a:lnTo>
                    <a:lnTo>
                      <a:pt x="64" y="66"/>
                    </a:lnTo>
                    <a:lnTo>
                      <a:pt x="66" y="64"/>
                    </a:lnTo>
                    <a:lnTo>
                      <a:pt x="68" y="62"/>
                    </a:lnTo>
                    <a:lnTo>
                      <a:pt x="68" y="60"/>
                    </a:lnTo>
                    <a:lnTo>
                      <a:pt x="68" y="58"/>
                    </a:lnTo>
                    <a:lnTo>
                      <a:pt x="68" y="56"/>
                    </a:lnTo>
                    <a:lnTo>
                      <a:pt x="70" y="56"/>
                    </a:lnTo>
                    <a:lnTo>
                      <a:pt x="70" y="54"/>
                    </a:lnTo>
                    <a:lnTo>
                      <a:pt x="72" y="54"/>
                    </a:lnTo>
                    <a:lnTo>
                      <a:pt x="76" y="52"/>
                    </a:lnTo>
                    <a:lnTo>
                      <a:pt x="78" y="52"/>
                    </a:lnTo>
                    <a:lnTo>
                      <a:pt x="78" y="50"/>
                    </a:lnTo>
                    <a:lnTo>
                      <a:pt x="80" y="48"/>
                    </a:lnTo>
                    <a:lnTo>
                      <a:pt x="80" y="46"/>
                    </a:lnTo>
                    <a:lnTo>
                      <a:pt x="82" y="46"/>
                    </a:lnTo>
                    <a:lnTo>
                      <a:pt x="84" y="46"/>
                    </a:lnTo>
                    <a:lnTo>
                      <a:pt x="86" y="46"/>
                    </a:lnTo>
                    <a:lnTo>
                      <a:pt x="88" y="46"/>
                    </a:lnTo>
                    <a:lnTo>
                      <a:pt x="90" y="46"/>
                    </a:lnTo>
                    <a:lnTo>
                      <a:pt x="90" y="44"/>
                    </a:lnTo>
                    <a:lnTo>
                      <a:pt x="90" y="42"/>
                    </a:lnTo>
                    <a:lnTo>
                      <a:pt x="90" y="40"/>
                    </a:lnTo>
                    <a:lnTo>
                      <a:pt x="90" y="38"/>
                    </a:lnTo>
                    <a:lnTo>
                      <a:pt x="90" y="36"/>
                    </a:lnTo>
                    <a:lnTo>
                      <a:pt x="92" y="34"/>
                    </a:lnTo>
                    <a:lnTo>
                      <a:pt x="94" y="34"/>
                    </a:lnTo>
                    <a:lnTo>
                      <a:pt x="92" y="32"/>
                    </a:lnTo>
                    <a:lnTo>
                      <a:pt x="90" y="32"/>
                    </a:lnTo>
                    <a:lnTo>
                      <a:pt x="88" y="32"/>
                    </a:lnTo>
                    <a:lnTo>
                      <a:pt x="84" y="32"/>
                    </a:lnTo>
                    <a:lnTo>
                      <a:pt x="82" y="32"/>
                    </a:lnTo>
                    <a:lnTo>
                      <a:pt x="80" y="32"/>
                    </a:lnTo>
                    <a:lnTo>
                      <a:pt x="80" y="30"/>
                    </a:lnTo>
                    <a:lnTo>
                      <a:pt x="78" y="30"/>
                    </a:lnTo>
                    <a:lnTo>
                      <a:pt x="78" y="28"/>
                    </a:lnTo>
                    <a:lnTo>
                      <a:pt x="76" y="28"/>
                    </a:lnTo>
                    <a:lnTo>
                      <a:pt x="76" y="26"/>
                    </a:lnTo>
                    <a:lnTo>
                      <a:pt x="74" y="26"/>
                    </a:lnTo>
                    <a:lnTo>
                      <a:pt x="72" y="26"/>
                    </a:lnTo>
                    <a:lnTo>
                      <a:pt x="72" y="24"/>
                    </a:lnTo>
                    <a:lnTo>
                      <a:pt x="72" y="22"/>
                    </a:lnTo>
                    <a:lnTo>
                      <a:pt x="72" y="20"/>
                    </a:lnTo>
                    <a:lnTo>
                      <a:pt x="70" y="20"/>
                    </a:lnTo>
                    <a:lnTo>
                      <a:pt x="70" y="18"/>
                    </a:lnTo>
                    <a:lnTo>
                      <a:pt x="68" y="18"/>
                    </a:lnTo>
                    <a:lnTo>
                      <a:pt x="68" y="16"/>
                    </a:lnTo>
                    <a:lnTo>
                      <a:pt x="70" y="16"/>
                    </a:lnTo>
                    <a:lnTo>
                      <a:pt x="72" y="14"/>
                    </a:lnTo>
                    <a:lnTo>
                      <a:pt x="72" y="12"/>
                    </a:lnTo>
                    <a:lnTo>
                      <a:pt x="72" y="10"/>
                    </a:lnTo>
                    <a:lnTo>
                      <a:pt x="70" y="10"/>
                    </a:lnTo>
                    <a:lnTo>
                      <a:pt x="68" y="8"/>
                    </a:lnTo>
                    <a:lnTo>
                      <a:pt x="66" y="8"/>
                    </a:lnTo>
                    <a:lnTo>
                      <a:pt x="64" y="8"/>
                    </a:lnTo>
                    <a:lnTo>
                      <a:pt x="62" y="8"/>
                    </a:lnTo>
                    <a:lnTo>
                      <a:pt x="62" y="6"/>
                    </a:lnTo>
                    <a:lnTo>
                      <a:pt x="58" y="6"/>
                    </a:lnTo>
                    <a:lnTo>
                      <a:pt x="56" y="8"/>
                    </a:lnTo>
                    <a:lnTo>
                      <a:pt x="54" y="8"/>
                    </a:lnTo>
                    <a:lnTo>
                      <a:pt x="52" y="6"/>
                    </a:lnTo>
                    <a:lnTo>
                      <a:pt x="50" y="4"/>
                    </a:lnTo>
                    <a:lnTo>
                      <a:pt x="48" y="2"/>
                    </a:lnTo>
                    <a:lnTo>
                      <a:pt x="48" y="0"/>
                    </a:lnTo>
                    <a:lnTo>
                      <a:pt x="46" y="0"/>
                    </a:lnTo>
                    <a:lnTo>
                      <a:pt x="44" y="0"/>
                    </a:lnTo>
                    <a:lnTo>
                      <a:pt x="42" y="2"/>
                    </a:lnTo>
                    <a:lnTo>
                      <a:pt x="40" y="2"/>
                    </a:lnTo>
                    <a:lnTo>
                      <a:pt x="40" y="4"/>
                    </a:lnTo>
                    <a:lnTo>
                      <a:pt x="38" y="6"/>
                    </a:lnTo>
                    <a:lnTo>
                      <a:pt x="38" y="8"/>
                    </a:lnTo>
                    <a:lnTo>
                      <a:pt x="38" y="10"/>
                    </a:lnTo>
                    <a:lnTo>
                      <a:pt x="36" y="10"/>
                    </a:lnTo>
                    <a:lnTo>
                      <a:pt x="34" y="12"/>
                    </a:lnTo>
                    <a:lnTo>
                      <a:pt x="32" y="12"/>
                    </a:lnTo>
                    <a:lnTo>
                      <a:pt x="32" y="10"/>
                    </a:lnTo>
                    <a:lnTo>
                      <a:pt x="30" y="10"/>
                    </a:lnTo>
                    <a:lnTo>
                      <a:pt x="28" y="10"/>
                    </a:lnTo>
                    <a:lnTo>
                      <a:pt x="30" y="12"/>
                    </a:lnTo>
                    <a:lnTo>
                      <a:pt x="30" y="14"/>
                    </a:lnTo>
                    <a:lnTo>
                      <a:pt x="30" y="16"/>
                    </a:lnTo>
                    <a:lnTo>
                      <a:pt x="28" y="16"/>
                    </a:lnTo>
                    <a:lnTo>
                      <a:pt x="26" y="16"/>
                    </a:lnTo>
                    <a:lnTo>
                      <a:pt x="24" y="16"/>
                    </a:lnTo>
                    <a:lnTo>
                      <a:pt x="24" y="14"/>
                    </a:lnTo>
                    <a:lnTo>
                      <a:pt x="24" y="12"/>
                    </a:lnTo>
                    <a:lnTo>
                      <a:pt x="22" y="12"/>
                    </a:lnTo>
                    <a:lnTo>
                      <a:pt x="22" y="10"/>
                    </a:lnTo>
                    <a:lnTo>
                      <a:pt x="20" y="10"/>
                    </a:lnTo>
                    <a:lnTo>
                      <a:pt x="20" y="12"/>
                    </a:lnTo>
                    <a:lnTo>
                      <a:pt x="20" y="14"/>
                    </a:lnTo>
                    <a:lnTo>
                      <a:pt x="18" y="14"/>
                    </a:lnTo>
                    <a:lnTo>
                      <a:pt x="18" y="12"/>
                    </a:lnTo>
                    <a:lnTo>
                      <a:pt x="16" y="12"/>
                    </a:lnTo>
                    <a:lnTo>
                      <a:pt x="16" y="10"/>
                    </a:lnTo>
                    <a:lnTo>
                      <a:pt x="14" y="12"/>
                    </a:lnTo>
                    <a:lnTo>
                      <a:pt x="14" y="14"/>
                    </a:lnTo>
                    <a:lnTo>
                      <a:pt x="12" y="14"/>
                    </a:lnTo>
                    <a:lnTo>
                      <a:pt x="12" y="16"/>
                    </a:lnTo>
                    <a:lnTo>
                      <a:pt x="10" y="16"/>
                    </a:lnTo>
                    <a:lnTo>
                      <a:pt x="8" y="16"/>
                    </a:lnTo>
                    <a:lnTo>
                      <a:pt x="8" y="14"/>
                    </a:lnTo>
                    <a:lnTo>
                      <a:pt x="6" y="12"/>
                    </a:lnTo>
                    <a:lnTo>
                      <a:pt x="4" y="12"/>
                    </a:lnTo>
                    <a:lnTo>
                      <a:pt x="2" y="10"/>
                    </a:lnTo>
                    <a:lnTo>
                      <a:pt x="0"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1" name="Freeform 188">
                <a:extLst>
                  <a:ext uri="{FF2B5EF4-FFF2-40B4-BE49-F238E27FC236}">
                    <a16:creationId xmlns:a16="http://schemas.microsoft.com/office/drawing/2014/main" id="{3356C560-21E5-4A4E-A4D8-D0462FB5BFD3}"/>
                  </a:ext>
                </a:extLst>
              </p:cNvPr>
              <p:cNvSpPr>
                <a:spLocks noChangeAspect="1"/>
              </p:cNvSpPr>
              <p:nvPr/>
            </p:nvSpPr>
            <p:spPr bwMode="auto">
              <a:xfrm>
                <a:off x="6571738" y="3235368"/>
                <a:ext cx="230210" cy="136029"/>
              </a:xfrm>
              <a:custGeom>
                <a:avLst/>
                <a:gdLst/>
                <a:ahLst/>
                <a:cxnLst>
                  <a:cxn ang="0">
                    <a:pos x="74" y="60"/>
                  </a:cxn>
                  <a:cxn ang="0">
                    <a:pos x="78" y="60"/>
                  </a:cxn>
                  <a:cxn ang="0">
                    <a:pos x="84" y="66"/>
                  </a:cxn>
                  <a:cxn ang="0">
                    <a:pos x="90" y="72"/>
                  </a:cxn>
                  <a:cxn ang="0">
                    <a:pos x="94" y="70"/>
                  </a:cxn>
                  <a:cxn ang="0">
                    <a:pos x="102" y="74"/>
                  </a:cxn>
                  <a:cxn ang="0">
                    <a:pos x="106" y="72"/>
                  </a:cxn>
                  <a:cxn ang="0">
                    <a:pos x="116" y="76"/>
                  </a:cxn>
                  <a:cxn ang="0">
                    <a:pos x="118" y="76"/>
                  </a:cxn>
                  <a:cxn ang="0">
                    <a:pos x="124" y="76"/>
                  </a:cxn>
                  <a:cxn ang="0">
                    <a:pos x="130" y="78"/>
                  </a:cxn>
                  <a:cxn ang="0">
                    <a:pos x="134" y="78"/>
                  </a:cxn>
                  <a:cxn ang="0">
                    <a:pos x="140" y="74"/>
                  </a:cxn>
                  <a:cxn ang="0">
                    <a:pos x="138" y="68"/>
                  </a:cxn>
                  <a:cxn ang="0">
                    <a:pos x="136" y="62"/>
                  </a:cxn>
                  <a:cxn ang="0">
                    <a:pos x="136" y="52"/>
                  </a:cxn>
                  <a:cxn ang="0">
                    <a:pos x="134" y="48"/>
                  </a:cxn>
                  <a:cxn ang="0">
                    <a:pos x="126" y="50"/>
                  </a:cxn>
                  <a:cxn ang="0">
                    <a:pos x="112" y="46"/>
                  </a:cxn>
                  <a:cxn ang="0">
                    <a:pos x="110" y="46"/>
                  </a:cxn>
                  <a:cxn ang="0">
                    <a:pos x="104" y="46"/>
                  </a:cxn>
                  <a:cxn ang="0">
                    <a:pos x="102" y="44"/>
                  </a:cxn>
                  <a:cxn ang="0">
                    <a:pos x="98" y="48"/>
                  </a:cxn>
                  <a:cxn ang="0">
                    <a:pos x="96" y="40"/>
                  </a:cxn>
                  <a:cxn ang="0">
                    <a:pos x="90" y="42"/>
                  </a:cxn>
                  <a:cxn ang="0">
                    <a:pos x="84" y="40"/>
                  </a:cxn>
                  <a:cxn ang="0">
                    <a:pos x="84" y="36"/>
                  </a:cxn>
                  <a:cxn ang="0">
                    <a:pos x="78" y="36"/>
                  </a:cxn>
                  <a:cxn ang="0">
                    <a:pos x="74" y="34"/>
                  </a:cxn>
                  <a:cxn ang="0">
                    <a:pos x="66" y="24"/>
                  </a:cxn>
                  <a:cxn ang="0">
                    <a:pos x="62" y="20"/>
                  </a:cxn>
                  <a:cxn ang="0">
                    <a:pos x="58" y="26"/>
                  </a:cxn>
                  <a:cxn ang="0">
                    <a:pos x="52" y="18"/>
                  </a:cxn>
                  <a:cxn ang="0">
                    <a:pos x="46" y="14"/>
                  </a:cxn>
                  <a:cxn ang="0">
                    <a:pos x="40" y="12"/>
                  </a:cxn>
                  <a:cxn ang="0">
                    <a:pos x="34" y="6"/>
                  </a:cxn>
                  <a:cxn ang="0">
                    <a:pos x="22" y="0"/>
                  </a:cxn>
                  <a:cxn ang="0">
                    <a:pos x="16" y="2"/>
                  </a:cxn>
                  <a:cxn ang="0">
                    <a:pos x="14" y="6"/>
                  </a:cxn>
                  <a:cxn ang="0">
                    <a:pos x="10" y="2"/>
                  </a:cxn>
                  <a:cxn ang="0">
                    <a:pos x="8" y="8"/>
                  </a:cxn>
                  <a:cxn ang="0">
                    <a:pos x="2" y="14"/>
                  </a:cxn>
                  <a:cxn ang="0">
                    <a:pos x="4" y="18"/>
                  </a:cxn>
                  <a:cxn ang="0">
                    <a:pos x="0" y="20"/>
                  </a:cxn>
                  <a:cxn ang="0">
                    <a:pos x="4" y="22"/>
                  </a:cxn>
                  <a:cxn ang="0">
                    <a:pos x="0" y="26"/>
                  </a:cxn>
                  <a:cxn ang="0">
                    <a:pos x="6" y="36"/>
                  </a:cxn>
                  <a:cxn ang="0">
                    <a:pos x="10" y="34"/>
                  </a:cxn>
                  <a:cxn ang="0">
                    <a:pos x="14" y="40"/>
                  </a:cxn>
                  <a:cxn ang="0">
                    <a:pos x="20" y="40"/>
                  </a:cxn>
                  <a:cxn ang="0">
                    <a:pos x="22" y="42"/>
                  </a:cxn>
                  <a:cxn ang="0">
                    <a:pos x="30" y="48"/>
                  </a:cxn>
                  <a:cxn ang="0">
                    <a:pos x="36" y="48"/>
                  </a:cxn>
                  <a:cxn ang="0">
                    <a:pos x="38" y="50"/>
                  </a:cxn>
                  <a:cxn ang="0">
                    <a:pos x="46" y="52"/>
                  </a:cxn>
                  <a:cxn ang="0">
                    <a:pos x="48" y="56"/>
                  </a:cxn>
                  <a:cxn ang="0">
                    <a:pos x="58" y="58"/>
                  </a:cxn>
                  <a:cxn ang="0">
                    <a:pos x="58" y="60"/>
                  </a:cxn>
                  <a:cxn ang="0">
                    <a:pos x="64" y="58"/>
                  </a:cxn>
                  <a:cxn ang="0">
                    <a:pos x="66" y="60"/>
                  </a:cxn>
                  <a:cxn ang="0">
                    <a:pos x="70" y="56"/>
                  </a:cxn>
                </a:cxnLst>
                <a:rect l="0" t="0" r="r" b="b"/>
                <a:pathLst>
                  <a:path w="140" h="78">
                    <a:moveTo>
                      <a:pt x="70" y="56"/>
                    </a:moveTo>
                    <a:lnTo>
                      <a:pt x="70" y="56"/>
                    </a:lnTo>
                    <a:lnTo>
                      <a:pt x="72" y="56"/>
                    </a:lnTo>
                    <a:lnTo>
                      <a:pt x="72" y="58"/>
                    </a:lnTo>
                    <a:lnTo>
                      <a:pt x="74" y="60"/>
                    </a:lnTo>
                    <a:lnTo>
                      <a:pt x="76" y="60"/>
                    </a:lnTo>
                    <a:lnTo>
                      <a:pt x="78" y="60"/>
                    </a:lnTo>
                    <a:lnTo>
                      <a:pt x="80" y="60"/>
                    </a:lnTo>
                    <a:lnTo>
                      <a:pt x="80" y="62"/>
                    </a:lnTo>
                    <a:lnTo>
                      <a:pt x="82" y="64"/>
                    </a:lnTo>
                    <a:lnTo>
                      <a:pt x="84" y="66"/>
                    </a:lnTo>
                    <a:lnTo>
                      <a:pt x="86" y="68"/>
                    </a:lnTo>
                    <a:lnTo>
                      <a:pt x="88" y="70"/>
                    </a:lnTo>
                    <a:lnTo>
                      <a:pt x="90" y="72"/>
                    </a:lnTo>
                    <a:lnTo>
                      <a:pt x="92" y="72"/>
                    </a:lnTo>
                    <a:lnTo>
                      <a:pt x="92" y="70"/>
                    </a:lnTo>
                    <a:lnTo>
                      <a:pt x="94" y="70"/>
                    </a:lnTo>
                    <a:lnTo>
                      <a:pt x="98" y="72"/>
                    </a:lnTo>
                    <a:lnTo>
                      <a:pt x="100" y="72"/>
                    </a:lnTo>
                    <a:lnTo>
                      <a:pt x="102" y="72"/>
                    </a:lnTo>
                    <a:lnTo>
                      <a:pt x="102" y="74"/>
                    </a:lnTo>
                    <a:lnTo>
                      <a:pt x="104" y="74"/>
                    </a:lnTo>
                    <a:lnTo>
                      <a:pt x="104" y="72"/>
                    </a:lnTo>
                    <a:lnTo>
                      <a:pt x="106" y="72"/>
                    </a:lnTo>
                    <a:lnTo>
                      <a:pt x="108" y="72"/>
                    </a:lnTo>
                    <a:lnTo>
                      <a:pt x="110" y="72"/>
                    </a:lnTo>
                    <a:lnTo>
                      <a:pt x="112" y="74"/>
                    </a:lnTo>
                    <a:lnTo>
                      <a:pt x="114" y="76"/>
                    </a:lnTo>
                    <a:lnTo>
                      <a:pt x="116" y="76"/>
                    </a:lnTo>
                    <a:lnTo>
                      <a:pt x="116" y="78"/>
                    </a:lnTo>
                    <a:lnTo>
                      <a:pt x="118" y="78"/>
                    </a:lnTo>
                    <a:lnTo>
                      <a:pt x="118" y="76"/>
                    </a:lnTo>
                    <a:lnTo>
                      <a:pt x="120" y="74"/>
                    </a:lnTo>
                    <a:lnTo>
                      <a:pt x="122" y="74"/>
                    </a:lnTo>
                    <a:lnTo>
                      <a:pt x="124" y="74"/>
                    </a:lnTo>
                    <a:lnTo>
                      <a:pt x="124" y="76"/>
                    </a:lnTo>
                    <a:lnTo>
                      <a:pt x="124" y="78"/>
                    </a:lnTo>
                    <a:lnTo>
                      <a:pt x="126" y="78"/>
                    </a:lnTo>
                    <a:lnTo>
                      <a:pt x="128" y="78"/>
                    </a:lnTo>
                    <a:lnTo>
                      <a:pt x="130" y="78"/>
                    </a:lnTo>
                    <a:lnTo>
                      <a:pt x="132" y="78"/>
                    </a:lnTo>
                    <a:lnTo>
                      <a:pt x="134" y="78"/>
                    </a:lnTo>
                    <a:lnTo>
                      <a:pt x="136" y="78"/>
                    </a:lnTo>
                    <a:lnTo>
                      <a:pt x="138" y="78"/>
                    </a:lnTo>
                    <a:lnTo>
                      <a:pt x="140" y="76"/>
                    </a:lnTo>
                    <a:lnTo>
                      <a:pt x="140" y="74"/>
                    </a:lnTo>
                    <a:lnTo>
                      <a:pt x="140" y="72"/>
                    </a:lnTo>
                    <a:lnTo>
                      <a:pt x="140" y="70"/>
                    </a:lnTo>
                    <a:lnTo>
                      <a:pt x="138" y="68"/>
                    </a:lnTo>
                    <a:lnTo>
                      <a:pt x="136" y="66"/>
                    </a:lnTo>
                    <a:lnTo>
                      <a:pt x="136" y="64"/>
                    </a:lnTo>
                    <a:lnTo>
                      <a:pt x="136" y="62"/>
                    </a:lnTo>
                    <a:lnTo>
                      <a:pt x="136" y="60"/>
                    </a:lnTo>
                    <a:lnTo>
                      <a:pt x="136" y="58"/>
                    </a:lnTo>
                    <a:lnTo>
                      <a:pt x="136" y="56"/>
                    </a:lnTo>
                    <a:lnTo>
                      <a:pt x="136" y="54"/>
                    </a:lnTo>
                    <a:lnTo>
                      <a:pt x="136" y="52"/>
                    </a:lnTo>
                    <a:lnTo>
                      <a:pt x="136" y="50"/>
                    </a:lnTo>
                    <a:lnTo>
                      <a:pt x="134" y="50"/>
                    </a:lnTo>
                    <a:lnTo>
                      <a:pt x="134" y="48"/>
                    </a:lnTo>
                    <a:lnTo>
                      <a:pt x="130" y="50"/>
                    </a:lnTo>
                    <a:lnTo>
                      <a:pt x="128" y="50"/>
                    </a:lnTo>
                    <a:lnTo>
                      <a:pt x="126" y="50"/>
                    </a:lnTo>
                    <a:lnTo>
                      <a:pt x="124" y="50"/>
                    </a:lnTo>
                    <a:lnTo>
                      <a:pt x="122" y="50"/>
                    </a:lnTo>
                    <a:lnTo>
                      <a:pt x="118" y="48"/>
                    </a:lnTo>
                    <a:lnTo>
                      <a:pt x="116" y="48"/>
                    </a:lnTo>
                    <a:lnTo>
                      <a:pt x="114" y="46"/>
                    </a:lnTo>
                    <a:lnTo>
                      <a:pt x="112" y="46"/>
                    </a:lnTo>
                    <a:lnTo>
                      <a:pt x="110" y="44"/>
                    </a:lnTo>
                    <a:lnTo>
                      <a:pt x="110" y="46"/>
                    </a:lnTo>
                    <a:lnTo>
                      <a:pt x="108" y="48"/>
                    </a:lnTo>
                    <a:lnTo>
                      <a:pt x="106" y="48"/>
                    </a:lnTo>
                    <a:lnTo>
                      <a:pt x="104" y="48"/>
                    </a:lnTo>
                    <a:lnTo>
                      <a:pt x="104" y="46"/>
                    </a:lnTo>
                    <a:lnTo>
                      <a:pt x="102" y="46"/>
                    </a:lnTo>
                    <a:lnTo>
                      <a:pt x="102" y="44"/>
                    </a:lnTo>
                    <a:lnTo>
                      <a:pt x="102" y="42"/>
                    </a:lnTo>
                    <a:lnTo>
                      <a:pt x="102" y="44"/>
                    </a:lnTo>
                    <a:lnTo>
                      <a:pt x="102" y="46"/>
                    </a:lnTo>
                    <a:lnTo>
                      <a:pt x="100" y="48"/>
                    </a:lnTo>
                    <a:lnTo>
                      <a:pt x="98" y="48"/>
                    </a:lnTo>
                    <a:lnTo>
                      <a:pt x="96" y="46"/>
                    </a:lnTo>
                    <a:lnTo>
                      <a:pt x="96" y="44"/>
                    </a:lnTo>
                    <a:lnTo>
                      <a:pt x="96" y="42"/>
                    </a:lnTo>
                    <a:lnTo>
                      <a:pt x="96" y="40"/>
                    </a:lnTo>
                    <a:lnTo>
                      <a:pt x="94" y="42"/>
                    </a:lnTo>
                    <a:lnTo>
                      <a:pt x="92" y="42"/>
                    </a:lnTo>
                    <a:lnTo>
                      <a:pt x="90" y="42"/>
                    </a:lnTo>
                    <a:lnTo>
                      <a:pt x="88" y="42"/>
                    </a:lnTo>
                    <a:lnTo>
                      <a:pt x="86" y="42"/>
                    </a:lnTo>
                    <a:lnTo>
                      <a:pt x="84" y="40"/>
                    </a:lnTo>
                    <a:lnTo>
                      <a:pt x="84" y="38"/>
                    </a:lnTo>
                    <a:lnTo>
                      <a:pt x="84" y="36"/>
                    </a:lnTo>
                    <a:lnTo>
                      <a:pt x="84" y="34"/>
                    </a:lnTo>
                    <a:lnTo>
                      <a:pt x="82" y="34"/>
                    </a:lnTo>
                    <a:lnTo>
                      <a:pt x="80" y="34"/>
                    </a:lnTo>
                    <a:lnTo>
                      <a:pt x="78" y="36"/>
                    </a:lnTo>
                    <a:lnTo>
                      <a:pt x="76" y="36"/>
                    </a:lnTo>
                    <a:lnTo>
                      <a:pt x="76" y="34"/>
                    </a:lnTo>
                    <a:lnTo>
                      <a:pt x="74" y="34"/>
                    </a:lnTo>
                    <a:lnTo>
                      <a:pt x="72" y="32"/>
                    </a:lnTo>
                    <a:lnTo>
                      <a:pt x="68" y="30"/>
                    </a:lnTo>
                    <a:lnTo>
                      <a:pt x="68" y="28"/>
                    </a:lnTo>
                    <a:lnTo>
                      <a:pt x="66" y="24"/>
                    </a:lnTo>
                    <a:lnTo>
                      <a:pt x="66" y="22"/>
                    </a:lnTo>
                    <a:lnTo>
                      <a:pt x="66" y="20"/>
                    </a:lnTo>
                    <a:lnTo>
                      <a:pt x="64" y="20"/>
                    </a:lnTo>
                    <a:lnTo>
                      <a:pt x="62" y="20"/>
                    </a:lnTo>
                    <a:lnTo>
                      <a:pt x="60" y="22"/>
                    </a:lnTo>
                    <a:lnTo>
                      <a:pt x="60" y="24"/>
                    </a:lnTo>
                    <a:lnTo>
                      <a:pt x="58" y="24"/>
                    </a:lnTo>
                    <a:lnTo>
                      <a:pt x="58" y="26"/>
                    </a:lnTo>
                    <a:lnTo>
                      <a:pt x="58" y="24"/>
                    </a:lnTo>
                    <a:lnTo>
                      <a:pt x="56" y="24"/>
                    </a:lnTo>
                    <a:lnTo>
                      <a:pt x="54" y="22"/>
                    </a:lnTo>
                    <a:lnTo>
                      <a:pt x="54" y="20"/>
                    </a:lnTo>
                    <a:lnTo>
                      <a:pt x="52" y="18"/>
                    </a:lnTo>
                    <a:lnTo>
                      <a:pt x="52" y="16"/>
                    </a:lnTo>
                    <a:lnTo>
                      <a:pt x="50" y="14"/>
                    </a:lnTo>
                    <a:lnTo>
                      <a:pt x="48" y="14"/>
                    </a:lnTo>
                    <a:lnTo>
                      <a:pt x="46" y="14"/>
                    </a:lnTo>
                    <a:lnTo>
                      <a:pt x="44" y="12"/>
                    </a:lnTo>
                    <a:lnTo>
                      <a:pt x="42" y="12"/>
                    </a:lnTo>
                    <a:lnTo>
                      <a:pt x="40" y="12"/>
                    </a:lnTo>
                    <a:lnTo>
                      <a:pt x="38" y="12"/>
                    </a:lnTo>
                    <a:lnTo>
                      <a:pt x="38" y="10"/>
                    </a:lnTo>
                    <a:lnTo>
                      <a:pt x="36" y="8"/>
                    </a:lnTo>
                    <a:lnTo>
                      <a:pt x="34" y="6"/>
                    </a:lnTo>
                    <a:lnTo>
                      <a:pt x="32" y="4"/>
                    </a:lnTo>
                    <a:lnTo>
                      <a:pt x="28" y="0"/>
                    </a:lnTo>
                    <a:lnTo>
                      <a:pt x="26" y="0"/>
                    </a:lnTo>
                    <a:lnTo>
                      <a:pt x="24" y="0"/>
                    </a:lnTo>
                    <a:lnTo>
                      <a:pt x="22" y="0"/>
                    </a:lnTo>
                    <a:lnTo>
                      <a:pt x="20" y="0"/>
                    </a:lnTo>
                    <a:lnTo>
                      <a:pt x="18" y="2"/>
                    </a:lnTo>
                    <a:lnTo>
                      <a:pt x="16" y="2"/>
                    </a:lnTo>
                    <a:lnTo>
                      <a:pt x="16" y="4"/>
                    </a:lnTo>
                    <a:lnTo>
                      <a:pt x="14" y="6"/>
                    </a:lnTo>
                    <a:lnTo>
                      <a:pt x="12" y="4"/>
                    </a:lnTo>
                    <a:lnTo>
                      <a:pt x="10" y="4"/>
                    </a:lnTo>
                    <a:lnTo>
                      <a:pt x="10" y="2"/>
                    </a:lnTo>
                    <a:lnTo>
                      <a:pt x="8" y="4"/>
                    </a:lnTo>
                    <a:lnTo>
                      <a:pt x="8" y="6"/>
                    </a:lnTo>
                    <a:lnTo>
                      <a:pt x="8" y="8"/>
                    </a:lnTo>
                    <a:lnTo>
                      <a:pt x="6" y="10"/>
                    </a:lnTo>
                    <a:lnTo>
                      <a:pt x="4" y="10"/>
                    </a:lnTo>
                    <a:lnTo>
                      <a:pt x="2" y="12"/>
                    </a:lnTo>
                    <a:lnTo>
                      <a:pt x="2" y="14"/>
                    </a:lnTo>
                    <a:lnTo>
                      <a:pt x="2" y="16"/>
                    </a:lnTo>
                    <a:lnTo>
                      <a:pt x="4" y="16"/>
                    </a:lnTo>
                    <a:lnTo>
                      <a:pt x="4" y="18"/>
                    </a:lnTo>
                    <a:lnTo>
                      <a:pt x="2" y="18"/>
                    </a:lnTo>
                    <a:lnTo>
                      <a:pt x="0" y="20"/>
                    </a:lnTo>
                    <a:lnTo>
                      <a:pt x="2" y="20"/>
                    </a:lnTo>
                    <a:lnTo>
                      <a:pt x="2" y="22"/>
                    </a:lnTo>
                    <a:lnTo>
                      <a:pt x="4" y="22"/>
                    </a:lnTo>
                    <a:lnTo>
                      <a:pt x="2" y="24"/>
                    </a:lnTo>
                    <a:lnTo>
                      <a:pt x="0" y="24"/>
                    </a:lnTo>
                    <a:lnTo>
                      <a:pt x="0" y="26"/>
                    </a:lnTo>
                    <a:lnTo>
                      <a:pt x="0" y="28"/>
                    </a:lnTo>
                    <a:lnTo>
                      <a:pt x="2" y="30"/>
                    </a:lnTo>
                    <a:lnTo>
                      <a:pt x="4" y="32"/>
                    </a:lnTo>
                    <a:lnTo>
                      <a:pt x="6" y="34"/>
                    </a:lnTo>
                    <a:lnTo>
                      <a:pt x="6" y="36"/>
                    </a:lnTo>
                    <a:lnTo>
                      <a:pt x="8" y="36"/>
                    </a:lnTo>
                    <a:lnTo>
                      <a:pt x="8" y="34"/>
                    </a:lnTo>
                    <a:lnTo>
                      <a:pt x="10" y="34"/>
                    </a:lnTo>
                    <a:lnTo>
                      <a:pt x="12" y="36"/>
                    </a:lnTo>
                    <a:lnTo>
                      <a:pt x="14" y="36"/>
                    </a:lnTo>
                    <a:lnTo>
                      <a:pt x="14" y="38"/>
                    </a:lnTo>
                    <a:lnTo>
                      <a:pt x="14" y="40"/>
                    </a:lnTo>
                    <a:lnTo>
                      <a:pt x="16" y="40"/>
                    </a:lnTo>
                    <a:lnTo>
                      <a:pt x="18" y="40"/>
                    </a:lnTo>
                    <a:lnTo>
                      <a:pt x="20" y="40"/>
                    </a:lnTo>
                    <a:lnTo>
                      <a:pt x="22" y="42"/>
                    </a:lnTo>
                    <a:lnTo>
                      <a:pt x="22" y="44"/>
                    </a:lnTo>
                    <a:lnTo>
                      <a:pt x="24" y="44"/>
                    </a:lnTo>
                    <a:lnTo>
                      <a:pt x="26" y="46"/>
                    </a:lnTo>
                    <a:lnTo>
                      <a:pt x="30" y="46"/>
                    </a:lnTo>
                    <a:lnTo>
                      <a:pt x="30" y="48"/>
                    </a:lnTo>
                    <a:lnTo>
                      <a:pt x="32" y="48"/>
                    </a:lnTo>
                    <a:lnTo>
                      <a:pt x="34" y="48"/>
                    </a:lnTo>
                    <a:lnTo>
                      <a:pt x="36" y="48"/>
                    </a:lnTo>
                    <a:lnTo>
                      <a:pt x="38" y="48"/>
                    </a:lnTo>
                    <a:lnTo>
                      <a:pt x="38" y="50"/>
                    </a:lnTo>
                    <a:lnTo>
                      <a:pt x="40" y="52"/>
                    </a:lnTo>
                    <a:lnTo>
                      <a:pt x="42" y="54"/>
                    </a:lnTo>
                    <a:lnTo>
                      <a:pt x="44" y="52"/>
                    </a:lnTo>
                    <a:lnTo>
                      <a:pt x="46" y="52"/>
                    </a:lnTo>
                    <a:lnTo>
                      <a:pt x="48" y="52"/>
                    </a:lnTo>
                    <a:lnTo>
                      <a:pt x="48" y="54"/>
                    </a:lnTo>
                    <a:lnTo>
                      <a:pt x="48" y="56"/>
                    </a:lnTo>
                    <a:lnTo>
                      <a:pt x="50" y="56"/>
                    </a:lnTo>
                    <a:lnTo>
                      <a:pt x="54" y="56"/>
                    </a:lnTo>
                    <a:lnTo>
                      <a:pt x="56" y="58"/>
                    </a:lnTo>
                    <a:lnTo>
                      <a:pt x="58" y="58"/>
                    </a:lnTo>
                    <a:lnTo>
                      <a:pt x="58" y="60"/>
                    </a:lnTo>
                    <a:lnTo>
                      <a:pt x="58" y="62"/>
                    </a:lnTo>
                    <a:lnTo>
                      <a:pt x="58" y="60"/>
                    </a:lnTo>
                    <a:lnTo>
                      <a:pt x="60" y="60"/>
                    </a:lnTo>
                    <a:lnTo>
                      <a:pt x="62" y="58"/>
                    </a:lnTo>
                    <a:lnTo>
                      <a:pt x="64" y="58"/>
                    </a:lnTo>
                    <a:lnTo>
                      <a:pt x="66" y="60"/>
                    </a:lnTo>
                    <a:lnTo>
                      <a:pt x="66" y="58"/>
                    </a:lnTo>
                    <a:lnTo>
                      <a:pt x="68" y="56"/>
                    </a:lnTo>
                    <a:lnTo>
                      <a:pt x="68" y="54"/>
                    </a:lnTo>
                    <a:lnTo>
                      <a:pt x="70" y="5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2" name="Freeform 189">
                <a:extLst>
                  <a:ext uri="{FF2B5EF4-FFF2-40B4-BE49-F238E27FC236}">
                    <a16:creationId xmlns:a16="http://schemas.microsoft.com/office/drawing/2014/main" id="{CF15DDF3-FF4B-4189-BA9F-4049A4A2BC56}"/>
                  </a:ext>
                </a:extLst>
              </p:cNvPr>
              <p:cNvSpPr>
                <a:spLocks noChangeAspect="1"/>
              </p:cNvSpPr>
              <p:nvPr/>
            </p:nvSpPr>
            <p:spPr bwMode="auto">
              <a:xfrm>
                <a:off x="6815103" y="3305127"/>
                <a:ext cx="95373" cy="55807"/>
              </a:xfrm>
              <a:custGeom>
                <a:avLst/>
                <a:gdLst/>
                <a:ahLst/>
                <a:cxnLst>
                  <a:cxn ang="0">
                    <a:pos x="22" y="32"/>
                  </a:cxn>
                  <a:cxn ang="0">
                    <a:pos x="26" y="30"/>
                  </a:cxn>
                  <a:cxn ang="0">
                    <a:pos x="26" y="30"/>
                  </a:cxn>
                  <a:cxn ang="0">
                    <a:pos x="28" y="28"/>
                  </a:cxn>
                  <a:cxn ang="0">
                    <a:pos x="30" y="30"/>
                  </a:cxn>
                  <a:cxn ang="0">
                    <a:pos x="32" y="30"/>
                  </a:cxn>
                  <a:cxn ang="0">
                    <a:pos x="34" y="30"/>
                  </a:cxn>
                  <a:cxn ang="0">
                    <a:pos x="40" y="30"/>
                  </a:cxn>
                  <a:cxn ang="0">
                    <a:pos x="42" y="30"/>
                  </a:cxn>
                  <a:cxn ang="0">
                    <a:pos x="46" y="30"/>
                  </a:cxn>
                  <a:cxn ang="0">
                    <a:pos x="46" y="30"/>
                  </a:cxn>
                  <a:cxn ang="0">
                    <a:pos x="46" y="30"/>
                  </a:cxn>
                  <a:cxn ang="0">
                    <a:pos x="48" y="30"/>
                  </a:cxn>
                  <a:cxn ang="0">
                    <a:pos x="50" y="30"/>
                  </a:cxn>
                  <a:cxn ang="0">
                    <a:pos x="54" y="30"/>
                  </a:cxn>
                  <a:cxn ang="0">
                    <a:pos x="56" y="30"/>
                  </a:cxn>
                  <a:cxn ang="0">
                    <a:pos x="58" y="28"/>
                  </a:cxn>
                  <a:cxn ang="0">
                    <a:pos x="56" y="26"/>
                  </a:cxn>
                  <a:cxn ang="0">
                    <a:pos x="54" y="24"/>
                  </a:cxn>
                  <a:cxn ang="0">
                    <a:pos x="54" y="22"/>
                  </a:cxn>
                  <a:cxn ang="0">
                    <a:pos x="54" y="20"/>
                  </a:cxn>
                  <a:cxn ang="0">
                    <a:pos x="54" y="18"/>
                  </a:cxn>
                  <a:cxn ang="0">
                    <a:pos x="54" y="18"/>
                  </a:cxn>
                  <a:cxn ang="0">
                    <a:pos x="52" y="18"/>
                  </a:cxn>
                  <a:cxn ang="0">
                    <a:pos x="48" y="16"/>
                  </a:cxn>
                  <a:cxn ang="0">
                    <a:pos x="46" y="16"/>
                  </a:cxn>
                  <a:cxn ang="0">
                    <a:pos x="46" y="14"/>
                  </a:cxn>
                  <a:cxn ang="0">
                    <a:pos x="48" y="12"/>
                  </a:cxn>
                  <a:cxn ang="0">
                    <a:pos x="48" y="12"/>
                  </a:cxn>
                  <a:cxn ang="0">
                    <a:pos x="48" y="10"/>
                  </a:cxn>
                  <a:cxn ang="0">
                    <a:pos x="46" y="8"/>
                  </a:cxn>
                  <a:cxn ang="0">
                    <a:pos x="44" y="8"/>
                  </a:cxn>
                  <a:cxn ang="0">
                    <a:pos x="42" y="4"/>
                  </a:cxn>
                  <a:cxn ang="0">
                    <a:pos x="38" y="4"/>
                  </a:cxn>
                  <a:cxn ang="0">
                    <a:pos x="32" y="6"/>
                  </a:cxn>
                  <a:cxn ang="0">
                    <a:pos x="28" y="8"/>
                  </a:cxn>
                  <a:cxn ang="0">
                    <a:pos x="26" y="8"/>
                  </a:cxn>
                  <a:cxn ang="0">
                    <a:pos x="26" y="6"/>
                  </a:cxn>
                  <a:cxn ang="0">
                    <a:pos x="26" y="4"/>
                  </a:cxn>
                  <a:cxn ang="0">
                    <a:pos x="26" y="2"/>
                  </a:cxn>
                  <a:cxn ang="0">
                    <a:pos x="26" y="2"/>
                  </a:cxn>
                  <a:cxn ang="0">
                    <a:pos x="24" y="2"/>
                  </a:cxn>
                  <a:cxn ang="0">
                    <a:pos x="20" y="2"/>
                  </a:cxn>
                  <a:cxn ang="0">
                    <a:pos x="16" y="0"/>
                  </a:cxn>
                  <a:cxn ang="0">
                    <a:pos x="14" y="2"/>
                  </a:cxn>
                  <a:cxn ang="0">
                    <a:pos x="10" y="4"/>
                  </a:cxn>
                  <a:cxn ang="0">
                    <a:pos x="8" y="8"/>
                  </a:cxn>
                  <a:cxn ang="0">
                    <a:pos x="4" y="16"/>
                  </a:cxn>
                  <a:cxn ang="0">
                    <a:pos x="4" y="18"/>
                  </a:cxn>
                  <a:cxn ang="0">
                    <a:pos x="4" y="18"/>
                  </a:cxn>
                  <a:cxn ang="0">
                    <a:pos x="2" y="18"/>
                  </a:cxn>
                  <a:cxn ang="0">
                    <a:pos x="0" y="20"/>
                  </a:cxn>
                  <a:cxn ang="0">
                    <a:pos x="2" y="22"/>
                  </a:cxn>
                  <a:cxn ang="0">
                    <a:pos x="2" y="24"/>
                  </a:cxn>
                  <a:cxn ang="0">
                    <a:pos x="6" y="26"/>
                  </a:cxn>
                  <a:cxn ang="0">
                    <a:pos x="10" y="28"/>
                  </a:cxn>
                  <a:cxn ang="0">
                    <a:pos x="12" y="30"/>
                  </a:cxn>
                  <a:cxn ang="0">
                    <a:pos x="14" y="28"/>
                  </a:cxn>
                  <a:cxn ang="0">
                    <a:pos x="14" y="28"/>
                  </a:cxn>
                  <a:cxn ang="0">
                    <a:pos x="14" y="28"/>
                  </a:cxn>
                  <a:cxn ang="0">
                    <a:pos x="14" y="30"/>
                  </a:cxn>
                  <a:cxn ang="0">
                    <a:pos x="16" y="32"/>
                  </a:cxn>
                  <a:cxn ang="0">
                    <a:pos x="20" y="32"/>
                  </a:cxn>
                </a:cxnLst>
                <a:rect l="0" t="0" r="r" b="b"/>
                <a:pathLst>
                  <a:path w="58" h="32">
                    <a:moveTo>
                      <a:pt x="20" y="32"/>
                    </a:moveTo>
                    <a:lnTo>
                      <a:pt x="22" y="32"/>
                    </a:lnTo>
                    <a:lnTo>
                      <a:pt x="24" y="32"/>
                    </a:lnTo>
                    <a:lnTo>
                      <a:pt x="26" y="30"/>
                    </a:lnTo>
                    <a:lnTo>
                      <a:pt x="28" y="28"/>
                    </a:lnTo>
                    <a:lnTo>
                      <a:pt x="30" y="28"/>
                    </a:lnTo>
                    <a:lnTo>
                      <a:pt x="30" y="30"/>
                    </a:lnTo>
                    <a:lnTo>
                      <a:pt x="32" y="30"/>
                    </a:lnTo>
                    <a:lnTo>
                      <a:pt x="34" y="30"/>
                    </a:lnTo>
                    <a:lnTo>
                      <a:pt x="36" y="32"/>
                    </a:lnTo>
                    <a:lnTo>
                      <a:pt x="40" y="30"/>
                    </a:lnTo>
                    <a:lnTo>
                      <a:pt x="42" y="30"/>
                    </a:lnTo>
                    <a:lnTo>
                      <a:pt x="44" y="30"/>
                    </a:lnTo>
                    <a:lnTo>
                      <a:pt x="46" y="30"/>
                    </a:lnTo>
                    <a:lnTo>
                      <a:pt x="48" y="30"/>
                    </a:lnTo>
                    <a:lnTo>
                      <a:pt x="50" y="30"/>
                    </a:lnTo>
                    <a:lnTo>
                      <a:pt x="52" y="30"/>
                    </a:lnTo>
                    <a:lnTo>
                      <a:pt x="54" y="30"/>
                    </a:lnTo>
                    <a:lnTo>
                      <a:pt x="56" y="30"/>
                    </a:lnTo>
                    <a:lnTo>
                      <a:pt x="56" y="28"/>
                    </a:lnTo>
                    <a:lnTo>
                      <a:pt x="58" y="28"/>
                    </a:lnTo>
                    <a:lnTo>
                      <a:pt x="58" y="26"/>
                    </a:lnTo>
                    <a:lnTo>
                      <a:pt x="56" y="26"/>
                    </a:lnTo>
                    <a:lnTo>
                      <a:pt x="56" y="24"/>
                    </a:lnTo>
                    <a:lnTo>
                      <a:pt x="54" y="24"/>
                    </a:lnTo>
                    <a:lnTo>
                      <a:pt x="54" y="22"/>
                    </a:lnTo>
                    <a:lnTo>
                      <a:pt x="54" y="20"/>
                    </a:lnTo>
                    <a:lnTo>
                      <a:pt x="54" y="18"/>
                    </a:lnTo>
                    <a:lnTo>
                      <a:pt x="52" y="18"/>
                    </a:lnTo>
                    <a:lnTo>
                      <a:pt x="48" y="16"/>
                    </a:lnTo>
                    <a:lnTo>
                      <a:pt x="46" y="16"/>
                    </a:lnTo>
                    <a:lnTo>
                      <a:pt x="46" y="14"/>
                    </a:lnTo>
                    <a:lnTo>
                      <a:pt x="46" y="12"/>
                    </a:lnTo>
                    <a:lnTo>
                      <a:pt x="48" y="12"/>
                    </a:lnTo>
                    <a:lnTo>
                      <a:pt x="48" y="10"/>
                    </a:lnTo>
                    <a:lnTo>
                      <a:pt x="46" y="10"/>
                    </a:lnTo>
                    <a:lnTo>
                      <a:pt x="46" y="8"/>
                    </a:lnTo>
                    <a:lnTo>
                      <a:pt x="44" y="8"/>
                    </a:lnTo>
                    <a:lnTo>
                      <a:pt x="42" y="6"/>
                    </a:lnTo>
                    <a:lnTo>
                      <a:pt x="42" y="4"/>
                    </a:lnTo>
                    <a:lnTo>
                      <a:pt x="40" y="4"/>
                    </a:lnTo>
                    <a:lnTo>
                      <a:pt x="38" y="4"/>
                    </a:lnTo>
                    <a:lnTo>
                      <a:pt x="34" y="4"/>
                    </a:lnTo>
                    <a:lnTo>
                      <a:pt x="32" y="6"/>
                    </a:lnTo>
                    <a:lnTo>
                      <a:pt x="30" y="6"/>
                    </a:lnTo>
                    <a:lnTo>
                      <a:pt x="28" y="8"/>
                    </a:lnTo>
                    <a:lnTo>
                      <a:pt x="26" y="8"/>
                    </a:lnTo>
                    <a:lnTo>
                      <a:pt x="26" y="6"/>
                    </a:lnTo>
                    <a:lnTo>
                      <a:pt x="26" y="4"/>
                    </a:lnTo>
                    <a:lnTo>
                      <a:pt x="26" y="2"/>
                    </a:lnTo>
                    <a:lnTo>
                      <a:pt x="24" y="2"/>
                    </a:lnTo>
                    <a:lnTo>
                      <a:pt x="22" y="2"/>
                    </a:lnTo>
                    <a:lnTo>
                      <a:pt x="20" y="2"/>
                    </a:lnTo>
                    <a:lnTo>
                      <a:pt x="16" y="0"/>
                    </a:lnTo>
                    <a:lnTo>
                      <a:pt x="14" y="0"/>
                    </a:lnTo>
                    <a:lnTo>
                      <a:pt x="14" y="2"/>
                    </a:lnTo>
                    <a:lnTo>
                      <a:pt x="12" y="2"/>
                    </a:lnTo>
                    <a:lnTo>
                      <a:pt x="10" y="4"/>
                    </a:lnTo>
                    <a:lnTo>
                      <a:pt x="10" y="6"/>
                    </a:lnTo>
                    <a:lnTo>
                      <a:pt x="8" y="8"/>
                    </a:lnTo>
                    <a:lnTo>
                      <a:pt x="6" y="12"/>
                    </a:lnTo>
                    <a:lnTo>
                      <a:pt x="4" y="16"/>
                    </a:lnTo>
                    <a:lnTo>
                      <a:pt x="4" y="18"/>
                    </a:lnTo>
                    <a:lnTo>
                      <a:pt x="2" y="18"/>
                    </a:lnTo>
                    <a:lnTo>
                      <a:pt x="2" y="20"/>
                    </a:lnTo>
                    <a:lnTo>
                      <a:pt x="0" y="20"/>
                    </a:lnTo>
                    <a:lnTo>
                      <a:pt x="2" y="22"/>
                    </a:lnTo>
                    <a:lnTo>
                      <a:pt x="2" y="24"/>
                    </a:lnTo>
                    <a:lnTo>
                      <a:pt x="4" y="24"/>
                    </a:lnTo>
                    <a:lnTo>
                      <a:pt x="6" y="26"/>
                    </a:lnTo>
                    <a:lnTo>
                      <a:pt x="8" y="28"/>
                    </a:lnTo>
                    <a:lnTo>
                      <a:pt x="10" y="28"/>
                    </a:lnTo>
                    <a:lnTo>
                      <a:pt x="12" y="30"/>
                    </a:lnTo>
                    <a:lnTo>
                      <a:pt x="14" y="28"/>
                    </a:lnTo>
                    <a:lnTo>
                      <a:pt x="14" y="30"/>
                    </a:lnTo>
                    <a:lnTo>
                      <a:pt x="16" y="30"/>
                    </a:lnTo>
                    <a:lnTo>
                      <a:pt x="16" y="32"/>
                    </a:lnTo>
                    <a:lnTo>
                      <a:pt x="18" y="32"/>
                    </a:lnTo>
                    <a:lnTo>
                      <a:pt x="20" y="3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3" name="Freeform 190">
                <a:extLst>
                  <a:ext uri="{FF2B5EF4-FFF2-40B4-BE49-F238E27FC236}">
                    <a16:creationId xmlns:a16="http://schemas.microsoft.com/office/drawing/2014/main" id="{64D8784E-742A-4319-8967-5617CCDC4A22}"/>
                  </a:ext>
                </a:extLst>
              </p:cNvPr>
              <p:cNvSpPr>
                <a:spLocks noChangeAspect="1"/>
              </p:cNvSpPr>
              <p:nvPr/>
            </p:nvSpPr>
            <p:spPr bwMode="auto">
              <a:xfrm>
                <a:off x="6805237" y="3367909"/>
                <a:ext cx="144704" cy="174396"/>
              </a:xfrm>
              <a:custGeom>
                <a:avLst/>
                <a:gdLst/>
                <a:ahLst/>
                <a:cxnLst>
                  <a:cxn ang="0">
                    <a:pos x="32" y="88"/>
                  </a:cxn>
                  <a:cxn ang="0">
                    <a:pos x="32" y="84"/>
                  </a:cxn>
                  <a:cxn ang="0">
                    <a:pos x="40" y="86"/>
                  </a:cxn>
                  <a:cxn ang="0">
                    <a:pos x="50" y="88"/>
                  </a:cxn>
                  <a:cxn ang="0">
                    <a:pos x="50" y="80"/>
                  </a:cxn>
                  <a:cxn ang="0">
                    <a:pos x="58" y="84"/>
                  </a:cxn>
                  <a:cxn ang="0">
                    <a:pos x="66" y="82"/>
                  </a:cxn>
                  <a:cxn ang="0">
                    <a:pos x="66" y="76"/>
                  </a:cxn>
                  <a:cxn ang="0">
                    <a:pos x="64" y="72"/>
                  </a:cxn>
                  <a:cxn ang="0">
                    <a:pos x="74" y="82"/>
                  </a:cxn>
                  <a:cxn ang="0">
                    <a:pos x="76" y="84"/>
                  </a:cxn>
                  <a:cxn ang="0">
                    <a:pos x="74" y="96"/>
                  </a:cxn>
                  <a:cxn ang="0">
                    <a:pos x="80" y="98"/>
                  </a:cxn>
                  <a:cxn ang="0">
                    <a:pos x="86" y="98"/>
                  </a:cxn>
                  <a:cxn ang="0">
                    <a:pos x="86" y="92"/>
                  </a:cxn>
                  <a:cxn ang="0">
                    <a:pos x="86" y="84"/>
                  </a:cxn>
                  <a:cxn ang="0">
                    <a:pos x="84" y="82"/>
                  </a:cxn>
                  <a:cxn ang="0">
                    <a:pos x="78" y="68"/>
                  </a:cxn>
                  <a:cxn ang="0">
                    <a:pos x="76" y="56"/>
                  </a:cxn>
                  <a:cxn ang="0">
                    <a:pos x="68" y="56"/>
                  </a:cxn>
                  <a:cxn ang="0">
                    <a:pos x="66" y="66"/>
                  </a:cxn>
                  <a:cxn ang="0">
                    <a:pos x="64" y="66"/>
                  </a:cxn>
                  <a:cxn ang="0">
                    <a:pos x="64" y="64"/>
                  </a:cxn>
                  <a:cxn ang="0">
                    <a:pos x="56" y="60"/>
                  </a:cxn>
                  <a:cxn ang="0">
                    <a:pos x="58" y="46"/>
                  </a:cxn>
                  <a:cxn ang="0">
                    <a:pos x="68" y="42"/>
                  </a:cxn>
                  <a:cxn ang="0">
                    <a:pos x="70" y="32"/>
                  </a:cxn>
                  <a:cxn ang="0">
                    <a:pos x="72" y="32"/>
                  </a:cxn>
                  <a:cxn ang="0">
                    <a:pos x="68" y="26"/>
                  </a:cxn>
                  <a:cxn ang="0">
                    <a:pos x="62" y="24"/>
                  </a:cxn>
                  <a:cxn ang="0">
                    <a:pos x="54" y="28"/>
                  </a:cxn>
                  <a:cxn ang="0">
                    <a:pos x="48" y="26"/>
                  </a:cxn>
                  <a:cxn ang="0">
                    <a:pos x="34" y="26"/>
                  </a:cxn>
                  <a:cxn ang="0">
                    <a:pos x="30" y="22"/>
                  </a:cxn>
                  <a:cxn ang="0">
                    <a:pos x="30" y="16"/>
                  </a:cxn>
                  <a:cxn ang="0">
                    <a:pos x="28" y="14"/>
                  </a:cxn>
                  <a:cxn ang="0">
                    <a:pos x="26" y="6"/>
                  </a:cxn>
                  <a:cxn ang="0">
                    <a:pos x="22" y="8"/>
                  </a:cxn>
                  <a:cxn ang="0">
                    <a:pos x="20" y="10"/>
                  </a:cxn>
                  <a:cxn ang="0">
                    <a:pos x="14" y="2"/>
                  </a:cxn>
                  <a:cxn ang="0">
                    <a:pos x="10" y="0"/>
                  </a:cxn>
                  <a:cxn ang="0">
                    <a:pos x="10" y="4"/>
                  </a:cxn>
                  <a:cxn ang="0">
                    <a:pos x="4" y="0"/>
                  </a:cxn>
                  <a:cxn ang="0">
                    <a:pos x="0" y="0"/>
                  </a:cxn>
                  <a:cxn ang="0">
                    <a:pos x="2" y="4"/>
                  </a:cxn>
                  <a:cxn ang="0">
                    <a:pos x="0" y="10"/>
                  </a:cxn>
                  <a:cxn ang="0">
                    <a:pos x="4" y="18"/>
                  </a:cxn>
                  <a:cxn ang="0">
                    <a:pos x="12" y="20"/>
                  </a:cxn>
                  <a:cxn ang="0">
                    <a:pos x="14" y="24"/>
                  </a:cxn>
                  <a:cxn ang="0">
                    <a:pos x="10" y="26"/>
                  </a:cxn>
                  <a:cxn ang="0">
                    <a:pos x="6" y="28"/>
                  </a:cxn>
                  <a:cxn ang="0">
                    <a:pos x="6" y="32"/>
                  </a:cxn>
                  <a:cxn ang="0">
                    <a:pos x="2" y="36"/>
                  </a:cxn>
                  <a:cxn ang="0">
                    <a:pos x="12" y="40"/>
                  </a:cxn>
                  <a:cxn ang="0">
                    <a:pos x="16" y="46"/>
                  </a:cxn>
                  <a:cxn ang="0">
                    <a:pos x="12" y="52"/>
                  </a:cxn>
                  <a:cxn ang="0">
                    <a:pos x="14" y="60"/>
                  </a:cxn>
                  <a:cxn ang="0">
                    <a:pos x="20" y="66"/>
                  </a:cxn>
                  <a:cxn ang="0">
                    <a:pos x="22" y="70"/>
                  </a:cxn>
                  <a:cxn ang="0">
                    <a:pos x="24" y="78"/>
                  </a:cxn>
                  <a:cxn ang="0">
                    <a:pos x="26" y="86"/>
                  </a:cxn>
                  <a:cxn ang="0">
                    <a:pos x="24" y="90"/>
                  </a:cxn>
                </a:cxnLst>
                <a:rect l="0" t="0" r="r" b="b"/>
                <a:pathLst>
                  <a:path w="88" h="100">
                    <a:moveTo>
                      <a:pt x="32" y="98"/>
                    </a:moveTo>
                    <a:lnTo>
                      <a:pt x="32" y="94"/>
                    </a:lnTo>
                    <a:lnTo>
                      <a:pt x="32" y="92"/>
                    </a:lnTo>
                    <a:lnTo>
                      <a:pt x="32" y="90"/>
                    </a:lnTo>
                    <a:lnTo>
                      <a:pt x="32" y="88"/>
                    </a:lnTo>
                    <a:lnTo>
                      <a:pt x="32" y="86"/>
                    </a:lnTo>
                    <a:lnTo>
                      <a:pt x="32" y="84"/>
                    </a:lnTo>
                    <a:lnTo>
                      <a:pt x="34" y="84"/>
                    </a:lnTo>
                    <a:lnTo>
                      <a:pt x="38" y="86"/>
                    </a:lnTo>
                    <a:lnTo>
                      <a:pt x="40" y="86"/>
                    </a:lnTo>
                    <a:lnTo>
                      <a:pt x="42" y="88"/>
                    </a:lnTo>
                    <a:lnTo>
                      <a:pt x="46" y="88"/>
                    </a:lnTo>
                    <a:lnTo>
                      <a:pt x="48" y="90"/>
                    </a:lnTo>
                    <a:lnTo>
                      <a:pt x="50" y="90"/>
                    </a:lnTo>
                    <a:lnTo>
                      <a:pt x="50" y="88"/>
                    </a:lnTo>
                    <a:lnTo>
                      <a:pt x="50" y="86"/>
                    </a:lnTo>
                    <a:lnTo>
                      <a:pt x="50" y="84"/>
                    </a:lnTo>
                    <a:lnTo>
                      <a:pt x="50" y="82"/>
                    </a:lnTo>
                    <a:lnTo>
                      <a:pt x="50" y="80"/>
                    </a:lnTo>
                    <a:lnTo>
                      <a:pt x="52" y="80"/>
                    </a:lnTo>
                    <a:lnTo>
                      <a:pt x="54" y="82"/>
                    </a:lnTo>
                    <a:lnTo>
                      <a:pt x="56" y="84"/>
                    </a:lnTo>
                    <a:lnTo>
                      <a:pt x="58" y="84"/>
                    </a:lnTo>
                    <a:lnTo>
                      <a:pt x="60" y="86"/>
                    </a:lnTo>
                    <a:lnTo>
                      <a:pt x="62" y="86"/>
                    </a:lnTo>
                    <a:lnTo>
                      <a:pt x="64" y="86"/>
                    </a:lnTo>
                    <a:lnTo>
                      <a:pt x="66" y="84"/>
                    </a:lnTo>
                    <a:lnTo>
                      <a:pt x="66" y="82"/>
                    </a:lnTo>
                    <a:lnTo>
                      <a:pt x="68" y="82"/>
                    </a:lnTo>
                    <a:lnTo>
                      <a:pt x="68" y="80"/>
                    </a:lnTo>
                    <a:lnTo>
                      <a:pt x="66" y="80"/>
                    </a:lnTo>
                    <a:lnTo>
                      <a:pt x="66" y="76"/>
                    </a:lnTo>
                    <a:lnTo>
                      <a:pt x="66" y="74"/>
                    </a:lnTo>
                    <a:lnTo>
                      <a:pt x="64" y="72"/>
                    </a:lnTo>
                    <a:lnTo>
                      <a:pt x="66" y="74"/>
                    </a:lnTo>
                    <a:lnTo>
                      <a:pt x="68" y="76"/>
                    </a:lnTo>
                    <a:lnTo>
                      <a:pt x="70" y="76"/>
                    </a:lnTo>
                    <a:lnTo>
                      <a:pt x="70" y="78"/>
                    </a:lnTo>
                    <a:lnTo>
                      <a:pt x="72" y="80"/>
                    </a:lnTo>
                    <a:lnTo>
                      <a:pt x="74" y="82"/>
                    </a:lnTo>
                    <a:lnTo>
                      <a:pt x="76" y="84"/>
                    </a:lnTo>
                    <a:lnTo>
                      <a:pt x="74" y="86"/>
                    </a:lnTo>
                    <a:lnTo>
                      <a:pt x="74" y="88"/>
                    </a:lnTo>
                    <a:lnTo>
                      <a:pt x="74" y="90"/>
                    </a:lnTo>
                    <a:lnTo>
                      <a:pt x="74" y="92"/>
                    </a:lnTo>
                    <a:lnTo>
                      <a:pt x="74" y="96"/>
                    </a:lnTo>
                    <a:lnTo>
                      <a:pt x="74" y="98"/>
                    </a:lnTo>
                    <a:lnTo>
                      <a:pt x="74" y="100"/>
                    </a:lnTo>
                    <a:lnTo>
                      <a:pt x="76" y="100"/>
                    </a:lnTo>
                    <a:lnTo>
                      <a:pt x="78" y="100"/>
                    </a:lnTo>
                    <a:lnTo>
                      <a:pt x="80" y="98"/>
                    </a:lnTo>
                    <a:lnTo>
                      <a:pt x="80" y="96"/>
                    </a:lnTo>
                    <a:lnTo>
                      <a:pt x="82" y="96"/>
                    </a:lnTo>
                    <a:lnTo>
                      <a:pt x="84" y="98"/>
                    </a:lnTo>
                    <a:lnTo>
                      <a:pt x="86" y="98"/>
                    </a:lnTo>
                    <a:lnTo>
                      <a:pt x="88" y="98"/>
                    </a:lnTo>
                    <a:lnTo>
                      <a:pt x="86" y="94"/>
                    </a:lnTo>
                    <a:lnTo>
                      <a:pt x="86" y="92"/>
                    </a:lnTo>
                    <a:lnTo>
                      <a:pt x="86" y="90"/>
                    </a:lnTo>
                    <a:lnTo>
                      <a:pt x="86" y="88"/>
                    </a:lnTo>
                    <a:lnTo>
                      <a:pt x="86" y="86"/>
                    </a:lnTo>
                    <a:lnTo>
                      <a:pt x="86" y="84"/>
                    </a:lnTo>
                    <a:lnTo>
                      <a:pt x="84" y="82"/>
                    </a:lnTo>
                    <a:lnTo>
                      <a:pt x="84" y="80"/>
                    </a:lnTo>
                    <a:lnTo>
                      <a:pt x="82" y="76"/>
                    </a:lnTo>
                    <a:lnTo>
                      <a:pt x="82" y="74"/>
                    </a:lnTo>
                    <a:lnTo>
                      <a:pt x="80" y="70"/>
                    </a:lnTo>
                    <a:lnTo>
                      <a:pt x="78" y="68"/>
                    </a:lnTo>
                    <a:lnTo>
                      <a:pt x="78" y="66"/>
                    </a:lnTo>
                    <a:lnTo>
                      <a:pt x="78" y="64"/>
                    </a:lnTo>
                    <a:lnTo>
                      <a:pt x="76" y="60"/>
                    </a:lnTo>
                    <a:lnTo>
                      <a:pt x="76" y="58"/>
                    </a:lnTo>
                    <a:lnTo>
                      <a:pt x="76" y="56"/>
                    </a:lnTo>
                    <a:lnTo>
                      <a:pt x="74" y="54"/>
                    </a:lnTo>
                    <a:lnTo>
                      <a:pt x="72" y="54"/>
                    </a:lnTo>
                    <a:lnTo>
                      <a:pt x="70" y="54"/>
                    </a:lnTo>
                    <a:lnTo>
                      <a:pt x="68" y="54"/>
                    </a:lnTo>
                    <a:lnTo>
                      <a:pt x="68" y="56"/>
                    </a:lnTo>
                    <a:lnTo>
                      <a:pt x="68" y="58"/>
                    </a:lnTo>
                    <a:lnTo>
                      <a:pt x="68" y="60"/>
                    </a:lnTo>
                    <a:lnTo>
                      <a:pt x="68" y="64"/>
                    </a:lnTo>
                    <a:lnTo>
                      <a:pt x="66" y="66"/>
                    </a:lnTo>
                    <a:lnTo>
                      <a:pt x="66" y="68"/>
                    </a:lnTo>
                    <a:lnTo>
                      <a:pt x="64" y="66"/>
                    </a:lnTo>
                    <a:lnTo>
                      <a:pt x="64" y="64"/>
                    </a:lnTo>
                    <a:lnTo>
                      <a:pt x="62" y="64"/>
                    </a:lnTo>
                    <a:lnTo>
                      <a:pt x="62" y="62"/>
                    </a:lnTo>
                    <a:lnTo>
                      <a:pt x="60" y="62"/>
                    </a:lnTo>
                    <a:lnTo>
                      <a:pt x="58" y="62"/>
                    </a:lnTo>
                    <a:lnTo>
                      <a:pt x="56" y="60"/>
                    </a:lnTo>
                    <a:lnTo>
                      <a:pt x="56" y="58"/>
                    </a:lnTo>
                    <a:lnTo>
                      <a:pt x="56" y="56"/>
                    </a:lnTo>
                    <a:lnTo>
                      <a:pt x="56" y="52"/>
                    </a:lnTo>
                    <a:lnTo>
                      <a:pt x="56" y="50"/>
                    </a:lnTo>
                    <a:lnTo>
                      <a:pt x="58" y="46"/>
                    </a:lnTo>
                    <a:lnTo>
                      <a:pt x="60" y="46"/>
                    </a:lnTo>
                    <a:lnTo>
                      <a:pt x="62" y="44"/>
                    </a:lnTo>
                    <a:lnTo>
                      <a:pt x="64" y="44"/>
                    </a:lnTo>
                    <a:lnTo>
                      <a:pt x="66" y="44"/>
                    </a:lnTo>
                    <a:lnTo>
                      <a:pt x="68" y="42"/>
                    </a:lnTo>
                    <a:lnTo>
                      <a:pt x="68" y="38"/>
                    </a:lnTo>
                    <a:lnTo>
                      <a:pt x="68" y="34"/>
                    </a:lnTo>
                    <a:lnTo>
                      <a:pt x="70" y="32"/>
                    </a:lnTo>
                    <a:lnTo>
                      <a:pt x="72" y="32"/>
                    </a:lnTo>
                    <a:lnTo>
                      <a:pt x="72" y="30"/>
                    </a:lnTo>
                    <a:lnTo>
                      <a:pt x="72" y="28"/>
                    </a:lnTo>
                    <a:lnTo>
                      <a:pt x="70" y="26"/>
                    </a:lnTo>
                    <a:lnTo>
                      <a:pt x="68" y="26"/>
                    </a:lnTo>
                    <a:lnTo>
                      <a:pt x="68" y="24"/>
                    </a:lnTo>
                    <a:lnTo>
                      <a:pt x="66" y="24"/>
                    </a:lnTo>
                    <a:lnTo>
                      <a:pt x="64" y="24"/>
                    </a:lnTo>
                    <a:lnTo>
                      <a:pt x="62" y="24"/>
                    </a:lnTo>
                    <a:lnTo>
                      <a:pt x="60" y="26"/>
                    </a:lnTo>
                    <a:lnTo>
                      <a:pt x="58" y="26"/>
                    </a:lnTo>
                    <a:lnTo>
                      <a:pt x="56" y="28"/>
                    </a:lnTo>
                    <a:lnTo>
                      <a:pt x="54" y="28"/>
                    </a:lnTo>
                    <a:lnTo>
                      <a:pt x="52" y="28"/>
                    </a:lnTo>
                    <a:lnTo>
                      <a:pt x="50" y="28"/>
                    </a:lnTo>
                    <a:lnTo>
                      <a:pt x="48" y="26"/>
                    </a:lnTo>
                    <a:lnTo>
                      <a:pt x="46" y="26"/>
                    </a:lnTo>
                    <a:lnTo>
                      <a:pt x="42" y="26"/>
                    </a:lnTo>
                    <a:lnTo>
                      <a:pt x="40" y="26"/>
                    </a:lnTo>
                    <a:lnTo>
                      <a:pt x="36" y="26"/>
                    </a:lnTo>
                    <a:lnTo>
                      <a:pt x="34" y="26"/>
                    </a:lnTo>
                    <a:lnTo>
                      <a:pt x="32" y="26"/>
                    </a:lnTo>
                    <a:lnTo>
                      <a:pt x="30" y="24"/>
                    </a:lnTo>
                    <a:lnTo>
                      <a:pt x="30" y="22"/>
                    </a:lnTo>
                    <a:lnTo>
                      <a:pt x="30" y="20"/>
                    </a:lnTo>
                    <a:lnTo>
                      <a:pt x="30" y="18"/>
                    </a:lnTo>
                    <a:lnTo>
                      <a:pt x="30" y="16"/>
                    </a:lnTo>
                    <a:lnTo>
                      <a:pt x="28" y="16"/>
                    </a:lnTo>
                    <a:lnTo>
                      <a:pt x="28" y="14"/>
                    </a:lnTo>
                    <a:lnTo>
                      <a:pt x="28" y="12"/>
                    </a:lnTo>
                    <a:lnTo>
                      <a:pt x="28" y="10"/>
                    </a:lnTo>
                    <a:lnTo>
                      <a:pt x="26" y="8"/>
                    </a:lnTo>
                    <a:lnTo>
                      <a:pt x="26" y="6"/>
                    </a:lnTo>
                    <a:lnTo>
                      <a:pt x="24" y="6"/>
                    </a:lnTo>
                    <a:lnTo>
                      <a:pt x="22" y="6"/>
                    </a:lnTo>
                    <a:lnTo>
                      <a:pt x="22" y="8"/>
                    </a:lnTo>
                    <a:lnTo>
                      <a:pt x="22" y="10"/>
                    </a:lnTo>
                    <a:lnTo>
                      <a:pt x="20" y="10"/>
                    </a:lnTo>
                    <a:lnTo>
                      <a:pt x="18" y="8"/>
                    </a:lnTo>
                    <a:lnTo>
                      <a:pt x="16" y="8"/>
                    </a:lnTo>
                    <a:lnTo>
                      <a:pt x="16" y="6"/>
                    </a:lnTo>
                    <a:lnTo>
                      <a:pt x="14" y="2"/>
                    </a:lnTo>
                    <a:lnTo>
                      <a:pt x="14" y="0"/>
                    </a:lnTo>
                    <a:lnTo>
                      <a:pt x="12" y="0"/>
                    </a:lnTo>
                    <a:lnTo>
                      <a:pt x="10" y="0"/>
                    </a:lnTo>
                    <a:lnTo>
                      <a:pt x="10" y="2"/>
                    </a:lnTo>
                    <a:lnTo>
                      <a:pt x="10" y="4"/>
                    </a:lnTo>
                    <a:lnTo>
                      <a:pt x="8" y="2"/>
                    </a:lnTo>
                    <a:lnTo>
                      <a:pt x="6" y="2"/>
                    </a:lnTo>
                    <a:lnTo>
                      <a:pt x="6" y="0"/>
                    </a:lnTo>
                    <a:lnTo>
                      <a:pt x="4" y="0"/>
                    </a:lnTo>
                    <a:lnTo>
                      <a:pt x="2" y="0"/>
                    </a:lnTo>
                    <a:lnTo>
                      <a:pt x="0" y="0"/>
                    </a:lnTo>
                    <a:lnTo>
                      <a:pt x="2" y="0"/>
                    </a:lnTo>
                    <a:lnTo>
                      <a:pt x="2" y="2"/>
                    </a:lnTo>
                    <a:lnTo>
                      <a:pt x="2" y="4"/>
                    </a:lnTo>
                    <a:lnTo>
                      <a:pt x="2" y="6"/>
                    </a:lnTo>
                    <a:lnTo>
                      <a:pt x="0" y="6"/>
                    </a:lnTo>
                    <a:lnTo>
                      <a:pt x="0" y="10"/>
                    </a:lnTo>
                    <a:lnTo>
                      <a:pt x="0" y="12"/>
                    </a:lnTo>
                    <a:lnTo>
                      <a:pt x="0" y="14"/>
                    </a:lnTo>
                    <a:lnTo>
                      <a:pt x="0" y="16"/>
                    </a:lnTo>
                    <a:lnTo>
                      <a:pt x="2" y="16"/>
                    </a:lnTo>
                    <a:lnTo>
                      <a:pt x="4" y="18"/>
                    </a:lnTo>
                    <a:lnTo>
                      <a:pt x="6" y="18"/>
                    </a:lnTo>
                    <a:lnTo>
                      <a:pt x="8" y="20"/>
                    </a:lnTo>
                    <a:lnTo>
                      <a:pt x="10" y="20"/>
                    </a:lnTo>
                    <a:lnTo>
                      <a:pt x="12" y="20"/>
                    </a:lnTo>
                    <a:lnTo>
                      <a:pt x="12" y="22"/>
                    </a:lnTo>
                    <a:lnTo>
                      <a:pt x="14" y="22"/>
                    </a:lnTo>
                    <a:lnTo>
                      <a:pt x="14" y="24"/>
                    </a:lnTo>
                    <a:lnTo>
                      <a:pt x="16" y="26"/>
                    </a:lnTo>
                    <a:lnTo>
                      <a:pt x="12" y="26"/>
                    </a:lnTo>
                    <a:lnTo>
                      <a:pt x="10" y="26"/>
                    </a:lnTo>
                    <a:lnTo>
                      <a:pt x="8" y="26"/>
                    </a:lnTo>
                    <a:lnTo>
                      <a:pt x="6" y="26"/>
                    </a:lnTo>
                    <a:lnTo>
                      <a:pt x="6" y="28"/>
                    </a:lnTo>
                    <a:lnTo>
                      <a:pt x="6" y="30"/>
                    </a:lnTo>
                    <a:lnTo>
                      <a:pt x="6" y="32"/>
                    </a:lnTo>
                    <a:lnTo>
                      <a:pt x="4" y="34"/>
                    </a:lnTo>
                    <a:lnTo>
                      <a:pt x="2" y="34"/>
                    </a:lnTo>
                    <a:lnTo>
                      <a:pt x="2" y="36"/>
                    </a:lnTo>
                    <a:lnTo>
                      <a:pt x="4" y="38"/>
                    </a:lnTo>
                    <a:lnTo>
                      <a:pt x="8" y="40"/>
                    </a:lnTo>
                    <a:lnTo>
                      <a:pt x="12" y="40"/>
                    </a:lnTo>
                    <a:lnTo>
                      <a:pt x="14" y="40"/>
                    </a:lnTo>
                    <a:lnTo>
                      <a:pt x="16" y="42"/>
                    </a:lnTo>
                    <a:lnTo>
                      <a:pt x="16" y="44"/>
                    </a:lnTo>
                    <a:lnTo>
                      <a:pt x="16" y="46"/>
                    </a:lnTo>
                    <a:lnTo>
                      <a:pt x="14" y="48"/>
                    </a:lnTo>
                    <a:lnTo>
                      <a:pt x="14" y="50"/>
                    </a:lnTo>
                    <a:lnTo>
                      <a:pt x="12" y="52"/>
                    </a:lnTo>
                    <a:lnTo>
                      <a:pt x="12" y="56"/>
                    </a:lnTo>
                    <a:lnTo>
                      <a:pt x="14" y="58"/>
                    </a:lnTo>
                    <a:lnTo>
                      <a:pt x="14" y="60"/>
                    </a:lnTo>
                    <a:lnTo>
                      <a:pt x="16" y="60"/>
                    </a:lnTo>
                    <a:lnTo>
                      <a:pt x="16" y="62"/>
                    </a:lnTo>
                    <a:lnTo>
                      <a:pt x="18" y="64"/>
                    </a:lnTo>
                    <a:lnTo>
                      <a:pt x="20" y="64"/>
                    </a:lnTo>
                    <a:lnTo>
                      <a:pt x="20" y="66"/>
                    </a:lnTo>
                    <a:lnTo>
                      <a:pt x="22" y="66"/>
                    </a:lnTo>
                    <a:lnTo>
                      <a:pt x="22" y="68"/>
                    </a:lnTo>
                    <a:lnTo>
                      <a:pt x="22" y="70"/>
                    </a:lnTo>
                    <a:lnTo>
                      <a:pt x="22" y="72"/>
                    </a:lnTo>
                    <a:lnTo>
                      <a:pt x="22" y="76"/>
                    </a:lnTo>
                    <a:lnTo>
                      <a:pt x="24" y="78"/>
                    </a:lnTo>
                    <a:lnTo>
                      <a:pt x="24" y="80"/>
                    </a:lnTo>
                    <a:lnTo>
                      <a:pt x="24" y="82"/>
                    </a:lnTo>
                    <a:lnTo>
                      <a:pt x="26" y="82"/>
                    </a:lnTo>
                    <a:lnTo>
                      <a:pt x="26" y="84"/>
                    </a:lnTo>
                    <a:lnTo>
                      <a:pt x="26" y="86"/>
                    </a:lnTo>
                    <a:lnTo>
                      <a:pt x="24" y="88"/>
                    </a:lnTo>
                    <a:lnTo>
                      <a:pt x="24" y="90"/>
                    </a:lnTo>
                    <a:lnTo>
                      <a:pt x="32" y="9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4" name="Freeform 191">
                <a:extLst>
                  <a:ext uri="{FF2B5EF4-FFF2-40B4-BE49-F238E27FC236}">
                    <a16:creationId xmlns:a16="http://schemas.microsoft.com/office/drawing/2014/main" id="{B48B6AF8-A165-40C6-86EE-5B5F4DFBA3D4}"/>
                  </a:ext>
                </a:extLst>
              </p:cNvPr>
              <p:cNvSpPr>
                <a:spLocks noChangeAspect="1"/>
              </p:cNvSpPr>
              <p:nvPr/>
            </p:nvSpPr>
            <p:spPr bwMode="auto">
              <a:xfrm>
                <a:off x="6279041" y="3050508"/>
                <a:ext cx="766272" cy="934764"/>
              </a:xfrm>
              <a:custGeom>
                <a:avLst/>
                <a:gdLst/>
                <a:ahLst/>
                <a:cxnLst>
                  <a:cxn ang="0">
                    <a:pos x="446" y="144"/>
                  </a:cxn>
                  <a:cxn ang="0">
                    <a:pos x="438" y="126"/>
                  </a:cxn>
                  <a:cxn ang="0">
                    <a:pos x="394" y="138"/>
                  </a:cxn>
                  <a:cxn ang="0">
                    <a:pos x="376" y="158"/>
                  </a:cxn>
                  <a:cxn ang="0">
                    <a:pos x="378" y="176"/>
                  </a:cxn>
                  <a:cxn ang="0">
                    <a:pos x="342" y="178"/>
                  </a:cxn>
                  <a:cxn ang="0">
                    <a:pos x="326" y="160"/>
                  </a:cxn>
                  <a:cxn ang="0">
                    <a:pos x="318" y="176"/>
                  </a:cxn>
                  <a:cxn ang="0">
                    <a:pos x="298" y="182"/>
                  </a:cxn>
                  <a:cxn ang="0">
                    <a:pos x="268" y="178"/>
                  </a:cxn>
                  <a:cxn ang="0">
                    <a:pos x="244" y="166"/>
                  </a:cxn>
                  <a:cxn ang="0">
                    <a:pos x="218" y="158"/>
                  </a:cxn>
                  <a:cxn ang="0">
                    <a:pos x="192" y="144"/>
                  </a:cxn>
                  <a:cxn ang="0">
                    <a:pos x="178" y="126"/>
                  </a:cxn>
                  <a:cxn ang="0">
                    <a:pos x="182" y="104"/>
                  </a:cxn>
                  <a:cxn ang="0">
                    <a:pos x="162" y="94"/>
                  </a:cxn>
                  <a:cxn ang="0">
                    <a:pos x="140" y="70"/>
                  </a:cxn>
                  <a:cxn ang="0">
                    <a:pos x="158" y="62"/>
                  </a:cxn>
                  <a:cxn ang="0">
                    <a:pos x="144" y="42"/>
                  </a:cxn>
                  <a:cxn ang="0">
                    <a:pos x="156" y="20"/>
                  </a:cxn>
                  <a:cxn ang="0">
                    <a:pos x="120" y="8"/>
                  </a:cxn>
                  <a:cxn ang="0">
                    <a:pos x="96" y="24"/>
                  </a:cxn>
                  <a:cxn ang="0">
                    <a:pos x="56" y="26"/>
                  </a:cxn>
                  <a:cxn ang="0">
                    <a:pos x="62" y="46"/>
                  </a:cxn>
                  <a:cxn ang="0">
                    <a:pos x="78" y="64"/>
                  </a:cxn>
                  <a:cxn ang="0">
                    <a:pos x="80" y="84"/>
                  </a:cxn>
                  <a:cxn ang="0">
                    <a:pos x="74" y="112"/>
                  </a:cxn>
                  <a:cxn ang="0">
                    <a:pos x="48" y="148"/>
                  </a:cxn>
                  <a:cxn ang="0">
                    <a:pos x="22" y="154"/>
                  </a:cxn>
                  <a:cxn ang="0">
                    <a:pos x="22" y="178"/>
                  </a:cxn>
                  <a:cxn ang="0">
                    <a:pos x="34" y="202"/>
                  </a:cxn>
                  <a:cxn ang="0">
                    <a:pos x="30" y="222"/>
                  </a:cxn>
                  <a:cxn ang="0">
                    <a:pos x="2" y="226"/>
                  </a:cxn>
                  <a:cxn ang="0">
                    <a:pos x="24" y="248"/>
                  </a:cxn>
                  <a:cxn ang="0">
                    <a:pos x="18" y="256"/>
                  </a:cxn>
                  <a:cxn ang="0">
                    <a:pos x="72" y="278"/>
                  </a:cxn>
                  <a:cxn ang="0">
                    <a:pos x="82" y="282"/>
                  </a:cxn>
                  <a:cxn ang="0">
                    <a:pos x="96" y="374"/>
                  </a:cxn>
                  <a:cxn ang="0">
                    <a:pos x="120" y="412"/>
                  </a:cxn>
                  <a:cxn ang="0">
                    <a:pos x="150" y="502"/>
                  </a:cxn>
                  <a:cxn ang="0">
                    <a:pos x="192" y="514"/>
                  </a:cxn>
                  <a:cxn ang="0">
                    <a:pos x="218" y="486"/>
                  </a:cxn>
                  <a:cxn ang="0">
                    <a:pos x="210" y="418"/>
                  </a:cxn>
                  <a:cxn ang="0">
                    <a:pos x="234" y="374"/>
                  </a:cxn>
                  <a:cxn ang="0">
                    <a:pos x="268" y="342"/>
                  </a:cxn>
                  <a:cxn ang="0">
                    <a:pos x="298" y="312"/>
                  </a:cxn>
                  <a:cxn ang="0">
                    <a:pos x="312" y="280"/>
                  </a:cxn>
                  <a:cxn ang="0">
                    <a:pos x="336" y="266"/>
                  </a:cxn>
                  <a:cxn ang="0">
                    <a:pos x="346" y="264"/>
                  </a:cxn>
                  <a:cxn ang="0">
                    <a:pos x="334" y="234"/>
                  </a:cxn>
                  <a:cxn ang="0">
                    <a:pos x="334" y="206"/>
                  </a:cxn>
                  <a:cxn ang="0">
                    <a:pos x="324" y="184"/>
                  </a:cxn>
                  <a:cxn ang="0">
                    <a:pos x="334" y="182"/>
                  </a:cxn>
                  <a:cxn ang="0">
                    <a:pos x="350" y="198"/>
                  </a:cxn>
                  <a:cxn ang="0">
                    <a:pos x="384" y="204"/>
                  </a:cxn>
                  <a:cxn ang="0">
                    <a:pos x="378" y="228"/>
                  </a:cxn>
                  <a:cxn ang="0">
                    <a:pos x="388" y="236"/>
                  </a:cxn>
                  <a:cxn ang="0">
                    <a:pos x="410" y="264"/>
                  </a:cxn>
                  <a:cxn ang="0">
                    <a:pos x="414" y="238"/>
                  </a:cxn>
                  <a:cxn ang="0">
                    <a:pos x="428" y="226"/>
                  </a:cxn>
                  <a:cxn ang="0">
                    <a:pos x="436" y="192"/>
                  </a:cxn>
                  <a:cxn ang="0">
                    <a:pos x="454" y="168"/>
                  </a:cxn>
                </a:cxnLst>
                <a:rect l="0" t="0" r="r" b="b"/>
                <a:pathLst>
                  <a:path w="466" h="536">
                    <a:moveTo>
                      <a:pt x="456" y="160"/>
                    </a:moveTo>
                    <a:lnTo>
                      <a:pt x="458" y="158"/>
                    </a:lnTo>
                    <a:lnTo>
                      <a:pt x="460" y="156"/>
                    </a:lnTo>
                    <a:lnTo>
                      <a:pt x="462" y="156"/>
                    </a:lnTo>
                    <a:lnTo>
                      <a:pt x="462" y="154"/>
                    </a:lnTo>
                    <a:lnTo>
                      <a:pt x="464" y="154"/>
                    </a:lnTo>
                    <a:lnTo>
                      <a:pt x="466" y="154"/>
                    </a:lnTo>
                    <a:lnTo>
                      <a:pt x="466" y="152"/>
                    </a:lnTo>
                    <a:lnTo>
                      <a:pt x="466" y="150"/>
                    </a:lnTo>
                    <a:lnTo>
                      <a:pt x="464" y="148"/>
                    </a:lnTo>
                    <a:lnTo>
                      <a:pt x="462" y="146"/>
                    </a:lnTo>
                    <a:lnTo>
                      <a:pt x="460" y="146"/>
                    </a:lnTo>
                    <a:lnTo>
                      <a:pt x="458" y="146"/>
                    </a:lnTo>
                    <a:lnTo>
                      <a:pt x="456" y="146"/>
                    </a:lnTo>
                    <a:lnTo>
                      <a:pt x="454" y="146"/>
                    </a:lnTo>
                    <a:lnTo>
                      <a:pt x="452" y="146"/>
                    </a:lnTo>
                    <a:lnTo>
                      <a:pt x="450" y="146"/>
                    </a:lnTo>
                    <a:lnTo>
                      <a:pt x="446" y="146"/>
                    </a:lnTo>
                    <a:lnTo>
                      <a:pt x="446" y="144"/>
                    </a:lnTo>
                    <a:lnTo>
                      <a:pt x="448" y="142"/>
                    </a:lnTo>
                    <a:lnTo>
                      <a:pt x="450" y="142"/>
                    </a:lnTo>
                    <a:lnTo>
                      <a:pt x="450" y="140"/>
                    </a:lnTo>
                    <a:lnTo>
                      <a:pt x="452" y="140"/>
                    </a:lnTo>
                    <a:lnTo>
                      <a:pt x="450" y="138"/>
                    </a:lnTo>
                    <a:lnTo>
                      <a:pt x="448" y="136"/>
                    </a:lnTo>
                    <a:lnTo>
                      <a:pt x="448" y="134"/>
                    </a:lnTo>
                    <a:lnTo>
                      <a:pt x="446" y="134"/>
                    </a:lnTo>
                    <a:lnTo>
                      <a:pt x="444" y="134"/>
                    </a:lnTo>
                    <a:lnTo>
                      <a:pt x="442" y="134"/>
                    </a:lnTo>
                    <a:lnTo>
                      <a:pt x="440" y="134"/>
                    </a:lnTo>
                    <a:lnTo>
                      <a:pt x="438" y="132"/>
                    </a:lnTo>
                    <a:lnTo>
                      <a:pt x="440" y="130"/>
                    </a:lnTo>
                    <a:lnTo>
                      <a:pt x="442" y="130"/>
                    </a:lnTo>
                    <a:lnTo>
                      <a:pt x="442" y="128"/>
                    </a:lnTo>
                    <a:lnTo>
                      <a:pt x="440" y="128"/>
                    </a:lnTo>
                    <a:lnTo>
                      <a:pt x="438" y="128"/>
                    </a:lnTo>
                    <a:lnTo>
                      <a:pt x="438" y="126"/>
                    </a:lnTo>
                    <a:lnTo>
                      <a:pt x="436" y="126"/>
                    </a:lnTo>
                    <a:lnTo>
                      <a:pt x="434" y="124"/>
                    </a:lnTo>
                    <a:lnTo>
                      <a:pt x="432" y="124"/>
                    </a:lnTo>
                    <a:lnTo>
                      <a:pt x="430" y="126"/>
                    </a:lnTo>
                    <a:lnTo>
                      <a:pt x="430" y="128"/>
                    </a:lnTo>
                    <a:lnTo>
                      <a:pt x="430" y="130"/>
                    </a:lnTo>
                    <a:lnTo>
                      <a:pt x="430" y="132"/>
                    </a:lnTo>
                    <a:lnTo>
                      <a:pt x="428" y="132"/>
                    </a:lnTo>
                    <a:lnTo>
                      <a:pt x="426" y="132"/>
                    </a:lnTo>
                    <a:lnTo>
                      <a:pt x="424" y="132"/>
                    </a:lnTo>
                    <a:lnTo>
                      <a:pt x="422" y="130"/>
                    </a:lnTo>
                    <a:lnTo>
                      <a:pt x="418" y="128"/>
                    </a:lnTo>
                    <a:lnTo>
                      <a:pt x="416" y="128"/>
                    </a:lnTo>
                    <a:lnTo>
                      <a:pt x="414" y="128"/>
                    </a:lnTo>
                    <a:lnTo>
                      <a:pt x="414" y="130"/>
                    </a:lnTo>
                    <a:lnTo>
                      <a:pt x="412" y="130"/>
                    </a:lnTo>
                    <a:lnTo>
                      <a:pt x="410" y="132"/>
                    </a:lnTo>
                    <a:lnTo>
                      <a:pt x="406" y="134"/>
                    </a:lnTo>
                    <a:lnTo>
                      <a:pt x="406" y="136"/>
                    </a:lnTo>
                    <a:lnTo>
                      <a:pt x="406" y="138"/>
                    </a:lnTo>
                    <a:lnTo>
                      <a:pt x="404" y="138"/>
                    </a:lnTo>
                    <a:lnTo>
                      <a:pt x="402" y="138"/>
                    </a:lnTo>
                    <a:lnTo>
                      <a:pt x="400" y="138"/>
                    </a:lnTo>
                    <a:lnTo>
                      <a:pt x="398" y="138"/>
                    </a:lnTo>
                    <a:lnTo>
                      <a:pt x="396" y="138"/>
                    </a:lnTo>
                    <a:lnTo>
                      <a:pt x="394" y="138"/>
                    </a:lnTo>
                    <a:lnTo>
                      <a:pt x="394" y="140"/>
                    </a:lnTo>
                    <a:lnTo>
                      <a:pt x="394" y="142"/>
                    </a:lnTo>
                    <a:lnTo>
                      <a:pt x="396" y="144"/>
                    </a:lnTo>
                    <a:lnTo>
                      <a:pt x="396" y="146"/>
                    </a:lnTo>
                    <a:lnTo>
                      <a:pt x="394" y="148"/>
                    </a:lnTo>
                    <a:lnTo>
                      <a:pt x="392" y="148"/>
                    </a:lnTo>
                    <a:lnTo>
                      <a:pt x="390" y="148"/>
                    </a:lnTo>
                    <a:lnTo>
                      <a:pt x="388" y="148"/>
                    </a:lnTo>
                    <a:lnTo>
                      <a:pt x="386" y="150"/>
                    </a:lnTo>
                    <a:lnTo>
                      <a:pt x="388" y="150"/>
                    </a:lnTo>
                    <a:lnTo>
                      <a:pt x="388" y="152"/>
                    </a:lnTo>
                    <a:lnTo>
                      <a:pt x="388" y="154"/>
                    </a:lnTo>
                    <a:lnTo>
                      <a:pt x="388" y="156"/>
                    </a:lnTo>
                    <a:lnTo>
                      <a:pt x="386" y="156"/>
                    </a:lnTo>
                    <a:lnTo>
                      <a:pt x="386" y="158"/>
                    </a:lnTo>
                    <a:lnTo>
                      <a:pt x="384" y="158"/>
                    </a:lnTo>
                    <a:lnTo>
                      <a:pt x="382" y="158"/>
                    </a:lnTo>
                    <a:lnTo>
                      <a:pt x="380" y="158"/>
                    </a:lnTo>
                    <a:lnTo>
                      <a:pt x="378" y="158"/>
                    </a:lnTo>
                    <a:lnTo>
                      <a:pt x="376" y="158"/>
                    </a:lnTo>
                    <a:lnTo>
                      <a:pt x="374" y="158"/>
                    </a:lnTo>
                    <a:lnTo>
                      <a:pt x="372" y="158"/>
                    </a:lnTo>
                    <a:lnTo>
                      <a:pt x="372" y="160"/>
                    </a:lnTo>
                    <a:lnTo>
                      <a:pt x="372" y="162"/>
                    </a:lnTo>
                    <a:lnTo>
                      <a:pt x="374" y="162"/>
                    </a:lnTo>
                    <a:lnTo>
                      <a:pt x="374" y="164"/>
                    </a:lnTo>
                    <a:lnTo>
                      <a:pt x="376" y="164"/>
                    </a:lnTo>
                    <a:lnTo>
                      <a:pt x="378" y="164"/>
                    </a:lnTo>
                    <a:lnTo>
                      <a:pt x="380" y="164"/>
                    </a:lnTo>
                    <a:lnTo>
                      <a:pt x="380" y="166"/>
                    </a:lnTo>
                    <a:lnTo>
                      <a:pt x="380" y="168"/>
                    </a:lnTo>
                    <a:lnTo>
                      <a:pt x="380" y="170"/>
                    </a:lnTo>
                    <a:lnTo>
                      <a:pt x="382" y="170"/>
                    </a:lnTo>
                    <a:lnTo>
                      <a:pt x="382" y="172"/>
                    </a:lnTo>
                    <a:lnTo>
                      <a:pt x="382" y="174"/>
                    </a:lnTo>
                    <a:lnTo>
                      <a:pt x="382" y="176"/>
                    </a:lnTo>
                    <a:lnTo>
                      <a:pt x="380" y="176"/>
                    </a:lnTo>
                    <a:lnTo>
                      <a:pt x="378" y="176"/>
                    </a:lnTo>
                    <a:lnTo>
                      <a:pt x="378" y="178"/>
                    </a:lnTo>
                    <a:lnTo>
                      <a:pt x="376" y="178"/>
                    </a:lnTo>
                    <a:lnTo>
                      <a:pt x="374" y="178"/>
                    </a:lnTo>
                    <a:lnTo>
                      <a:pt x="374" y="176"/>
                    </a:lnTo>
                    <a:lnTo>
                      <a:pt x="372" y="176"/>
                    </a:lnTo>
                    <a:lnTo>
                      <a:pt x="370" y="176"/>
                    </a:lnTo>
                    <a:lnTo>
                      <a:pt x="368" y="178"/>
                    </a:lnTo>
                    <a:lnTo>
                      <a:pt x="366" y="178"/>
                    </a:lnTo>
                    <a:lnTo>
                      <a:pt x="364" y="178"/>
                    </a:lnTo>
                    <a:lnTo>
                      <a:pt x="362" y="178"/>
                    </a:lnTo>
                    <a:lnTo>
                      <a:pt x="360" y="178"/>
                    </a:lnTo>
                    <a:lnTo>
                      <a:pt x="358" y="176"/>
                    </a:lnTo>
                    <a:lnTo>
                      <a:pt x="356" y="176"/>
                    </a:lnTo>
                    <a:lnTo>
                      <a:pt x="354" y="176"/>
                    </a:lnTo>
                    <a:lnTo>
                      <a:pt x="352" y="176"/>
                    </a:lnTo>
                    <a:lnTo>
                      <a:pt x="350" y="178"/>
                    </a:lnTo>
                    <a:lnTo>
                      <a:pt x="348" y="178"/>
                    </a:lnTo>
                    <a:lnTo>
                      <a:pt x="346" y="178"/>
                    </a:lnTo>
                    <a:lnTo>
                      <a:pt x="344" y="178"/>
                    </a:lnTo>
                    <a:lnTo>
                      <a:pt x="342" y="178"/>
                    </a:lnTo>
                    <a:lnTo>
                      <a:pt x="340" y="178"/>
                    </a:lnTo>
                    <a:lnTo>
                      <a:pt x="340" y="176"/>
                    </a:lnTo>
                    <a:lnTo>
                      <a:pt x="340" y="174"/>
                    </a:lnTo>
                    <a:lnTo>
                      <a:pt x="340" y="176"/>
                    </a:lnTo>
                    <a:lnTo>
                      <a:pt x="338" y="176"/>
                    </a:lnTo>
                    <a:lnTo>
                      <a:pt x="336" y="176"/>
                    </a:lnTo>
                    <a:lnTo>
                      <a:pt x="334" y="174"/>
                    </a:lnTo>
                    <a:lnTo>
                      <a:pt x="330" y="172"/>
                    </a:lnTo>
                    <a:lnTo>
                      <a:pt x="328" y="170"/>
                    </a:lnTo>
                    <a:lnTo>
                      <a:pt x="326" y="168"/>
                    </a:lnTo>
                    <a:lnTo>
                      <a:pt x="326" y="166"/>
                    </a:lnTo>
                    <a:lnTo>
                      <a:pt x="328" y="166"/>
                    </a:lnTo>
                    <a:lnTo>
                      <a:pt x="328" y="164"/>
                    </a:lnTo>
                    <a:lnTo>
                      <a:pt x="330" y="164"/>
                    </a:lnTo>
                    <a:lnTo>
                      <a:pt x="328" y="164"/>
                    </a:lnTo>
                    <a:lnTo>
                      <a:pt x="326" y="164"/>
                    </a:lnTo>
                    <a:lnTo>
                      <a:pt x="324" y="164"/>
                    </a:lnTo>
                    <a:lnTo>
                      <a:pt x="324" y="162"/>
                    </a:lnTo>
                    <a:lnTo>
                      <a:pt x="326" y="160"/>
                    </a:lnTo>
                    <a:lnTo>
                      <a:pt x="326" y="158"/>
                    </a:lnTo>
                    <a:lnTo>
                      <a:pt x="326" y="156"/>
                    </a:lnTo>
                    <a:lnTo>
                      <a:pt x="326" y="154"/>
                    </a:lnTo>
                    <a:lnTo>
                      <a:pt x="324" y="152"/>
                    </a:lnTo>
                    <a:lnTo>
                      <a:pt x="322" y="150"/>
                    </a:lnTo>
                    <a:lnTo>
                      <a:pt x="320" y="150"/>
                    </a:lnTo>
                    <a:lnTo>
                      <a:pt x="318" y="150"/>
                    </a:lnTo>
                    <a:lnTo>
                      <a:pt x="316" y="152"/>
                    </a:lnTo>
                    <a:lnTo>
                      <a:pt x="312" y="154"/>
                    </a:lnTo>
                    <a:lnTo>
                      <a:pt x="314" y="154"/>
                    </a:lnTo>
                    <a:lnTo>
                      <a:pt x="314" y="156"/>
                    </a:lnTo>
                    <a:lnTo>
                      <a:pt x="314" y="158"/>
                    </a:lnTo>
                    <a:lnTo>
                      <a:pt x="314" y="160"/>
                    </a:lnTo>
                    <a:lnTo>
                      <a:pt x="314" y="162"/>
                    </a:lnTo>
                    <a:lnTo>
                      <a:pt x="314" y="166"/>
                    </a:lnTo>
                    <a:lnTo>
                      <a:pt x="314" y="168"/>
                    </a:lnTo>
                    <a:lnTo>
                      <a:pt x="314" y="170"/>
                    </a:lnTo>
                    <a:lnTo>
                      <a:pt x="316" y="172"/>
                    </a:lnTo>
                    <a:lnTo>
                      <a:pt x="316" y="174"/>
                    </a:lnTo>
                    <a:lnTo>
                      <a:pt x="318" y="174"/>
                    </a:lnTo>
                    <a:lnTo>
                      <a:pt x="318" y="176"/>
                    </a:lnTo>
                    <a:lnTo>
                      <a:pt x="318" y="178"/>
                    </a:lnTo>
                    <a:lnTo>
                      <a:pt x="318" y="180"/>
                    </a:lnTo>
                    <a:lnTo>
                      <a:pt x="318" y="182"/>
                    </a:lnTo>
                    <a:lnTo>
                      <a:pt x="316" y="184"/>
                    </a:lnTo>
                    <a:lnTo>
                      <a:pt x="314" y="184"/>
                    </a:lnTo>
                    <a:lnTo>
                      <a:pt x="312" y="184"/>
                    </a:lnTo>
                    <a:lnTo>
                      <a:pt x="310" y="184"/>
                    </a:lnTo>
                    <a:lnTo>
                      <a:pt x="308" y="184"/>
                    </a:lnTo>
                    <a:lnTo>
                      <a:pt x="304" y="184"/>
                    </a:lnTo>
                    <a:lnTo>
                      <a:pt x="302" y="182"/>
                    </a:lnTo>
                    <a:lnTo>
                      <a:pt x="302" y="180"/>
                    </a:lnTo>
                    <a:lnTo>
                      <a:pt x="300" y="180"/>
                    </a:lnTo>
                    <a:lnTo>
                      <a:pt x="298" y="182"/>
                    </a:lnTo>
                    <a:lnTo>
                      <a:pt x="296" y="184"/>
                    </a:lnTo>
                    <a:lnTo>
                      <a:pt x="294" y="182"/>
                    </a:lnTo>
                    <a:lnTo>
                      <a:pt x="290" y="180"/>
                    </a:lnTo>
                    <a:lnTo>
                      <a:pt x="288" y="178"/>
                    </a:lnTo>
                    <a:lnTo>
                      <a:pt x="286" y="178"/>
                    </a:lnTo>
                    <a:lnTo>
                      <a:pt x="284" y="178"/>
                    </a:lnTo>
                    <a:lnTo>
                      <a:pt x="282" y="178"/>
                    </a:lnTo>
                    <a:lnTo>
                      <a:pt x="282" y="180"/>
                    </a:lnTo>
                    <a:lnTo>
                      <a:pt x="278" y="178"/>
                    </a:lnTo>
                    <a:lnTo>
                      <a:pt x="276" y="178"/>
                    </a:lnTo>
                    <a:lnTo>
                      <a:pt x="276" y="176"/>
                    </a:lnTo>
                    <a:lnTo>
                      <a:pt x="274" y="176"/>
                    </a:lnTo>
                    <a:lnTo>
                      <a:pt x="272" y="176"/>
                    </a:lnTo>
                    <a:lnTo>
                      <a:pt x="270" y="178"/>
                    </a:lnTo>
                    <a:lnTo>
                      <a:pt x="268" y="178"/>
                    </a:lnTo>
                    <a:lnTo>
                      <a:pt x="266" y="176"/>
                    </a:lnTo>
                    <a:lnTo>
                      <a:pt x="264" y="174"/>
                    </a:lnTo>
                    <a:lnTo>
                      <a:pt x="264" y="172"/>
                    </a:lnTo>
                    <a:lnTo>
                      <a:pt x="260" y="170"/>
                    </a:lnTo>
                    <a:lnTo>
                      <a:pt x="258" y="168"/>
                    </a:lnTo>
                    <a:lnTo>
                      <a:pt x="258" y="166"/>
                    </a:lnTo>
                    <a:lnTo>
                      <a:pt x="256" y="164"/>
                    </a:lnTo>
                    <a:lnTo>
                      <a:pt x="256" y="166"/>
                    </a:lnTo>
                    <a:lnTo>
                      <a:pt x="254" y="166"/>
                    </a:lnTo>
                    <a:lnTo>
                      <a:pt x="252" y="166"/>
                    </a:lnTo>
                    <a:lnTo>
                      <a:pt x="250" y="164"/>
                    </a:lnTo>
                    <a:lnTo>
                      <a:pt x="250" y="162"/>
                    </a:lnTo>
                    <a:lnTo>
                      <a:pt x="248" y="162"/>
                    </a:lnTo>
                    <a:lnTo>
                      <a:pt x="246" y="160"/>
                    </a:lnTo>
                    <a:lnTo>
                      <a:pt x="246" y="162"/>
                    </a:lnTo>
                    <a:lnTo>
                      <a:pt x="246" y="164"/>
                    </a:lnTo>
                    <a:lnTo>
                      <a:pt x="244" y="166"/>
                    </a:lnTo>
                    <a:lnTo>
                      <a:pt x="246" y="166"/>
                    </a:lnTo>
                    <a:lnTo>
                      <a:pt x="244" y="166"/>
                    </a:lnTo>
                    <a:lnTo>
                      <a:pt x="244" y="164"/>
                    </a:lnTo>
                    <a:lnTo>
                      <a:pt x="242" y="164"/>
                    </a:lnTo>
                    <a:lnTo>
                      <a:pt x="240" y="164"/>
                    </a:lnTo>
                    <a:lnTo>
                      <a:pt x="238" y="166"/>
                    </a:lnTo>
                    <a:lnTo>
                      <a:pt x="236" y="166"/>
                    </a:lnTo>
                    <a:lnTo>
                      <a:pt x="236" y="164"/>
                    </a:lnTo>
                    <a:lnTo>
                      <a:pt x="234" y="164"/>
                    </a:lnTo>
                    <a:lnTo>
                      <a:pt x="232" y="162"/>
                    </a:lnTo>
                    <a:lnTo>
                      <a:pt x="228" y="162"/>
                    </a:lnTo>
                    <a:lnTo>
                      <a:pt x="226" y="162"/>
                    </a:lnTo>
                    <a:lnTo>
                      <a:pt x="226" y="160"/>
                    </a:lnTo>
                    <a:lnTo>
                      <a:pt x="226" y="158"/>
                    </a:lnTo>
                    <a:lnTo>
                      <a:pt x="224" y="158"/>
                    </a:lnTo>
                    <a:lnTo>
                      <a:pt x="222" y="158"/>
                    </a:lnTo>
                    <a:lnTo>
                      <a:pt x="220" y="160"/>
                    </a:lnTo>
                    <a:lnTo>
                      <a:pt x="218" y="158"/>
                    </a:lnTo>
                    <a:lnTo>
                      <a:pt x="216" y="156"/>
                    </a:lnTo>
                    <a:lnTo>
                      <a:pt x="216" y="154"/>
                    </a:lnTo>
                    <a:lnTo>
                      <a:pt x="214" y="154"/>
                    </a:lnTo>
                    <a:lnTo>
                      <a:pt x="212" y="154"/>
                    </a:lnTo>
                    <a:lnTo>
                      <a:pt x="208" y="154"/>
                    </a:lnTo>
                    <a:lnTo>
                      <a:pt x="206" y="152"/>
                    </a:lnTo>
                    <a:lnTo>
                      <a:pt x="204" y="150"/>
                    </a:lnTo>
                    <a:lnTo>
                      <a:pt x="202" y="150"/>
                    </a:lnTo>
                    <a:lnTo>
                      <a:pt x="200" y="148"/>
                    </a:lnTo>
                    <a:lnTo>
                      <a:pt x="200" y="146"/>
                    </a:lnTo>
                    <a:lnTo>
                      <a:pt x="198" y="146"/>
                    </a:lnTo>
                    <a:lnTo>
                      <a:pt x="196" y="146"/>
                    </a:lnTo>
                    <a:lnTo>
                      <a:pt x="194" y="146"/>
                    </a:lnTo>
                    <a:lnTo>
                      <a:pt x="192" y="146"/>
                    </a:lnTo>
                    <a:lnTo>
                      <a:pt x="192" y="144"/>
                    </a:lnTo>
                    <a:lnTo>
                      <a:pt x="190" y="142"/>
                    </a:lnTo>
                    <a:lnTo>
                      <a:pt x="190" y="140"/>
                    </a:lnTo>
                    <a:lnTo>
                      <a:pt x="188" y="140"/>
                    </a:lnTo>
                    <a:lnTo>
                      <a:pt x="186" y="140"/>
                    </a:lnTo>
                    <a:lnTo>
                      <a:pt x="186" y="142"/>
                    </a:lnTo>
                    <a:lnTo>
                      <a:pt x="184" y="142"/>
                    </a:lnTo>
                    <a:lnTo>
                      <a:pt x="184" y="140"/>
                    </a:lnTo>
                    <a:lnTo>
                      <a:pt x="182" y="138"/>
                    </a:lnTo>
                    <a:lnTo>
                      <a:pt x="180" y="136"/>
                    </a:lnTo>
                    <a:lnTo>
                      <a:pt x="178" y="134"/>
                    </a:lnTo>
                    <a:lnTo>
                      <a:pt x="178" y="132"/>
                    </a:lnTo>
                    <a:lnTo>
                      <a:pt x="178" y="130"/>
                    </a:lnTo>
                    <a:lnTo>
                      <a:pt x="180" y="130"/>
                    </a:lnTo>
                    <a:lnTo>
                      <a:pt x="182" y="130"/>
                    </a:lnTo>
                    <a:lnTo>
                      <a:pt x="182" y="128"/>
                    </a:lnTo>
                    <a:lnTo>
                      <a:pt x="180" y="128"/>
                    </a:lnTo>
                    <a:lnTo>
                      <a:pt x="180" y="126"/>
                    </a:lnTo>
                    <a:lnTo>
                      <a:pt x="178" y="126"/>
                    </a:lnTo>
                    <a:lnTo>
                      <a:pt x="178" y="124"/>
                    </a:lnTo>
                    <a:lnTo>
                      <a:pt x="180" y="124"/>
                    </a:lnTo>
                    <a:lnTo>
                      <a:pt x="182" y="124"/>
                    </a:lnTo>
                    <a:lnTo>
                      <a:pt x="182" y="122"/>
                    </a:lnTo>
                    <a:lnTo>
                      <a:pt x="180" y="122"/>
                    </a:lnTo>
                    <a:lnTo>
                      <a:pt x="180" y="120"/>
                    </a:lnTo>
                    <a:lnTo>
                      <a:pt x="182" y="118"/>
                    </a:lnTo>
                    <a:lnTo>
                      <a:pt x="182" y="116"/>
                    </a:lnTo>
                    <a:lnTo>
                      <a:pt x="184" y="114"/>
                    </a:lnTo>
                    <a:lnTo>
                      <a:pt x="186" y="114"/>
                    </a:lnTo>
                    <a:lnTo>
                      <a:pt x="186" y="112"/>
                    </a:lnTo>
                    <a:lnTo>
                      <a:pt x="186" y="110"/>
                    </a:lnTo>
                    <a:lnTo>
                      <a:pt x="186" y="108"/>
                    </a:lnTo>
                    <a:lnTo>
                      <a:pt x="188" y="108"/>
                    </a:lnTo>
                    <a:lnTo>
                      <a:pt x="186" y="106"/>
                    </a:lnTo>
                    <a:lnTo>
                      <a:pt x="184" y="106"/>
                    </a:lnTo>
                    <a:lnTo>
                      <a:pt x="182" y="104"/>
                    </a:lnTo>
                    <a:lnTo>
                      <a:pt x="180" y="104"/>
                    </a:lnTo>
                    <a:lnTo>
                      <a:pt x="178" y="104"/>
                    </a:lnTo>
                    <a:lnTo>
                      <a:pt x="176" y="104"/>
                    </a:lnTo>
                    <a:lnTo>
                      <a:pt x="174" y="102"/>
                    </a:lnTo>
                    <a:lnTo>
                      <a:pt x="174" y="100"/>
                    </a:lnTo>
                    <a:lnTo>
                      <a:pt x="176" y="98"/>
                    </a:lnTo>
                    <a:lnTo>
                      <a:pt x="174" y="98"/>
                    </a:lnTo>
                    <a:lnTo>
                      <a:pt x="172" y="100"/>
                    </a:lnTo>
                    <a:lnTo>
                      <a:pt x="170" y="98"/>
                    </a:lnTo>
                    <a:lnTo>
                      <a:pt x="168" y="96"/>
                    </a:lnTo>
                    <a:lnTo>
                      <a:pt x="166" y="96"/>
                    </a:lnTo>
                    <a:lnTo>
                      <a:pt x="166" y="94"/>
                    </a:lnTo>
                    <a:lnTo>
                      <a:pt x="164" y="94"/>
                    </a:lnTo>
                    <a:lnTo>
                      <a:pt x="162" y="94"/>
                    </a:lnTo>
                    <a:lnTo>
                      <a:pt x="158" y="92"/>
                    </a:lnTo>
                    <a:lnTo>
                      <a:pt x="156" y="92"/>
                    </a:lnTo>
                    <a:lnTo>
                      <a:pt x="154" y="88"/>
                    </a:lnTo>
                    <a:lnTo>
                      <a:pt x="154" y="86"/>
                    </a:lnTo>
                    <a:lnTo>
                      <a:pt x="152" y="86"/>
                    </a:lnTo>
                    <a:lnTo>
                      <a:pt x="150" y="86"/>
                    </a:lnTo>
                    <a:lnTo>
                      <a:pt x="148" y="86"/>
                    </a:lnTo>
                    <a:lnTo>
                      <a:pt x="146" y="86"/>
                    </a:lnTo>
                    <a:lnTo>
                      <a:pt x="146" y="84"/>
                    </a:lnTo>
                    <a:lnTo>
                      <a:pt x="146" y="82"/>
                    </a:lnTo>
                    <a:lnTo>
                      <a:pt x="146" y="80"/>
                    </a:lnTo>
                    <a:lnTo>
                      <a:pt x="146" y="78"/>
                    </a:lnTo>
                    <a:lnTo>
                      <a:pt x="146" y="76"/>
                    </a:lnTo>
                    <a:lnTo>
                      <a:pt x="144" y="76"/>
                    </a:lnTo>
                    <a:lnTo>
                      <a:pt x="144" y="74"/>
                    </a:lnTo>
                    <a:lnTo>
                      <a:pt x="142" y="74"/>
                    </a:lnTo>
                    <a:lnTo>
                      <a:pt x="140" y="72"/>
                    </a:lnTo>
                    <a:lnTo>
                      <a:pt x="140" y="70"/>
                    </a:lnTo>
                    <a:lnTo>
                      <a:pt x="140" y="68"/>
                    </a:lnTo>
                    <a:lnTo>
                      <a:pt x="140" y="66"/>
                    </a:lnTo>
                    <a:lnTo>
                      <a:pt x="142" y="66"/>
                    </a:lnTo>
                    <a:lnTo>
                      <a:pt x="144" y="64"/>
                    </a:lnTo>
                    <a:lnTo>
                      <a:pt x="144" y="66"/>
                    </a:lnTo>
                    <a:lnTo>
                      <a:pt x="144" y="68"/>
                    </a:lnTo>
                    <a:lnTo>
                      <a:pt x="146" y="68"/>
                    </a:lnTo>
                    <a:lnTo>
                      <a:pt x="146" y="70"/>
                    </a:lnTo>
                    <a:lnTo>
                      <a:pt x="148" y="70"/>
                    </a:lnTo>
                    <a:lnTo>
                      <a:pt x="150" y="70"/>
                    </a:lnTo>
                    <a:lnTo>
                      <a:pt x="150" y="68"/>
                    </a:lnTo>
                    <a:lnTo>
                      <a:pt x="150" y="66"/>
                    </a:lnTo>
                    <a:lnTo>
                      <a:pt x="152" y="66"/>
                    </a:lnTo>
                    <a:lnTo>
                      <a:pt x="154" y="66"/>
                    </a:lnTo>
                    <a:lnTo>
                      <a:pt x="158" y="64"/>
                    </a:lnTo>
                    <a:lnTo>
                      <a:pt x="158" y="62"/>
                    </a:lnTo>
                    <a:lnTo>
                      <a:pt x="156" y="60"/>
                    </a:lnTo>
                    <a:lnTo>
                      <a:pt x="154" y="58"/>
                    </a:lnTo>
                    <a:lnTo>
                      <a:pt x="152" y="58"/>
                    </a:lnTo>
                    <a:lnTo>
                      <a:pt x="152" y="56"/>
                    </a:lnTo>
                    <a:lnTo>
                      <a:pt x="152" y="54"/>
                    </a:lnTo>
                    <a:lnTo>
                      <a:pt x="150" y="54"/>
                    </a:lnTo>
                    <a:lnTo>
                      <a:pt x="148" y="52"/>
                    </a:lnTo>
                    <a:lnTo>
                      <a:pt x="146" y="52"/>
                    </a:lnTo>
                    <a:lnTo>
                      <a:pt x="144" y="50"/>
                    </a:lnTo>
                    <a:lnTo>
                      <a:pt x="142" y="50"/>
                    </a:lnTo>
                    <a:lnTo>
                      <a:pt x="142" y="48"/>
                    </a:lnTo>
                    <a:lnTo>
                      <a:pt x="140" y="46"/>
                    </a:lnTo>
                    <a:lnTo>
                      <a:pt x="142" y="44"/>
                    </a:lnTo>
                    <a:lnTo>
                      <a:pt x="144" y="42"/>
                    </a:lnTo>
                    <a:lnTo>
                      <a:pt x="144" y="40"/>
                    </a:lnTo>
                    <a:lnTo>
                      <a:pt x="142" y="38"/>
                    </a:lnTo>
                    <a:lnTo>
                      <a:pt x="142" y="36"/>
                    </a:lnTo>
                    <a:lnTo>
                      <a:pt x="140" y="36"/>
                    </a:lnTo>
                    <a:lnTo>
                      <a:pt x="142" y="36"/>
                    </a:lnTo>
                    <a:lnTo>
                      <a:pt x="144" y="36"/>
                    </a:lnTo>
                    <a:lnTo>
                      <a:pt x="148" y="36"/>
                    </a:lnTo>
                    <a:lnTo>
                      <a:pt x="150" y="36"/>
                    </a:lnTo>
                    <a:lnTo>
                      <a:pt x="152" y="34"/>
                    </a:lnTo>
                    <a:lnTo>
                      <a:pt x="152" y="32"/>
                    </a:lnTo>
                    <a:lnTo>
                      <a:pt x="152" y="30"/>
                    </a:lnTo>
                    <a:lnTo>
                      <a:pt x="152" y="28"/>
                    </a:lnTo>
                    <a:lnTo>
                      <a:pt x="152" y="26"/>
                    </a:lnTo>
                    <a:lnTo>
                      <a:pt x="152" y="24"/>
                    </a:lnTo>
                    <a:lnTo>
                      <a:pt x="154" y="24"/>
                    </a:lnTo>
                    <a:lnTo>
                      <a:pt x="156" y="22"/>
                    </a:lnTo>
                    <a:lnTo>
                      <a:pt x="156" y="20"/>
                    </a:lnTo>
                    <a:lnTo>
                      <a:pt x="156" y="16"/>
                    </a:lnTo>
                    <a:lnTo>
                      <a:pt x="156" y="14"/>
                    </a:lnTo>
                    <a:lnTo>
                      <a:pt x="156" y="12"/>
                    </a:lnTo>
                    <a:lnTo>
                      <a:pt x="156" y="10"/>
                    </a:lnTo>
                    <a:lnTo>
                      <a:pt x="156" y="8"/>
                    </a:lnTo>
                    <a:lnTo>
                      <a:pt x="154" y="8"/>
                    </a:lnTo>
                    <a:lnTo>
                      <a:pt x="150" y="8"/>
                    </a:lnTo>
                    <a:lnTo>
                      <a:pt x="148" y="8"/>
                    </a:lnTo>
                    <a:lnTo>
                      <a:pt x="146" y="8"/>
                    </a:lnTo>
                    <a:lnTo>
                      <a:pt x="144" y="6"/>
                    </a:lnTo>
                    <a:lnTo>
                      <a:pt x="144" y="4"/>
                    </a:lnTo>
                    <a:lnTo>
                      <a:pt x="142" y="4"/>
                    </a:lnTo>
                    <a:lnTo>
                      <a:pt x="140" y="2"/>
                    </a:lnTo>
                    <a:lnTo>
                      <a:pt x="138" y="0"/>
                    </a:lnTo>
                    <a:lnTo>
                      <a:pt x="136" y="0"/>
                    </a:lnTo>
                    <a:lnTo>
                      <a:pt x="134" y="0"/>
                    </a:lnTo>
                    <a:lnTo>
                      <a:pt x="132" y="0"/>
                    </a:lnTo>
                    <a:lnTo>
                      <a:pt x="128" y="2"/>
                    </a:lnTo>
                    <a:lnTo>
                      <a:pt x="126" y="4"/>
                    </a:lnTo>
                    <a:lnTo>
                      <a:pt x="122" y="6"/>
                    </a:lnTo>
                    <a:lnTo>
                      <a:pt x="120" y="6"/>
                    </a:lnTo>
                    <a:lnTo>
                      <a:pt x="120" y="8"/>
                    </a:lnTo>
                    <a:lnTo>
                      <a:pt x="118" y="8"/>
                    </a:lnTo>
                    <a:lnTo>
                      <a:pt x="116" y="8"/>
                    </a:lnTo>
                    <a:lnTo>
                      <a:pt x="114" y="8"/>
                    </a:lnTo>
                    <a:lnTo>
                      <a:pt x="112" y="12"/>
                    </a:lnTo>
                    <a:lnTo>
                      <a:pt x="110" y="12"/>
                    </a:lnTo>
                    <a:lnTo>
                      <a:pt x="110" y="14"/>
                    </a:lnTo>
                    <a:lnTo>
                      <a:pt x="108" y="14"/>
                    </a:lnTo>
                    <a:lnTo>
                      <a:pt x="108" y="16"/>
                    </a:lnTo>
                    <a:lnTo>
                      <a:pt x="106" y="16"/>
                    </a:lnTo>
                    <a:lnTo>
                      <a:pt x="106" y="18"/>
                    </a:lnTo>
                    <a:lnTo>
                      <a:pt x="104" y="18"/>
                    </a:lnTo>
                    <a:lnTo>
                      <a:pt x="102" y="18"/>
                    </a:lnTo>
                    <a:lnTo>
                      <a:pt x="102" y="20"/>
                    </a:lnTo>
                    <a:lnTo>
                      <a:pt x="102" y="22"/>
                    </a:lnTo>
                    <a:lnTo>
                      <a:pt x="100" y="22"/>
                    </a:lnTo>
                    <a:lnTo>
                      <a:pt x="98" y="22"/>
                    </a:lnTo>
                    <a:lnTo>
                      <a:pt x="96" y="22"/>
                    </a:lnTo>
                    <a:lnTo>
                      <a:pt x="96" y="24"/>
                    </a:lnTo>
                    <a:lnTo>
                      <a:pt x="94" y="24"/>
                    </a:lnTo>
                    <a:lnTo>
                      <a:pt x="94" y="22"/>
                    </a:lnTo>
                    <a:lnTo>
                      <a:pt x="92" y="24"/>
                    </a:lnTo>
                    <a:lnTo>
                      <a:pt x="90" y="26"/>
                    </a:lnTo>
                    <a:lnTo>
                      <a:pt x="88" y="26"/>
                    </a:lnTo>
                    <a:lnTo>
                      <a:pt x="86" y="28"/>
                    </a:lnTo>
                    <a:lnTo>
                      <a:pt x="84" y="28"/>
                    </a:lnTo>
                    <a:lnTo>
                      <a:pt x="82" y="28"/>
                    </a:lnTo>
                    <a:lnTo>
                      <a:pt x="82" y="26"/>
                    </a:lnTo>
                    <a:lnTo>
                      <a:pt x="80" y="24"/>
                    </a:lnTo>
                    <a:lnTo>
                      <a:pt x="78" y="24"/>
                    </a:lnTo>
                    <a:lnTo>
                      <a:pt x="76" y="24"/>
                    </a:lnTo>
                    <a:lnTo>
                      <a:pt x="74" y="22"/>
                    </a:lnTo>
                    <a:lnTo>
                      <a:pt x="72" y="22"/>
                    </a:lnTo>
                    <a:lnTo>
                      <a:pt x="70" y="22"/>
                    </a:lnTo>
                    <a:lnTo>
                      <a:pt x="66" y="22"/>
                    </a:lnTo>
                    <a:lnTo>
                      <a:pt x="62" y="22"/>
                    </a:lnTo>
                    <a:lnTo>
                      <a:pt x="60" y="24"/>
                    </a:lnTo>
                    <a:lnTo>
                      <a:pt x="58" y="24"/>
                    </a:lnTo>
                    <a:lnTo>
                      <a:pt x="56" y="26"/>
                    </a:lnTo>
                    <a:lnTo>
                      <a:pt x="56" y="28"/>
                    </a:lnTo>
                    <a:lnTo>
                      <a:pt x="56" y="30"/>
                    </a:lnTo>
                    <a:lnTo>
                      <a:pt x="58" y="32"/>
                    </a:lnTo>
                    <a:lnTo>
                      <a:pt x="60" y="32"/>
                    </a:lnTo>
                    <a:lnTo>
                      <a:pt x="60" y="34"/>
                    </a:lnTo>
                    <a:lnTo>
                      <a:pt x="60" y="36"/>
                    </a:lnTo>
                    <a:lnTo>
                      <a:pt x="62" y="36"/>
                    </a:lnTo>
                    <a:lnTo>
                      <a:pt x="64" y="36"/>
                    </a:lnTo>
                    <a:lnTo>
                      <a:pt x="64" y="38"/>
                    </a:lnTo>
                    <a:lnTo>
                      <a:pt x="66" y="38"/>
                    </a:lnTo>
                    <a:lnTo>
                      <a:pt x="64" y="40"/>
                    </a:lnTo>
                    <a:lnTo>
                      <a:pt x="64" y="42"/>
                    </a:lnTo>
                    <a:lnTo>
                      <a:pt x="62" y="44"/>
                    </a:lnTo>
                    <a:lnTo>
                      <a:pt x="62" y="46"/>
                    </a:lnTo>
                    <a:lnTo>
                      <a:pt x="64" y="48"/>
                    </a:lnTo>
                    <a:lnTo>
                      <a:pt x="66" y="48"/>
                    </a:lnTo>
                    <a:lnTo>
                      <a:pt x="66" y="50"/>
                    </a:lnTo>
                    <a:lnTo>
                      <a:pt x="66" y="52"/>
                    </a:lnTo>
                    <a:lnTo>
                      <a:pt x="66" y="54"/>
                    </a:lnTo>
                    <a:lnTo>
                      <a:pt x="66" y="56"/>
                    </a:lnTo>
                    <a:lnTo>
                      <a:pt x="68" y="56"/>
                    </a:lnTo>
                    <a:lnTo>
                      <a:pt x="70" y="56"/>
                    </a:lnTo>
                    <a:lnTo>
                      <a:pt x="70" y="58"/>
                    </a:lnTo>
                    <a:lnTo>
                      <a:pt x="72" y="58"/>
                    </a:lnTo>
                    <a:lnTo>
                      <a:pt x="74" y="58"/>
                    </a:lnTo>
                    <a:lnTo>
                      <a:pt x="74" y="60"/>
                    </a:lnTo>
                    <a:lnTo>
                      <a:pt x="76" y="60"/>
                    </a:lnTo>
                    <a:lnTo>
                      <a:pt x="76" y="62"/>
                    </a:lnTo>
                    <a:lnTo>
                      <a:pt x="78" y="64"/>
                    </a:lnTo>
                    <a:lnTo>
                      <a:pt x="78" y="66"/>
                    </a:lnTo>
                    <a:lnTo>
                      <a:pt x="78" y="68"/>
                    </a:lnTo>
                    <a:lnTo>
                      <a:pt x="80" y="68"/>
                    </a:lnTo>
                    <a:lnTo>
                      <a:pt x="82" y="68"/>
                    </a:lnTo>
                    <a:lnTo>
                      <a:pt x="84" y="68"/>
                    </a:lnTo>
                    <a:lnTo>
                      <a:pt x="86" y="68"/>
                    </a:lnTo>
                    <a:lnTo>
                      <a:pt x="88" y="68"/>
                    </a:lnTo>
                    <a:lnTo>
                      <a:pt x="90" y="70"/>
                    </a:lnTo>
                    <a:lnTo>
                      <a:pt x="92" y="72"/>
                    </a:lnTo>
                    <a:lnTo>
                      <a:pt x="92" y="74"/>
                    </a:lnTo>
                    <a:lnTo>
                      <a:pt x="90" y="74"/>
                    </a:lnTo>
                    <a:lnTo>
                      <a:pt x="88" y="76"/>
                    </a:lnTo>
                    <a:lnTo>
                      <a:pt x="86" y="76"/>
                    </a:lnTo>
                    <a:lnTo>
                      <a:pt x="84" y="78"/>
                    </a:lnTo>
                    <a:lnTo>
                      <a:pt x="82" y="78"/>
                    </a:lnTo>
                    <a:lnTo>
                      <a:pt x="80" y="78"/>
                    </a:lnTo>
                    <a:lnTo>
                      <a:pt x="78" y="80"/>
                    </a:lnTo>
                    <a:lnTo>
                      <a:pt x="78" y="82"/>
                    </a:lnTo>
                    <a:lnTo>
                      <a:pt x="80" y="84"/>
                    </a:lnTo>
                    <a:lnTo>
                      <a:pt x="80" y="86"/>
                    </a:lnTo>
                    <a:lnTo>
                      <a:pt x="82" y="90"/>
                    </a:lnTo>
                    <a:lnTo>
                      <a:pt x="82" y="92"/>
                    </a:lnTo>
                    <a:lnTo>
                      <a:pt x="84" y="92"/>
                    </a:lnTo>
                    <a:lnTo>
                      <a:pt x="84" y="94"/>
                    </a:lnTo>
                    <a:lnTo>
                      <a:pt x="82" y="96"/>
                    </a:lnTo>
                    <a:lnTo>
                      <a:pt x="80" y="96"/>
                    </a:lnTo>
                    <a:lnTo>
                      <a:pt x="78" y="98"/>
                    </a:lnTo>
                    <a:lnTo>
                      <a:pt x="74" y="102"/>
                    </a:lnTo>
                    <a:lnTo>
                      <a:pt x="74" y="104"/>
                    </a:lnTo>
                    <a:lnTo>
                      <a:pt x="72" y="106"/>
                    </a:lnTo>
                    <a:lnTo>
                      <a:pt x="72" y="108"/>
                    </a:lnTo>
                    <a:lnTo>
                      <a:pt x="72" y="110"/>
                    </a:lnTo>
                    <a:lnTo>
                      <a:pt x="74" y="112"/>
                    </a:lnTo>
                    <a:lnTo>
                      <a:pt x="72" y="114"/>
                    </a:lnTo>
                    <a:lnTo>
                      <a:pt x="70" y="114"/>
                    </a:lnTo>
                    <a:lnTo>
                      <a:pt x="68" y="116"/>
                    </a:lnTo>
                    <a:lnTo>
                      <a:pt x="66" y="118"/>
                    </a:lnTo>
                    <a:lnTo>
                      <a:pt x="66" y="120"/>
                    </a:lnTo>
                    <a:lnTo>
                      <a:pt x="66" y="124"/>
                    </a:lnTo>
                    <a:lnTo>
                      <a:pt x="66" y="128"/>
                    </a:lnTo>
                    <a:lnTo>
                      <a:pt x="64" y="130"/>
                    </a:lnTo>
                    <a:lnTo>
                      <a:pt x="62" y="132"/>
                    </a:lnTo>
                    <a:lnTo>
                      <a:pt x="62" y="134"/>
                    </a:lnTo>
                    <a:lnTo>
                      <a:pt x="60" y="134"/>
                    </a:lnTo>
                    <a:lnTo>
                      <a:pt x="58" y="136"/>
                    </a:lnTo>
                    <a:lnTo>
                      <a:pt x="56" y="136"/>
                    </a:lnTo>
                    <a:lnTo>
                      <a:pt x="54" y="138"/>
                    </a:lnTo>
                    <a:lnTo>
                      <a:pt x="52" y="138"/>
                    </a:lnTo>
                    <a:lnTo>
                      <a:pt x="52" y="140"/>
                    </a:lnTo>
                    <a:lnTo>
                      <a:pt x="52" y="142"/>
                    </a:lnTo>
                    <a:lnTo>
                      <a:pt x="52" y="144"/>
                    </a:lnTo>
                    <a:lnTo>
                      <a:pt x="52" y="146"/>
                    </a:lnTo>
                    <a:lnTo>
                      <a:pt x="50" y="146"/>
                    </a:lnTo>
                    <a:lnTo>
                      <a:pt x="50" y="148"/>
                    </a:lnTo>
                    <a:lnTo>
                      <a:pt x="48" y="148"/>
                    </a:lnTo>
                    <a:lnTo>
                      <a:pt x="48" y="150"/>
                    </a:lnTo>
                    <a:lnTo>
                      <a:pt x="48" y="152"/>
                    </a:lnTo>
                    <a:lnTo>
                      <a:pt x="46" y="154"/>
                    </a:lnTo>
                    <a:lnTo>
                      <a:pt x="44" y="156"/>
                    </a:lnTo>
                    <a:lnTo>
                      <a:pt x="42" y="156"/>
                    </a:lnTo>
                    <a:lnTo>
                      <a:pt x="42" y="154"/>
                    </a:lnTo>
                    <a:lnTo>
                      <a:pt x="40" y="154"/>
                    </a:lnTo>
                    <a:lnTo>
                      <a:pt x="38" y="154"/>
                    </a:lnTo>
                    <a:lnTo>
                      <a:pt x="36" y="156"/>
                    </a:lnTo>
                    <a:lnTo>
                      <a:pt x="34" y="156"/>
                    </a:lnTo>
                    <a:lnTo>
                      <a:pt x="32" y="158"/>
                    </a:lnTo>
                    <a:lnTo>
                      <a:pt x="30" y="158"/>
                    </a:lnTo>
                    <a:lnTo>
                      <a:pt x="28" y="156"/>
                    </a:lnTo>
                    <a:lnTo>
                      <a:pt x="28" y="154"/>
                    </a:lnTo>
                    <a:lnTo>
                      <a:pt x="26" y="154"/>
                    </a:lnTo>
                    <a:lnTo>
                      <a:pt x="24" y="154"/>
                    </a:lnTo>
                    <a:lnTo>
                      <a:pt x="22" y="154"/>
                    </a:lnTo>
                    <a:lnTo>
                      <a:pt x="20" y="156"/>
                    </a:lnTo>
                    <a:lnTo>
                      <a:pt x="20" y="158"/>
                    </a:lnTo>
                    <a:lnTo>
                      <a:pt x="20" y="160"/>
                    </a:lnTo>
                    <a:lnTo>
                      <a:pt x="18" y="162"/>
                    </a:lnTo>
                    <a:lnTo>
                      <a:pt x="16" y="164"/>
                    </a:lnTo>
                    <a:lnTo>
                      <a:pt x="14" y="166"/>
                    </a:lnTo>
                    <a:lnTo>
                      <a:pt x="12" y="168"/>
                    </a:lnTo>
                    <a:lnTo>
                      <a:pt x="12" y="170"/>
                    </a:lnTo>
                    <a:lnTo>
                      <a:pt x="12" y="172"/>
                    </a:lnTo>
                    <a:lnTo>
                      <a:pt x="12" y="174"/>
                    </a:lnTo>
                    <a:lnTo>
                      <a:pt x="12" y="176"/>
                    </a:lnTo>
                    <a:lnTo>
                      <a:pt x="12" y="178"/>
                    </a:lnTo>
                    <a:lnTo>
                      <a:pt x="14" y="178"/>
                    </a:lnTo>
                    <a:lnTo>
                      <a:pt x="16" y="180"/>
                    </a:lnTo>
                    <a:lnTo>
                      <a:pt x="18" y="180"/>
                    </a:lnTo>
                    <a:lnTo>
                      <a:pt x="20" y="180"/>
                    </a:lnTo>
                    <a:lnTo>
                      <a:pt x="20" y="178"/>
                    </a:lnTo>
                    <a:lnTo>
                      <a:pt x="22" y="178"/>
                    </a:lnTo>
                    <a:lnTo>
                      <a:pt x="24" y="178"/>
                    </a:lnTo>
                    <a:lnTo>
                      <a:pt x="24" y="180"/>
                    </a:lnTo>
                    <a:lnTo>
                      <a:pt x="24" y="182"/>
                    </a:lnTo>
                    <a:lnTo>
                      <a:pt x="24" y="184"/>
                    </a:lnTo>
                    <a:lnTo>
                      <a:pt x="24" y="186"/>
                    </a:lnTo>
                    <a:lnTo>
                      <a:pt x="24" y="188"/>
                    </a:lnTo>
                    <a:lnTo>
                      <a:pt x="24" y="190"/>
                    </a:lnTo>
                    <a:lnTo>
                      <a:pt x="24" y="192"/>
                    </a:lnTo>
                    <a:lnTo>
                      <a:pt x="24" y="194"/>
                    </a:lnTo>
                    <a:lnTo>
                      <a:pt x="26" y="196"/>
                    </a:lnTo>
                    <a:lnTo>
                      <a:pt x="28" y="196"/>
                    </a:lnTo>
                    <a:lnTo>
                      <a:pt x="30" y="198"/>
                    </a:lnTo>
                    <a:lnTo>
                      <a:pt x="32" y="198"/>
                    </a:lnTo>
                    <a:lnTo>
                      <a:pt x="34" y="198"/>
                    </a:lnTo>
                    <a:lnTo>
                      <a:pt x="34" y="200"/>
                    </a:lnTo>
                    <a:lnTo>
                      <a:pt x="34" y="202"/>
                    </a:lnTo>
                    <a:lnTo>
                      <a:pt x="36" y="206"/>
                    </a:lnTo>
                    <a:lnTo>
                      <a:pt x="38" y="208"/>
                    </a:lnTo>
                    <a:lnTo>
                      <a:pt x="38" y="210"/>
                    </a:lnTo>
                    <a:lnTo>
                      <a:pt x="38" y="212"/>
                    </a:lnTo>
                    <a:lnTo>
                      <a:pt x="40" y="212"/>
                    </a:lnTo>
                    <a:lnTo>
                      <a:pt x="40" y="214"/>
                    </a:lnTo>
                    <a:lnTo>
                      <a:pt x="42" y="216"/>
                    </a:lnTo>
                    <a:lnTo>
                      <a:pt x="42" y="218"/>
                    </a:lnTo>
                    <a:lnTo>
                      <a:pt x="42" y="220"/>
                    </a:lnTo>
                    <a:lnTo>
                      <a:pt x="42" y="222"/>
                    </a:lnTo>
                    <a:lnTo>
                      <a:pt x="42" y="224"/>
                    </a:lnTo>
                    <a:lnTo>
                      <a:pt x="40" y="224"/>
                    </a:lnTo>
                    <a:lnTo>
                      <a:pt x="38" y="226"/>
                    </a:lnTo>
                    <a:lnTo>
                      <a:pt x="34" y="226"/>
                    </a:lnTo>
                    <a:lnTo>
                      <a:pt x="32" y="224"/>
                    </a:lnTo>
                    <a:lnTo>
                      <a:pt x="32" y="222"/>
                    </a:lnTo>
                    <a:lnTo>
                      <a:pt x="30" y="222"/>
                    </a:lnTo>
                    <a:lnTo>
                      <a:pt x="28" y="222"/>
                    </a:lnTo>
                    <a:lnTo>
                      <a:pt x="28" y="224"/>
                    </a:lnTo>
                    <a:lnTo>
                      <a:pt x="26" y="224"/>
                    </a:lnTo>
                    <a:lnTo>
                      <a:pt x="26" y="226"/>
                    </a:lnTo>
                    <a:lnTo>
                      <a:pt x="24" y="226"/>
                    </a:lnTo>
                    <a:lnTo>
                      <a:pt x="22" y="226"/>
                    </a:lnTo>
                    <a:lnTo>
                      <a:pt x="20" y="226"/>
                    </a:lnTo>
                    <a:lnTo>
                      <a:pt x="18" y="226"/>
                    </a:lnTo>
                    <a:lnTo>
                      <a:pt x="18" y="224"/>
                    </a:lnTo>
                    <a:lnTo>
                      <a:pt x="16" y="224"/>
                    </a:lnTo>
                    <a:lnTo>
                      <a:pt x="14" y="226"/>
                    </a:lnTo>
                    <a:lnTo>
                      <a:pt x="12" y="226"/>
                    </a:lnTo>
                    <a:lnTo>
                      <a:pt x="10" y="226"/>
                    </a:lnTo>
                    <a:lnTo>
                      <a:pt x="10" y="224"/>
                    </a:lnTo>
                    <a:lnTo>
                      <a:pt x="8" y="224"/>
                    </a:lnTo>
                    <a:lnTo>
                      <a:pt x="6" y="224"/>
                    </a:lnTo>
                    <a:lnTo>
                      <a:pt x="4" y="224"/>
                    </a:lnTo>
                    <a:lnTo>
                      <a:pt x="2" y="224"/>
                    </a:lnTo>
                    <a:lnTo>
                      <a:pt x="2" y="226"/>
                    </a:lnTo>
                    <a:lnTo>
                      <a:pt x="4" y="228"/>
                    </a:lnTo>
                    <a:lnTo>
                      <a:pt x="4" y="230"/>
                    </a:lnTo>
                    <a:lnTo>
                      <a:pt x="2" y="230"/>
                    </a:lnTo>
                    <a:lnTo>
                      <a:pt x="0" y="230"/>
                    </a:lnTo>
                    <a:lnTo>
                      <a:pt x="0" y="232"/>
                    </a:lnTo>
                    <a:lnTo>
                      <a:pt x="2" y="232"/>
                    </a:lnTo>
                    <a:lnTo>
                      <a:pt x="6" y="232"/>
                    </a:lnTo>
                    <a:lnTo>
                      <a:pt x="8" y="232"/>
                    </a:lnTo>
                    <a:lnTo>
                      <a:pt x="6" y="234"/>
                    </a:lnTo>
                    <a:lnTo>
                      <a:pt x="6" y="236"/>
                    </a:lnTo>
                    <a:lnTo>
                      <a:pt x="6" y="238"/>
                    </a:lnTo>
                    <a:lnTo>
                      <a:pt x="6" y="240"/>
                    </a:lnTo>
                    <a:lnTo>
                      <a:pt x="8" y="242"/>
                    </a:lnTo>
                    <a:lnTo>
                      <a:pt x="8" y="244"/>
                    </a:lnTo>
                    <a:lnTo>
                      <a:pt x="10" y="244"/>
                    </a:lnTo>
                    <a:lnTo>
                      <a:pt x="14" y="246"/>
                    </a:lnTo>
                    <a:lnTo>
                      <a:pt x="16" y="246"/>
                    </a:lnTo>
                    <a:lnTo>
                      <a:pt x="20" y="248"/>
                    </a:lnTo>
                    <a:lnTo>
                      <a:pt x="22" y="248"/>
                    </a:lnTo>
                    <a:lnTo>
                      <a:pt x="24" y="248"/>
                    </a:lnTo>
                    <a:lnTo>
                      <a:pt x="26" y="248"/>
                    </a:lnTo>
                    <a:lnTo>
                      <a:pt x="28" y="248"/>
                    </a:lnTo>
                    <a:lnTo>
                      <a:pt x="30" y="246"/>
                    </a:lnTo>
                    <a:lnTo>
                      <a:pt x="32" y="246"/>
                    </a:lnTo>
                    <a:lnTo>
                      <a:pt x="34" y="244"/>
                    </a:lnTo>
                    <a:lnTo>
                      <a:pt x="36" y="242"/>
                    </a:lnTo>
                    <a:lnTo>
                      <a:pt x="38" y="240"/>
                    </a:lnTo>
                    <a:lnTo>
                      <a:pt x="38" y="242"/>
                    </a:lnTo>
                    <a:lnTo>
                      <a:pt x="40" y="242"/>
                    </a:lnTo>
                    <a:lnTo>
                      <a:pt x="40" y="244"/>
                    </a:lnTo>
                    <a:lnTo>
                      <a:pt x="40" y="246"/>
                    </a:lnTo>
                    <a:lnTo>
                      <a:pt x="38" y="248"/>
                    </a:lnTo>
                    <a:lnTo>
                      <a:pt x="38" y="250"/>
                    </a:lnTo>
                    <a:lnTo>
                      <a:pt x="36" y="250"/>
                    </a:lnTo>
                    <a:lnTo>
                      <a:pt x="34" y="252"/>
                    </a:lnTo>
                    <a:lnTo>
                      <a:pt x="30" y="254"/>
                    </a:lnTo>
                    <a:lnTo>
                      <a:pt x="28" y="254"/>
                    </a:lnTo>
                    <a:lnTo>
                      <a:pt x="26" y="254"/>
                    </a:lnTo>
                    <a:lnTo>
                      <a:pt x="24" y="254"/>
                    </a:lnTo>
                    <a:lnTo>
                      <a:pt x="24" y="256"/>
                    </a:lnTo>
                    <a:lnTo>
                      <a:pt x="20" y="256"/>
                    </a:lnTo>
                    <a:lnTo>
                      <a:pt x="18" y="256"/>
                    </a:lnTo>
                    <a:lnTo>
                      <a:pt x="16" y="258"/>
                    </a:lnTo>
                    <a:lnTo>
                      <a:pt x="12" y="258"/>
                    </a:lnTo>
                    <a:lnTo>
                      <a:pt x="12" y="260"/>
                    </a:lnTo>
                    <a:lnTo>
                      <a:pt x="10" y="260"/>
                    </a:lnTo>
                    <a:lnTo>
                      <a:pt x="10" y="262"/>
                    </a:lnTo>
                    <a:lnTo>
                      <a:pt x="12" y="264"/>
                    </a:lnTo>
                    <a:lnTo>
                      <a:pt x="14" y="268"/>
                    </a:lnTo>
                    <a:lnTo>
                      <a:pt x="16" y="270"/>
                    </a:lnTo>
                    <a:lnTo>
                      <a:pt x="18" y="272"/>
                    </a:lnTo>
                    <a:lnTo>
                      <a:pt x="20" y="272"/>
                    </a:lnTo>
                    <a:lnTo>
                      <a:pt x="24" y="274"/>
                    </a:lnTo>
                    <a:lnTo>
                      <a:pt x="24" y="276"/>
                    </a:lnTo>
                    <a:lnTo>
                      <a:pt x="26" y="278"/>
                    </a:lnTo>
                    <a:lnTo>
                      <a:pt x="28" y="280"/>
                    </a:lnTo>
                    <a:lnTo>
                      <a:pt x="32" y="282"/>
                    </a:lnTo>
                    <a:lnTo>
                      <a:pt x="34" y="284"/>
                    </a:lnTo>
                    <a:lnTo>
                      <a:pt x="38" y="286"/>
                    </a:lnTo>
                    <a:lnTo>
                      <a:pt x="40" y="288"/>
                    </a:lnTo>
                    <a:lnTo>
                      <a:pt x="44" y="290"/>
                    </a:lnTo>
                    <a:lnTo>
                      <a:pt x="48" y="290"/>
                    </a:lnTo>
                    <a:lnTo>
                      <a:pt x="50" y="290"/>
                    </a:lnTo>
                    <a:lnTo>
                      <a:pt x="52" y="290"/>
                    </a:lnTo>
                    <a:lnTo>
                      <a:pt x="56" y="290"/>
                    </a:lnTo>
                    <a:lnTo>
                      <a:pt x="60" y="288"/>
                    </a:lnTo>
                    <a:lnTo>
                      <a:pt x="64" y="286"/>
                    </a:lnTo>
                    <a:lnTo>
                      <a:pt x="68" y="284"/>
                    </a:lnTo>
                    <a:lnTo>
                      <a:pt x="70" y="282"/>
                    </a:lnTo>
                    <a:lnTo>
                      <a:pt x="70" y="280"/>
                    </a:lnTo>
                    <a:lnTo>
                      <a:pt x="72" y="278"/>
                    </a:lnTo>
                    <a:lnTo>
                      <a:pt x="72" y="276"/>
                    </a:lnTo>
                    <a:lnTo>
                      <a:pt x="72" y="274"/>
                    </a:lnTo>
                    <a:lnTo>
                      <a:pt x="72" y="272"/>
                    </a:lnTo>
                    <a:lnTo>
                      <a:pt x="72" y="270"/>
                    </a:lnTo>
                    <a:lnTo>
                      <a:pt x="72" y="268"/>
                    </a:lnTo>
                    <a:lnTo>
                      <a:pt x="72" y="266"/>
                    </a:lnTo>
                    <a:lnTo>
                      <a:pt x="74" y="264"/>
                    </a:lnTo>
                    <a:lnTo>
                      <a:pt x="78" y="260"/>
                    </a:lnTo>
                    <a:lnTo>
                      <a:pt x="78" y="258"/>
                    </a:lnTo>
                    <a:lnTo>
                      <a:pt x="80" y="258"/>
                    </a:lnTo>
                    <a:lnTo>
                      <a:pt x="82" y="258"/>
                    </a:lnTo>
                    <a:lnTo>
                      <a:pt x="84" y="256"/>
                    </a:lnTo>
                    <a:lnTo>
                      <a:pt x="86" y="258"/>
                    </a:lnTo>
                    <a:lnTo>
                      <a:pt x="86" y="260"/>
                    </a:lnTo>
                    <a:lnTo>
                      <a:pt x="84" y="260"/>
                    </a:lnTo>
                    <a:lnTo>
                      <a:pt x="84" y="264"/>
                    </a:lnTo>
                    <a:lnTo>
                      <a:pt x="82" y="266"/>
                    </a:lnTo>
                    <a:lnTo>
                      <a:pt x="80" y="268"/>
                    </a:lnTo>
                    <a:lnTo>
                      <a:pt x="78" y="270"/>
                    </a:lnTo>
                    <a:lnTo>
                      <a:pt x="76" y="272"/>
                    </a:lnTo>
                    <a:lnTo>
                      <a:pt x="76" y="274"/>
                    </a:lnTo>
                    <a:lnTo>
                      <a:pt x="74" y="276"/>
                    </a:lnTo>
                    <a:lnTo>
                      <a:pt x="76" y="276"/>
                    </a:lnTo>
                    <a:lnTo>
                      <a:pt x="76" y="278"/>
                    </a:lnTo>
                    <a:lnTo>
                      <a:pt x="78" y="280"/>
                    </a:lnTo>
                    <a:lnTo>
                      <a:pt x="80" y="282"/>
                    </a:lnTo>
                    <a:lnTo>
                      <a:pt x="82" y="282"/>
                    </a:lnTo>
                    <a:lnTo>
                      <a:pt x="84" y="284"/>
                    </a:lnTo>
                    <a:lnTo>
                      <a:pt x="84" y="286"/>
                    </a:lnTo>
                    <a:lnTo>
                      <a:pt x="84" y="288"/>
                    </a:lnTo>
                    <a:lnTo>
                      <a:pt x="84" y="292"/>
                    </a:lnTo>
                    <a:lnTo>
                      <a:pt x="84" y="296"/>
                    </a:lnTo>
                    <a:lnTo>
                      <a:pt x="82" y="300"/>
                    </a:lnTo>
                    <a:lnTo>
                      <a:pt x="80" y="306"/>
                    </a:lnTo>
                    <a:lnTo>
                      <a:pt x="80" y="310"/>
                    </a:lnTo>
                    <a:lnTo>
                      <a:pt x="80" y="312"/>
                    </a:lnTo>
                    <a:lnTo>
                      <a:pt x="78" y="316"/>
                    </a:lnTo>
                    <a:lnTo>
                      <a:pt x="78" y="320"/>
                    </a:lnTo>
                    <a:lnTo>
                      <a:pt x="78" y="322"/>
                    </a:lnTo>
                    <a:lnTo>
                      <a:pt x="80" y="326"/>
                    </a:lnTo>
                    <a:lnTo>
                      <a:pt x="80" y="328"/>
                    </a:lnTo>
                    <a:lnTo>
                      <a:pt x="80" y="332"/>
                    </a:lnTo>
                    <a:lnTo>
                      <a:pt x="82" y="338"/>
                    </a:lnTo>
                    <a:lnTo>
                      <a:pt x="84" y="342"/>
                    </a:lnTo>
                    <a:lnTo>
                      <a:pt x="84" y="346"/>
                    </a:lnTo>
                    <a:lnTo>
                      <a:pt x="86" y="352"/>
                    </a:lnTo>
                    <a:lnTo>
                      <a:pt x="88" y="356"/>
                    </a:lnTo>
                    <a:lnTo>
                      <a:pt x="90" y="360"/>
                    </a:lnTo>
                    <a:lnTo>
                      <a:pt x="90" y="364"/>
                    </a:lnTo>
                    <a:lnTo>
                      <a:pt x="92" y="366"/>
                    </a:lnTo>
                    <a:lnTo>
                      <a:pt x="94" y="368"/>
                    </a:lnTo>
                    <a:lnTo>
                      <a:pt x="96" y="370"/>
                    </a:lnTo>
                    <a:lnTo>
                      <a:pt x="96" y="372"/>
                    </a:lnTo>
                    <a:lnTo>
                      <a:pt x="96" y="374"/>
                    </a:lnTo>
                    <a:lnTo>
                      <a:pt x="96" y="376"/>
                    </a:lnTo>
                    <a:lnTo>
                      <a:pt x="96" y="378"/>
                    </a:lnTo>
                    <a:lnTo>
                      <a:pt x="96" y="380"/>
                    </a:lnTo>
                    <a:lnTo>
                      <a:pt x="96" y="382"/>
                    </a:lnTo>
                    <a:lnTo>
                      <a:pt x="96" y="384"/>
                    </a:lnTo>
                    <a:lnTo>
                      <a:pt x="98" y="386"/>
                    </a:lnTo>
                    <a:lnTo>
                      <a:pt x="100" y="386"/>
                    </a:lnTo>
                    <a:lnTo>
                      <a:pt x="102" y="388"/>
                    </a:lnTo>
                    <a:lnTo>
                      <a:pt x="104" y="388"/>
                    </a:lnTo>
                    <a:lnTo>
                      <a:pt x="106" y="388"/>
                    </a:lnTo>
                    <a:lnTo>
                      <a:pt x="106" y="390"/>
                    </a:lnTo>
                    <a:lnTo>
                      <a:pt x="108" y="392"/>
                    </a:lnTo>
                    <a:lnTo>
                      <a:pt x="108" y="394"/>
                    </a:lnTo>
                    <a:lnTo>
                      <a:pt x="108" y="398"/>
                    </a:lnTo>
                    <a:lnTo>
                      <a:pt x="110" y="400"/>
                    </a:lnTo>
                    <a:lnTo>
                      <a:pt x="110" y="402"/>
                    </a:lnTo>
                    <a:lnTo>
                      <a:pt x="112" y="404"/>
                    </a:lnTo>
                    <a:lnTo>
                      <a:pt x="112" y="406"/>
                    </a:lnTo>
                    <a:lnTo>
                      <a:pt x="114" y="408"/>
                    </a:lnTo>
                    <a:lnTo>
                      <a:pt x="118" y="410"/>
                    </a:lnTo>
                    <a:lnTo>
                      <a:pt x="120" y="410"/>
                    </a:lnTo>
                    <a:lnTo>
                      <a:pt x="120" y="412"/>
                    </a:lnTo>
                    <a:lnTo>
                      <a:pt x="120" y="414"/>
                    </a:lnTo>
                    <a:lnTo>
                      <a:pt x="120" y="416"/>
                    </a:lnTo>
                    <a:lnTo>
                      <a:pt x="120" y="418"/>
                    </a:lnTo>
                    <a:lnTo>
                      <a:pt x="122" y="420"/>
                    </a:lnTo>
                    <a:lnTo>
                      <a:pt x="122" y="424"/>
                    </a:lnTo>
                    <a:lnTo>
                      <a:pt x="122" y="430"/>
                    </a:lnTo>
                    <a:lnTo>
                      <a:pt x="124" y="436"/>
                    </a:lnTo>
                    <a:lnTo>
                      <a:pt x="124" y="442"/>
                    </a:lnTo>
                    <a:lnTo>
                      <a:pt x="126" y="444"/>
                    </a:lnTo>
                    <a:lnTo>
                      <a:pt x="126" y="446"/>
                    </a:lnTo>
                    <a:lnTo>
                      <a:pt x="128" y="450"/>
                    </a:lnTo>
                    <a:lnTo>
                      <a:pt x="130" y="454"/>
                    </a:lnTo>
                    <a:lnTo>
                      <a:pt x="134" y="460"/>
                    </a:lnTo>
                    <a:lnTo>
                      <a:pt x="136" y="464"/>
                    </a:lnTo>
                    <a:lnTo>
                      <a:pt x="140" y="466"/>
                    </a:lnTo>
                    <a:lnTo>
                      <a:pt x="142" y="470"/>
                    </a:lnTo>
                    <a:lnTo>
                      <a:pt x="144" y="474"/>
                    </a:lnTo>
                    <a:lnTo>
                      <a:pt x="144" y="476"/>
                    </a:lnTo>
                    <a:lnTo>
                      <a:pt x="146" y="478"/>
                    </a:lnTo>
                    <a:lnTo>
                      <a:pt x="146" y="480"/>
                    </a:lnTo>
                    <a:lnTo>
                      <a:pt x="146" y="486"/>
                    </a:lnTo>
                    <a:lnTo>
                      <a:pt x="146" y="488"/>
                    </a:lnTo>
                    <a:lnTo>
                      <a:pt x="148" y="490"/>
                    </a:lnTo>
                    <a:lnTo>
                      <a:pt x="148" y="492"/>
                    </a:lnTo>
                    <a:lnTo>
                      <a:pt x="148" y="494"/>
                    </a:lnTo>
                    <a:lnTo>
                      <a:pt x="148" y="496"/>
                    </a:lnTo>
                    <a:lnTo>
                      <a:pt x="150" y="500"/>
                    </a:lnTo>
                    <a:lnTo>
                      <a:pt x="150" y="502"/>
                    </a:lnTo>
                    <a:lnTo>
                      <a:pt x="152" y="506"/>
                    </a:lnTo>
                    <a:lnTo>
                      <a:pt x="154" y="510"/>
                    </a:lnTo>
                    <a:lnTo>
                      <a:pt x="158" y="516"/>
                    </a:lnTo>
                    <a:lnTo>
                      <a:pt x="162" y="520"/>
                    </a:lnTo>
                    <a:lnTo>
                      <a:pt x="164" y="524"/>
                    </a:lnTo>
                    <a:lnTo>
                      <a:pt x="166" y="526"/>
                    </a:lnTo>
                    <a:lnTo>
                      <a:pt x="168" y="530"/>
                    </a:lnTo>
                    <a:lnTo>
                      <a:pt x="168" y="532"/>
                    </a:lnTo>
                    <a:lnTo>
                      <a:pt x="170" y="534"/>
                    </a:lnTo>
                    <a:lnTo>
                      <a:pt x="170" y="536"/>
                    </a:lnTo>
                    <a:lnTo>
                      <a:pt x="170" y="534"/>
                    </a:lnTo>
                    <a:lnTo>
                      <a:pt x="172" y="534"/>
                    </a:lnTo>
                    <a:lnTo>
                      <a:pt x="174" y="534"/>
                    </a:lnTo>
                    <a:lnTo>
                      <a:pt x="176" y="534"/>
                    </a:lnTo>
                    <a:lnTo>
                      <a:pt x="180" y="532"/>
                    </a:lnTo>
                    <a:lnTo>
                      <a:pt x="182" y="532"/>
                    </a:lnTo>
                    <a:lnTo>
                      <a:pt x="184" y="530"/>
                    </a:lnTo>
                    <a:lnTo>
                      <a:pt x="186" y="530"/>
                    </a:lnTo>
                    <a:lnTo>
                      <a:pt x="186" y="528"/>
                    </a:lnTo>
                    <a:lnTo>
                      <a:pt x="186" y="526"/>
                    </a:lnTo>
                    <a:lnTo>
                      <a:pt x="186" y="522"/>
                    </a:lnTo>
                    <a:lnTo>
                      <a:pt x="186" y="520"/>
                    </a:lnTo>
                    <a:lnTo>
                      <a:pt x="186" y="518"/>
                    </a:lnTo>
                    <a:lnTo>
                      <a:pt x="186" y="516"/>
                    </a:lnTo>
                    <a:lnTo>
                      <a:pt x="188" y="514"/>
                    </a:lnTo>
                    <a:lnTo>
                      <a:pt x="190" y="514"/>
                    </a:lnTo>
                    <a:lnTo>
                      <a:pt x="192" y="514"/>
                    </a:lnTo>
                    <a:lnTo>
                      <a:pt x="194" y="514"/>
                    </a:lnTo>
                    <a:lnTo>
                      <a:pt x="196" y="514"/>
                    </a:lnTo>
                    <a:lnTo>
                      <a:pt x="198" y="514"/>
                    </a:lnTo>
                    <a:lnTo>
                      <a:pt x="200" y="512"/>
                    </a:lnTo>
                    <a:lnTo>
                      <a:pt x="202" y="510"/>
                    </a:lnTo>
                    <a:lnTo>
                      <a:pt x="204" y="510"/>
                    </a:lnTo>
                    <a:lnTo>
                      <a:pt x="206" y="510"/>
                    </a:lnTo>
                    <a:lnTo>
                      <a:pt x="204" y="510"/>
                    </a:lnTo>
                    <a:lnTo>
                      <a:pt x="204" y="508"/>
                    </a:lnTo>
                    <a:lnTo>
                      <a:pt x="202" y="508"/>
                    </a:lnTo>
                    <a:lnTo>
                      <a:pt x="202" y="506"/>
                    </a:lnTo>
                    <a:lnTo>
                      <a:pt x="202" y="504"/>
                    </a:lnTo>
                    <a:lnTo>
                      <a:pt x="202" y="502"/>
                    </a:lnTo>
                    <a:lnTo>
                      <a:pt x="202" y="500"/>
                    </a:lnTo>
                    <a:lnTo>
                      <a:pt x="204" y="498"/>
                    </a:lnTo>
                    <a:lnTo>
                      <a:pt x="206" y="496"/>
                    </a:lnTo>
                    <a:lnTo>
                      <a:pt x="210" y="494"/>
                    </a:lnTo>
                    <a:lnTo>
                      <a:pt x="214" y="494"/>
                    </a:lnTo>
                    <a:lnTo>
                      <a:pt x="216" y="492"/>
                    </a:lnTo>
                    <a:lnTo>
                      <a:pt x="216" y="490"/>
                    </a:lnTo>
                    <a:lnTo>
                      <a:pt x="218" y="490"/>
                    </a:lnTo>
                    <a:lnTo>
                      <a:pt x="218" y="488"/>
                    </a:lnTo>
                    <a:lnTo>
                      <a:pt x="218" y="486"/>
                    </a:lnTo>
                    <a:lnTo>
                      <a:pt x="218" y="482"/>
                    </a:lnTo>
                    <a:lnTo>
                      <a:pt x="216" y="480"/>
                    </a:lnTo>
                    <a:lnTo>
                      <a:pt x="216" y="472"/>
                    </a:lnTo>
                    <a:lnTo>
                      <a:pt x="216" y="470"/>
                    </a:lnTo>
                    <a:lnTo>
                      <a:pt x="216" y="466"/>
                    </a:lnTo>
                    <a:lnTo>
                      <a:pt x="214" y="464"/>
                    </a:lnTo>
                    <a:lnTo>
                      <a:pt x="214" y="462"/>
                    </a:lnTo>
                    <a:lnTo>
                      <a:pt x="214" y="460"/>
                    </a:lnTo>
                    <a:lnTo>
                      <a:pt x="214" y="456"/>
                    </a:lnTo>
                    <a:lnTo>
                      <a:pt x="214" y="454"/>
                    </a:lnTo>
                    <a:lnTo>
                      <a:pt x="216" y="452"/>
                    </a:lnTo>
                    <a:lnTo>
                      <a:pt x="216" y="450"/>
                    </a:lnTo>
                    <a:lnTo>
                      <a:pt x="216" y="448"/>
                    </a:lnTo>
                    <a:lnTo>
                      <a:pt x="216" y="446"/>
                    </a:lnTo>
                    <a:lnTo>
                      <a:pt x="218" y="444"/>
                    </a:lnTo>
                    <a:lnTo>
                      <a:pt x="218" y="442"/>
                    </a:lnTo>
                    <a:lnTo>
                      <a:pt x="218" y="440"/>
                    </a:lnTo>
                    <a:lnTo>
                      <a:pt x="218" y="438"/>
                    </a:lnTo>
                    <a:lnTo>
                      <a:pt x="218" y="434"/>
                    </a:lnTo>
                    <a:lnTo>
                      <a:pt x="218" y="432"/>
                    </a:lnTo>
                    <a:lnTo>
                      <a:pt x="218" y="430"/>
                    </a:lnTo>
                    <a:lnTo>
                      <a:pt x="216" y="426"/>
                    </a:lnTo>
                    <a:lnTo>
                      <a:pt x="216" y="424"/>
                    </a:lnTo>
                    <a:lnTo>
                      <a:pt x="216" y="422"/>
                    </a:lnTo>
                    <a:lnTo>
                      <a:pt x="214" y="422"/>
                    </a:lnTo>
                    <a:lnTo>
                      <a:pt x="212" y="420"/>
                    </a:lnTo>
                    <a:lnTo>
                      <a:pt x="212" y="418"/>
                    </a:lnTo>
                    <a:lnTo>
                      <a:pt x="210" y="418"/>
                    </a:lnTo>
                    <a:lnTo>
                      <a:pt x="210" y="416"/>
                    </a:lnTo>
                    <a:lnTo>
                      <a:pt x="210" y="414"/>
                    </a:lnTo>
                    <a:lnTo>
                      <a:pt x="212" y="412"/>
                    </a:lnTo>
                    <a:lnTo>
                      <a:pt x="214" y="410"/>
                    </a:lnTo>
                    <a:lnTo>
                      <a:pt x="214" y="408"/>
                    </a:lnTo>
                    <a:lnTo>
                      <a:pt x="214" y="406"/>
                    </a:lnTo>
                    <a:lnTo>
                      <a:pt x="214" y="404"/>
                    </a:lnTo>
                    <a:lnTo>
                      <a:pt x="214" y="400"/>
                    </a:lnTo>
                    <a:lnTo>
                      <a:pt x="212" y="398"/>
                    </a:lnTo>
                    <a:lnTo>
                      <a:pt x="212" y="396"/>
                    </a:lnTo>
                    <a:lnTo>
                      <a:pt x="212" y="394"/>
                    </a:lnTo>
                    <a:lnTo>
                      <a:pt x="212" y="392"/>
                    </a:lnTo>
                    <a:lnTo>
                      <a:pt x="214" y="392"/>
                    </a:lnTo>
                    <a:lnTo>
                      <a:pt x="216" y="390"/>
                    </a:lnTo>
                    <a:lnTo>
                      <a:pt x="218" y="388"/>
                    </a:lnTo>
                    <a:lnTo>
                      <a:pt x="220" y="388"/>
                    </a:lnTo>
                    <a:lnTo>
                      <a:pt x="222" y="388"/>
                    </a:lnTo>
                    <a:lnTo>
                      <a:pt x="224" y="386"/>
                    </a:lnTo>
                    <a:lnTo>
                      <a:pt x="226" y="386"/>
                    </a:lnTo>
                    <a:lnTo>
                      <a:pt x="226" y="384"/>
                    </a:lnTo>
                    <a:lnTo>
                      <a:pt x="226" y="382"/>
                    </a:lnTo>
                    <a:lnTo>
                      <a:pt x="226" y="380"/>
                    </a:lnTo>
                    <a:lnTo>
                      <a:pt x="226" y="378"/>
                    </a:lnTo>
                    <a:lnTo>
                      <a:pt x="226" y="376"/>
                    </a:lnTo>
                    <a:lnTo>
                      <a:pt x="228" y="376"/>
                    </a:lnTo>
                    <a:lnTo>
                      <a:pt x="230" y="374"/>
                    </a:lnTo>
                    <a:lnTo>
                      <a:pt x="232" y="374"/>
                    </a:lnTo>
                    <a:lnTo>
                      <a:pt x="234" y="374"/>
                    </a:lnTo>
                    <a:lnTo>
                      <a:pt x="236" y="374"/>
                    </a:lnTo>
                    <a:lnTo>
                      <a:pt x="236" y="372"/>
                    </a:lnTo>
                    <a:lnTo>
                      <a:pt x="238" y="372"/>
                    </a:lnTo>
                    <a:lnTo>
                      <a:pt x="240" y="372"/>
                    </a:lnTo>
                    <a:lnTo>
                      <a:pt x="242" y="374"/>
                    </a:lnTo>
                    <a:lnTo>
                      <a:pt x="244" y="372"/>
                    </a:lnTo>
                    <a:lnTo>
                      <a:pt x="246" y="372"/>
                    </a:lnTo>
                    <a:lnTo>
                      <a:pt x="246" y="370"/>
                    </a:lnTo>
                    <a:lnTo>
                      <a:pt x="246" y="368"/>
                    </a:lnTo>
                    <a:lnTo>
                      <a:pt x="248" y="364"/>
                    </a:lnTo>
                    <a:lnTo>
                      <a:pt x="250" y="362"/>
                    </a:lnTo>
                    <a:lnTo>
                      <a:pt x="252" y="358"/>
                    </a:lnTo>
                    <a:lnTo>
                      <a:pt x="252" y="356"/>
                    </a:lnTo>
                    <a:lnTo>
                      <a:pt x="254" y="354"/>
                    </a:lnTo>
                    <a:lnTo>
                      <a:pt x="256" y="352"/>
                    </a:lnTo>
                    <a:lnTo>
                      <a:pt x="256" y="350"/>
                    </a:lnTo>
                    <a:lnTo>
                      <a:pt x="258" y="350"/>
                    </a:lnTo>
                    <a:lnTo>
                      <a:pt x="262" y="348"/>
                    </a:lnTo>
                    <a:lnTo>
                      <a:pt x="264" y="348"/>
                    </a:lnTo>
                    <a:lnTo>
                      <a:pt x="264" y="346"/>
                    </a:lnTo>
                    <a:lnTo>
                      <a:pt x="266" y="344"/>
                    </a:lnTo>
                    <a:lnTo>
                      <a:pt x="268" y="344"/>
                    </a:lnTo>
                    <a:lnTo>
                      <a:pt x="268" y="342"/>
                    </a:lnTo>
                    <a:lnTo>
                      <a:pt x="270" y="340"/>
                    </a:lnTo>
                    <a:lnTo>
                      <a:pt x="272" y="334"/>
                    </a:lnTo>
                    <a:lnTo>
                      <a:pt x="274" y="332"/>
                    </a:lnTo>
                    <a:lnTo>
                      <a:pt x="276" y="330"/>
                    </a:lnTo>
                    <a:lnTo>
                      <a:pt x="276" y="328"/>
                    </a:lnTo>
                    <a:lnTo>
                      <a:pt x="278" y="326"/>
                    </a:lnTo>
                    <a:lnTo>
                      <a:pt x="280" y="324"/>
                    </a:lnTo>
                    <a:lnTo>
                      <a:pt x="282" y="322"/>
                    </a:lnTo>
                    <a:lnTo>
                      <a:pt x="286" y="320"/>
                    </a:lnTo>
                    <a:lnTo>
                      <a:pt x="288" y="320"/>
                    </a:lnTo>
                    <a:lnTo>
                      <a:pt x="290" y="318"/>
                    </a:lnTo>
                    <a:lnTo>
                      <a:pt x="292" y="316"/>
                    </a:lnTo>
                    <a:lnTo>
                      <a:pt x="294" y="316"/>
                    </a:lnTo>
                    <a:lnTo>
                      <a:pt x="296" y="316"/>
                    </a:lnTo>
                    <a:lnTo>
                      <a:pt x="294" y="312"/>
                    </a:lnTo>
                    <a:lnTo>
                      <a:pt x="294" y="310"/>
                    </a:lnTo>
                    <a:lnTo>
                      <a:pt x="292" y="308"/>
                    </a:lnTo>
                    <a:lnTo>
                      <a:pt x="294" y="306"/>
                    </a:lnTo>
                    <a:lnTo>
                      <a:pt x="296" y="308"/>
                    </a:lnTo>
                    <a:lnTo>
                      <a:pt x="298" y="310"/>
                    </a:lnTo>
                    <a:lnTo>
                      <a:pt x="298" y="312"/>
                    </a:lnTo>
                    <a:lnTo>
                      <a:pt x="300" y="312"/>
                    </a:lnTo>
                    <a:lnTo>
                      <a:pt x="300" y="314"/>
                    </a:lnTo>
                    <a:lnTo>
                      <a:pt x="302" y="310"/>
                    </a:lnTo>
                    <a:lnTo>
                      <a:pt x="304" y="308"/>
                    </a:lnTo>
                    <a:lnTo>
                      <a:pt x="306" y="306"/>
                    </a:lnTo>
                    <a:lnTo>
                      <a:pt x="308" y="304"/>
                    </a:lnTo>
                    <a:lnTo>
                      <a:pt x="310" y="304"/>
                    </a:lnTo>
                    <a:lnTo>
                      <a:pt x="312" y="302"/>
                    </a:lnTo>
                    <a:lnTo>
                      <a:pt x="312" y="300"/>
                    </a:lnTo>
                    <a:lnTo>
                      <a:pt x="314" y="298"/>
                    </a:lnTo>
                    <a:lnTo>
                      <a:pt x="314" y="296"/>
                    </a:lnTo>
                    <a:lnTo>
                      <a:pt x="316" y="296"/>
                    </a:lnTo>
                    <a:lnTo>
                      <a:pt x="316" y="294"/>
                    </a:lnTo>
                    <a:lnTo>
                      <a:pt x="316" y="292"/>
                    </a:lnTo>
                    <a:lnTo>
                      <a:pt x="314" y="290"/>
                    </a:lnTo>
                    <a:lnTo>
                      <a:pt x="312" y="286"/>
                    </a:lnTo>
                    <a:lnTo>
                      <a:pt x="312" y="284"/>
                    </a:lnTo>
                    <a:lnTo>
                      <a:pt x="312" y="282"/>
                    </a:lnTo>
                    <a:lnTo>
                      <a:pt x="312" y="280"/>
                    </a:lnTo>
                    <a:lnTo>
                      <a:pt x="314" y="280"/>
                    </a:lnTo>
                    <a:lnTo>
                      <a:pt x="316" y="278"/>
                    </a:lnTo>
                    <a:lnTo>
                      <a:pt x="318" y="278"/>
                    </a:lnTo>
                    <a:lnTo>
                      <a:pt x="320" y="278"/>
                    </a:lnTo>
                    <a:lnTo>
                      <a:pt x="322" y="276"/>
                    </a:lnTo>
                    <a:lnTo>
                      <a:pt x="324" y="274"/>
                    </a:lnTo>
                    <a:lnTo>
                      <a:pt x="326" y="272"/>
                    </a:lnTo>
                    <a:lnTo>
                      <a:pt x="326" y="270"/>
                    </a:lnTo>
                    <a:lnTo>
                      <a:pt x="328" y="268"/>
                    </a:lnTo>
                    <a:lnTo>
                      <a:pt x="328" y="266"/>
                    </a:lnTo>
                    <a:lnTo>
                      <a:pt x="328" y="264"/>
                    </a:lnTo>
                    <a:lnTo>
                      <a:pt x="330" y="266"/>
                    </a:lnTo>
                    <a:lnTo>
                      <a:pt x="332" y="266"/>
                    </a:lnTo>
                    <a:lnTo>
                      <a:pt x="332" y="268"/>
                    </a:lnTo>
                    <a:lnTo>
                      <a:pt x="332" y="270"/>
                    </a:lnTo>
                    <a:lnTo>
                      <a:pt x="334" y="272"/>
                    </a:lnTo>
                    <a:lnTo>
                      <a:pt x="334" y="270"/>
                    </a:lnTo>
                    <a:lnTo>
                      <a:pt x="336" y="268"/>
                    </a:lnTo>
                    <a:lnTo>
                      <a:pt x="336" y="266"/>
                    </a:lnTo>
                    <a:lnTo>
                      <a:pt x="336" y="264"/>
                    </a:lnTo>
                    <a:lnTo>
                      <a:pt x="336" y="266"/>
                    </a:lnTo>
                    <a:lnTo>
                      <a:pt x="336" y="270"/>
                    </a:lnTo>
                    <a:lnTo>
                      <a:pt x="338" y="272"/>
                    </a:lnTo>
                    <a:lnTo>
                      <a:pt x="338" y="274"/>
                    </a:lnTo>
                    <a:lnTo>
                      <a:pt x="340" y="276"/>
                    </a:lnTo>
                    <a:lnTo>
                      <a:pt x="340" y="278"/>
                    </a:lnTo>
                    <a:lnTo>
                      <a:pt x="340" y="280"/>
                    </a:lnTo>
                    <a:lnTo>
                      <a:pt x="342" y="280"/>
                    </a:lnTo>
                    <a:lnTo>
                      <a:pt x="344" y="278"/>
                    </a:lnTo>
                    <a:lnTo>
                      <a:pt x="344" y="276"/>
                    </a:lnTo>
                    <a:lnTo>
                      <a:pt x="346" y="274"/>
                    </a:lnTo>
                    <a:lnTo>
                      <a:pt x="346" y="272"/>
                    </a:lnTo>
                    <a:lnTo>
                      <a:pt x="346" y="270"/>
                    </a:lnTo>
                    <a:lnTo>
                      <a:pt x="346" y="268"/>
                    </a:lnTo>
                    <a:lnTo>
                      <a:pt x="346" y="266"/>
                    </a:lnTo>
                    <a:lnTo>
                      <a:pt x="346" y="264"/>
                    </a:lnTo>
                    <a:lnTo>
                      <a:pt x="344" y="262"/>
                    </a:lnTo>
                    <a:lnTo>
                      <a:pt x="344" y="258"/>
                    </a:lnTo>
                    <a:lnTo>
                      <a:pt x="342" y="256"/>
                    </a:lnTo>
                    <a:lnTo>
                      <a:pt x="342" y="254"/>
                    </a:lnTo>
                    <a:lnTo>
                      <a:pt x="342" y="252"/>
                    </a:lnTo>
                    <a:lnTo>
                      <a:pt x="342" y="250"/>
                    </a:lnTo>
                    <a:lnTo>
                      <a:pt x="342" y="248"/>
                    </a:lnTo>
                    <a:lnTo>
                      <a:pt x="340" y="246"/>
                    </a:lnTo>
                    <a:lnTo>
                      <a:pt x="338" y="244"/>
                    </a:lnTo>
                    <a:lnTo>
                      <a:pt x="336" y="244"/>
                    </a:lnTo>
                    <a:lnTo>
                      <a:pt x="336" y="242"/>
                    </a:lnTo>
                    <a:lnTo>
                      <a:pt x="334" y="240"/>
                    </a:lnTo>
                    <a:lnTo>
                      <a:pt x="334" y="238"/>
                    </a:lnTo>
                    <a:lnTo>
                      <a:pt x="334" y="236"/>
                    </a:lnTo>
                    <a:lnTo>
                      <a:pt x="332" y="236"/>
                    </a:lnTo>
                    <a:lnTo>
                      <a:pt x="332" y="234"/>
                    </a:lnTo>
                    <a:lnTo>
                      <a:pt x="334" y="234"/>
                    </a:lnTo>
                    <a:lnTo>
                      <a:pt x="334" y="232"/>
                    </a:lnTo>
                    <a:lnTo>
                      <a:pt x="334" y="230"/>
                    </a:lnTo>
                    <a:lnTo>
                      <a:pt x="336" y="230"/>
                    </a:lnTo>
                    <a:lnTo>
                      <a:pt x="336" y="228"/>
                    </a:lnTo>
                    <a:lnTo>
                      <a:pt x="336" y="226"/>
                    </a:lnTo>
                    <a:lnTo>
                      <a:pt x="336" y="224"/>
                    </a:lnTo>
                    <a:lnTo>
                      <a:pt x="334" y="222"/>
                    </a:lnTo>
                    <a:lnTo>
                      <a:pt x="332" y="222"/>
                    </a:lnTo>
                    <a:lnTo>
                      <a:pt x="328" y="220"/>
                    </a:lnTo>
                    <a:lnTo>
                      <a:pt x="326" y="220"/>
                    </a:lnTo>
                    <a:lnTo>
                      <a:pt x="324" y="218"/>
                    </a:lnTo>
                    <a:lnTo>
                      <a:pt x="324" y="216"/>
                    </a:lnTo>
                    <a:lnTo>
                      <a:pt x="324" y="214"/>
                    </a:lnTo>
                    <a:lnTo>
                      <a:pt x="326" y="214"/>
                    </a:lnTo>
                    <a:lnTo>
                      <a:pt x="328" y="214"/>
                    </a:lnTo>
                    <a:lnTo>
                      <a:pt x="328" y="212"/>
                    </a:lnTo>
                    <a:lnTo>
                      <a:pt x="328" y="210"/>
                    </a:lnTo>
                    <a:lnTo>
                      <a:pt x="328" y="208"/>
                    </a:lnTo>
                    <a:lnTo>
                      <a:pt x="330" y="206"/>
                    </a:lnTo>
                    <a:lnTo>
                      <a:pt x="332" y="206"/>
                    </a:lnTo>
                    <a:lnTo>
                      <a:pt x="334" y="206"/>
                    </a:lnTo>
                    <a:lnTo>
                      <a:pt x="336" y="206"/>
                    </a:lnTo>
                    <a:lnTo>
                      <a:pt x="336" y="204"/>
                    </a:lnTo>
                    <a:lnTo>
                      <a:pt x="334" y="202"/>
                    </a:lnTo>
                    <a:lnTo>
                      <a:pt x="332" y="202"/>
                    </a:lnTo>
                    <a:lnTo>
                      <a:pt x="330" y="202"/>
                    </a:lnTo>
                    <a:lnTo>
                      <a:pt x="330" y="200"/>
                    </a:lnTo>
                    <a:lnTo>
                      <a:pt x="328" y="200"/>
                    </a:lnTo>
                    <a:lnTo>
                      <a:pt x="326" y="200"/>
                    </a:lnTo>
                    <a:lnTo>
                      <a:pt x="324" y="198"/>
                    </a:lnTo>
                    <a:lnTo>
                      <a:pt x="322" y="196"/>
                    </a:lnTo>
                    <a:lnTo>
                      <a:pt x="320" y="194"/>
                    </a:lnTo>
                    <a:lnTo>
                      <a:pt x="320" y="192"/>
                    </a:lnTo>
                    <a:lnTo>
                      <a:pt x="320" y="190"/>
                    </a:lnTo>
                    <a:lnTo>
                      <a:pt x="320" y="188"/>
                    </a:lnTo>
                    <a:lnTo>
                      <a:pt x="322" y="188"/>
                    </a:lnTo>
                    <a:lnTo>
                      <a:pt x="322" y="186"/>
                    </a:lnTo>
                    <a:lnTo>
                      <a:pt x="324" y="184"/>
                    </a:lnTo>
                    <a:lnTo>
                      <a:pt x="322" y="184"/>
                    </a:lnTo>
                    <a:lnTo>
                      <a:pt x="322" y="182"/>
                    </a:lnTo>
                    <a:lnTo>
                      <a:pt x="322" y="180"/>
                    </a:lnTo>
                    <a:lnTo>
                      <a:pt x="324" y="180"/>
                    </a:lnTo>
                    <a:lnTo>
                      <a:pt x="324" y="182"/>
                    </a:lnTo>
                    <a:lnTo>
                      <a:pt x="326" y="182"/>
                    </a:lnTo>
                    <a:lnTo>
                      <a:pt x="328" y="182"/>
                    </a:lnTo>
                    <a:lnTo>
                      <a:pt x="330" y="184"/>
                    </a:lnTo>
                    <a:lnTo>
                      <a:pt x="332" y="184"/>
                    </a:lnTo>
                    <a:lnTo>
                      <a:pt x="330" y="182"/>
                    </a:lnTo>
                    <a:lnTo>
                      <a:pt x="332" y="182"/>
                    </a:lnTo>
                    <a:lnTo>
                      <a:pt x="334" y="182"/>
                    </a:lnTo>
                    <a:lnTo>
                      <a:pt x="336" y="184"/>
                    </a:lnTo>
                    <a:lnTo>
                      <a:pt x="336" y="186"/>
                    </a:lnTo>
                    <a:lnTo>
                      <a:pt x="338" y="188"/>
                    </a:lnTo>
                    <a:lnTo>
                      <a:pt x="338" y="190"/>
                    </a:lnTo>
                    <a:lnTo>
                      <a:pt x="340" y="190"/>
                    </a:lnTo>
                    <a:lnTo>
                      <a:pt x="342" y="190"/>
                    </a:lnTo>
                    <a:lnTo>
                      <a:pt x="344" y="192"/>
                    </a:lnTo>
                    <a:lnTo>
                      <a:pt x="344" y="190"/>
                    </a:lnTo>
                    <a:lnTo>
                      <a:pt x="344" y="188"/>
                    </a:lnTo>
                    <a:lnTo>
                      <a:pt x="344" y="186"/>
                    </a:lnTo>
                    <a:lnTo>
                      <a:pt x="344" y="188"/>
                    </a:lnTo>
                    <a:lnTo>
                      <a:pt x="346" y="188"/>
                    </a:lnTo>
                    <a:lnTo>
                      <a:pt x="348" y="188"/>
                    </a:lnTo>
                    <a:lnTo>
                      <a:pt x="348" y="190"/>
                    </a:lnTo>
                    <a:lnTo>
                      <a:pt x="348" y="194"/>
                    </a:lnTo>
                    <a:lnTo>
                      <a:pt x="348" y="196"/>
                    </a:lnTo>
                    <a:lnTo>
                      <a:pt x="350" y="198"/>
                    </a:lnTo>
                    <a:lnTo>
                      <a:pt x="350" y="200"/>
                    </a:lnTo>
                    <a:lnTo>
                      <a:pt x="350" y="202"/>
                    </a:lnTo>
                    <a:lnTo>
                      <a:pt x="350" y="204"/>
                    </a:lnTo>
                    <a:lnTo>
                      <a:pt x="350" y="206"/>
                    </a:lnTo>
                    <a:lnTo>
                      <a:pt x="352" y="206"/>
                    </a:lnTo>
                    <a:lnTo>
                      <a:pt x="354" y="206"/>
                    </a:lnTo>
                    <a:lnTo>
                      <a:pt x="358" y="208"/>
                    </a:lnTo>
                    <a:lnTo>
                      <a:pt x="360" y="208"/>
                    </a:lnTo>
                    <a:lnTo>
                      <a:pt x="362" y="208"/>
                    </a:lnTo>
                    <a:lnTo>
                      <a:pt x="364" y="208"/>
                    </a:lnTo>
                    <a:lnTo>
                      <a:pt x="366" y="208"/>
                    </a:lnTo>
                    <a:lnTo>
                      <a:pt x="368" y="208"/>
                    </a:lnTo>
                    <a:lnTo>
                      <a:pt x="370" y="208"/>
                    </a:lnTo>
                    <a:lnTo>
                      <a:pt x="372" y="208"/>
                    </a:lnTo>
                    <a:lnTo>
                      <a:pt x="374" y="208"/>
                    </a:lnTo>
                    <a:lnTo>
                      <a:pt x="376" y="208"/>
                    </a:lnTo>
                    <a:lnTo>
                      <a:pt x="378" y="208"/>
                    </a:lnTo>
                    <a:lnTo>
                      <a:pt x="382" y="206"/>
                    </a:lnTo>
                    <a:lnTo>
                      <a:pt x="384" y="206"/>
                    </a:lnTo>
                    <a:lnTo>
                      <a:pt x="384" y="204"/>
                    </a:lnTo>
                    <a:lnTo>
                      <a:pt x="386" y="204"/>
                    </a:lnTo>
                    <a:lnTo>
                      <a:pt x="386" y="206"/>
                    </a:lnTo>
                    <a:lnTo>
                      <a:pt x="388" y="206"/>
                    </a:lnTo>
                    <a:lnTo>
                      <a:pt x="390" y="208"/>
                    </a:lnTo>
                    <a:lnTo>
                      <a:pt x="392" y="208"/>
                    </a:lnTo>
                    <a:lnTo>
                      <a:pt x="392" y="210"/>
                    </a:lnTo>
                    <a:lnTo>
                      <a:pt x="394" y="212"/>
                    </a:lnTo>
                    <a:lnTo>
                      <a:pt x="392" y="212"/>
                    </a:lnTo>
                    <a:lnTo>
                      <a:pt x="392" y="214"/>
                    </a:lnTo>
                    <a:lnTo>
                      <a:pt x="390" y="214"/>
                    </a:lnTo>
                    <a:lnTo>
                      <a:pt x="390" y="216"/>
                    </a:lnTo>
                    <a:lnTo>
                      <a:pt x="388" y="218"/>
                    </a:lnTo>
                    <a:lnTo>
                      <a:pt x="388" y="222"/>
                    </a:lnTo>
                    <a:lnTo>
                      <a:pt x="388" y="224"/>
                    </a:lnTo>
                    <a:lnTo>
                      <a:pt x="386" y="226"/>
                    </a:lnTo>
                    <a:lnTo>
                      <a:pt x="384" y="226"/>
                    </a:lnTo>
                    <a:lnTo>
                      <a:pt x="382" y="226"/>
                    </a:lnTo>
                    <a:lnTo>
                      <a:pt x="380" y="226"/>
                    </a:lnTo>
                    <a:lnTo>
                      <a:pt x="378" y="228"/>
                    </a:lnTo>
                    <a:lnTo>
                      <a:pt x="376" y="230"/>
                    </a:lnTo>
                    <a:lnTo>
                      <a:pt x="376" y="234"/>
                    </a:lnTo>
                    <a:lnTo>
                      <a:pt x="376" y="238"/>
                    </a:lnTo>
                    <a:lnTo>
                      <a:pt x="376" y="240"/>
                    </a:lnTo>
                    <a:lnTo>
                      <a:pt x="378" y="242"/>
                    </a:lnTo>
                    <a:lnTo>
                      <a:pt x="380" y="244"/>
                    </a:lnTo>
                    <a:lnTo>
                      <a:pt x="382" y="244"/>
                    </a:lnTo>
                    <a:lnTo>
                      <a:pt x="384" y="244"/>
                    </a:lnTo>
                    <a:lnTo>
                      <a:pt x="384" y="246"/>
                    </a:lnTo>
                    <a:lnTo>
                      <a:pt x="384" y="248"/>
                    </a:lnTo>
                    <a:lnTo>
                      <a:pt x="386" y="248"/>
                    </a:lnTo>
                    <a:lnTo>
                      <a:pt x="386" y="250"/>
                    </a:lnTo>
                    <a:lnTo>
                      <a:pt x="386" y="248"/>
                    </a:lnTo>
                    <a:lnTo>
                      <a:pt x="388" y="246"/>
                    </a:lnTo>
                    <a:lnTo>
                      <a:pt x="388" y="244"/>
                    </a:lnTo>
                    <a:lnTo>
                      <a:pt x="388" y="242"/>
                    </a:lnTo>
                    <a:lnTo>
                      <a:pt x="388" y="240"/>
                    </a:lnTo>
                    <a:lnTo>
                      <a:pt x="388" y="238"/>
                    </a:lnTo>
                    <a:lnTo>
                      <a:pt x="388" y="236"/>
                    </a:lnTo>
                    <a:lnTo>
                      <a:pt x="390" y="236"/>
                    </a:lnTo>
                    <a:lnTo>
                      <a:pt x="392" y="236"/>
                    </a:lnTo>
                    <a:lnTo>
                      <a:pt x="394" y="236"/>
                    </a:lnTo>
                    <a:lnTo>
                      <a:pt x="396" y="238"/>
                    </a:lnTo>
                    <a:lnTo>
                      <a:pt x="398" y="240"/>
                    </a:lnTo>
                    <a:lnTo>
                      <a:pt x="398" y="244"/>
                    </a:lnTo>
                    <a:lnTo>
                      <a:pt x="398" y="246"/>
                    </a:lnTo>
                    <a:lnTo>
                      <a:pt x="398" y="248"/>
                    </a:lnTo>
                    <a:lnTo>
                      <a:pt x="400" y="250"/>
                    </a:lnTo>
                    <a:lnTo>
                      <a:pt x="400" y="252"/>
                    </a:lnTo>
                    <a:lnTo>
                      <a:pt x="402" y="254"/>
                    </a:lnTo>
                    <a:lnTo>
                      <a:pt x="402" y="258"/>
                    </a:lnTo>
                    <a:lnTo>
                      <a:pt x="404" y="260"/>
                    </a:lnTo>
                    <a:lnTo>
                      <a:pt x="404" y="264"/>
                    </a:lnTo>
                    <a:lnTo>
                      <a:pt x="406" y="264"/>
                    </a:lnTo>
                    <a:lnTo>
                      <a:pt x="406" y="266"/>
                    </a:lnTo>
                    <a:lnTo>
                      <a:pt x="406" y="268"/>
                    </a:lnTo>
                    <a:lnTo>
                      <a:pt x="408" y="268"/>
                    </a:lnTo>
                    <a:lnTo>
                      <a:pt x="408" y="270"/>
                    </a:lnTo>
                    <a:lnTo>
                      <a:pt x="410" y="270"/>
                    </a:lnTo>
                    <a:lnTo>
                      <a:pt x="410" y="268"/>
                    </a:lnTo>
                    <a:lnTo>
                      <a:pt x="410" y="266"/>
                    </a:lnTo>
                    <a:lnTo>
                      <a:pt x="410" y="264"/>
                    </a:lnTo>
                    <a:lnTo>
                      <a:pt x="410" y="266"/>
                    </a:lnTo>
                    <a:lnTo>
                      <a:pt x="412" y="266"/>
                    </a:lnTo>
                    <a:lnTo>
                      <a:pt x="414" y="266"/>
                    </a:lnTo>
                    <a:lnTo>
                      <a:pt x="416" y="266"/>
                    </a:lnTo>
                    <a:lnTo>
                      <a:pt x="416" y="264"/>
                    </a:lnTo>
                    <a:lnTo>
                      <a:pt x="414" y="262"/>
                    </a:lnTo>
                    <a:lnTo>
                      <a:pt x="414" y="260"/>
                    </a:lnTo>
                    <a:lnTo>
                      <a:pt x="412" y="260"/>
                    </a:lnTo>
                    <a:lnTo>
                      <a:pt x="412" y="258"/>
                    </a:lnTo>
                    <a:lnTo>
                      <a:pt x="412" y="256"/>
                    </a:lnTo>
                    <a:lnTo>
                      <a:pt x="410" y="252"/>
                    </a:lnTo>
                    <a:lnTo>
                      <a:pt x="410" y="250"/>
                    </a:lnTo>
                    <a:lnTo>
                      <a:pt x="410" y="248"/>
                    </a:lnTo>
                    <a:lnTo>
                      <a:pt x="412" y="248"/>
                    </a:lnTo>
                    <a:lnTo>
                      <a:pt x="414" y="246"/>
                    </a:lnTo>
                    <a:lnTo>
                      <a:pt x="416" y="246"/>
                    </a:lnTo>
                    <a:lnTo>
                      <a:pt x="414" y="244"/>
                    </a:lnTo>
                    <a:lnTo>
                      <a:pt x="414" y="242"/>
                    </a:lnTo>
                    <a:lnTo>
                      <a:pt x="414" y="240"/>
                    </a:lnTo>
                    <a:lnTo>
                      <a:pt x="414" y="238"/>
                    </a:lnTo>
                    <a:lnTo>
                      <a:pt x="414" y="236"/>
                    </a:lnTo>
                    <a:lnTo>
                      <a:pt x="414" y="234"/>
                    </a:lnTo>
                    <a:lnTo>
                      <a:pt x="412" y="232"/>
                    </a:lnTo>
                    <a:lnTo>
                      <a:pt x="410" y="230"/>
                    </a:lnTo>
                    <a:lnTo>
                      <a:pt x="408" y="230"/>
                    </a:lnTo>
                    <a:lnTo>
                      <a:pt x="410" y="230"/>
                    </a:lnTo>
                    <a:lnTo>
                      <a:pt x="412" y="230"/>
                    </a:lnTo>
                    <a:lnTo>
                      <a:pt x="414" y="230"/>
                    </a:lnTo>
                    <a:lnTo>
                      <a:pt x="416" y="230"/>
                    </a:lnTo>
                    <a:lnTo>
                      <a:pt x="418" y="230"/>
                    </a:lnTo>
                    <a:lnTo>
                      <a:pt x="420" y="230"/>
                    </a:lnTo>
                    <a:lnTo>
                      <a:pt x="422" y="230"/>
                    </a:lnTo>
                    <a:lnTo>
                      <a:pt x="424" y="230"/>
                    </a:lnTo>
                    <a:lnTo>
                      <a:pt x="426" y="232"/>
                    </a:lnTo>
                    <a:lnTo>
                      <a:pt x="428" y="232"/>
                    </a:lnTo>
                    <a:lnTo>
                      <a:pt x="428" y="228"/>
                    </a:lnTo>
                    <a:lnTo>
                      <a:pt x="428" y="226"/>
                    </a:lnTo>
                    <a:lnTo>
                      <a:pt x="428" y="224"/>
                    </a:lnTo>
                    <a:lnTo>
                      <a:pt x="428" y="220"/>
                    </a:lnTo>
                    <a:lnTo>
                      <a:pt x="430" y="218"/>
                    </a:lnTo>
                    <a:lnTo>
                      <a:pt x="430" y="216"/>
                    </a:lnTo>
                    <a:lnTo>
                      <a:pt x="430" y="214"/>
                    </a:lnTo>
                    <a:lnTo>
                      <a:pt x="430" y="212"/>
                    </a:lnTo>
                    <a:lnTo>
                      <a:pt x="432" y="210"/>
                    </a:lnTo>
                    <a:lnTo>
                      <a:pt x="430" y="210"/>
                    </a:lnTo>
                    <a:lnTo>
                      <a:pt x="430" y="208"/>
                    </a:lnTo>
                    <a:lnTo>
                      <a:pt x="430" y="206"/>
                    </a:lnTo>
                    <a:lnTo>
                      <a:pt x="428" y="204"/>
                    </a:lnTo>
                    <a:lnTo>
                      <a:pt x="428" y="202"/>
                    </a:lnTo>
                    <a:lnTo>
                      <a:pt x="430" y="202"/>
                    </a:lnTo>
                    <a:lnTo>
                      <a:pt x="430" y="200"/>
                    </a:lnTo>
                    <a:lnTo>
                      <a:pt x="432" y="200"/>
                    </a:lnTo>
                    <a:lnTo>
                      <a:pt x="434" y="196"/>
                    </a:lnTo>
                    <a:lnTo>
                      <a:pt x="436" y="194"/>
                    </a:lnTo>
                    <a:lnTo>
                      <a:pt x="436" y="192"/>
                    </a:lnTo>
                    <a:lnTo>
                      <a:pt x="438" y="192"/>
                    </a:lnTo>
                    <a:lnTo>
                      <a:pt x="436" y="190"/>
                    </a:lnTo>
                    <a:lnTo>
                      <a:pt x="436" y="188"/>
                    </a:lnTo>
                    <a:lnTo>
                      <a:pt x="434" y="186"/>
                    </a:lnTo>
                    <a:lnTo>
                      <a:pt x="434" y="184"/>
                    </a:lnTo>
                    <a:lnTo>
                      <a:pt x="434" y="182"/>
                    </a:lnTo>
                    <a:lnTo>
                      <a:pt x="434" y="180"/>
                    </a:lnTo>
                    <a:lnTo>
                      <a:pt x="434" y="178"/>
                    </a:lnTo>
                    <a:lnTo>
                      <a:pt x="436" y="178"/>
                    </a:lnTo>
                    <a:lnTo>
                      <a:pt x="438" y="178"/>
                    </a:lnTo>
                    <a:lnTo>
                      <a:pt x="442" y="176"/>
                    </a:lnTo>
                    <a:lnTo>
                      <a:pt x="444" y="176"/>
                    </a:lnTo>
                    <a:lnTo>
                      <a:pt x="444" y="174"/>
                    </a:lnTo>
                    <a:lnTo>
                      <a:pt x="446" y="172"/>
                    </a:lnTo>
                    <a:lnTo>
                      <a:pt x="446" y="170"/>
                    </a:lnTo>
                    <a:lnTo>
                      <a:pt x="446" y="168"/>
                    </a:lnTo>
                    <a:lnTo>
                      <a:pt x="448" y="168"/>
                    </a:lnTo>
                    <a:lnTo>
                      <a:pt x="450" y="168"/>
                    </a:lnTo>
                    <a:lnTo>
                      <a:pt x="454" y="168"/>
                    </a:lnTo>
                    <a:lnTo>
                      <a:pt x="456" y="168"/>
                    </a:lnTo>
                    <a:lnTo>
                      <a:pt x="458" y="168"/>
                    </a:lnTo>
                    <a:lnTo>
                      <a:pt x="460" y="168"/>
                    </a:lnTo>
                    <a:lnTo>
                      <a:pt x="462" y="168"/>
                    </a:lnTo>
                    <a:lnTo>
                      <a:pt x="464" y="168"/>
                    </a:lnTo>
                    <a:lnTo>
                      <a:pt x="462" y="166"/>
                    </a:lnTo>
                    <a:lnTo>
                      <a:pt x="460" y="164"/>
                    </a:lnTo>
                    <a:lnTo>
                      <a:pt x="458" y="162"/>
                    </a:lnTo>
                    <a:lnTo>
                      <a:pt x="456" y="16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5" name="Freeform 192">
                <a:extLst>
                  <a:ext uri="{FF2B5EF4-FFF2-40B4-BE49-F238E27FC236}">
                    <a16:creationId xmlns:a16="http://schemas.microsoft.com/office/drawing/2014/main" id="{0B3FD0FA-827C-44B6-89F2-0D75B151BD96}"/>
                  </a:ext>
                </a:extLst>
              </p:cNvPr>
              <p:cNvSpPr>
                <a:spLocks noChangeAspect="1"/>
              </p:cNvSpPr>
              <p:nvPr/>
            </p:nvSpPr>
            <p:spPr bwMode="auto">
              <a:xfrm>
                <a:off x="6933497" y="3298150"/>
                <a:ext cx="249943" cy="624339"/>
              </a:xfrm>
              <a:custGeom>
                <a:avLst/>
                <a:gdLst/>
                <a:ahLst/>
                <a:cxnLst>
                  <a:cxn ang="0">
                    <a:pos x="4" y="152"/>
                  </a:cxn>
                  <a:cxn ang="0">
                    <a:pos x="26" y="168"/>
                  </a:cxn>
                  <a:cxn ang="0">
                    <a:pos x="24" y="178"/>
                  </a:cxn>
                  <a:cxn ang="0">
                    <a:pos x="48" y="202"/>
                  </a:cxn>
                  <a:cxn ang="0">
                    <a:pos x="50" y="216"/>
                  </a:cxn>
                  <a:cxn ang="0">
                    <a:pos x="50" y="236"/>
                  </a:cxn>
                  <a:cxn ang="0">
                    <a:pos x="60" y="242"/>
                  </a:cxn>
                  <a:cxn ang="0">
                    <a:pos x="74" y="236"/>
                  </a:cxn>
                  <a:cxn ang="0">
                    <a:pos x="88" y="216"/>
                  </a:cxn>
                  <a:cxn ang="0">
                    <a:pos x="96" y="228"/>
                  </a:cxn>
                  <a:cxn ang="0">
                    <a:pos x="106" y="250"/>
                  </a:cxn>
                  <a:cxn ang="0">
                    <a:pos x="114" y="276"/>
                  </a:cxn>
                  <a:cxn ang="0">
                    <a:pos x="126" y="302"/>
                  </a:cxn>
                  <a:cxn ang="0">
                    <a:pos x="126" y="316"/>
                  </a:cxn>
                  <a:cxn ang="0">
                    <a:pos x="128" y="326"/>
                  </a:cxn>
                  <a:cxn ang="0">
                    <a:pos x="128" y="338"/>
                  </a:cxn>
                  <a:cxn ang="0">
                    <a:pos x="130" y="356"/>
                  </a:cxn>
                  <a:cxn ang="0">
                    <a:pos x="140" y="334"/>
                  </a:cxn>
                  <a:cxn ang="0">
                    <a:pos x="142" y="308"/>
                  </a:cxn>
                  <a:cxn ang="0">
                    <a:pos x="132" y="282"/>
                  </a:cxn>
                  <a:cxn ang="0">
                    <a:pos x="118" y="262"/>
                  </a:cxn>
                  <a:cxn ang="0">
                    <a:pos x="122" y="240"/>
                  </a:cxn>
                  <a:cxn ang="0">
                    <a:pos x="124" y="234"/>
                  </a:cxn>
                  <a:cxn ang="0">
                    <a:pos x="120" y="224"/>
                  </a:cxn>
                  <a:cxn ang="0">
                    <a:pos x="104" y="204"/>
                  </a:cxn>
                  <a:cxn ang="0">
                    <a:pos x="96" y="196"/>
                  </a:cxn>
                  <a:cxn ang="0">
                    <a:pos x="98" y="182"/>
                  </a:cxn>
                  <a:cxn ang="0">
                    <a:pos x="108" y="170"/>
                  </a:cxn>
                  <a:cxn ang="0">
                    <a:pos x="124" y="164"/>
                  </a:cxn>
                  <a:cxn ang="0">
                    <a:pos x="132" y="156"/>
                  </a:cxn>
                  <a:cxn ang="0">
                    <a:pos x="142" y="148"/>
                  </a:cxn>
                  <a:cxn ang="0">
                    <a:pos x="148" y="138"/>
                  </a:cxn>
                  <a:cxn ang="0">
                    <a:pos x="146" y="130"/>
                  </a:cxn>
                  <a:cxn ang="0">
                    <a:pos x="134" y="136"/>
                  </a:cxn>
                  <a:cxn ang="0">
                    <a:pos x="128" y="126"/>
                  </a:cxn>
                  <a:cxn ang="0">
                    <a:pos x="114" y="124"/>
                  </a:cxn>
                  <a:cxn ang="0">
                    <a:pos x="118" y="112"/>
                  </a:cxn>
                  <a:cxn ang="0">
                    <a:pos x="108" y="102"/>
                  </a:cxn>
                  <a:cxn ang="0">
                    <a:pos x="104" y="88"/>
                  </a:cxn>
                  <a:cxn ang="0">
                    <a:pos x="92" y="86"/>
                  </a:cxn>
                  <a:cxn ang="0">
                    <a:pos x="86" y="84"/>
                  </a:cxn>
                  <a:cxn ang="0">
                    <a:pos x="82" y="68"/>
                  </a:cxn>
                  <a:cxn ang="0">
                    <a:pos x="88" y="58"/>
                  </a:cxn>
                  <a:cxn ang="0">
                    <a:pos x="94" y="52"/>
                  </a:cxn>
                  <a:cxn ang="0">
                    <a:pos x="96" y="36"/>
                  </a:cxn>
                  <a:cxn ang="0">
                    <a:pos x="92" y="24"/>
                  </a:cxn>
                  <a:cxn ang="0">
                    <a:pos x="80" y="14"/>
                  </a:cxn>
                  <a:cxn ang="0">
                    <a:pos x="66" y="4"/>
                  </a:cxn>
                  <a:cxn ang="0">
                    <a:pos x="60" y="16"/>
                  </a:cxn>
                  <a:cxn ang="0">
                    <a:pos x="60" y="26"/>
                  </a:cxn>
                  <a:cxn ang="0">
                    <a:pos x="46" y="32"/>
                  </a:cxn>
                  <a:cxn ang="0">
                    <a:pos x="36" y="44"/>
                  </a:cxn>
                  <a:cxn ang="0">
                    <a:pos x="32" y="58"/>
                  </a:cxn>
                  <a:cxn ang="0">
                    <a:pos x="30" y="80"/>
                  </a:cxn>
                  <a:cxn ang="0">
                    <a:pos x="24" y="88"/>
                  </a:cxn>
                  <a:cxn ang="0">
                    <a:pos x="12" y="88"/>
                  </a:cxn>
                  <a:cxn ang="0">
                    <a:pos x="18" y="104"/>
                  </a:cxn>
                  <a:cxn ang="0">
                    <a:pos x="16" y="120"/>
                  </a:cxn>
                  <a:cxn ang="0">
                    <a:pos x="12" y="128"/>
                  </a:cxn>
                  <a:cxn ang="0">
                    <a:pos x="8" y="136"/>
                  </a:cxn>
                  <a:cxn ang="0">
                    <a:pos x="0" y="140"/>
                  </a:cxn>
                </a:cxnLst>
                <a:rect l="0" t="0" r="r" b="b"/>
                <a:pathLst>
                  <a:path w="152" h="358">
                    <a:moveTo>
                      <a:pt x="0" y="140"/>
                    </a:moveTo>
                    <a:lnTo>
                      <a:pt x="2" y="140"/>
                    </a:lnTo>
                    <a:lnTo>
                      <a:pt x="4" y="140"/>
                    </a:lnTo>
                    <a:lnTo>
                      <a:pt x="4" y="142"/>
                    </a:lnTo>
                    <a:lnTo>
                      <a:pt x="4" y="144"/>
                    </a:lnTo>
                    <a:lnTo>
                      <a:pt x="4" y="146"/>
                    </a:lnTo>
                    <a:lnTo>
                      <a:pt x="4" y="148"/>
                    </a:lnTo>
                    <a:lnTo>
                      <a:pt x="4" y="150"/>
                    </a:lnTo>
                    <a:lnTo>
                      <a:pt x="4" y="152"/>
                    </a:lnTo>
                    <a:lnTo>
                      <a:pt x="6" y="152"/>
                    </a:lnTo>
                    <a:lnTo>
                      <a:pt x="8" y="152"/>
                    </a:lnTo>
                    <a:lnTo>
                      <a:pt x="8" y="154"/>
                    </a:lnTo>
                    <a:lnTo>
                      <a:pt x="12" y="154"/>
                    </a:lnTo>
                    <a:lnTo>
                      <a:pt x="14" y="156"/>
                    </a:lnTo>
                    <a:lnTo>
                      <a:pt x="16" y="156"/>
                    </a:lnTo>
                    <a:lnTo>
                      <a:pt x="16" y="158"/>
                    </a:lnTo>
                    <a:lnTo>
                      <a:pt x="18" y="160"/>
                    </a:lnTo>
                    <a:lnTo>
                      <a:pt x="20" y="164"/>
                    </a:lnTo>
                    <a:lnTo>
                      <a:pt x="20" y="166"/>
                    </a:lnTo>
                    <a:lnTo>
                      <a:pt x="22" y="168"/>
                    </a:lnTo>
                    <a:lnTo>
                      <a:pt x="24" y="168"/>
                    </a:lnTo>
                    <a:lnTo>
                      <a:pt x="26" y="168"/>
                    </a:lnTo>
                    <a:lnTo>
                      <a:pt x="28" y="168"/>
                    </a:lnTo>
                    <a:lnTo>
                      <a:pt x="30" y="168"/>
                    </a:lnTo>
                    <a:lnTo>
                      <a:pt x="28" y="170"/>
                    </a:lnTo>
                    <a:lnTo>
                      <a:pt x="26" y="174"/>
                    </a:lnTo>
                    <a:lnTo>
                      <a:pt x="26" y="176"/>
                    </a:lnTo>
                    <a:lnTo>
                      <a:pt x="26" y="178"/>
                    </a:lnTo>
                    <a:lnTo>
                      <a:pt x="24" y="178"/>
                    </a:lnTo>
                    <a:lnTo>
                      <a:pt x="26" y="178"/>
                    </a:lnTo>
                    <a:lnTo>
                      <a:pt x="28" y="178"/>
                    </a:lnTo>
                    <a:lnTo>
                      <a:pt x="32" y="178"/>
                    </a:lnTo>
                    <a:lnTo>
                      <a:pt x="36" y="180"/>
                    </a:lnTo>
                    <a:lnTo>
                      <a:pt x="38" y="182"/>
                    </a:lnTo>
                    <a:lnTo>
                      <a:pt x="40" y="182"/>
                    </a:lnTo>
                    <a:lnTo>
                      <a:pt x="42" y="184"/>
                    </a:lnTo>
                    <a:lnTo>
                      <a:pt x="42" y="186"/>
                    </a:lnTo>
                    <a:lnTo>
                      <a:pt x="44" y="190"/>
                    </a:lnTo>
                    <a:lnTo>
                      <a:pt x="46" y="192"/>
                    </a:lnTo>
                    <a:lnTo>
                      <a:pt x="46" y="196"/>
                    </a:lnTo>
                    <a:lnTo>
                      <a:pt x="46" y="198"/>
                    </a:lnTo>
                    <a:lnTo>
                      <a:pt x="48" y="200"/>
                    </a:lnTo>
                    <a:lnTo>
                      <a:pt x="48" y="202"/>
                    </a:lnTo>
                    <a:lnTo>
                      <a:pt x="50" y="204"/>
                    </a:lnTo>
                    <a:lnTo>
                      <a:pt x="52" y="206"/>
                    </a:lnTo>
                    <a:lnTo>
                      <a:pt x="52" y="208"/>
                    </a:lnTo>
                    <a:lnTo>
                      <a:pt x="54" y="208"/>
                    </a:lnTo>
                    <a:lnTo>
                      <a:pt x="52" y="210"/>
                    </a:lnTo>
                    <a:lnTo>
                      <a:pt x="50" y="212"/>
                    </a:lnTo>
                    <a:lnTo>
                      <a:pt x="50" y="216"/>
                    </a:lnTo>
                    <a:lnTo>
                      <a:pt x="50" y="220"/>
                    </a:lnTo>
                    <a:lnTo>
                      <a:pt x="52" y="224"/>
                    </a:lnTo>
                    <a:lnTo>
                      <a:pt x="52" y="226"/>
                    </a:lnTo>
                    <a:lnTo>
                      <a:pt x="52" y="228"/>
                    </a:lnTo>
                    <a:lnTo>
                      <a:pt x="52" y="230"/>
                    </a:lnTo>
                    <a:lnTo>
                      <a:pt x="52" y="232"/>
                    </a:lnTo>
                    <a:lnTo>
                      <a:pt x="52" y="234"/>
                    </a:lnTo>
                    <a:lnTo>
                      <a:pt x="52" y="236"/>
                    </a:lnTo>
                    <a:lnTo>
                      <a:pt x="50" y="236"/>
                    </a:lnTo>
                    <a:lnTo>
                      <a:pt x="48" y="238"/>
                    </a:lnTo>
                    <a:lnTo>
                      <a:pt x="50" y="240"/>
                    </a:lnTo>
                    <a:lnTo>
                      <a:pt x="50" y="242"/>
                    </a:lnTo>
                    <a:lnTo>
                      <a:pt x="52" y="244"/>
                    </a:lnTo>
                    <a:lnTo>
                      <a:pt x="54" y="244"/>
                    </a:lnTo>
                    <a:lnTo>
                      <a:pt x="56" y="244"/>
                    </a:lnTo>
                    <a:lnTo>
                      <a:pt x="58" y="242"/>
                    </a:lnTo>
                    <a:lnTo>
                      <a:pt x="60" y="242"/>
                    </a:lnTo>
                    <a:lnTo>
                      <a:pt x="60" y="240"/>
                    </a:lnTo>
                    <a:lnTo>
                      <a:pt x="60" y="242"/>
                    </a:lnTo>
                    <a:lnTo>
                      <a:pt x="62" y="244"/>
                    </a:lnTo>
                    <a:lnTo>
                      <a:pt x="64" y="244"/>
                    </a:lnTo>
                    <a:lnTo>
                      <a:pt x="66" y="244"/>
                    </a:lnTo>
                    <a:lnTo>
                      <a:pt x="68" y="244"/>
                    </a:lnTo>
                    <a:lnTo>
                      <a:pt x="68" y="242"/>
                    </a:lnTo>
                    <a:lnTo>
                      <a:pt x="70" y="240"/>
                    </a:lnTo>
                    <a:lnTo>
                      <a:pt x="72" y="238"/>
                    </a:lnTo>
                    <a:lnTo>
                      <a:pt x="74" y="236"/>
                    </a:lnTo>
                    <a:lnTo>
                      <a:pt x="74" y="234"/>
                    </a:lnTo>
                    <a:lnTo>
                      <a:pt x="76" y="234"/>
                    </a:lnTo>
                    <a:lnTo>
                      <a:pt x="78" y="234"/>
                    </a:lnTo>
                    <a:lnTo>
                      <a:pt x="82" y="232"/>
                    </a:lnTo>
                    <a:lnTo>
                      <a:pt x="84" y="230"/>
                    </a:lnTo>
                    <a:lnTo>
                      <a:pt x="86" y="230"/>
                    </a:lnTo>
                    <a:lnTo>
                      <a:pt x="88" y="228"/>
                    </a:lnTo>
                    <a:lnTo>
                      <a:pt x="88" y="226"/>
                    </a:lnTo>
                    <a:lnTo>
                      <a:pt x="88" y="224"/>
                    </a:lnTo>
                    <a:lnTo>
                      <a:pt x="88" y="222"/>
                    </a:lnTo>
                    <a:lnTo>
                      <a:pt x="88" y="220"/>
                    </a:lnTo>
                    <a:lnTo>
                      <a:pt x="88" y="216"/>
                    </a:lnTo>
                    <a:lnTo>
                      <a:pt x="88" y="214"/>
                    </a:lnTo>
                    <a:lnTo>
                      <a:pt x="90" y="214"/>
                    </a:lnTo>
                    <a:lnTo>
                      <a:pt x="92" y="216"/>
                    </a:lnTo>
                    <a:lnTo>
                      <a:pt x="94" y="216"/>
                    </a:lnTo>
                    <a:lnTo>
                      <a:pt x="94" y="218"/>
                    </a:lnTo>
                    <a:lnTo>
                      <a:pt x="96" y="220"/>
                    </a:lnTo>
                    <a:lnTo>
                      <a:pt x="96" y="222"/>
                    </a:lnTo>
                    <a:lnTo>
                      <a:pt x="96" y="224"/>
                    </a:lnTo>
                    <a:lnTo>
                      <a:pt x="96" y="226"/>
                    </a:lnTo>
                    <a:lnTo>
                      <a:pt x="96" y="228"/>
                    </a:lnTo>
                    <a:lnTo>
                      <a:pt x="98" y="228"/>
                    </a:lnTo>
                    <a:lnTo>
                      <a:pt x="100" y="230"/>
                    </a:lnTo>
                    <a:lnTo>
                      <a:pt x="102" y="230"/>
                    </a:lnTo>
                    <a:lnTo>
                      <a:pt x="102" y="232"/>
                    </a:lnTo>
                    <a:lnTo>
                      <a:pt x="104" y="232"/>
                    </a:lnTo>
                    <a:lnTo>
                      <a:pt x="104" y="236"/>
                    </a:lnTo>
                    <a:lnTo>
                      <a:pt x="104" y="240"/>
                    </a:lnTo>
                    <a:lnTo>
                      <a:pt x="104" y="244"/>
                    </a:lnTo>
                    <a:lnTo>
                      <a:pt x="106" y="248"/>
                    </a:lnTo>
                    <a:lnTo>
                      <a:pt x="106" y="250"/>
                    </a:lnTo>
                    <a:lnTo>
                      <a:pt x="106" y="252"/>
                    </a:lnTo>
                    <a:lnTo>
                      <a:pt x="108" y="254"/>
                    </a:lnTo>
                    <a:lnTo>
                      <a:pt x="108" y="260"/>
                    </a:lnTo>
                    <a:lnTo>
                      <a:pt x="108" y="264"/>
                    </a:lnTo>
                    <a:lnTo>
                      <a:pt x="108" y="266"/>
                    </a:lnTo>
                    <a:lnTo>
                      <a:pt x="108" y="268"/>
                    </a:lnTo>
                    <a:lnTo>
                      <a:pt x="108" y="270"/>
                    </a:lnTo>
                    <a:lnTo>
                      <a:pt x="110" y="272"/>
                    </a:lnTo>
                    <a:lnTo>
                      <a:pt x="112" y="274"/>
                    </a:lnTo>
                    <a:lnTo>
                      <a:pt x="114" y="276"/>
                    </a:lnTo>
                    <a:lnTo>
                      <a:pt x="114" y="280"/>
                    </a:lnTo>
                    <a:lnTo>
                      <a:pt x="116" y="282"/>
                    </a:lnTo>
                    <a:lnTo>
                      <a:pt x="118" y="286"/>
                    </a:lnTo>
                    <a:lnTo>
                      <a:pt x="118" y="290"/>
                    </a:lnTo>
                    <a:lnTo>
                      <a:pt x="120" y="292"/>
                    </a:lnTo>
                    <a:lnTo>
                      <a:pt x="122" y="296"/>
                    </a:lnTo>
                    <a:lnTo>
                      <a:pt x="122" y="298"/>
                    </a:lnTo>
                    <a:lnTo>
                      <a:pt x="124" y="298"/>
                    </a:lnTo>
                    <a:lnTo>
                      <a:pt x="124" y="300"/>
                    </a:lnTo>
                    <a:lnTo>
                      <a:pt x="124" y="302"/>
                    </a:lnTo>
                    <a:lnTo>
                      <a:pt x="126" y="302"/>
                    </a:lnTo>
                    <a:lnTo>
                      <a:pt x="126" y="304"/>
                    </a:lnTo>
                    <a:lnTo>
                      <a:pt x="126" y="306"/>
                    </a:lnTo>
                    <a:lnTo>
                      <a:pt x="128" y="308"/>
                    </a:lnTo>
                    <a:lnTo>
                      <a:pt x="128" y="310"/>
                    </a:lnTo>
                    <a:lnTo>
                      <a:pt x="128" y="312"/>
                    </a:lnTo>
                    <a:lnTo>
                      <a:pt x="128" y="314"/>
                    </a:lnTo>
                    <a:lnTo>
                      <a:pt x="128" y="316"/>
                    </a:lnTo>
                    <a:lnTo>
                      <a:pt x="126" y="316"/>
                    </a:lnTo>
                    <a:lnTo>
                      <a:pt x="124" y="316"/>
                    </a:lnTo>
                    <a:lnTo>
                      <a:pt x="124" y="318"/>
                    </a:lnTo>
                    <a:lnTo>
                      <a:pt x="124" y="320"/>
                    </a:lnTo>
                    <a:lnTo>
                      <a:pt x="122" y="324"/>
                    </a:lnTo>
                    <a:lnTo>
                      <a:pt x="122" y="326"/>
                    </a:lnTo>
                    <a:lnTo>
                      <a:pt x="122" y="328"/>
                    </a:lnTo>
                    <a:lnTo>
                      <a:pt x="124" y="328"/>
                    </a:lnTo>
                    <a:lnTo>
                      <a:pt x="128" y="326"/>
                    </a:lnTo>
                    <a:lnTo>
                      <a:pt x="130" y="326"/>
                    </a:lnTo>
                    <a:lnTo>
                      <a:pt x="130" y="328"/>
                    </a:lnTo>
                    <a:lnTo>
                      <a:pt x="130" y="330"/>
                    </a:lnTo>
                    <a:lnTo>
                      <a:pt x="130" y="332"/>
                    </a:lnTo>
                    <a:lnTo>
                      <a:pt x="128" y="336"/>
                    </a:lnTo>
                    <a:lnTo>
                      <a:pt x="128" y="338"/>
                    </a:lnTo>
                    <a:lnTo>
                      <a:pt x="128" y="340"/>
                    </a:lnTo>
                    <a:lnTo>
                      <a:pt x="128" y="342"/>
                    </a:lnTo>
                    <a:lnTo>
                      <a:pt x="128" y="344"/>
                    </a:lnTo>
                    <a:lnTo>
                      <a:pt x="128" y="348"/>
                    </a:lnTo>
                    <a:lnTo>
                      <a:pt x="128" y="350"/>
                    </a:lnTo>
                    <a:lnTo>
                      <a:pt x="128" y="354"/>
                    </a:lnTo>
                    <a:lnTo>
                      <a:pt x="128" y="356"/>
                    </a:lnTo>
                    <a:lnTo>
                      <a:pt x="130" y="358"/>
                    </a:lnTo>
                    <a:lnTo>
                      <a:pt x="130" y="356"/>
                    </a:lnTo>
                    <a:lnTo>
                      <a:pt x="132" y="356"/>
                    </a:lnTo>
                    <a:lnTo>
                      <a:pt x="132" y="354"/>
                    </a:lnTo>
                    <a:lnTo>
                      <a:pt x="134" y="352"/>
                    </a:lnTo>
                    <a:lnTo>
                      <a:pt x="134" y="350"/>
                    </a:lnTo>
                    <a:lnTo>
                      <a:pt x="134" y="348"/>
                    </a:lnTo>
                    <a:lnTo>
                      <a:pt x="132" y="346"/>
                    </a:lnTo>
                    <a:lnTo>
                      <a:pt x="132" y="344"/>
                    </a:lnTo>
                    <a:lnTo>
                      <a:pt x="134" y="344"/>
                    </a:lnTo>
                    <a:lnTo>
                      <a:pt x="134" y="342"/>
                    </a:lnTo>
                    <a:lnTo>
                      <a:pt x="136" y="340"/>
                    </a:lnTo>
                    <a:lnTo>
                      <a:pt x="138" y="338"/>
                    </a:lnTo>
                    <a:lnTo>
                      <a:pt x="140" y="336"/>
                    </a:lnTo>
                    <a:lnTo>
                      <a:pt x="140" y="334"/>
                    </a:lnTo>
                    <a:lnTo>
                      <a:pt x="140" y="332"/>
                    </a:lnTo>
                    <a:lnTo>
                      <a:pt x="142" y="330"/>
                    </a:lnTo>
                    <a:lnTo>
                      <a:pt x="142" y="328"/>
                    </a:lnTo>
                    <a:lnTo>
                      <a:pt x="142" y="326"/>
                    </a:lnTo>
                    <a:lnTo>
                      <a:pt x="142" y="322"/>
                    </a:lnTo>
                    <a:lnTo>
                      <a:pt x="144" y="322"/>
                    </a:lnTo>
                    <a:lnTo>
                      <a:pt x="144" y="320"/>
                    </a:lnTo>
                    <a:lnTo>
                      <a:pt x="142" y="318"/>
                    </a:lnTo>
                    <a:lnTo>
                      <a:pt x="142" y="314"/>
                    </a:lnTo>
                    <a:lnTo>
                      <a:pt x="142" y="310"/>
                    </a:lnTo>
                    <a:lnTo>
                      <a:pt x="142" y="308"/>
                    </a:lnTo>
                    <a:lnTo>
                      <a:pt x="140" y="306"/>
                    </a:lnTo>
                    <a:lnTo>
                      <a:pt x="136" y="304"/>
                    </a:lnTo>
                    <a:lnTo>
                      <a:pt x="136" y="302"/>
                    </a:lnTo>
                    <a:lnTo>
                      <a:pt x="134" y="300"/>
                    </a:lnTo>
                    <a:lnTo>
                      <a:pt x="134" y="298"/>
                    </a:lnTo>
                    <a:lnTo>
                      <a:pt x="134" y="296"/>
                    </a:lnTo>
                    <a:lnTo>
                      <a:pt x="134" y="290"/>
                    </a:lnTo>
                    <a:lnTo>
                      <a:pt x="134" y="288"/>
                    </a:lnTo>
                    <a:lnTo>
                      <a:pt x="134" y="286"/>
                    </a:lnTo>
                    <a:lnTo>
                      <a:pt x="132" y="284"/>
                    </a:lnTo>
                    <a:lnTo>
                      <a:pt x="132" y="282"/>
                    </a:lnTo>
                    <a:lnTo>
                      <a:pt x="130" y="280"/>
                    </a:lnTo>
                    <a:lnTo>
                      <a:pt x="128" y="278"/>
                    </a:lnTo>
                    <a:lnTo>
                      <a:pt x="128" y="276"/>
                    </a:lnTo>
                    <a:lnTo>
                      <a:pt x="126" y="274"/>
                    </a:lnTo>
                    <a:lnTo>
                      <a:pt x="124" y="274"/>
                    </a:lnTo>
                    <a:lnTo>
                      <a:pt x="124" y="272"/>
                    </a:lnTo>
                    <a:lnTo>
                      <a:pt x="122" y="270"/>
                    </a:lnTo>
                    <a:lnTo>
                      <a:pt x="120" y="266"/>
                    </a:lnTo>
                    <a:lnTo>
                      <a:pt x="118" y="264"/>
                    </a:lnTo>
                    <a:lnTo>
                      <a:pt x="118" y="262"/>
                    </a:lnTo>
                    <a:lnTo>
                      <a:pt x="116" y="260"/>
                    </a:lnTo>
                    <a:lnTo>
                      <a:pt x="116" y="258"/>
                    </a:lnTo>
                    <a:lnTo>
                      <a:pt x="118" y="256"/>
                    </a:lnTo>
                    <a:lnTo>
                      <a:pt x="120" y="254"/>
                    </a:lnTo>
                    <a:lnTo>
                      <a:pt x="120" y="252"/>
                    </a:lnTo>
                    <a:lnTo>
                      <a:pt x="122" y="252"/>
                    </a:lnTo>
                    <a:lnTo>
                      <a:pt x="122" y="250"/>
                    </a:lnTo>
                    <a:lnTo>
                      <a:pt x="122" y="248"/>
                    </a:lnTo>
                    <a:lnTo>
                      <a:pt x="122" y="246"/>
                    </a:lnTo>
                    <a:lnTo>
                      <a:pt x="122" y="244"/>
                    </a:lnTo>
                    <a:lnTo>
                      <a:pt x="122" y="242"/>
                    </a:lnTo>
                    <a:lnTo>
                      <a:pt x="122" y="240"/>
                    </a:lnTo>
                    <a:lnTo>
                      <a:pt x="124" y="240"/>
                    </a:lnTo>
                    <a:lnTo>
                      <a:pt x="126" y="238"/>
                    </a:lnTo>
                    <a:lnTo>
                      <a:pt x="126" y="236"/>
                    </a:lnTo>
                    <a:lnTo>
                      <a:pt x="126" y="234"/>
                    </a:lnTo>
                    <a:lnTo>
                      <a:pt x="124" y="234"/>
                    </a:lnTo>
                    <a:lnTo>
                      <a:pt x="122" y="234"/>
                    </a:lnTo>
                    <a:lnTo>
                      <a:pt x="122" y="232"/>
                    </a:lnTo>
                    <a:lnTo>
                      <a:pt x="120" y="232"/>
                    </a:lnTo>
                    <a:lnTo>
                      <a:pt x="120" y="230"/>
                    </a:lnTo>
                    <a:lnTo>
                      <a:pt x="118" y="230"/>
                    </a:lnTo>
                    <a:lnTo>
                      <a:pt x="118" y="228"/>
                    </a:lnTo>
                    <a:lnTo>
                      <a:pt x="118" y="226"/>
                    </a:lnTo>
                    <a:lnTo>
                      <a:pt x="120" y="226"/>
                    </a:lnTo>
                    <a:lnTo>
                      <a:pt x="120" y="224"/>
                    </a:lnTo>
                    <a:lnTo>
                      <a:pt x="118" y="222"/>
                    </a:lnTo>
                    <a:lnTo>
                      <a:pt x="116" y="220"/>
                    </a:lnTo>
                    <a:lnTo>
                      <a:pt x="114" y="220"/>
                    </a:lnTo>
                    <a:lnTo>
                      <a:pt x="112" y="218"/>
                    </a:lnTo>
                    <a:lnTo>
                      <a:pt x="110" y="216"/>
                    </a:lnTo>
                    <a:lnTo>
                      <a:pt x="108" y="216"/>
                    </a:lnTo>
                    <a:lnTo>
                      <a:pt x="106" y="214"/>
                    </a:lnTo>
                    <a:lnTo>
                      <a:pt x="106" y="212"/>
                    </a:lnTo>
                    <a:lnTo>
                      <a:pt x="104" y="210"/>
                    </a:lnTo>
                    <a:lnTo>
                      <a:pt x="104" y="208"/>
                    </a:lnTo>
                    <a:lnTo>
                      <a:pt x="104" y="206"/>
                    </a:lnTo>
                    <a:lnTo>
                      <a:pt x="104" y="204"/>
                    </a:lnTo>
                    <a:lnTo>
                      <a:pt x="104" y="202"/>
                    </a:lnTo>
                    <a:lnTo>
                      <a:pt x="102" y="202"/>
                    </a:lnTo>
                    <a:lnTo>
                      <a:pt x="100" y="200"/>
                    </a:lnTo>
                    <a:lnTo>
                      <a:pt x="98" y="200"/>
                    </a:lnTo>
                    <a:lnTo>
                      <a:pt x="98" y="198"/>
                    </a:lnTo>
                    <a:lnTo>
                      <a:pt x="96" y="196"/>
                    </a:lnTo>
                    <a:lnTo>
                      <a:pt x="96" y="194"/>
                    </a:lnTo>
                    <a:lnTo>
                      <a:pt x="98" y="194"/>
                    </a:lnTo>
                    <a:lnTo>
                      <a:pt x="100" y="194"/>
                    </a:lnTo>
                    <a:lnTo>
                      <a:pt x="102" y="194"/>
                    </a:lnTo>
                    <a:lnTo>
                      <a:pt x="102" y="192"/>
                    </a:lnTo>
                    <a:lnTo>
                      <a:pt x="100" y="190"/>
                    </a:lnTo>
                    <a:lnTo>
                      <a:pt x="100" y="188"/>
                    </a:lnTo>
                    <a:lnTo>
                      <a:pt x="98" y="186"/>
                    </a:lnTo>
                    <a:lnTo>
                      <a:pt x="98" y="184"/>
                    </a:lnTo>
                    <a:lnTo>
                      <a:pt x="98" y="182"/>
                    </a:lnTo>
                    <a:lnTo>
                      <a:pt x="100" y="182"/>
                    </a:lnTo>
                    <a:lnTo>
                      <a:pt x="102" y="180"/>
                    </a:lnTo>
                    <a:lnTo>
                      <a:pt x="102" y="178"/>
                    </a:lnTo>
                    <a:lnTo>
                      <a:pt x="102" y="176"/>
                    </a:lnTo>
                    <a:lnTo>
                      <a:pt x="102" y="174"/>
                    </a:lnTo>
                    <a:lnTo>
                      <a:pt x="102" y="172"/>
                    </a:lnTo>
                    <a:lnTo>
                      <a:pt x="102" y="170"/>
                    </a:lnTo>
                    <a:lnTo>
                      <a:pt x="104" y="170"/>
                    </a:lnTo>
                    <a:lnTo>
                      <a:pt x="106" y="170"/>
                    </a:lnTo>
                    <a:lnTo>
                      <a:pt x="108" y="170"/>
                    </a:lnTo>
                    <a:lnTo>
                      <a:pt x="110" y="170"/>
                    </a:lnTo>
                    <a:lnTo>
                      <a:pt x="112" y="172"/>
                    </a:lnTo>
                    <a:lnTo>
                      <a:pt x="114" y="172"/>
                    </a:lnTo>
                    <a:lnTo>
                      <a:pt x="116" y="170"/>
                    </a:lnTo>
                    <a:lnTo>
                      <a:pt x="118" y="168"/>
                    </a:lnTo>
                    <a:lnTo>
                      <a:pt x="118" y="166"/>
                    </a:lnTo>
                    <a:lnTo>
                      <a:pt x="118" y="164"/>
                    </a:lnTo>
                    <a:lnTo>
                      <a:pt x="120" y="164"/>
                    </a:lnTo>
                    <a:lnTo>
                      <a:pt x="122" y="164"/>
                    </a:lnTo>
                    <a:lnTo>
                      <a:pt x="124" y="164"/>
                    </a:lnTo>
                    <a:lnTo>
                      <a:pt x="126" y="162"/>
                    </a:lnTo>
                    <a:lnTo>
                      <a:pt x="126" y="160"/>
                    </a:lnTo>
                    <a:lnTo>
                      <a:pt x="126" y="158"/>
                    </a:lnTo>
                    <a:lnTo>
                      <a:pt x="128" y="158"/>
                    </a:lnTo>
                    <a:lnTo>
                      <a:pt x="128" y="156"/>
                    </a:lnTo>
                    <a:lnTo>
                      <a:pt x="130" y="156"/>
                    </a:lnTo>
                    <a:lnTo>
                      <a:pt x="132" y="156"/>
                    </a:lnTo>
                    <a:lnTo>
                      <a:pt x="134" y="156"/>
                    </a:lnTo>
                    <a:lnTo>
                      <a:pt x="134" y="154"/>
                    </a:lnTo>
                    <a:lnTo>
                      <a:pt x="136" y="152"/>
                    </a:lnTo>
                    <a:lnTo>
                      <a:pt x="140" y="150"/>
                    </a:lnTo>
                    <a:lnTo>
                      <a:pt x="142" y="150"/>
                    </a:lnTo>
                    <a:lnTo>
                      <a:pt x="144" y="150"/>
                    </a:lnTo>
                    <a:lnTo>
                      <a:pt x="142" y="148"/>
                    </a:lnTo>
                    <a:lnTo>
                      <a:pt x="142" y="146"/>
                    </a:lnTo>
                    <a:lnTo>
                      <a:pt x="142" y="144"/>
                    </a:lnTo>
                    <a:lnTo>
                      <a:pt x="144" y="144"/>
                    </a:lnTo>
                    <a:lnTo>
                      <a:pt x="144" y="142"/>
                    </a:lnTo>
                    <a:lnTo>
                      <a:pt x="144" y="140"/>
                    </a:lnTo>
                    <a:lnTo>
                      <a:pt x="146" y="140"/>
                    </a:lnTo>
                    <a:lnTo>
                      <a:pt x="148" y="138"/>
                    </a:lnTo>
                    <a:lnTo>
                      <a:pt x="150" y="138"/>
                    </a:lnTo>
                    <a:lnTo>
                      <a:pt x="152" y="138"/>
                    </a:lnTo>
                    <a:lnTo>
                      <a:pt x="152" y="136"/>
                    </a:lnTo>
                    <a:lnTo>
                      <a:pt x="152" y="134"/>
                    </a:lnTo>
                    <a:lnTo>
                      <a:pt x="152" y="132"/>
                    </a:lnTo>
                    <a:lnTo>
                      <a:pt x="150" y="130"/>
                    </a:lnTo>
                    <a:lnTo>
                      <a:pt x="148" y="130"/>
                    </a:lnTo>
                    <a:lnTo>
                      <a:pt x="146" y="130"/>
                    </a:lnTo>
                    <a:lnTo>
                      <a:pt x="146" y="132"/>
                    </a:lnTo>
                    <a:lnTo>
                      <a:pt x="144" y="132"/>
                    </a:lnTo>
                    <a:lnTo>
                      <a:pt x="144" y="134"/>
                    </a:lnTo>
                    <a:lnTo>
                      <a:pt x="142" y="136"/>
                    </a:lnTo>
                    <a:lnTo>
                      <a:pt x="140" y="136"/>
                    </a:lnTo>
                    <a:lnTo>
                      <a:pt x="138" y="136"/>
                    </a:lnTo>
                    <a:lnTo>
                      <a:pt x="136" y="136"/>
                    </a:lnTo>
                    <a:lnTo>
                      <a:pt x="134" y="136"/>
                    </a:lnTo>
                    <a:lnTo>
                      <a:pt x="134" y="134"/>
                    </a:lnTo>
                    <a:lnTo>
                      <a:pt x="134" y="132"/>
                    </a:lnTo>
                    <a:lnTo>
                      <a:pt x="132" y="132"/>
                    </a:lnTo>
                    <a:lnTo>
                      <a:pt x="130" y="132"/>
                    </a:lnTo>
                    <a:lnTo>
                      <a:pt x="128" y="130"/>
                    </a:lnTo>
                    <a:lnTo>
                      <a:pt x="128" y="128"/>
                    </a:lnTo>
                    <a:lnTo>
                      <a:pt x="128" y="126"/>
                    </a:lnTo>
                    <a:lnTo>
                      <a:pt x="126" y="126"/>
                    </a:lnTo>
                    <a:lnTo>
                      <a:pt x="124" y="126"/>
                    </a:lnTo>
                    <a:lnTo>
                      <a:pt x="122" y="126"/>
                    </a:lnTo>
                    <a:lnTo>
                      <a:pt x="120" y="126"/>
                    </a:lnTo>
                    <a:lnTo>
                      <a:pt x="118" y="126"/>
                    </a:lnTo>
                    <a:lnTo>
                      <a:pt x="118" y="124"/>
                    </a:lnTo>
                    <a:lnTo>
                      <a:pt x="116" y="124"/>
                    </a:lnTo>
                    <a:lnTo>
                      <a:pt x="114" y="124"/>
                    </a:lnTo>
                    <a:lnTo>
                      <a:pt x="114" y="122"/>
                    </a:lnTo>
                    <a:lnTo>
                      <a:pt x="116" y="120"/>
                    </a:lnTo>
                    <a:lnTo>
                      <a:pt x="116" y="118"/>
                    </a:lnTo>
                    <a:lnTo>
                      <a:pt x="118" y="118"/>
                    </a:lnTo>
                    <a:lnTo>
                      <a:pt x="118" y="116"/>
                    </a:lnTo>
                    <a:lnTo>
                      <a:pt x="116" y="116"/>
                    </a:lnTo>
                    <a:lnTo>
                      <a:pt x="116" y="114"/>
                    </a:lnTo>
                    <a:lnTo>
                      <a:pt x="114" y="112"/>
                    </a:lnTo>
                    <a:lnTo>
                      <a:pt x="116" y="112"/>
                    </a:lnTo>
                    <a:lnTo>
                      <a:pt x="118" y="112"/>
                    </a:lnTo>
                    <a:lnTo>
                      <a:pt x="118" y="110"/>
                    </a:lnTo>
                    <a:lnTo>
                      <a:pt x="120" y="110"/>
                    </a:lnTo>
                    <a:lnTo>
                      <a:pt x="120" y="108"/>
                    </a:lnTo>
                    <a:lnTo>
                      <a:pt x="122" y="108"/>
                    </a:lnTo>
                    <a:lnTo>
                      <a:pt x="120" y="108"/>
                    </a:lnTo>
                    <a:lnTo>
                      <a:pt x="118" y="106"/>
                    </a:lnTo>
                    <a:lnTo>
                      <a:pt x="116" y="106"/>
                    </a:lnTo>
                    <a:lnTo>
                      <a:pt x="114" y="106"/>
                    </a:lnTo>
                    <a:lnTo>
                      <a:pt x="112" y="106"/>
                    </a:lnTo>
                    <a:lnTo>
                      <a:pt x="110" y="106"/>
                    </a:lnTo>
                    <a:lnTo>
                      <a:pt x="108" y="106"/>
                    </a:lnTo>
                    <a:lnTo>
                      <a:pt x="108" y="102"/>
                    </a:lnTo>
                    <a:lnTo>
                      <a:pt x="106" y="100"/>
                    </a:lnTo>
                    <a:lnTo>
                      <a:pt x="106" y="98"/>
                    </a:lnTo>
                    <a:lnTo>
                      <a:pt x="106" y="96"/>
                    </a:lnTo>
                    <a:lnTo>
                      <a:pt x="104" y="94"/>
                    </a:lnTo>
                    <a:lnTo>
                      <a:pt x="104" y="92"/>
                    </a:lnTo>
                    <a:lnTo>
                      <a:pt x="102" y="92"/>
                    </a:lnTo>
                    <a:lnTo>
                      <a:pt x="102" y="90"/>
                    </a:lnTo>
                    <a:lnTo>
                      <a:pt x="100" y="90"/>
                    </a:lnTo>
                    <a:lnTo>
                      <a:pt x="102" y="88"/>
                    </a:lnTo>
                    <a:lnTo>
                      <a:pt x="104" y="88"/>
                    </a:lnTo>
                    <a:lnTo>
                      <a:pt x="104" y="86"/>
                    </a:lnTo>
                    <a:lnTo>
                      <a:pt x="106" y="86"/>
                    </a:lnTo>
                    <a:lnTo>
                      <a:pt x="104" y="86"/>
                    </a:lnTo>
                    <a:lnTo>
                      <a:pt x="102" y="86"/>
                    </a:lnTo>
                    <a:lnTo>
                      <a:pt x="100" y="86"/>
                    </a:lnTo>
                    <a:lnTo>
                      <a:pt x="96" y="86"/>
                    </a:lnTo>
                    <a:lnTo>
                      <a:pt x="94" y="86"/>
                    </a:lnTo>
                    <a:lnTo>
                      <a:pt x="92" y="86"/>
                    </a:lnTo>
                    <a:lnTo>
                      <a:pt x="90" y="86"/>
                    </a:lnTo>
                    <a:lnTo>
                      <a:pt x="88" y="88"/>
                    </a:lnTo>
                    <a:lnTo>
                      <a:pt x="86" y="88"/>
                    </a:lnTo>
                    <a:lnTo>
                      <a:pt x="84" y="90"/>
                    </a:lnTo>
                    <a:lnTo>
                      <a:pt x="86" y="88"/>
                    </a:lnTo>
                    <a:lnTo>
                      <a:pt x="86" y="86"/>
                    </a:lnTo>
                    <a:lnTo>
                      <a:pt x="86" y="84"/>
                    </a:lnTo>
                    <a:lnTo>
                      <a:pt x="84" y="82"/>
                    </a:lnTo>
                    <a:lnTo>
                      <a:pt x="84" y="80"/>
                    </a:lnTo>
                    <a:lnTo>
                      <a:pt x="82" y="78"/>
                    </a:lnTo>
                    <a:lnTo>
                      <a:pt x="82" y="76"/>
                    </a:lnTo>
                    <a:lnTo>
                      <a:pt x="80" y="76"/>
                    </a:lnTo>
                    <a:lnTo>
                      <a:pt x="80" y="74"/>
                    </a:lnTo>
                    <a:lnTo>
                      <a:pt x="82" y="74"/>
                    </a:lnTo>
                    <a:lnTo>
                      <a:pt x="84" y="74"/>
                    </a:lnTo>
                    <a:lnTo>
                      <a:pt x="84" y="70"/>
                    </a:lnTo>
                    <a:lnTo>
                      <a:pt x="84" y="68"/>
                    </a:lnTo>
                    <a:lnTo>
                      <a:pt x="82" y="68"/>
                    </a:lnTo>
                    <a:lnTo>
                      <a:pt x="82" y="66"/>
                    </a:lnTo>
                    <a:lnTo>
                      <a:pt x="84" y="66"/>
                    </a:lnTo>
                    <a:lnTo>
                      <a:pt x="86" y="66"/>
                    </a:lnTo>
                    <a:lnTo>
                      <a:pt x="86" y="64"/>
                    </a:lnTo>
                    <a:lnTo>
                      <a:pt x="88" y="64"/>
                    </a:lnTo>
                    <a:lnTo>
                      <a:pt x="88" y="60"/>
                    </a:lnTo>
                    <a:lnTo>
                      <a:pt x="88" y="58"/>
                    </a:lnTo>
                    <a:lnTo>
                      <a:pt x="88" y="56"/>
                    </a:lnTo>
                    <a:lnTo>
                      <a:pt x="88" y="58"/>
                    </a:lnTo>
                    <a:lnTo>
                      <a:pt x="90" y="58"/>
                    </a:lnTo>
                    <a:lnTo>
                      <a:pt x="92" y="58"/>
                    </a:lnTo>
                    <a:lnTo>
                      <a:pt x="94" y="56"/>
                    </a:lnTo>
                    <a:lnTo>
                      <a:pt x="94" y="54"/>
                    </a:lnTo>
                    <a:lnTo>
                      <a:pt x="94" y="52"/>
                    </a:lnTo>
                    <a:lnTo>
                      <a:pt x="92" y="50"/>
                    </a:lnTo>
                    <a:lnTo>
                      <a:pt x="90" y="50"/>
                    </a:lnTo>
                    <a:lnTo>
                      <a:pt x="90" y="48"/>
                    </a:lnTo>
                    <a:lnTo>
                      <a:pt x="92" y="48"/>
                    </a:lnTo>
                    <a:lnTo>
                      <a:pt x="96" y="48"/>
                    </a:lnTo>
                    <a:lnTo>
                      <a:pt x="96" y="46"/>
                    </a:lnTo>
                    <a:lnTo>
                      <a:pt x="98" y="46"/>
                    </a:lnTo>
                    <a:lnTo>
                      <a:pt x="96" y="44"/>
                    </a:lnTo>
                    <a:lnTo>
                      <a:pt x="96" y="42"/>
                    </a:lnTo>
                    <a:lnTo>
                      <a:pt x="96" y="40"/>
                    </a:lnTo>
                    <a:lnTo>
                      <a:pt x="96" y="38"/>
                    </a:lnTo>
                    <a:lnTo>
                      <a:pt x="96" y="36"/>
                    </a:lnTo>
                    <a:lnTo>
                      <a:pt x="94" y="34"/>
                    </a:lnTo>
                    <a:lnTo>
                      <a:pt x="94" y="32"/>
                    </a:lnTo>
                    <a:lnTo>
                      <a:pt x="92" y="30"/>
                    </a:lnTo>
                    <a:lnTo>
                      <a:pt x="92" y="28"/>
                    </a:lnTo>
                    <a:lnTo>
                      <a:pt x="92" y="26"/>
                    </a:lnTo>
                    <a:lnTo>
                      <a:pt x="92" y="24"/>
                    </a:lnTo>
                    <a:lnTo>
                      <a:pt x="92" y="22"/>
                    </a:lnTo>
                    <a:lnTo>
                      <a:pt x="92" y="20"/>
                    </a:lnTo>
                    <a:lnTo>
                      <a:pt x="90" y="18"/>
                    </a:lnTo>
                    <a:lnTo>
                      <a:pt x="88" y="18"/>
                    </a:lnTo>
                    <a:lnTo>
                      <a:pt x="84" y="18"/>
                    </a:lnTo>
                    <a:lnTo>
                      <a:pt x="82" y="18"/>
                    </a:lnTo>
                    <a:lnTo>
                      <a:pt x="80" y="16"/>
                    </a:lnTo>
                    <a:lnTo>
                      <a:pt x="80" y="14"/>
                    </a:lnTo>
                    <a:lnTo>
                      <a:pt x="80" y="12"/>
                    </a:lnTo>
                    <a:lnTo>
                      <a:pt x="78" y="10"/>
                    </a:lnTo>
                    <a:lnTo>
                      <a:pt x="78" y="8"/>
                    </a:lnTo>
                    <a:lnTo>
                      <a:pt x="76" y="6"/>
                    </a:lnTo>
                    <a:lnTo>
                      <a:pt x="74" y="4"/>
                    </a:lnTo>
                    <a:lnTo>
                      <a:pt x="72" y="2"/>
                    </a:lnTo>
                    <a:lnTo>
                      <a:pt x="70" y="2"/>
                    </a:lnTo>
                    <a:lnTo>
                      <a:pt x="68" y="2"/>
                    </a:lnTo>
                    <a:lnTo>
                      <a:pt x="68" y="0"/>
                    </a:lnTo>
                    <a:lnTo>
                      <a:pt x="68" y="2"/>
                    </a:lnTo>
                    <a:lnTo>
                      <a:pt x="68" y="4"/>
                    </a:lnTo>
                    <a:lnTo>
                      <a:pt x="66" y="4"/>
                    </a:lnTo>
                    <a:lnTo>
                      <a:pt x="66" y="6"/>
                    </a:lnTo>
                    <a:lnTo>
                      <a:pt x="66" y="8"/>
                    </a:lnTo>
                    <a:lnTo>
                      <a:pt x="66" y="10"/>
                    </a:lnTo>
                    <a:lnTo>
                      <a:pt x="68" y="10"/>
                    </a:lnTo>
                    <a:lnTo>
                      <a:pt x="68" y="12"/>
                    </a:lnTo>
                    <a:lnTo>
                      <a:pt x="66" y="12"/>
                    </a:lnTo>
                    <a:lnTo>
                      <a:pt x="64" y="12"/>
                    </a:lnTo>
                    <a:lnTo>
                      <a:pt x="62" y="14"/>
                    </a:lnTo>
                    <a:lnTo>
                      <a:pt x="60" y="16"/>
                    </a:lnTo>
                    <a:lnTo>
                      <a:pt x="58" y="18"/>
                    </a:lnTo>
                    <a:lnTo>
                      <a:pt x="58" y="20"/>
                    </a:lnTo>
                    <a:lnTo>
                      <a:pt x="60" y="20"/>
                    </a:lnTo>
                    <a:lnTo>
                      <a:pt x="60" y="22"/>
                    </a:lnTo>
                    <a:lnTo>
                      <a:pt x="62" y="24"/>
                    </a:lnTo>
                    <a:lnTo>
                      <a:pt x="64" y="24"/>
                    </a:lnTo>
                    <a:lnTo>
                      <a:pt x="66" y="26"/>
                    </a:lnTo>
                    <a:lnTo>
                      <a:pt x="66" y="28"/>
                    </a:lnTo>
                    <a:lnTo>
                      <a:pt x="64" y="28"/>
                    </a:lnTo>
                    <a:lnTo>
                      <a:pt x="64" y="26"/>
                    </a:lnTo>
                    <a:lnTo>
                      <a:pt x="62" y="26"/>
                    </a:lnTo>
                    <a:lnTo>
                      <a:pt x="60" y="26"/>
                    </a:lnTo>
                    <a:lnTo>
                      <a:pt x="58" y="26"/>
                    </a:lnTo>
                    <a:lnTo>
                      <a:pt x="56" y="26"/>
                    </a:lnTo>
                    <a:lnTo>
                      <a:pt x="54" y="26"/>
                    </a:lnTo>
                    <a:lnTo>
                      <a:pt x="52" y="26"/>
                    </a:lnTo>
                    <a:lnTo>
                      <a:pt x="50" y="26"/>
                    </a:lnTo>
                    <a:lnTo>
                      <a:pt x="48" y="28"/>
                    </a:lnTo>
                    <a:lnTo>
                      <a:pt x="48" y="30"/>
                    </a:lnTo>
                    <a:lnTo>
                      <a:pt x="46" y="32"/>
                    </a:lnTo>
                    <a:lnTo>
                      <a:pt x="46" y="34"/>
                    </a:lnTo>
                    <a:lnTo>
                      <a:pt x="44" y="34"/>
                    </a:lnTo>
                    <a:lnTo>
                      <a:pt x="40" y="36"/>
                    </a:lnTo>
                    <a:lnTo>
                      <a:pt x="38" y="36"/>
                    </a:lnTo>
                    <a:lnTo>
                      <a:pt x="36" y="36"/>
                    </a:lnTo>
                    <a:lnTo>
                      <a:pt x="36" y="38"/>
                    </a:lnTo>
                    <a:lnTo>
                      <a:pt x="36" y="40"/>
                    </a:lnTo>
                    <a:lnTo>
                      <a:pt x="36" y="42"/>
                    </a:lnTo>
                    <a:lnTo>
                      <a:pt x="36" y="44"/>
                    </a:lnTo>
                    <a:lnTo>
                      <a:pt x="36" y="46"/>
                    </a:lnTo>
                    <a:lnTo>
                      <a:pt x="38" y="48"/>
                    </a:lnTo>
                    <a:lnTo>
                      <a:pt x="38" y="50"/>
                    </a:lnTo>
                    <a:lnTo>
                      <a:pt x="40" y="50"/>
                    </a:lnTo>
                    <a:lnTo>
                      <a:pt x="38" y="52"/>
                    </a:lnTo>
                    <a:lnTo>
                      <a:pt x="36" y="54"/>
                    </a:lnTo>
                    <a:lnTo>
                      <a:pt x="36" y="56"/>
                    </a:lnTo>
                    <a:lnTo>
                      <a:pt x="34" y="58"/>
                    </a:lnTo>
                    <a:lnTo>
                      <a:pt x="32" y="58"/>
                    </a:lnTo>
                    <a:lnTo>
                      <a:pt x="32" y="60"/>
                    </a:lnTo>
                    <a:lnTo>
                      <a:pt x="30" y="60"/>
                    </a:lnTo>
                    <a:lnTo>
                      <a:pt x="30" y="62"/>
                    </a:lnTo>
                    <a:lnTo>
                      <a:pt x="30" y="64"/>
                    </a:lnTo>
                    <a:lnTo>
                      <a:pt x="32" y="66"/>
                    </a:lnTo>
                    <a:lnTo>
                      <a:pt x="32" y="68"/>
                    </a:lnTo>
                    <a:lnTo>
                      <a:pt x="34" y="68"/>
                    </a:lnTo>
                    <a:lnTo>
                      <a:pt x="32" y="70"/>
                    </a:lnTo>
                    <a:lnTo>
                      <a:pt x="32" y="72"/>
                    </a:lnTo>
                    <a:lnTo>
                      <a:pt x="32" y="74"/>
                    </a:lnTo>
                    <a:lnTo>
                      <a:pt x="32" y="76"/>
                    </a:lnTo>
                    <a:lnTo>
                      <a:pt x="30" y="78"/>
                    </a:lnTo>
                    <a:lnTo>
                      <a:pt x="30" y="80"/>
                    </a:lnTo>
                    <a:lnTo>
                      <a:pt x="30" y="82"/>
                    </a:lnTo>
                    <a:lnTo>
                      <a:pt x="30" y="84"/>
                    </a:lnTo>
                    <a:lnTo>
                      <a:pt x="30" y="86"/>
                    </a:lnTo>
                    <a:lnTo>
                      <a:pt x="30" y="88"/>
                    </a:lnTo>
                    <a:lnTo>
                      <a:pt x="30" y="90"/>
                    </a:lnTo>
                    <a:lnTo>
                      <a:pt x="28" y="90"/>
                    </a:lnTo>
                    <a:lnTo>
                      <a:pt x="26" y="90"/>
                    </a:lnTo>
                    <a:lnTo>
                      <a:pt x="24" y="88"/>
                    </a:lnTo>
                    <a:lnTo>
                      <a:pt x="22" y="88"/>
                    </a:lnTo>
                    <a:lnTo>
                      <a:pt x="20" y="88"/>
                    </a:lnTo>
                    <a:lnTo>
                      <a:pt x="18" y="88"/>
                    </a:lnTo>
                    <a:lnTo>
                      <a:pt x="16" y="88"/>
                    </a:lnTo>
                    <a:lnTo>
                      <a:pt x="14" y="88"/>
                    </a:lnTo>
                    <a:lnTo>
                      <a:pt x="12" y="88"/>
                    </a:lnTo>
                    <a:lnTo>
                      <a:pt x="10" y="88"/>
                    </a:lnTo>
                    <a:lnTo>
                      <a:pt x="12" y="88"/>
                    </a:lnTo>
                    <a:lnTo>
                      <a:pt x="14" y="90"/>
                    </a:lnTo>
                    <a:lnTo>
                      <a:pt x="14" y="92"/>
                    </a:lnTo>
                    <a:lnTo>
                      <a:pt x="16" y="92"/>
                    </a:lnTo>
                    <a:lnTo>
                      <a:pt x="16" y="94"/>
                    </a:lnTo>
                    <a:lnTo>
                      <a:pt x="16" y="96"/>
                    </a:lnTo>
                    <a:lnTo>
                      <a:pt x="16" y="98"/>
                    </a:lnTo>
                    <a:lnTo>
                      <a:pt x="16" y="100"/>
                    </a:lnTo>
                    <a:lnTo>
                      <a:pt x="16" y="102"/>
                    </a:lnTo>
                    <a:lnTo>
                      <a:pt x="16" y="104"/>
                    </a:lnTo>
                    <a:lnTo>
                      <a:pt x="18" y="104"/>
                    </a:lnTo>
                    <a:lnTo>
                      <a:pt x="16" y="104"/>
                    </a:lnTo>
                    <a:lnTo>
                      <a:pt x="16" y="106"/>
                    </a:lnTo>
                    <a:lnTo>
                      <a:pt x="14" y="106"/>
                    </a:lnTo>
                    <a:lnTo>
                      <a:pt x="12" y="106"/>
                    </a:lnTo>
                    <a:lnTo>
                      <a:pt x="12" y="108"/>
                    </a:lnTo>
                    <a:lnTo>
                      <a:pt x="12" y="110"/>
                    </a:lnTo>
                    <a:lnTo>
                      <a:pt x="12" y="114"/>
                    </a:lnTo>
                    <a:lnTo>
                      <a:pt x="14" y="116"/>
                    </a:lnTo>
                    <a:lnTo>
                      <a:pt x="14" y="118"/>
                    </a:lnTo>
                    <a:lnTo>
                      <a:pt x="16" y="120"/>
                    </a:lnTo>
                    <a:lnTo>
                      <a:pt x="18" y="122"/>
                    </a:lnTo>
                    <a:lnTo>
                      <a:pt x="18" y="124"/>
                    </a:lnTo>
                    <a:lnTo>
                      <a:pt x="16" y="124"/>
                    </a:lnTo>
                    <a:lnTo>
                      <a:pt x="14" y="124"/>
                    </a:lnTo>
                    <a:lnTo>
                      <a:pt x="12" y="124"/>
                    </a:lnTo>
                    <a:lnTo>
                      <a:pt x="12" y="122"/>
                    </a:lnTo>
                    <a:lnTo>
                      <a:pt x="12" y="124"/>
                    </a:lnTo>
                    <a:lnTo>
                      <a:pt x="12" y="126"/>
                    </a:lnTo>
                    <a:lnTo>
                      <a:pt x="12" y="128"/>
                    </a:lnTo>
                    <a:lnTo>
                      <a:pt x="10" y="126"/>
                    </a:lnTo>
                    <a:lnTo>
                      <a:pt x="8" y="126"/>
                    </a:lnTo>
                    <a:lnTo>
                      <a:pt x="8" y="124"/>
                    </a:lnTo>
                    <a:lnTo>
                      <a:pt x="8" y="126"/>
                    </a:lnTo>
                    <a:lnTo>
                      <a:pt x="8" y="128"/>
                    </a:lnTo>
                    <a:lnTo>
                      <a:pt x="8" y="130"/>
                    </a:lnTo>
                    <a:lnTo>
                      <a:pt x="8" y="132"/>
                    </a:lnTo>
                    <a:lnTo>
                      <a:pt x="8" y="134"/>
                    </a:lnTo>
                    <a:lnTo>
                      <a:pt x="8" y="136"/>
                    </a:lnTo>
                    <a:lnTo>
                      <a:pt x="8" y="138"/>
                    </a:lnTo>
                    <a:lnTo>
                      <a:pt x="10" y="138"/>
                    </a:lnTo>
                    <a:lnTo>
                      <a:pt x="8" y="136"/>
                    </a:lnTo>
                    <a:lnTo>
                      <a:pt x="6" y="136"/>
                    </a:lnTo>
                    <a:lnTo>
                      <a:pt x="4" y="136"/>
                    </a:lnTo>
                    <a:lnTo>
                      <a:pt x="2" y="136"/>
                    </a:lnTo>
                    <a:lnTo>
                      <a:pt x="2" y="138"/>
                    </a:lnTo>
                    <a:lnTo>
                      <a:pt x="0" y="1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6" name="Freeform 194">
                <a:extLst>
                  <a:ext uri="{FF2B5EF4-FFF2-40B4-BE49-F238E27FC236}">
                    <a16:creationId xmlns:a16="http://schemas.microsoft.com/office/drawing/2014/main" id="{CE3AD221-B704-4AC0-AA23-A3A715316C7A}"/>
                  </a:ext>
                </a:extLst>
              </p:cNvPr>
              <p:cNvSpPr>
                <a:spLocks noChangeAspect="1"/>
              </p:cNvSpPr>
              <p:nvPr/>
            </p:nvSpPr>
            <p:spPr bwMode="auto">
              <a:xfrm>
                <a:off x="6055408" y="3012140"/>
                <a:ext cx="414379" cy="439478"/>
              </a:xfrm>
              <a:custGeom>
                <a:avLst/>
                <a:gdLst/>
                <a:ahLst/>
                <a:cxnLst>
                  <a:cxn ang="0">
                    <a:pos x="226" y="22"/>
                  </a:cxn>
                  <a:cxn ang="0">
                    <a:pos x="214" y="8"/>
                  </a:cxn>
                  <a:cxn ang="0">
                    <a:pos x="200" y="2"/>
                  </a:cxn>
                  <a:cxn ang="0">
                    <a:pos x="184" y="4"/>
                  </a:cxn>
                  <a:cxn ang="0">
                    <a:pos x="164" y="4"/>
                  </a:cxn>
                  <a:cxn ang="0">
                    <a:pos x="146" y="16"/>
                  </a:cxn>
                  <a:cxn ang="0">
                    <a:pos x="152" y="34"/>
                  </a:cxn>
                  <a:cxn ang="0">
                    <a:pos x="148" y="48"/>
                  </a:cxn>
                  <a:cxn ang="0">
                    <a:pos x="146" y="60"/>
                  </a:cxn>
                  <a:cxn ang="0">
                    <a:pos x="138" y="60"/>
                  </a:cxn>
                  <a:cxn ang="0">
                    <a:pos x="134" y="64"/>
                  </a:cxn>
                  <a:cxn ang="0">
                    <a:pos x="144" y="72"/>
                  </a:cxn>
                  <a:cxn ang="0">
                    <a:pos x="130" y="78"/>
                  </a:cxn>
                  <a:cxn ang="0">
                    <a:pos x="128" y="92"/>
                  </a:cxn>
                  <a:cxn ang="0">
                    <a:pos x="120" y="104"/>
                  </a:cxn>
                  <a:cxn ang="0">
                    <a:pos x="110" y="104"/>
                  </a:cxn>
                  <a:cxn ang="0">
                    <a:pos x="106" y="112"/>
                  </a:cxn>
                  <a:cxn ang="0">
                    <a:pos x="92" y="110"/>
                  </a:cxn>
                  <a:cxn ang="0">
                    <a:pos x="86" y="128"/>
                  </a:cxn>
                  <a:cxn ang="0">
                    <a:pos x="72" y="144"/>
                  </a:cxn>
                  <a:cxn ang="0">
                    <a:pos x="56" y="146"/>
                  </a:cxn>
                  <a:cxn ang="0">
                    <a:pos x="40" y="146"/>
                  </a:cxn>
                  <a:cxn ang="0">
                    <a:pos x="22" y="148"/>
                  </a:cxn>
                  <a:cxn ang="0">
                    <a:pos x="0" y="140"/>
                  </a:cxn>
                  <a:cxn ang="0">
                    <a:pos x="24" y="166"/>
                  </a:cxn>
                  <a:cxn ang="0">
                    <a:pos x="36" y="170"/>
                  </a:cxn>
                  <a:cxn ang="0">
                    <a:pos x="36" y="182"/>
                  </a:cxn>
                  <a:cxn ang="0">
                    <a:pos x="44" y="200"/>
                  </a:cxn>
                  <a:cxn ang="0">
                    <a:pos x="30" y="204"/>
                  </a:cxn>
                  <a:cxn ang="0">
                    <a:pos x="24" y="212"/>
                  </a:cxn>
                  <a:cxn ang="0">
                    <a:pos x="28" y="224"/>
                  </a:cxn>
                  <a:cxn ang="0">
                    <a:pos x="52" y="224"/>
                  </a:cxn>
                  <a:cxn ang="0">
                    <a:pos x="74" y="220"/>
                  </a:cxn>
                  <a:cxn ang="0">
                    <a:pos x="92" y="218"/>
                  </a:cxn>
                  <a:cxn ang="0">
                    <a:pos x="118" y="240"/>
                  </a:cxn>
                  <a:cxn ang="0">
                    <a:pos x="140" y="250"/>
                  </a:cxn>
                  <a:cxn ang="0">
                    <a:pos x="148" y="246"/>
                  </a:cxn>
                  <a:cxn ang="0">
                    <a:pos x="156" y="248"/>
                  </a:cxn>
                  <a:cxn ang="0">
                    <a:pos x="170" y="246"/>
                  </a:cxn>
                  <a:cxn ang="0">
                    <a:pos x="174" y="230"/>
                  </a:cxn>
                  <a:cxn ang="0">
                    <a:pos x="170" y="220"/>
                  </a:cxn>
                  <a:cxn ang="0">
                    <a:pos x="160" y="204"/>
                  </a:cxn>
                  <a:cxn ang="0">
                    <a:pos x="154" y="200"/>
                  </a:cxn>
                  <a:cxn ang="0">
                    <a:pos x="152" y="188"/>
                  </a:cxn>
                  <a:cxn ang="0">
                    <a:pos x="162" y="176"/>
                  </a:cxn>
                  <a:cxn ang="0">
                    <a:pos x="174" y="176"/>
                  </a:cxn>
                  <a:cxn ang="0">
                    <a:pos x="188" y="168"/>
                  </a:cxn>
                  <a:cxn ang="0">
                    <a:pos x="198" y="156"/>
                  </a:cxn>
                  <a:cxn ang="0">
                    <a:pos x="212" y="134"/>
                  </a:cxn>
                  <a:cxn ang="0">
                    <a:pos x="216" y="118"/>
                  </a:cxn>
                  <a:cxn ang="0">
                    <a:pos x="216" y="104"/>
                  </a:cxn>
                  <a:cxn ang="0">
                    <a:pos x="228" y="92"/>
                  </a:cxn>
                  <a:cxn ang="0">
                    <a:pos x="214" y="82"/>
                  </a:cxn>
                  <a:cxn ang="0">
                    <a:pos x="206" y="78"/>
                  </a:cxn>
                  <a:cxn ang="0">
                    <a:pos x="200" y="68"/>
                  </a:cxn>
                  <a:cxn ang="0">
                    <a:pos x="196" y="58"/>
                  </a:cxn>
                  <a:cxn ang="0">
                    <a:pos x="192" y="50"/>
                  </a:cxn>
                  <a:cxn ang="0">
                    <a:pos x="218" y="46"/>
                  </a:cxn>
                  <a:cxn ang="0">
                    <a:pos x="232" y="46"/>
                  </a:cxn>
                  <a:cxn ang="0">
                    <a:pos x="240" y="40"/>
                  </a:cxn>
                  <a:cxn ang="0">
                    <a:pos x="250" y="30"/>
                  </a:cxn>
                </a:cxnLst>
                <a:rect l="0" t="0" r="r" b="b"/>
                <a:pathLst>
                  <a:path w="252" h="252">
                    <a:moveTo>
                      <a:pt x="240" y="30"/>
                    </a:moveTo>
                    <a:lnTo>
                      <a:pt x="238" y="30"/>
                    </a:lnTo>
                    <a:lnTo>
                      <a:pt x="236" y="28"/>
                    </a:lnTo>
                    <a:lnTo>
                      <a:pt x="234" y="28"/>
                    </a:lnTo>
                    <a:lnTo>
                      <a:pt x="232" y="26"/>
                    </a:lnTo>
                    <a:lnTo>
                      <a:pt x="232" y="24"/>
                    </a:lnTo>
                    <a:lnTo>
                      <a:pt x="232" y="22"/>
                    </a:lnTo>
                    <a:lnTo>
                      <a:pt x="230" y="22"/>
                    </a:lnTo>
                    <a:lnTo>
                      <a:pt x="230" y="24"/>
                    </a:lnTo>
                    <a:lnTo>
                      <a:pt x="228" y="24"/>
                    </a:lnTo>
                    <a:lnTo>
                      <a:pt x="226" y="22"/>
                    </a:lnTo>
                    <a:lnTo>
                      <a:pt x="224" y="22"/>
                    </a:lnTo>
                    <a:lnTo>
                      <a:pt x="222" y="22"/>
                    </a:lnTo>
                    <a:lnTo>
                      <a:pt x="222" y="20"/>
                    </a:lnTo>
                    <a:lnTo>
                      <a:pt x="220" y="20"/>
                    </a:lnTo>
                    <a:lnTo>
                      <a:pt x="220" y="18"/>
                    </a:lnTo>
                    <a:lnTo>
                      <a:pt x="220" y="16"/>
                    </a:lnTo>
                    <a:lnTo>
                      <a:pt x="220" y="12"/>
                    </a:lnTo>
                    <a:lnTo>
                      <a:pt x="218" y="10"/>
                    </a:lnTo>
                    <a:lnTo>
                      <a:pt x="216" y="10"/>
                    </a:lnTo>
                    <a:lnTo>
                      <a:pt x="214" y="8"/>
                    </a:lnTo>
                    <a:lnTo>
                      <a:pt x="212" y="6"/>
                    </a:lnTo>
                    <a:lnTo>
                      <a:pt x="210" y="6"/>
                    </a:lnTo>
                    <a:lnTo>
                      <a:pt x="208" y="6"/>
                    </a:lnTo>
                    <a:lnTo>
                      <a:pt x="208" y="4"/>
                    </a:lnTo>
                    <a:lnTo>
                      <a:pt x="208" y="2"/>
                    </a:lnTo>
                    <a:lnTo>
                      <a:pt x="206" y="2"/>
                    </a:lnTo>
                    <a:lnTo>
                      <a:pt x="204" y="2"/>
                    </a:lnTo>
                    <a:lnTo>
                      <a:pt x="202" y="2"/>
                    </a:lnTo>
                    <a:lnTo>
                      <a:pt x="200" y="2"/>
                    </a:lnTo>
                    <a:lnTo>
                      <a:pt x="198" y="2"/>
                    </a:lnTo>
                    <a:lnTo>
                      <a:pt x="196" y="2"/>
                    </a:lnTo>
                    <a:lnTo>
                      <a:pt x="194" y="0"/>
                    </a:lnTo>
                    <a:lnTo>
                      <a:pt x="192" y="2"/>
                    </a:lnTo>
                    <a:lnTo>
                      <a:pt x="190" y="4"/>
                    </a:lnTo>
                    <a:lnTo>
                      <a:pt x="188" y="4"/>
                    </a:lnTo>
                    <a:lnTo>
                      <a:pt x="186" y="4"/>
                    </a:lnTo>
                    <a:lnTo>
                      <a:pt x="184" y="4"/>
                    </a:lnTo>
                    <a:lnTo>
                      <a:pt x="182" y="4"/>
                    </a:lnTo>
                    <a:lnTo>
                      <a:pt x="180" y="2"/>
                    </a:lnTo>
                    <a:lnTo>
                      <a:pt x="178" y="4"/>
                    </a:lnTo>
                    <a:lnTo>
                      <a:pt x="176" y="4"/>
                    </a:lnTo>
                    <a:lnTo>
                      <a:pt x="174" y="4"/>
                    </a:lnTo>
                    <a:lnTo>
                      <a:pt x="172" y="4"/>
                    </a:lnTo>
                    <a:lnTo>
                      <a:pt x="170" y="4"/>
                    </a:lnTo>
                    <a:lnTo>
                      <a:pt x="168" y="4"/>
                    </a:lnTo>
                    <a:lnTo>
                      <a:pt x="164" y="4"/>
                    </a:lnTo>
                    <a:lnTo>
                      <a:pt x="162" y="6"/>
                    </a:lnTo>
                    <a:lnTo>
                      <a:pt x="160" y="6"/>
                    </a:lnTo>
                    <a:lnTo>
                      <a:pt x="156" y="10"/>
                    </a:lnTo>
                    <a:lnTo>
                      <a:pt x="154" y="10"/>
                    </a:lnTo>
                    <a:lnTo>
                      <a:pt x="152" y="12"/>
                    </a:lnTo>
                    <a:lnTo>
                      <a:pt x="150" y="12"/>
                    </a:lnTo>
                    <a:lnTo>
                      <a:pt x="148" y="14"/>
                    </a:lnTo>
                    <a:lnTo>
                      <a:pt x="146" y="16"/>
                    </a:lnTo>
                    <a:lnTo>
                      <a:pt x="146" y="18"/>
                    </a:lnTo>
                    <a:lnTo>
                      <a:pt x="144" y="20"/>
                    </a:lnTo>
                    <a:lnTo>
                      <a:pt x="146" y="20"/>
                    </a:lnTo>
                    <a:lnTo>
                      <a:pt x="146" y="22"/>
                    </a:lnTo>
                    <a:lnTo>
                      <a:pt x="148" y="24"/>
                    </a:lnTo>
                    <a:lnTo>
                      <a:pt x="150" y="24"/>
                    </a:lnTo>
                    <a:lnTo>
                      <a:pt x="150" y="26"/>
                    </a:lnTo>
                    <a:lnTo>
                      <a:pt x="152" y="28"/>
                    </a:lnTo>
                    <a:lnTo>
                      <a:pt x="152" y="30"/>
                    </a:lnTo>
                    <a:lnTo>
                      <a:pt x="152" y="32"/>
                    </a:lnTo>
                    <a:lnTo>
                      <a:pt x="152" y="34"/>
                    </a:lnTo>
                    <a:lnTo>
                      <a:pt x="154" y="34"/>
                    </a:lnTo>
                    <a:lnTo>
                      <a:pt x="154" y="36"/>
                    </a:lnTo>
                    <a:lnTo>
                      <a:pt x="156" y="38"/>
                    </a:lnTo>
                    <a:lnTo>
                      <a:pt x="156" y="40"/>
                    </a:lnTo>
                    <a:lnTo>
                      <a:pt x="154" y="40"/>
                    </a:lnTo>
                    <a:lnTo>
                      <a:pt x="154" y="42"/>
                    </a:lnTo>
                    <a:lnTo>
                      <a:pt x="150" y="44"/>
                    </a:lnTo>
                    <a:lnTo>
                      <a:pt x="150" y="46"/>
                    </a:lnTo>
                    <a:lnTo>
                      <a:pt x="148" y="46"/>
                    </a:lnTo>
                    <a:lnTo>
                      <a:pt x="148" y="48"/>
                    </a:lnTo>
                    <a:lnTo>
                      <a:pt x="148" y="50"/>
                    </a:lnTo>
                    <a:lnTo>
                      <a:pt x="148" y="52"/>
                    </a:lnTo>
                    <a:lnTo>
                      <a:pt x="150" y="52"/>
                    </a:lnTo>
                    <a:lnTo>
                      <a:pt x="150" y="54"/>
                    </a:lnTo>
                    <a:lnTo>
                      <a:pt x="150" y="56"/>
                    </a:lnTo>
                    <a:lnTo>
                      <a:pt x="150" y="58"/>
                    </a:lnTo>
                    <a:lnTo>
                      <a:pt x="148" y="58"/>
                    </a:lnTo>
                    <a:lnTo>
                      <a:pt x="148" y="60"/>
                    </a:lnTo>
                    <a:lnTo>
                      <a:pt x="146" y="60"/>
                    </a:lnTo>
                    <a:lnTo>
                      <a:pt x="144" y="60"/>
                    </a:lnTo>
                    <a:lnTo>
                      <a:pt x="144" y="62"/>
                    </a:lnTo>
                    <a:lnTo>
                      <a:pt x="142" y="62"/>
                    </a:lnTo>
                    <a:lnTo>
                      <a:pt x="142" y="60"/>
                    </a:lnTo>
                    <a:lnTo>
                      <a:pt x="140" y="60"/>
                    </a:lnTo>
                    <a:lnTo>
                      <a:pt x="138" y="60"/>
                    </a:lnTo>
                    <a:lnTo>
                      <a:pt x="136" y="60"/>
                    </a:lnTo>
                    <a:lnTo>
                      <a:pt x="136" y="58"/>
                    </a:lnTo>
                    <a:lnTo>
                      <a:pt x="134" y="58"/>
                    </a:lnTo>
                    <a:lnTo>
                      <a:pt x="132" y="58"/>
                    </a:lnTo>
                    <a:lnTo>
                      <a:pt x="132" y="60"/>
                    </a:lnTo>
                    <a:lnTo>
                      <a:pt x="132" y="62"/>
                    </a:lnTo>
                    <a:lnTo>
                      <a:pt x="134" y="62"/>
                    </a:lnTo>
                    <a:lnTo>
                      <a:pt x="134" y="64"/>
                    </a:lnTo>
                    <a:lnTo>
                      <a:pt x="136" y="64"/>
                    </a:lnTo>
                    <a:lnTo>
                      <a:pt x="138" y="64"/>
                    </a:lnTo>
                    <a:lnTo>
                      <a:pt x="138" y="66"/>
                    </a:lnTo>
                    <a:lnTo>
                      <a:pt x="138" y="68"/>
                    </a:lnTo>
                    <a:lnTo>
                      <a:pt x="138" y="70"/>
                    </a:lnTo>
                    <a:lnTo>
                      <a:pt x="140" y="70"/>
                    </a:lnTo>
                    <a:lnTo>
                      <a:pt x="140" y="72"/>
                    </a:lnTo>
                    <a:lnTo>
                      <a:pt x="142" y="72"/>
                    </a:lnTo>
                    <a:lnTo>
                      <a:pt x="144" y="72"/>
                    </a:lnTo>
                    <a:lnTo>
                      <a:pt x="140" y="74"/>
                    </a:lnTo>
                    <a:lnTo>
                      <a:pt x="138" y="74"/>
                    </a:lnTo>
                    <a:lnTo>
                      <a:pt x="138" y="76"/>
                    </a:lnTo>
                    <a:lnTo>
                      <a:pt x="136" y="76"/>
                    </a:lnTo>
                    <a:lnTo>
                      <a:pt x="134" y="76"/>
                    </a:lnTo>
                    <a:lnTo>
                      <a:pt x="132" y="76"/>
                    </a:lnTo>
                    <a:lnTo>
                      <a:pt x="130" y="76"/>
                    </a:lnTo>
                    <a:lnTo>
                      <a:pt x="130" y="78"/>
                    </a:lnTo>
                    <a:lnTo>
                      <a:pt x="130" y="80"/>
                    </a:lnTo>
                    <a:lnTo>
                      <a:pt x="130" y="82"/>
                    </a:lnTo>
                    <a:lnTo>
                      <a:pt x="130" y="84"/>
                    </a:lnTo>
                    <a:lnTo>
                      <a:pt x="130" y="86"/>
                    </a:lnTo>
                    <a:lnTo>
                      <a:pt x="128" y="86"/>
                    </a:lnTo>
                    <a:lnTo>
                      <a:pt x="128" y="88"/>
                    </a:lnTo>
                    <a:lnTo>
                      <a:pt x="128" y="90"/>
                    </a:lnTo>
                    <a:lnTo>
                      <a:pt x="128" y="92"/>
                    </a:lnTo>
                    <a:lnTo>
                      <a:pt x="128" y="96"/>
                    </a:lnTo>
                    <a:lnTo>
                      <a:pt x="130" y="98"/>
                    </a:lnTo>
                    <a:lnTo>
                      <a:pt x="130" y="100"/>
                    </a:lnTo>
                    <a:lnTo>
                      <a:pt x="130" y="102"/>
                    </a:lnTo>
                    <a:lnTo>
                      <a:pt x="128" y="102"/>
                    </a:lnTo>
                    <a:lnTo>
                      <a:pt x="128" y="104"/>
                    </a:lnTo>
                    <a:lnTo>
                      <a:pt x="126" y="104"/>
                    </a:lnTo>
                    <a:lnTo>
                      <a:pt x="124" y="106"/>
                    </a:lnTo>
                    <a:lnTo>
                      <a:pt x="122" y="106"/>
                    </a:lnTo>
                    <a:lnTo>
                      <a:pt x="120" y="104"/>
                    </a:lnTo>
                    <a:lnTo>
                      <a:pt x="120" y="102"/>
                    </a:lnTo>
                    <a:lnTo>
                      <a:pt x="118" y="102"/>
                    </a:lnTo>
                    <a:lnTo>
                      <a:pt x="116" y="102"/>
                    </a:lnTo>
                    <a:lnTo>
                      <a:pt x="114" y="102"/>
                    </a:lnTo>
                    <a:lnTo>
                      <a:pt x="112" y="102"/>
                    </a:lnTo>
                    <a:lnTo>
                      <a:pt x="110" y="104"/>
                    </a:lnTo>
                    <a:lnTo>
                      <a:pt x="108" y="104"/>
                    </a:lnTo>
                    <a:lnTo>
                      <a:pt x="106" y="104"/>
                    </a:lnTo>
                    <a:lnTo>
                      <a:pt x="104" y="106"/>
                    </a:lnTo>
                    <a:lnTo>
                      <a:pt x="102" y="106"/>
                    </a:lnTo>
                    <a:lnTo>
                      <a:pt x="102" y="108"/>
                    </a:lnTo>
                    <a:lnTo>
                      <a:pt x="104" y="108"/>
                    </a:lnTo>
                    <a:lnTo>
                      <a:pt x="104" y="110"/>
                    </a:lnTo>
                    <a:lnTo>
                      <a:pt x="106" y="110"/>
                    </a:lnTo>
                    <a:lnTo>
                      <a:pt x="106" y="112"/>
                    </a:lnTo>
                    <a:lnTo>
                      <a:pt x="104" y="112"/>
                    </a:lnTo>
                    <a:lnTo>
                      <a:pt x="102" y="112"/>
                    </a:lnTo>
                    <a:lnTo>
                      <a:pt x="100" y="112"/>
                    </a:lnTo>
                    <a:lnTo>
                      <a:pt x="98" y="112"/>
                    </a:lnTo>
                    <a:lnTo>
                      <a:pt x="96" y="112"/>
                    </a:lnTo>
                    <a:lnTo>
                      <a:pt x="94" y="112"/>
                    </a:lnTo>
                    <a:lnTo>
                      <a:pt x="96" y="110"/>
                    </a:lnTo>
                    <a:lnTo>
                      <a:pt x="94" y="110"/>
                    </a:lnTo>
                    <a:lnTo>
                      <a:pt x="92" y="110"/>
                    </a:lnTo>
                    <a:lnTo>
                      <a:pt x="90" y="110"/>
                    </a:lnTo>
                    <a:lnTo>
                      <a:pt x="90" y="112"/>
                    </a:lnTo>
                    <a:lnTo>
                      <a:pt x="88" y="112"/>
                    </a:lnTo>
                    <a:lnTo>
                      <a:pt x="88" y="114"/>
                    </a:lnTo>
                    <a:lnTo>
                      <a:pt x="86" y="114"/>
                    </a:lnTo>
                    <a:lnTo>
                      <a:pt x="86" y="116"/>
                    </a:lnTo>
                    <a:lnTo>
                      <a:pt x="84" y="118"/>
                    </a:lnTo>
                    <a:lnTo>
                      <a:pt x="84" y="120"/>
                    </a:lnTo>
                    <a:lnTo>
                      <a:pt x="86" y="122"/>
                    </a:lnTo>
                    <a:lnTo>
                      <a:pt x="86" y="124"/>
                    </a:lnTo>
                    <a:lnTo>
                      <a:pt x="86" y="126"/>
                    </a:lnTo>
                    <a:lnTo>
                      <a:pt x="86" y="128"/>
                    </a:lnTo>
                    <a:lnTo>
                      <a:pt x="88" y="128"/>
                    </a:lnTo>
                    <a:lnTo>
                      <a:pt x="88" y="130"/>
                    </a:lnTo>
                    <a:lnTo>
                      <a:pt x="88" y="132"/>
                    </a:lnTo>
                    <a:lnTo>
                      <a:pt x="88" y="134"/>
                    </a:lnTo>
                    <a:lnTo>
                      <a:pt x="88" y="136"/>
                    </a:lnTo>
                    <a:lnTo>
                      <a:pt x="88" y="138"/>
                    </a:lnTo>
                    <a:lnTo>
                      <a:pt x="86" y="138"/>
                    </a:lnTo>
                    <a:lnTo>
                      <a:pt x="84" y="140"/>
                    </a:lnTo>
                    <a:lnTo>
                      <a:pt x="80" y="142"/>
                    </a:lnTo>
                    <a:lnTo>
                      <a:pt x="78" y="142"/>
                    </a:lnTo>
                    <a:lnTo>
                      <a:pt x="74" y="144"/>
                    </a:lnTo>
                    <a:lnTo>
                      <a:pt x="72" y="144"/>
                    </a:lnTo>
                    <a:lnTo>
                      <a:pt x="70" y="144"/>
                    </a:lnTo>
                    <a:lnTo>
                      <a:pt x="68" y="144"/>
                    </a:lnTo>
                    <a:lnTo>
                      <a:pt x="66" y="144"/>
                    </a:lnTo>
                    <a:lnTo>
                      <a:pt x="64" y="144"/>
                    </a:lnTo>
                    <a:lnTo>
                      <a:pt x="62" y="146"/>
                    </a:lnTo>
                    <a:lnTo>
                      <a:pt x="58" y="146"/>
                    </a:lnTo>
                    <a:lnTo>
                      <a:pt x="56" y="146"/>
                    </a:lnTo>
                    <a:lnTo>
                      <a:pt x="54" y="146"/>
                    </a:lnTo>
                    <a:lnTo>
                      <a:pt x="54" y="148"/>
                    </a:lnTo>
                    <a:lnTo>
                      <a:pt x="52" y="148"/>
                    </a:lnTo>
                    <a:lnTo>
                      <a:pt x="50" y="148"/>
                    </a:lnTo>
                    <a:lnTo>
                      <a:pt x="48" y="148"/>
                    </a:lnTo>
                    <a:lnTo>
                      <a:pt x="48" y="146"/>
                    </a:lnTo>
                    <a:lnTo>
                      <a:pt x="46" y="146"/>
                    </a:lnTo>
                    <a:lnTo>
                      <a:pt x="44" y="146"/>
                    </a:lnTo>
                    <a:lnTo>
                      <a:pt x="42" y="146"/>
                    </a:lnTo>
                    <a:lnTo>
                      <a:pt x="40" y="146"/>
                    </a:lnTo>
                    <a:lnTo>
                      <a:pt x="38" y="146"/>
                    </a:lnTo>
                    <a:lnTo>
                      <a:pt x="36" y="146"/>
                    </a:lnTo>
                    <a:lnTo>
                      <a:pt x="34" y="148"/>
                    </a:lnTo>
                    <a:lnTo>
                      <a:pt x="32" y="148"/>
                    </a:lnTo>
                    <a:lnTo>
                      <a:pt x="28" y="148"/>
                    </a:lnTo>
                    <a:lnTo>
                      <a:pt x="26" y="148"/>
                    </a:lnTo>
                    <a:lnTo>
                      <a:pt x="22" y="148"/>
                    </a:lnTo>
                    <a:lnTo>
                      <a:pt x="20" y="146"/>
                    </a:lnTo>
                    <a:lnTo>
                      <a:pt x="16" y="146"/>
                    </a:lnTo>
                    <a:lnTo>
                      <a:pt x="14" y="144"/>
                    </a:lnTo>
                    <a:lnTo>
                      <a:pt x="12" y="142"/>
                    </a:lnTo>
                    <a:lnTo>
                      <a:pt x="8" y="142"/>
                    </a:lnTo>
                    <a:lnTo>
                      <a:pt x="8" y="140"/>
                    </a:lnTo>
                    <a:lnTo>
                      <a:pt x="6" y="140"/>
                    </a:lnTo>
                    <a:lnTo>
                      <a:pt x="4" y="140"/>
                    </a:lnTo>
                    <a:lnTo>
                      <a:pt x="2" y="140"/>
                    </a:lnTo>
                    <a:lnTo>
                      <a:pt x="0" y="140"/>
                    </a:lnTo>
                    <a:lnTo>
                      <a:pt x="2" y="142"/>
                    </a:lnTo>
                    <a:lnTo>
                      <a:pt x="4" y="144"/>
                    </a:lnTo>
                    <a:lnTo>
                      <a:pt x="6" y="148"/>
                    </a:lnTo>
                    <a:lnTo>
                      <a:pt x="8" y="150"/>
                    </a:lnTo>
                    <a:lnTo>
                      <a:pt x="10" y="150"/>
                    </a:lnTo>
                    <a:lnTo>
                      <a:pt x="10" y="152"/>
                    </a:lnTo>
                    <a:lnTo>
                      <a:pt x="12" y="154"/>
                    </a:lnTo>
                    <a:lnTo>
                      <a:pt x="14" y="158"/>
                    </a:lnTo>
                    <a:lnTo>
                      <a:pt x="16" y="162"/>
                    </a:lnTo>
                    <a:lnTo>
                      <a:pt x="18" y="164"/>
                    </a:lnTo>
                    <a:lnTo>
                      <a:pt x="18" y="166"/>
                    </a:lnTo>
                    <a:lnTo>
                      <a:pt x="20" y="166"/>
                    </a:lnTo>
                    <a:lnTo>
                      <a:pt x="22" y="166"/>
                    </a:lnTo>
                    <a:lnTo>
                      <a:pt x="24" y="166"/>
                    </a:lnTo>
                    <a:lnTo>
                      <a:pt x="26" y="166"/>
                    </a:lnTo>
                    <a:lnTo>
                      <a:pt x="28" y="166"/>
                    </a:lnTo>
                    <a:lnTo>
                      <a:pt x="28" y="168"/>
                    </a:lnTo>
                    <a:lnTo>
                      <a:pt x="30" y="168"/>
                    </a:lnTo>
                    <a:lnTo>
                      <a:pt x="30" y="170"/>
                    </a:lnTo>
                    <a:lnTo>
                      <a:pt x="32" y="170"/>
                    </a:lnTo>
                    <a:lnTo>
                      <a:pt x="34" y="170"/>
                    </a:lnTo>
                    <a:lnTo>
                      <a:pt x="36" y="170"/>
                    </a:lnTo>
                    <a:lnTo>
                      <a:pt x="36" y="172"/>
                    </a:lnTo>
                    <a:lnTo>
                      <a:pt x="36" y="174"/>
                    </a:lnTo>
                    <a:lnTo>
                      <a:pt x="36" y="176"/>
                    </a:lnTo>
                    <a:lnTo>
                      <a:pt x="36" y="178"/>
                    </a:lnTo>
                    <a:lnTo>
                      <a:pt x="36" y="180"/>
                    </a:lnTo>
                    <a:lnTo>
                      <a:pt x="36" y="182"/>
                    </a:lnTo>
                    <a:lnTo>
                      <a:pt x="36" y="186"/>
                    </a:lnTo>
                    <a:lnTo>
                      <a:pt x="38" y="188"/>
                    </a:lnTo>
                    <a:lnTo>
                      <a:pt x="40" y="188"/>
                    </a:lnTo>
                    <a:lnTo>
                      <a:pt x="42" y="188"/>
                    </a:lnTo>
                    <a:lnTo>
                      <a:pt x="42" y="190"/>
                    </a:lnTo>
                    <a:lnTo>
                      <a:pt x="44" y="192"/>
                    </a:lnTo>
                    <a:lnTo>
                      <a:pt x="44" y="194"/>
                    </a:lnTo>
                    <a:lnTo>
                      <a:pt x="44" y="196"/>
                    </a:lnTo>
                    <a:lnTo>
                      <a:pt x="44" y="200"/>
                    </a:lnTo>
                    <a:lnTo>
                      <a:pt x="44" y="202"/>
                    </a:lnTo>
                    <a:lnTo>
                      <a:pt x="42" y="202"/>
                    </a:lnTo>
                    <a:lnTo>
                      <a:pt x="42" y="200"/>
                    </a:lnTo>
                    <a:lnTo>
                      <a:pt x="40" y="200"/>
                    </a:lnTo>
                    <a:lnTo>
                      <a:pt x="38" y="200"/>
                    </a:lnTo>
                    <a:lnTo>
                      <a:pt x="36" y="200"/>
                    </a:lnTo>
                    <a:lnTo>
                      <a:pt x="34" y="200"/>
                    </a:lnTo>
                    <a:lnTo>
                      <a:pt x="32" y="202"/>
                    </a:lnTo>
                    <a:lnTo>
                      <a:pt x="32" y="204"/>
                    </a:lnTo>
                    <a:lnTo>
                      <a:pt x="30" y="204"/>
                    </a:lnTo>
                    <a:lnTo>
                      <a:pt x="30" y="206"/>
                    </a:lnTo>
                    <a:lnTo>
                      <a:pt x="28" y="208"/>
                    </a:lnTo>
                    <a:lnTo>
                      <a:pt x="26" y="208"/>
                    </a:lnTo>
                    <a:lnTo>
                      <a:pt x="24" y="210"/>
                    </a:lnTo>
                    <a:lnTo>
                      <a:pt x="24" y="212"/>
                    </a:lnTo>
                    <a:lnTo>
                      <a:pt x="22" y="214"/>
                    </a:lnTo>
                    <a:lnTo>
                      <a:pt x="20" y="216"/>
                    </a:lnTo>
                    <a:lnTo>
                      <a:pt x="20" y="218"/>
                    </a:lnTo>
                    <a:lnTo>
                      <a:pt x="20" y="220"/>
                    </a:lnTo>
                    <a:lnTo>
                      <a:pt x="20" y="222"/>
                    </a:lnTo>
                    <a:lnTo>
                      <a:pt x="20" y="224"/>
                    </a:lnTo>
                    <a:lnTo>
                      <a:pt x="20" y="226"/>
                    </a:lnTo>
                    <a:lnTo>
                      <a:pt x="20" y="228"/>
                    </a:lnTo>
                    <a:lnTo>
                      <a:pt x="24" y="226"/>
                    </a:lnTo>
                    <a:lnTo>
                      <a:pt x="26" y="226"/>
                    </a:lnTo>
                    <a:lnTo>
                      <a:pt x="28" y="224"/>
                    </a:lnTo>
                    <a:lnTo>
                      <a:pt x="28" y="226"/>
                    </a:lnTo>
                    <a:lnTo>
                      <a:pt x="30" y="226"/>
                    </a:lnTo>
                    <a:lnTo>
                      <a:pt x="32" y="226"/>
                    </a:lnTo>
                    <a:lnTo>
                      <a:pt x="36" y="226"/>
                    </a:lnTo>
                    <a:lnTo>
                      <a:pt x="38" y="228"/>
                    </a:lnTo>
                    <a:lnTo>
                      <a:pt x="40" y="228"/>
                    </a:lnTo>
                    <a:lnTo>
                      <a:pt x="42" y="226"/>
                    </a:lnTo>
                    <a:lnTo>
                      <a:pt x="44" y="226"/>
                    </a:lnTo>
                    <a:lnTo>
                      <a:pt x="48" y="224"/>
                    </a:lnTo>
                    <a:lnTo>
                      <a:pt x="50" y="224"/>
                    </a:lnTo>
                    <a:lnTo>
                      <a:pt x="52" y="224"/>
                    </a:lnTo>
                    <a:lnTo>
                      <a:pt x="52" y="222"/>
                    </a:lnTo>
                    <a:lnTo>
                      <a:pt x="54" y="222"/>
                    </a:lnTo>
                    <a:lnTo>
                      <a:pt x="54" y="224"/>
                    </a:lnTo>
                    <a:lnTo>
                      <a:pt x="56" y="224"/>
                    </a:lnTo>
                    <a:lnTo>
                      <a:pt x="60" y="224"/>
                    </a:lnTo>
                    <a:lnTo>
                      <a:pt x="62" y="224"/>
                    </a:lnTo>
                    <a:lnTo>
                      <a:pt x="64" y="224"/>
                    </a:lnTo>
                    <a:lnTo>
                      <a:pt x="66" y="224"/>
                    </a:lnTo>
                    <a:lnTo>
                      <a:pt x="70" y="222"/>
                    </a:lnTo>
                    <a:lnTo>
                      <a:pt x="72" y="222"/>
                    </a:lnTo>
                    <a:lnTo>
                      <a:pt x="74" y="220"/>
                    </a:lnTo>
                    <a:lnTo>
                      <a:pt x="78" y="222"/>
                    </a:lnTo>
                    <a:lnTo>
                      <a:pt x="80" y="222"/>
                    </a:lnTo>
                    <a:lnTo>
                      <a:pt x="82" y="222"/>
                    </a:lnTo>
                    <a:lnTo>
                      <a:pt x="82" y="224"/>
                    </a:lnTo>
                    <a:lnTo>
                      <a:pt x="84" y="224"/>
                    </a:lnTo>
                    <a:lnTo>
                      <a:pt x="84" y="222"/>
                    </a:lnTo>
                    <a:lnTo>
                      <a:pt x="86" y="222"/>
                    </a:lnTo>
                    <a:lnTo>
                      <a:pt x="88" y="220"/>
                    </a:lnTo>
                    <a:lnTo>
                      <a:pt x="90" y="218"/>
                    </a:lnTo>
                    <a:lnTo>
                      <a:pt x="92" y="218"/>
                    </a:lnTo>
                    <a:lnTo>
                      <a:pt x="94" y="220"/>
                    </a:lnTo>
                    <a:lnTo>
                      <a:pt x="96" y="220"/>
                    </a:lnTo>
                    <a:lnTo>
                      <a:pt x="98" y="222"/>
                    </a:lnTo>
                    <a:lnTo>
                      <a:pt x="98" y="224"/>
                    </a:lnTo>
                    <a:lnTo>
                      <a:pt x="100" y="226"/>
                    </a:lnTo>
                    <a:lnTo>
                      <a:pt x="102" y="230"/>
                    </a:lnTo>
                    <a:lnTo>
                      <a:pt x="102" y="232"/>
                    </a:lnTo>
                    <a:lnTo>
                      <a:pt x="104" y="234"/>
                    </a:lnTo>
                    <a:lnTo>
                      <a:pt x="106" y="236"/>
                    </a:lnTo>
                    <a:lnTo>
                      <a:pt x="108" y="238"/>
                    </a:lnTo>
                    <a:lnTo>
                      <a:pt x="110" y="238"/>
                    </a:lnTo>
                    <a:lnTo>
                      <a:pt x="112" y="238"/>
                    </a:lnTo>
                    <a:lnTo>
                      <a:pt x="116" y="238"/>
                    </a:lnTo>
                    <a:lnTo>
                      <a:pt x="118" y="240"/>
                    </a:lnTo>
                    <a:lnTo>
                      <a:pt x="120" y="240"/>
                    </a:lnTo>
                    <a:lnTo>
                      <a:pt x="122" y="240"/>
                    </a:lnTo>
                    <a:lnTo>
                      <a:pt x="124" y="242"/>
                    </a:lnTo>
                    <a:lnTo>
                      <a:pt x="126" y="244"/>
                    </a:lnTo>
                    <a:lnTo>
                      <a:pt x="126" y="246"/>
                    </a:lnTo>
                    <a:lnTo>
                      <a:pt x="128" y="248"/>
                    </a:lnTo>
                    <a:lnTo>
                      <a:pt x="130" y="250"/>
                    </a:lnTo>
                    <a:lnTo>
                      <a:pt x="132" y="252"/>
                    </a:lnTo>
                    <a:lnTo>
                      <a:pt x="134" y="252"/>
                    </a:lnTo>
                    <a:lnTo>
                      <a:pt x="136" y="252"/>
                    </a:lnTo>
                    <a:lnTo>
                      <a:pt x="138" y="252"/>
                    </a:lnTo>
                    <a:lnTo>
                      <a:pt x="140" y="250"/>
                    </a:lnTo>
                    <a:lnTo>
                      <a:pt x="140" y="248"/>
                    </a:lnTo>
                    <a:lnTo>
                      <a:pt x="140" y="246"/>
                    </a:lnTo>
                    <a:lnTo>
                      <a:pt x="142" y="246"/>
                    </a:lnTo>
                    <a:lnTo>
                      <a:pt x="144" y="246"/>
                    </a:lnTo>
                    <a:lnTo>
                      <a:pt x="146" y="246"/>
                    </a:lnTo>
                    <a:lnTo>
                      <a:pt x="148" y="246"/>
                    </a:lnTo>
                    <a:lnTo>
                      <a:pt x="148" y="248"/>
                    </a:lnTo>
                    <a:lnTo>
                      <a:pt x="150" y="246"/>
                    </a:lnTo>
                    <a:lnTo>
                      <a:pt x="152" y="246"/>
                    </a:lnTo>
                    <a:lnTo>
                      <a:pt x="154" y="246"/>
                    </a:lnTo>
                    <a:lnTo>
                      <a:pt x="156" y="246"/>
                    </a:lnTo>
                    <a:lnTo>
                      <a:pt x="154" y="246"/>
                    </a:lnTo>
                    <a:lnTo>
                      <a:pt x="156" y="246"/>
                    </a:lnTo>
                    <a:lnTo>
                      <a:pt x="156" y="248"/>
                    </a:lnTo>
                    <a:lnTo>
                      <a:pt x="158" y="248"/>
                    </a:lnTo>
                    <a:lnTo>
                      <a:pt x="160" y="248"/>
                    </a:lnTo>
                    <a:lnTo>
                      <a:pt x="162" y="248"/>
                    </a:lnTo>
                    <a:lnTo>
                      <a:pt x="162" y="246"/>
                    </a:lnTo>
                    <a:lnTo>
                      <a:pt x="164" y="244"/>
                    </a:lnTo>
                    <a:lnTo>
                      <a:pt x="166" y="244"/>
                    </a:lnTo>
                    <a:lnTo>
                      <a:pt x="168" y="244"/>
                    </a:lnTo>
                    <a:lnTo>
                      <a:pt x="168" y="246"/>
                    </a:lnTo>
                    <a:lnTo>
                      <a:pt x="170" y="246"/>
                    </a:lnTo>
                    <a:lnTo>
                      <a:pt x="172" y="248"/>
                    </a:lnTo>
                    <a:lnTo>
                      <a:pt x="174" y="246"/>
                    </a:lnTo>
                    <a:lnTo>
                      <a:pt x="176" y="246"/>
                    </a:lnTo>
                    <a:lnTo>
                      <a:pt x="178" y="246"/>
                    </a:lnTo>
                    <a:lnTo>
                      <a:pt x="178" y="244"/>
                    </a:lnTo>
                    <a:lnTo>
                      <a:pt x="180" y="244"/>
                    </a:lnTo>
                    <a:lnTo>
                      <a:pt x="180" y="242"/>
                    </a:lnTo>
                    <a:lnTo>
                      <a:pt x="180" y="240"/>
                    </a:lnTo>
                    <a:lnTo>
                      <a:pt x="178" y="238"/>
                    </a:lnTo>
                    <a:lnTo>
                      <a:pt x="178" y="236"/>
                    </a:lnTo>
                    <a:lnTo>
                      <a:pt x="176" y="236"/>
                    </a:lnTo>
                    <a:lnTo>
                      <a:pt x="176" y="234"/>
                    </a:lnTo>
                    <a:lnTo>
                      <a:pt x="174" y="230"/>
                    </a:lnTo>
                    <a:lnTo>
                      <a:pt x="172" y="228"/>
                    </a:lnTo>
                    <a:lnTo>
                      <a:pt x="172" y="226"/>
                    </a:lnTo>
                    <a:lnTo>
                      <a:pt x="172" y="224"/>
                    </a:lnTo>
                    <a:lnTo>
                      <a:pt x="170" y="224"/>
                    </a:lnTo>
                    <a:lnTo>
                      <a:pt x="170" y="222"/>
                    </a:lnTo>
                    <a:lnTo>
                      <a:pt x="170" y="220"/>
                    </a:lnTo>
                    <a:lnTo>
                      <a:pt x="168" y="220"/>
                    </a:lnTo>
                    <a:lnTo>
                      <a:pt x="168" y="218"/>
                    </a:lnTo>
                    <a:lnTo>
                      <a:pt x="164" y="218"/>
                    </a:lnTo>
                    <a:lnTo>
                      <a:pt x="162" y="216"/>
                    </a:lnTo>
                    <a:lnTo>
                      <a:pt x="160" y="214"/>
                    </a:lnTo>
                    <a:lnTo>
                      <a:pt x="160" y="212"/>
                    </a:lnTo>
                    <a:lnTo>
                      <a:pt x="160" y="208"/>
                    </a:lnTo>
                    <a:lnTo>
                      <a:pt x="160" y="206"/>
                    </a:lnTo>
                    <a:lnTo>
                      <a:pt x="160" y="204"/>
                    </a:lnTo>
                    <a:lnTo>
                      <a:pt x="160" y="202"/>
                    </a:lnTo>
                    <a:lnTo>
                      <a:pt x="160" y="200"/>
                    </a:lnTo>
                    <a:lnTo>
                      <a:pt x="158" y="200"/>
                    </a:lnTo>
                    <a:lnTo>
                      <a:pt x="156" y="200"/>
                    </a:lnTo>
                    <a:lnTo>
                      <a:pt x="154" y="200"/>
                    </a:lnTo>
                    <a:lnTo>
                      <a:pt x="152" y="200"/>
                    </a:lnTo>
                    <a:lnTo>
                      <a:pt x="150" y="200"/>
                    </a:lnTo>
                    <a:lnTo>
                      <a:pt x="148" y="200"/>
                    </a:lnTo>
                    <a:lnTo>
                      <a:pt x="148" y="198"/>
                    </a:lnTo>
                    <a:lnTo>
                      <a:pt x="148" y="196"/>
                    </a:lnTo>
                    <a:lnTo>
                      <a:pt x="148" y="194"/>
                    </a:lnTo>
                    <a:lnTo>
                      <a:pt x="148" y="192"/>
                    </a:lnTo>
                    <a:lnTo>
                      <a:pt x="148" y="190"/>
                    </a:lnTo>
                    <a:lnTo>
                      <a:pt x="150" y="188"/>
                    </a:lnTo>
                    <a:lnTo>
                      <a:pt x="152" y="188"/>
                    </a:lnTo>
                    <a:lnTo>
                      <a:pt x="154" y="184"/>
                    </a:lnTo>
                    <a:lnTo>
                      <a:pt x="156" y="182"/>
                    </a:lnTo>
                    <a:lnTo>
                      <a:pt x="156" y="180"/>
                    </a:lnTo>
                    <a:lnTo>
                      <a:pt x="156" y="178"/>
                    </a:lnTo>
                    <a:lnTo>
                      <a:pt x="158" y="178"/>
                    </a:lnTo>
                    <a:lnTo>
                      <a:pt x="158" y="176"/>
                    </a:lnTo>
                    <a:lnTo>
                      <a:pt x="160" y="176"/>
                    </a:lnTo>
                    <a:lnTo>
                      <a:pt x="162" y="176"/>
                    </a:lnTo>
                    <a:lnTo>
                      <a:pt x="164" y="176"/>
                    </a:lnTo>
                    <a:lnTo>
                      <a:pt x="164" y="178"/>
                    </a:lnTo>
                    <a:lnTo>
                      <a:pt x="166" y="178"/>
                    </a:lnTo>
                    <a:lnTo>
                      <a:pt x="166" y="180"/>
                    </a:lnTo>
                    <a:lnTo>
                      <a:pt x="168" y="180"/>
                    </a:lnTo>
                    <a:lnTo>
                      <a:pt x="170" y="178"/>
                    </a:lnTo>
                    <a:lnTo>
                      <a:pt x="172" y="178"/>
                    </a:lnTo>
                    <a:lnTo>
                      <a:pt x="174" y="176"/>
                    </a:lnTo>
                    <a:lnTo>
                      <a:pt x="176" y="176"/>
                    </a:lnTo>
                    <a:lnTo>
                      <a:pt x="178" y="176"/>
                    </a:lnTo>
                    <a:lnTo>
                      <a:pt x="180" y="176"/>
                    </a:lnTo>
                    <a:lnTo>
                      <a:pt x="182" y="176"/>
                    </a:lnTo>
                    <a:lnTo>
                      <a:pt x="184" y="174"/>
                    </a:lnTo>
                    <a:lnTo>
                      <a:pt x="184" y="172"/>
                    </a:lnTo>
                    <a:lnTo>
                      <a:pt x="184" y="170"/>
                    </a:lnTo>
                    <a:lnTo>
                      <a:pt x="186" y="168"/>
                    </a:lnTo>
                    <a:lnTo>
                      <a:pt x="188" y="168"/>
                    </a:lnTo>
                    <a:lnTo>
                      <a:pt x="188" y="166"/>
                    </a:lnTo>
                    <a:lnTo>
                      <a:pt x="188" y="164"/>
                    </a:lnTo>
                    <a:lnTo>
                      <a:pt x="188" y="162"/>
                    </a:lnTo>
                    <a:lnTo>
                      <a:pt x="190" y="162"/>
                    </a:lnTo>
                    <a:lnTo>
                      <a:pt x="190" y="160"/>
                    </a:lnTo>
                    <a:lnTo>
                      <a:pt x="190" y="158"/>
                    </a:lnTo>
                    <a:lnTo>
                      <a:pt x="192" y="158"/>
                    </a:lnTo>
                    <a:lnTo>
                      <a:pt x="194" y="158"/>
                    </a:lnTo>
                    <a:lnTo>
                      <a:pt x="196" y="156"/>
                    </a:lnTo>
                    <a:lnTo>
                      <a:pt x="198" y="156"/>
                    </a:lnTo>
                    <a:lnTo>
                      <a:pt x="200" y="154"/>
                    </a:lnTo>
                    <a:lnTo>
                      <a:pt x="200" y="152"/>
                    </a:lnTo>
                    <a:lnTo>
                      <a:pt x="202" y="152"/>
                    </a:lnTo>
                    <a:lnTo>
                      <a:pt x="202" y="150"/>
                    </a:lnTo>
                    <a:lnTo>
                      <a:pt x="202" y="146"/>
                    </a:lnTo>
                    <a:lnTo>
                      <a:pt x="204" y="142"/>
                    </a:lnTo>
                    <a:lnTo>
                      <a:pt x="204" y="140"/>
                    </a:lnTo>
                    <a:lnTo>
                      <a:pt x="204" y="138"/>
                    </a:lnTo>
                    <a:lnTo>
                      <a:pt x="206" y="136"/>
                    </a:lnTo>
                    <a:lnTo>
                      <a:pt x="208" y="136"/>
                    </a:lnTo>
                    <a:lnTo>
                      <a:pt x="208" y="134"/>
                    </a:lnTo>
                    <a:lnTo>
                      <a:pt x="210" y="134"/>
                    </a:lnTo>
                    <a:lnTo>
                      <a:pt x="212" y="134"/>
                    </a:lnTo>
                    <a:lnTo>
                      <a:pt x="210" y="132"/>
                    </a:lnTo>
                    <a:lnTo>
                      <a:pt x="208" y="130"/>
                    </a:lnTo>
                    <a:lnTo>
                      <a:pt x="208" y="128"/>
                    </a:lnTo>
                    <a:lnTo>
                      <a:pt x="210" y="126"/>
                    </a:lnTo>
                    <a:lnTo>
                      <a:pt x="210" y="124"/>
                    </a:lnTo>
                    <a:lnTo>
                      <a:pt x="212" y="122"/>
                    </a:lnTo>
                    <a:lnTo>
                      <a:pt x="214" y="120"/>
                    </a:lnTo>
                    <a:lnTo>
                      <a:pt x="216" y="118"/>
                    </a:lnTo>
                    <a:lnTo>
                      <a:pt x="218" y="118"/>
                    </a:lnTo>
                    <a:lnTo>
                      <a:pt x="218" y="116"/>
                    </a:lnTo>
                    <a:lnTo>
                      <a:pt x="220" y="116"/>
                    </a:lnTo>
                    <a:lnTo>
                      <a:pt x="220" y="114"/>
                    </a:lnTo>
                    <a:lnTo>
                      <a:pt x="218" y="112"/>
                    </a:lnTo>
                    <a:lnTo>
                      <a:pt x="216" y="108"/>
                    </a:lnTo>
                    <a:lnTo>
                      <a:pt x="216" y="106"/>
                    </a:lnTo>
                    <a:lnTo>
                      <a:pt x="216" y="104"/>
                    </a:lnTo>
                    <a:lnTo>
                      <a:pt x="216" y="102"/>
                    </a:lnTo>
                    <a:lnTo>
                      <a:pt x="216" y="100"/>
                    </a:lnTo>
                    <a:lnTo>
                      <a:pt x="218" y="100"/>
                    </a:lnTo>
                    <a:lnTo>
                      <a:pt x="220" y="98"/>
                    </a:lnTo>
                    <a:lnTo>
                      <a:pt x="222" y="98"/>
                    </a:lnTo>
                    <a:lnTo>
                      <a:pt x="224" y="98"/>
                    </a:lnTo>
                    <a:lnTo>
                      <a:pt x="226" y="96"/>
                    </a:lnTo>
                    <a:lnTo>
                      <a:pt x="228" y="96"/>
                    </a:lnTo>
                    <a:lnTo>
                      <a:pt x="228" y="94"/>
                    </a:lnTo>
                    <a:lnTo>
                      <a:pt x="228" y="92"/>
                    </a:lnTo>
                    <a:lnTo>
                      <a:pt x="226" y="90"/>
                    </a:lnTo>
                    <a:lnTo>
                      <a:pt x="224" y="90"/>
                    </a:lnTo>
                    <a:lnTo>
                      <a:pt x="220" y="90"/>
                    </a:lnTo>
                    <a:lnTo>
                      <a:pt x="218" y="90"/>
                    </a:lnTo>
                    <a:lnTo>
                      <a:pt x="216" y="90"/>
                    </a:lnTo>
                    <a:lnTo>
                      <a:pt x="214" y="90"/>
                    </a:lnTo>
                    <a:lnTo>
                      <a:pt x="214" y="86"/>
                    </a:lnTo>
                    <a:lnTo>
                      <a:pt x="214" y="84"/>
                    </a:lnTo>
                    <a:lnTo>
                      <a:pt x="214" y="82"/>
                    </a:lnTo>
                    <a:lnTo>
                      <a:pt x="212" y="80"/>
                    </a:lnTo>
                    <a:lnTo>
                      <a:pt x="210" y="80"/>
                    </a:lnTo>
                    <a:lnTo>
                      <a:pt x="208" y="80"/>
                    </a:lnTo>
                    <a:lnTo>
                      <a:pt x="206" y="78"/>
                    </a:lnTo>
                    <a:lnTo>
                      <a:pt x="204" y="78"/>
                    </a:lnTo>
                    <a:lnTo>
                      <a:pt x="202" y="78"/>
                    </a:lnTo>
                    <a:lnTo>
                      <a:pt x="202" y="76"/>
                    </a:lnTo>
                    <a:lnTo>
                      <a:pt x="202" y="74"/>
                    </a:lnTo>
                    <a:lnTo>
                      <a:pt x="202" y="72"/>
                    </a:lnTo>
                    <a:lnTo>
                      <a:pt x="202" y="70"/>
                    </a:lnTo>
                    <a:lnTo>
                      <a:pt x="204" y="70"/>
                    </a:lnTo>
                    <a:lnTo>
                      <a:pt x="202" y="70"/>
                    </a:lnTo>
                    <a:lnTo>
                      <a:pt x="200" y="70"/>
                    </a:lnTo>
                    <a:lnTo>
                      <a:pt x="200" y="68"/>
                    </a:lnTo>
                    <a:lnTo>
                      <a:pt x="198" y="68"/>
                    </a:lnTo>
                    <a:lnTo>
                      <a:pt x="198" y="66"/>
                    </a:lnTo>
                    <a:lnTo>
                      <a:pt x="200" y="64"/>
                    </a:lnTo>
                    <a:lnTo>
                      <a:pt x="202" y="62"/>
                    </a:lnTo>
                    <a:lnTo>
                      <a:pt x="202" y="60"/>
                    </a:lnTo>
                    <a:lnTo>
                      <a:pt x="204" y="60"/>
                    </a:lnTo>
                    <a:lnTo>
                      <a:pt x="200" y="58"/>
                    </a:lnTo>
                    <a:lnTo>
                      <a:pt x="198" y="58"/>
                    </a:lnTo>
                    <a:lnTo>
                      <a:pt x="196" y="58"/>
                    </a:lnTo>
                    <a:lnTo>
                      <a:pt x="196" y="56"/>
                    </a:lnTo>
                    <a:lnTo>
                      <a:pt x="198" y="56"/>
                    </a:lnTo>
                    <a:lnTo>
                      <a:pt x="196" y="54"/>
                    </a:lnTo>
                    <a:lnTo>
                      <a:pt x="194" y="54"/>
                    </a:lnTo>
                    <a:lnTo>
                      <a:pt x="194" y="52"/>
                    </a:lnTo>
                    <a:lnTo>
                      <a:pt x="192" y="52"/>
                    </a:lnTo>
                    <a:lnTo>
                      <a:pt x="192" y="50"/>
                    </a:lnTo>
                    <a:lnTo>
                      <a:pt x="192" y="48"/>
                    </a:lnTo>
                    <a:lnTo>
                      <a:pt x="194" y="48"/>
                    </a:lnTo>
                    <a:lnTo>
                      <a:pt x="194" y="46"/>
                    </a:lnTo>
                    <a:lnTo>
                      <a:pt x="196" y="46"/>
                    </a:lnTo>
                    <a:lnTo>
                      <a:pt x="200" y="44"/>
                    </a:lnTo>
                    <a:lnTo>
                      <a:pt x="202" y="44"/>
                    </a:lnTo>
                    <a:lnTo>
                      <a:pt x="206" y="44"/>
                    </a:lnTo>
                    <a:lnTo>
                      <a:pt x="208" y="44"/>
                    </a:lnTo>
                    <a:lnTo>
                      <a:pt x="210" y="44"/>
                    </a:lnTo>
                    <a:lnTo>
                      <a:pt x="214" y="46"/>
                    </a:lnTo>
                    <a:lnTo>
                      <a:pt x="216" y="46"/>
                    </a:lnTo>
                    <a:lnTo>
                      <a:pt x="218" y="46"/>
                    </a:lnTo>
                    <a:lnTo>
                      <a:pt x="218" y="48"/>
                    </a:lnTo>
                    <a:lnTo>
                      <a:pt x="220" y="50"/>
                    </a:lnTo>
                    <a:lnTo>
                      <a:pt x="222" y="50"/>
                    </a:lnTo>
                    <a:lnTo>
                      <a:pt x="224" y="48"/>
                    </a:lnTo>
                    <a:lnTo>
                      <a:pt x="226" y="48"/>
                    </a:lnTo>
                    <a:lnTo>
                      <a:pt x="228" y="46"/>
                    </a:lnTo>
                    <a:lnTo>
                      <a:pt x="230" y="46"/>
                    </a:lnTo>
                    <a:lnTo>
                      <a:pt x="230" y="44"/>
                    </a:lnTo>
                    <a:lnTo>
                      <a:pt x="232" y="46"/>
                    </a:lnTo>
                    <a:lnTo>
                      <a:pt x="232" y="44"/>
                    </a:lnTo>
                    <a:lnTo>
                      <a:pt x="234" y="44"/>
                    </a:lnTo>
                    <a:lnTo>
                      <a:pt x="236" y="44"/>
                    </a:lnTo>
                    <a:lnTo>
                      <a:pt x="238" y="44"/>
                    </a:lnTo>
                    <a:lnTo>
                      <a:pt x="240" y="42"/>
                    </a:lnTo>
                    <a:lnTo>
                      <a:pt x="240" y="40"/>
                    </a:lnTo>
                    <a:lnTo>
                      <a:pt x="242" y="40"/>
                    </a:lnTo>
                    <a:lnTo>
                      <a:pt x="242" y="38"/>
                    </a:lnTo>
                    <a:lnTo>
                      <a:pt x="244" y="38"/>
                    </a:lnTo>
                    <a:lnTo>
                      <a:pt x="246" y="38"/>
                    </a:lnTo>
                    <a:lnTo>
                      <a:pt x="246" y="34"/>
                    </a:lnTo>
                    <a:lnTo>
                      <a:pt x="248" y="34"/>
                    </a:lnTo>
                    <a:lnTo>
                      <a:pt x="250" y="32"/>
                    </a:lnTo>
                    <a:lnTo>
                      <a:pt x="250" y="30"/>
                    </a:lnTo>
                    <a:lnTo>
                      <a:pt x="252" y="30"/>
                    </a:lnTo>
                    <a:lnTo>
                      <a:pt x="248" y="30"/>
                    </a:lnTo>
                    <a:lnTo>
                      <a:pt x="246" y="30"/>
                    </a:lnTo>
                    <a:lnTo>
                      <a:pt x="242" y="30"/>
                    </a:lnTo>
                    <a:lnTo>
                      <a:pt x="240" y="3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7" name="Freeform 196">
                <a:extLst>
                  <a:ext uri="{FF2B5EF4-FFF2-40B4-BE49-F238E27FC236}">
                    <a16:creationId xmlns:a16="http://schemas.microsoft.com/office/drawing/2014/main" id="{F5149077-42E4-4054-B7AC-CFA1A8B64E86}"/>
                  </a:ext>
                </a:extLst>
              </p:cNvPr>
              <p:cNvSpPr>
                <a:spLocks noChangeAspect="1"/>
              </p:cNvSpPr>
              <p:nvPr/>
            </p:nvSpPr>
            <p:spPr bwMode="auto">
              <a:xfrm>
                <a:off x="5767645" y="2823792"/>
                <a:ext cx="399579" cy="251131"/>
              </a:xfrm>
              <a:custGeom>
                <a:avLst/>
                <a:gdLst/>
                <a:ahLst/>
                <a:cxnLst>
                  <a:cxn ang="0">
                    <a:pos x="12" y="48"/>
                  </a:cxn>
                  <a:cxn ang="0">
                    <a:pos x="22" y="52"/>
                  </a:cxn>
                  <a:cxn ang="0">
                    <a:pos x="26" y="60"/>
                  </a:cxn>
                  <a:cxn ang="0">
                    <a:pos x="18" y="64"/>
                  </a:cxn>
                  <a:cxn ang="0">
                    <a:pos x="30" y="70"/>
                  </a:cxn>
                  <a:cxn ang="0">
                    <a:pos x="34" y="84"/>
                  </a:cxn>
                  <a:cxn ang="0">
                    <a:pos x="36" y="88"/>
                  </a:cxn>
                  <a:cxn ang="0">
                    <a:pos x="40" y="104"/>
                  </a:cxn>
                  <a:cxn ang="0">
                    <a:pos x="50" y="100"/>
                  </a:cxn>
                  <a:cxn ang="0">
                    <a:pos x="60" y="90"/>
                  </a:cxn>
                  <a:cxn ang="0">
                    <a:pos x="74" y="88"/>
                  </a:cxn>
                  <a:cxn ang="0">
                    <a:pos x="84" y="86"/>
                  </a:cxn>
                  <a:cxn ang="0">
                    <a:pos x="92" y="94"/>
                  </a:cxn>
                  <a:cxn ang="0">
                    <a:pos x="106" y="98"/>
                  </a:cxn>
                  <a:cxn ang="0">
                    <a:pos x="114" y="98"/>
                  </a:cxn>
                  <a:cxn ang="0">
                    <a:pos x="128" y="106"/>
                  </a:cxn>
                  <a:cxn ang="0">
                    <a:pos x="140" y="114"/>
                  </a:cxn>
                  <a:cxn ang="0">
                    <a:pos x="156" y="116"/>
                  </a:cxn>
                  <a:cxn ang="0">
                    <a:pos x="158" y="124"/>
                  </a:cxn>
                  <a:cxn ang="0">
                    <a:pos x="160" y="130"/>
                  </a:cxn>
                  <a:cxn ang="0">
                    <a:pos x="166" y="138"/>
                  </a:cxn>
                  <a:cxn ang="0">
                    <a:pos x="178" y="144"/>
                  </a:cxn>
                  <a:cxn ang="0">
                    <a:pos x="190" y="142"/>
                  </a:cxn>
                  <a:cxn ang="0">
                    <a:pos x="196" y="132"/>
                  </a:cxn>
                  <a:cxn ang="0">
                    <a:pos x="208" y="124"/>
                  </a:cxn>
                  <a:cxn ang="0">
                    <a:pos x="212" y="108"/>
                  </a:cxn>
                  <a:cxn ang="0">
                    <a:pos x="224" y="104"/>
                  </a:cxn>
                  <a:cxn ang="0">
                    <a:pos x="234" y="104"/>
                  </a:cxn>
                  <a:cxn ang="0">
                    <a:pos x="240" y="102"/>
                  </a:cxn>
                  <a:cxn ang="0">
                    <a:pos x="238" y="92"/>
                  </a:cxn>
                  <a:cxn ang="0">
                    <a:pos x="224" y="86"/>
                  </a:cxn>
                  <a:cxn ang="0">
                    <a:pos x="214" y="82"/>
                  </a:cxn>
                  <a:cxn ang="0">
                    <a:pos x="202" y="76"/>
                  </a:cxn>
                  <a:cxn ang="0">
                    <a:pos x="192" y="72"/>
                  </a:cxn>
                  <a:cxn ang="0">
                    <a:pos x="186" y="68"/>
                  </a:cxn>
                  <a:cxn ang="0">
                    <a:pos x="170" y="60"/>
                  </a:cxn>
                  <a:cxn ang="0">
                    <a:pos x="160" y="46"/>
                  </a:cxn>
                  <a:cxn ang="0">
                    <a:pos x="152" y="34"/>
                  </a:cxn>
                  <a:cxn ang="0">
                    <a:pos x="144" y="30"/>
                  </a:cxn>
                  <a:cxn ang="0">
                    <a:pos x="130" y="28"/>
                  </a:cxn>
                  <a:cxn ang="0">
                    <a:pos x="120" y="24"/>
                  </a:cxn>
                  <a:cxn ang="0">
                    <a:pos x="118" y="18"/>
                  </a:cxn>
                  <a:cxn ang="0">
                    <a:pos x="112" y="8"/>
                  </a:cxn>
                  <a:cxn ang="0">
                    <a:pos x="104" y="8"/>
                  </a:cxn>
                  <a:cxn ang="0">
                    <a:pos x="98" y="6"/>
                  </a:cxn>
                  <a:cxn ang="0">
                    <a:pos x="94" y="2"/>
                  </a:cxn>
                  <a:cxn ang="0">
                    <a:pos x="92" y="6"/>
                  </a:cxn>
                  <a:cxn ang="0">
                    <a:pos x="84" y="6"/>
                  </a:cxn>
                  <a:cxn ang="0">
                    <a:pos x="78" y="12"/>
                  </a:cxn>
                  <a:cxn ang="0">
                    <a:pos x="76" y="26"/>
                  </a:cxn>
                  <a:cxn ang="0">
                    <a:pos x="60" y="28"/>
                  </a:cxn>
                  <a:cxn ang="0">
                    <a:pos x="52" y="28"/>
                  </a:cxn>
                  <a:cxn ang="0">
                    <a:pos x="40" y="18"/>
                  </a:cxn>
                  <a:cxn ang="0">
                    <a:pos x="24" y="8"/>
                  </a:cxn>
                  <a:cxn ang="0">
                    <a:pos x="20" y="12"/>
                  </a:cxn>
                  <a:cxn ang="0">
                    <a:pos x="26" y="22"/>
                  </a:cxn>
                  <a:cxn ang="0">
                    <a:pos x="38" y="36"/>
                  </a:cxn>
                  <a:cxn ang="0">
                    <a:pos x="30" y="34"/>
                  </a:cxn>
                  <a:cxn ang="0">
                    <a:pos x="20" y="38"/>
                  </a:cxn>
                  <a:cxn ang="0">
                    <a:pos x="14" y="36"/>
                  </a:cxn>
                  <a:cxn ang="0">
                    <a:pos x="8" y="20"/>
                  </a:cxn>
                  <a:cxn ang="0">
                    <a:pos x="2" y="22"/>
                  </a:cxn>
                  <a:cxn ang="0">
                    <a:pos x="12" y="34"/>
                  </a:cxn>
                </a:cxnLst>
                <a:rect l="0" t="0" r="r" b="b"/>
                <a:pathLst>
                  <a:path w="242" h="144">
                    <a:moveTo>
                      <a:pt x="12" y="36"/>
                    </a:moveTo>
                    <a:lnTo>
                      <a:pt x="12" y="36"/>
                    </a:lnTo>
                    <a:lnTo>
                      <a:pt x="12" y="40"/>
                    </a:lnTo>
                    <a:lnTo>
                      <a:pt x="10" y="42"/>
                    </a:lnTo>
                    <a:lnTo>
                      <a:pt x="10" y="44"/>
                    </a:lnTo>
                    <a:lnTo>
                      <a:pt x="10" y="46"/>
                    </a:lnTo>
                    <a:lnTo>
                      <a:pt x="12" y="46"/>
                    </a:lnTo>
                    <a:lnTo>
                      <a:pt x="12" y="48"/>
                    </a:lnTo>
                    <a:lnTo>
                      <a:pt x="14" y="50"/>
                    </a:lnTo>
                    <a:lnTo>
                      <a:pt x="14" y="52"/>
                    </a:lnTo>
                    <a:lnTo>
                      <a:pt x="16" y="54"/>
                    </a:lnTo>
                    <a:lnTo>
                      <a:pt x="18" y="54"/>
                    </a:lnTo>
                    <a:lnTo>
                      <a:pt x="20" y="52"/>
                    </a:lnTo>
                    <a:lnTo>
                      <a:pt x="22" y="52"/>
                    </a:lnTo>
                    <a:lnTo>
                      <a:pt x="22" y="54"/>
                    </a:lnTo>
                    <a:lnTo>
                      <a:pt x="24" y="56"/>
                    </a:lnTo>
                    <a:lnTo>
                      <a:pt x="24" y="58"/>
                    </a:lnTo>
                    <a:lnTo>
                      <a:pt x="24" y="60"/>
                    </a:lnTo>
                    <a:lnTo>
                      <a:pt x="26" y="60"/>
                    </a:lnTo>
                    <a:lnTo>
                      <a:pt x="28" y="62"/>
                    </a:lnTo>
                    <a:lnTo>
                      <a:pt x="26" y="62"/>
                    </a:lnTo>
                    <a:lnTo>
                      <a:pt x="24" y="62"/>
                    </a:lnTo>
                    <a:lnTo>
                      <a:pt x="22" y="62"/>
                    </a:lnTo>
                    <a:lnTo>
                      <a:pt x="20" y="62"/>
                    </a:lnTo>
                    <a:lnTo>
                      <a:pt x="18" y="64"/>
                    </a:lnTo>
                    <a:lnTo>
                      <a:pt x="20" y="66"/>
                    </a:lnTo>
                    <a:lnTo>
                      <a:pt x="22" y="66"/>
                    </a:lnTo>
                    <a:lnTo>
                      <a:pt x="24" y="66"/>
                    </a:lnTo>
                    <a:lnTo>
                      <a:pt x="26" y="66"/>
                    </a:lnTo>
                    <a:lnTo>
                      <a:pt x="26" y="68"/>
                    </a:lnTo>
                    <a:lnTo>
                      <a:pt x="28" y="68"/>
                    </a:lnTo>
                    <a:lnTo>
                      <a:pt x="30" y="70"/>
                    </a:lnTo>
                    <a:lnTo>
                      <a:pt x="32" y="70"/>
                    </a:lnTo>
                    <a:lnTo>
                      <a:pt x="32" y="72"/>
                    </a:lnTo>
                    <a:lnTo>
                      <a:pt x="34" y="74"/>
                    </a:lnTo>
                    <a:lnTo>
                      <a:pt x="34" y="76"/>
                    </a:lnTo>
                    <a:lnTo>
                      <a:pt x="34" y="78"/>
                    </a:lnTo>
                    <a:lnTo>
                      <a:pt x="34" y="80"/>
                    </a:lnTo>
                    <a:lnTo>
                      <a:pt x="34" y="82"/>
                    </a:lnTo>
                    <a:lnTo>
                      <a:pt x="34" y="84"/>
                    </a:lnTo>
                    <a:lnTo>
                      <a:pt x="36" y="86"/>
                    </a:lnTo>
                    <a:lnTo>
                      <a:pt x="36" y="88"/>
                    </a:lnTo>
                    <a:lnTo>
                      <a:pt x="36" y="92"/>
                    </a:lnTo>
                    <a:lnTo>
                      <a:pt x="36" y="94"/>
                    </a:lnTo>
                    <a:lnTo>
                      <a:pt x="36" y="96"/>
                    </a:lnTo>
                    <a:lnTo>
                      <a:pt x="36" y="100"/>
                    </a:lnTo>
                    <a:lnTo>
                      <a:pt x="38" y="100"/>
                    </a:lnTo>
                    <a:lnTo>
                      <a:pt x="38" y="102"/>
                    </a:lnTo>
                    <a:lnTo>
                      <a:pt x="38" y="104"/>
                    </a:lnTo>
                    <a:lnTo>
                      <a:pt x="40" y="104"/>
                    </a:lnTo>
                    <a:lnTo>
                      <a:pt x="42" y="104"/>
                    </a:lnTo>
                    <a:lnTo>
                      <a:pt x="44" y="104"/>
                    </a:lnTo>
                    <a:lnTo>
                      <a:pt x="46" y="104"/>
                    </a:lnTo>
                    <a:lnTo>
                      <a:pt x="48" y="102"/>
                    </a:lnTo>
                    <a:lnTo>
                      <a:pt x="50" y="100"/>
                    </a:lnTo>
                    <a:lnTo>
                      <a:pt x="50" y="98"/>
                    </a:lnTo>
                    <a:lnTo>
                      <a:pt x="50" y="96"/>
                    </a:lnTo>
                    <a:lnTo>
                      <a:pt x="52" y="96"/>
                    </a:lnTo>
                    <a:lnTo>
                      <a:pt x="54" y="94"/>
                    </a:lnTo>
                    <a:lnTo>
                      <a:pt x="56" y="94"/>
                    </a:lnTo>
                    <a:lnTo>
                      <a:pt x="58" y="92"/>
                    </a:lnTo>
                    <a:lnTo>
                      <a:pt x="60" y="90"/>
                    </a:lnTo>
                    <a:lnTo>
                      <a:pt x="62" y="90"/>
                    </a:lnTo>
                    <a:lnTo>
                      <a:pt x="64" y="88"/>
                    </a:lnTo>
                    <a:lnTo>
                      <a:pt x="68" y="88"/>
                    </a:lnTo>
                    <a:lnTo>
                      <a:pt x="72" y="88"/>
                    </a:lnTo>
                    <a:lnTo>
                      <a:pt x="72" y="90"/>
                    </a:lnTo>
                    <a:lnTo>
                      <a:pt x="74" y="90"/>
                    </a:lnTo>
                    <a:lnTo>
                      <a:pt x="74" y="88"/>
                    </a:lnTo>
                    <a:lnTo>
                      <a:pt x="76" y="86"/>
                    </a:lnTo>
                    <a:lnTo>
                      <a:pt x="78" y="86"/>
                    </a:lnTo>
                    <a:lnTo>
                      <a:pt x="80" y="86"/>
                    </a:lnTo>
                    <a:lnTo>
                      <a:pt x="82" y="86"/>
                    </a:lnTo>
                    <a:lnTo>
                      <a:pt x="84" y="86"/>
                    </a:lnTo>
                    <a:lnTo>
                      <a:pt x="84" y="88"/>
                    </a:lnTo>
                    <a:lnTo>
                      <a:pt x="84" y="86"/>
                    </a:lnTo>
                    <a:lnTo>
                      <a:pt x="86" y="86"/>
                    </a:lnTo>
                    <a:lnTo>
                      <a:pt x="88" y="86"/>
                    </a:lnTo>
                    <a:lnTo>
                      <a:pt x="90" y="86"/>
                    </a:lnTo>
                    <a:lnTo>
                      <a:pt x="90" y="88"/>
                    </a:lnTo>
                    <a:lnTo>
                      <a:pt x="92" y="88"/>
                    </a:lnTo>
                    <a:lnTo>
                      <a:pt x="92" y="90"/>
                    </a:lnTo>
                    <a:lnTo>
                      <a:pt x="92" y="92"/>
                    </a:lnTo>
                    <a:lnTo>
                      <a:pt x="92" y="94"/>
                    </a:lnTo>
                    <a:lnTo>
                      <a:pt x="94" y="94"/>
                    </a:lnTo>
                    <a:lnTo>
                      <a:pt x="96" y="94"/>
                    </a:lnTo>
                    <a:lnTo>
                      <a:pt x="98" y="94"/>
                    </a:lnTo>
                    <a:lnTo>
                      <a:pt x="100" y="94"/>
                    </a:lnTo>
                    <a:lnTo>
                      <a:pt x="102" y="94"/>
                    </a:lnTo>
                    <a:lnTo>
                      <a:pt x="104" y="96"/>
                    </a:lnTo>
                    <a:lnTo>
                      <a:pt x="106" y="96"/>
                    </a:lnTo>
                    <a:lnTo>
                      <a:pt x="106" y="98"/>
                    </a:lnTo>
                    <a:lnTo>
                      <a:pt x="108" y="98"/>
                    </a:lnTo>
                    <a:lnTo>
                      <a:pt x="110" y="98"/>
                    </a:lnTo>
                    <a:lnTo>
                      <a:pt x="112" y="98"/>
                    </a:lnTo>
                    <a:lnTo>
                      <a:pt x="114" y="98"/>
                    </a:lnTo>
                    <a:lnTo>
                      <a:pt x="116" y="98"/>
                    </a:lnTo>
                    <a:lnTo>
                      <a:pt x="118" y="98"/>
                    </a:lnTo>
                    <a:lnTo>
                      <a:pt x="120" y="98"/>
                    </a:lnTo>
                    <a:lnTo>
                      <a:pt x="122" y="98"/>
                    </a:lnTo>
                    <a:lnTo>
                      <a:pt x="124" y="98"/>
                    </a:lnTo>
                    <a:lnTo>
                      <a:pt x="124" y="100"/>
                    </a:lnTo>
                    <a:lnTo>
                      <a:pt x="126" y="100"/>
                    </a:lnTo>
                    <a:lnTo>
                      <a:pt x="126" y="104"/>
                    </a:lnTo>
                    <a:lnTo>
                      <a:pt x="128" y="106"/>
                    </a:lnTo>
                    <a:lnTo>
                      <a:pt x="128" y="108"/>
                    </a:lnTo>
                    <a:lnTo>
                      <a:pt x="130" y="108"/>
                    </a:lnTo>
                    <a:lnTo>
                      <a:pt x="132" y="108"/>
                    </a:lnTo>
                    <a:lnTo>
                      <a:pt x="134" y="108"/>
                    </a:lnTo>
                    <a:lnTo>
                      <a:pt x="136" y="110"/>
                    </a:lnTo>
                    <a:lnTo>
                      <a:pt x="138" y="112"/>
                    </a:lnTo>
                    <a:lnTo>
                      <a:pt x="140" y="114"/>
                    </a:lnTo>
                    <a:lnTo>
                      <a:pt x="142" y="114"/>
                    </a:lnTo>
                    <a:lnTo>
                      <a:pt x="142" y="116"/>
                    </a:lnTo>
                    <a:lnTo>
                      <a:pt x="144" y="116"/>
                    </a:lnTo>
                    <a:lnTo>
                      <a:pt x="148" y="116"/>
                    </a:lnTo>
                    <a:lnTo>
                      <a:pt x="150" y="116"/>
                    </a:lnTo>
                    <a:lnTo>
                      <a:pt x="152" y="116"/>
                    </a:lnTo>
                    <a:lnTo>
                      <a:pt x="154" y="116"/>
                    </a:lnTo>
                    <a:lnTo>
                      <a:pt x="156" y="116"/>
                    </a:lnTo>
                    <a:lnTo>
                      <a:pt x="158" y="116"/>
                    </a:lnTo>
                    <a:lnTo>
                      <a:pt x="158" y="118"/>
                    </a:lnTo>
                    <a:lnTo>
                      <a:pt x="158" y="120"/>
                    </a:lnTo>
                    <a:lnTo>
                      <a:pt x="158" y="122"/>
                    </a:lnTo>
                    <a:lnTo>
                      <a:pt x="158" y="124"/>
                    </a:lnTo>
                    <a:lnTo>
                      <a:pt x="160" y="124"/>
                    </a:lnTo>
                    <a:lnTo>
                      <a:pt x="160" y="126"/>
                    </a:lnTo>
                    <a:lnTo>
                      <a:pt x="160" y="128"/>
                    </a:lnTo>
                    <a:lnTo>
                      <a:pt x="160" y="130"/>
                    </a:lnTo>
                    <a:lnTo>
                      <a:pt x="162" y="132"/>
                    </a:lnTo>
                    <a:lnTo>
                      <a:pt x="162" y="134"/>
                    </a:lnTo>
                    <a:lnTo>
                      <a:pt x="162" y="136"/>
                    </a:lnTo>
                    <a:lnTo>
                      <a:pt x="164" y="136"/>
                    </a:lnTo>
                    <a:lnTo>
                      <a:pt x="164" y="138"/>
                    </a:lnTo>
                    <a:lnTo>
                      <a:pt x="166" y="138"/>
                    </a:lnTo>
                    <a:lnTo>
                      <a:pt x="168" y="140"/>
                    </a:lnTo>
                    <a:lnTo>
                      <a:pt x="170" y="140"/>
                    </a:lnTo>
                    <a:lnTo>
                      <a:pt x="172" y="140"/>
                    </a:lnTo>
                    <a:lnTo>
                      <a:pt x="174" y="140"/>
                    </a:lnTo>
                    <a:lnTo>
                      <a:pt x="176" y="142"/>
                    </a:lnTo>
                    <a:lnTo>
                      <a:pt x="178" y="142"/>
                    </a:lnTo>
                    <a:lnTo>
                      <a:pt x="178" y="144"/>
                    </a:lnTo>
                    <a:lnTo>
                      <a:pt x="180" y="144"/>
                    </a:lnTo>
                    <a:lnTo>
                      <a:pt x="182" y="144"/>
                    </a:lnTo>
                    <a:lnTo>
                      <a:pt x="184" y="144"/>
                    </a:lnTo>
                    <a:lnTo>
                      <a:pt x="186" y="144"/>
                    </a:lnTo>
                    <a:lnTo>
                      <a:pt x="188" y="142"/>
                    </a:lnTo>
                    <a:lnTo>
                      <a:pt x="190" y="142"/>
                    </a:lnTo>
                    <a:lnTo>
                      <a:pt x="190" y="140"/>
                    </a:lnTo>
                    <a:lnTo>
                      <a:pt x="190" y="138"/>
                    </a:lnTo>
                    <a:lnTo>
                      <a:pt x="192" y="136"/>
                    </a:lnTo>
                    <a:lnTo>
                      <a:pt x="192" y="134"/>
                    </a:lnTo>
                    <a:lnTo>
                      <a:pt x="192" y="132"/>
                    </a:lnTo>
                    <a:lnTo>
                      <a:pt x="194" y="132"/>
                    </a:lnTo>
                    <a:lnTo>
                      <a:pt x="196" y="132"/>
                    </a:lnTo>
                    <a:lnTo>
                      <a:pt x="198" y="132"/>
                    </a:lnTo>
                    <a:lnTo>
                      <a:pt x="200" y="130"/>
                    </a:lnTo>
                    <a:lnTo>
                      <a:pt x="204" y="128"/>
                    </a:lnTo>
                    <a:lnTo>
                      <a:pt x="206" y="126"/>
                    </a:lnTo>
                    <a:lnTo>
                      <a:pt x="208" y="124"/>
                    </a:lnTo>
                    <a:lnTo>
                      <a:pt x="210" y="124"/>
                    </a:lnTo>
                    <a:lnTo>
                      <a:pt x="212" y="124"/>
                    </a:lnTo>
                    <a:lnTo>
                      <a:pt x="212" y="122"/>
                    </a:lnTo>
                    <a:lnTo>
                      <a:pt x="212" y="120"/>
                    </a:lnTo>
                    <a:lnTo>
                      <a:pt x="212" y="118"/>
                    </a:lnTo>
                    <a:lnTo>
                      <a:pt x="212" y="116"/>
                    </a:lnTo>
                    <a:lnTo>
                      <a:pt x="212" y="114"/>
                    </a:lnTo>
                    <a:lnTo>
                      <a:pt x="212" y="112"/>
                    </a:lnTo>
                    <a:lnTo>
                      <a:pt x="212" y="108"/>
                    </a:lnTo>
                    <a:lnTo>
                      <a:pt x="214" y="108"/>
                    </a:lnTo>
                    <a:lnTo>
                      <a:pt x="214" y="106"/>
                    </a:lnTo>
                    <a:lnTo>
                      <a:pt x="216" y="106"/>
                    </a:lnTo>
                    <a:lnTo>
                      <a:pt x="218" y="106"/>
                    </a:lnTo>
                    <a:lnTo>
                      <a:pt x="220" y="104"/>
                    </a:lnTo>
                    <a:lnTo>
                      <a:pt x="220" y="106"/>
                    </a:lnTo>
                    <a:lnTo>
                      <a:pt x="222" y="106"/>
                    </a:lnTo>
                    <a:lnTo>
                      <a:pt x="224" y="106"/>
                    </a:lnTo>
                    <a:lnTo>
                      <a:pt x="224" y="104"/>
                    </a:lnTo>
                    <a:lnTo>
                      <a:pt x="224" y="102"/>
                    </a:lnTo>
                    <a:lnTo>
                      <a:pt x="224" y="100"/>
                    </a:lnTo>
                    <a:lnTo>
                      <a:pt x="226" y="100"/>
                    </a:lnTo>
                    <a:lnTo>
                      <a:pt x="228" y="100"/>
                    </a:lnTo>
                    <a:lnTo>
                      <a:pt x="232" y="102"/>
                    </a:lnTo>
                    <a:lnTo>
                      <a:pt x="234" y="104"/>
                    </a:lnTo>
                    <a:lnTo>
                      <a:pt x="236" y="104"/>
                    </a:lnTo>
                    <a:lnTo>
                      <a:pt x="238" y="104"/>
                    </a:lnTo>
                    <a:lnTo>
                      <a:pt x="240" y="104"/>
                    </a:lnTo>
                    <a:lnTo>
                      <a:pt x="242" y="104"/>
                    </a:lnTo>
                    <a:lnTo>
                      <a:pt x="242" y="102"/>
                    </a:lnTo>
                    <a:lnTo>
                      <a:pt x="240" y="102"/>
                    </a:lnTo>
                    <a:lnTo>
                      <a:pt x="240" y="100"/>
                    </a:lnTo>
                    <a:lnTo>
                      <a:pt x="238" y="100"/>
                    </a:lnTo>
                    <a:lnTo>
                      <a:pt x="238" y="98"/>
                    </a:lnTo>
                    <a:lnTo>
                      <a:pt x="238" y="96"/>
                    </a:lnTo>
                    <a:lnTo>
                      <a:pt x="238" y="94"/>
                    </a:lnTo>
                    <a:lnTo>
                      <a:pt x="240" y="94"/>
                    </a:lnTo>
                    <a:lnTo>
                      <a:pt x="238" y="92"/>
                    </a:lnTo>
                    <a:lnTo>
                      <a:pt x="236" y="90"/>
                    </a:lnTo>
                    <a:lnTo>
                      <a:pt x="234" y="90"/>
                    </a:lnTo>
                    <a:lnTo>
                      <a:pt x="232" y="90"/>
                    </a:lnTo>
                    <a:lnTo>
                      <a:pt x="230" y="88"/>
                    </a:lnTo>
                    <a:lnTo>
                      <a:pt x="228" y="86"/>
                    </a:lnTo>
                    <a:lnTo>
                      <a:pt x="226" y="86"/>
                    </a:lnTo>
                    <a:lnTo>
                      <a:pt x="224" y="86"/>
                    </a:lnTo>
                    <a:lnTo>
                      <a:pt x="222" y="86"/>
                    </a:lnTo>
                    <a:lnTo>
                      <a:pt x="222" y="88"/>
                    </a:lnTo>
                    <a:lnTo>
                      <a:pt x="222" y="86"/>
                    </a:lnTo>
                    <a:lnTo>
                      <a:pt x="220" y="86"/>
                    </a:lnTo>
                    <a:lnTo>
                      <a:pt x="218" y="86"/>
                    </a:lnTo>
                    <a:lnTo>
                      <a:pt x="216" y="84"/>
                    </a:lnTo>
                    <a:lnTo>
                      <a:pt x="214" y="82"/>
                    </a:lnTo>
                    <a:lnTo>
                      <a:pt x="212" y="80"/>
                    </a:lnTo>
                    <a:lnTo>
                      <a:pt x="208" y="78"/>
                    </a:lnTo>
                    <a:lnTo>
                      <a:pt x="206" y="76"/>
                    </a:lnTo>
                    <a:lnTo>
                      <a:pt x="204" y="76"/>
                    </a:lnTo>
                    <a:lnTo>
                      <a:pt x="202" y="76"/>
                    </a:lnTo>
                    <a:lnTo>
                      <a:pt x="200" y="74"/>
                    </a:lnTo>
                    <a:lnTo>
                      <a:pt x="200" y="72"/>
                    </a:lnTo>
                    <a:lnTo>
                      <a:pt x="198" y="72"/>
                    </a:lnTo>
                    <a:lnTo>
                      <a:pt x="196" y="72"/>
                    </a:lnTo>
                    <a:lnTo>
                      <a:pt x="194" y="72"/>
                    </a:lnTo>
                    <a:lnTo>
                      <a:pt x="192" y="72"/>
                    </a:lnTo>
                    <a:lnTo>
                      <a:pt x="190" y="70"/>
                    </a:lnTo>
                    <a:lnTo>
                      <a:pt x="188" y="70"/>
                    </a:lnTo>
                    <a:lnTo>
                      <a:pt x="186" y="68"/>
                    </a:lnTo>
                    <a:lnTo>
                      <a:pt x="184" y="68"/>
                    </a:lnTo>
                    <a:lnTo>
                      <a:pt x="184" y="66"/>
                    </a:lnTo>
                    <a:lnTo>
                      <a:pt x="182" y="64"/>
                    </a:lnTo>
                    <a:lnTo>
                      <a:pt x="180" y="62"/>
                    </a:lnTo>
                    <a:lnTo>
                      <a:pt x="178" y="62"/>
                    </a:lnTo>
                    <a:lnTo>
                      <a:pt x="176" y="60"/>
                    </a:lnTo>
                    <a:lnTo>
                      <a:pt x="172" y="60"/>
                    </a:lnTo>
                    <a:lnTo>
                      <a:pt x="170" y="60"/>
                    </a:lnTo>
                    <a:lnTo>
                      <a:pt x="168" y="58"/>
                    </a:lnTo>
                    <a:lnTo>
                      <a:pt x="166" y="56"/>
                    </a:lnTo>
                    <a:lnTo>
                      <a:pt x="166" y="54"/>
                    </a:lnTo>
                    <a:lnTo>
                      <a:pt x="164" y="54"/>
                    </a:lnTo>
                    <a:lnTo>
                      <a:pt x="164" y="52"/>
                    </a:lnTo>
                    <a:lnTo>
                      <a:pt x="162" y="50"/>
                    </a:lnTo>
                    <a:lnTo>
                      <a:pt x="162" y="46"/>
                    </a:lnTo>
                    <a:lnTo>
                      <a:pt x="160" y="46"/>
                    </a:lnTo>
                    <a:lnTo>
                      <a:pt x="158" y="44"/>
                    </a:lnTo>
                    <a:lnTo>
                      <a:pt x="156" y="42"/>
                    </a:lnTo>
                    <a:lnTo>
                      <a:pt x="156" y="40"/>
                    </a:lnTo>
                    <a:lnTo>
                      <a:pt x="154" y="40"/>
                    </a:lnTo>
                    <a:lnTo>
                      <a:pt x="154" y="38"/>
                    </a:lnTo>
                    <a:lnTo>
                      <a:pt x="152" y="36"/>
                    </a:lnTo>
                    <a:lnTo>
                      <a:pt x="152" y="34"/>
                    </a:lnTo>
                    <a:lnTo>
                      <a:pt x="152" y="32"/>
                    </a:lnTo>
                    <a:lnTo>
                      <a:pt x="148" y="32"/>
                    </a:lnTo>
                    <a:lnTo>
                      <a:pt x="146" y="30"/>
                    </a:lnTo>
                    <a:lnTo>
                      <a:pt x="144" y="30"/>
                    </a:lnTo>
                    <a:lnTo>
                      <a:pt x="144" y="28"/>
                    </a:lnTo>
                    <a:lnTo>
                      <a:pt x="144" y="30"/>
                    </a:lnTo>
                    <a:lnTo>
                      <a:pt x="142" y="30"/>
                    </a:lnTo>
                    <a:lnTo>
                      <a:pt x="140" y="30"/>
                    </a:lnTo>
                    <a:lnTo>
                      <a:pt x="138" y="30"/>
                    </a:lnTo>
                    <a:lnTo>
                      <a:pt x="136" y="30"/>
                    </a:lnTo>
                    <a:lnTo>
                      <a:pt x="134" y="30"/>
                    </a:lnTo>
                    <a:lnTo>
                      <a:pt x="132" y="28"/>
                    </a:lnTo>
                    <a:lnTo>
                      <a:pt x="130" y="28"/>
                    </a:lnTo>
                    <a:lnTo>
                      <a:pt x="128" y="28"/>
                    </a:lnTo>
                    <a:lnTo>
                      <a:pt x="126" y="28"/>
                    </a:lnTo>
                    <a:lnTo>
                      <a:pt x="124" y="28"/>
                    </a:lnTo>
                    <a:lnTo>
                      <a:pt x="122" y="28"/>
                    </a:lnTo>
                    <a:lnTo>
                      <a:pt x="120" y="26"/>
                    </a:lnTo>
                    <a:lnTo>
                      <a:pt x="120" y="24"/>
                    </a:lnTo>
                    <a:lnTo>
                      <a:pt x="120" y="22"/>
                    </a:lnTo>
                    <a:lnTo>
                      <a:pt x="120" y="20"/>
                    </a:lnTo>
                    <a:lnTo>
                      <a:pt x="120" y="18"/>
                    </a:lnTo>
                    <a:lnTo>
                      <a:pt x="122" y="18"/>
                    </a:lnTo>
                    <a:lnTo>
                      <a:pt x="120" y="18"/>
                    </a:lnTo>
                    <a:lnTo>
                      <a:pt x="118" y="18"/>
                    </a:lnTo>
                    <a:lnTo>
                      <a:pt x="118" y="16"/>
                    </a:lnTo>
                    <a:lnTo>
                      <a:pt x="118" y="14"/>
                    </a:lnTo>
                    <a:lnTo>
                      <a:pt x="118" y="12"/>
                    </a:lnTo>
                    <a:lnTo>
                      <a:pt x="116" y="10"/>
                    </a:lnTo>
                    <a:lnTo>
                      <a:pt x="112" y="8"/>
                    </a:lnTo>
                    <a:lnTo>
                      <a:pt x="110" y="8"/>
                    </a:lnTo>
                    <a:lnTo>
                      <a:pt x="108" y="8"/>
                    </a:lnTo>
                    <a:lnTo>
                      <a:pt x="108" y="10"/>
                    </a:lnTo>
                    <a:lnTo>
                      <a:pt x="106" y="8"/>
                    </a:lnTo>
                    <a:lnTo>
                      <a:pt x="104" y="8"/>
                    </a:lnTo>
                    <a:lnTo>
                      <a:pt x="104" y="6"/>
                    </a:lnTo>
                    <a:lnTo>
                      <a:pt x="104" y="4"/>
                    </a:lnTo>
                    <a:lnTo>
                      <a:pt x="102" y="4"/>
                    </a:lnTo>
                    <a:lnTo>
                      <a:pt x="100" y="4"/>
                    </a:lnTo>
                    <a:lnTo>
                      <a:pt x="100" y="6"/>
                    </a:lnTo>
                    <a:lnTo>
                      <a:pt x="98" y="6"/>
                    </a:lnTo>
                    <a:lnTo>
                      <a:pt x="96" y="4"/>
                    </a:lnTo>
                    <a:lnTo>
                      <a:pt x="96" y="2"/>
                    </a:lnTo>
                    <a:lnTo>
                      <a:pt x="96" y="0"/>
                    </a:lnTo>
                    <a:lnTo>
                      <a:pt x="94" y="0"/>
                    </a:lnTo>
                    <a:lnTo>
                      <a:pt x="94" y="2"/>
                    </a:lnTo>
                    <a:lnTo>
                      <a:pt x="90" y="2"/>
                    </a:lnTo>
                    <a:lnTo>
                      <a:pt x="88" y="2"/>
                    </a:lnTo>
                    <a:lnTo>
                      <a:pt x="86" y="2"/>
                    </a:lnTo>
                    <a:lnTo>
                      <a:pt x="88" y="4"/>
                    </a:lnTo>
                    <a:lnTo>
                      <a:pt x="90" y="6"/>
                    </a:lnTo>
                    <a:lnTo>
                      <a:pt x="92" y="6"/>
                    </a:lnTo>
                    <a:lnTo>
                      <a:pt x="92" y="8"/>
                    </a:lnTo>
                    <a:lnTo>
                      <a:pt x="94" y="8"/>
                    </a:lnTo>
                    <a:lnTo>
                      <a:pt x="92" y="8"/>
                    </a:lnTo>
                    <a:lnTo>
                      <a:pt x="90" y="6"/>
                    </a:lnTo>
                    <a:lnTo>
                      <a:pt x="86" y="6"/>
                    </a:lnTo>
                    <a:lnTo>
                      <a:pt x="84" y="6"/>
                    </a:lnTo>
                    <a:lnTo>
                      <a:pt x="84" y="8"/>
                    </a:lnTo>
                    <a:lnTo>
                      <a:pt x="84" y="10"/>
                    </a:lnTo>
                    <a:lnTo>
                      <a:pt x="82" y="10"/>
                    </a:lnTo>
                    <a:lnTo>
                      <a:pt x="80" y="12"/>
                    </a:lnTo>
                    <a:lnTo>
                      <a:pt x="78" y="12"/>
                    </a:lnTo>
                    <a:lnTo>
                      <a:pt x="76" y="14"/>
                    </a:lnTo>
                    <a:lnTo>
                      <a:pt x="74" y="14"/>
                    </a:lnTo>
                    <a:lnTo>
                      <a:pt x="72" y="16"/>
                    </a:lnTo>
                    <a:lnTo>
                      <a:pt x="72" y="18"/>
                    </a:lnTo>
                    <a:lnTo>
                      <a:pt x="72" y="20"/>
                    </a:lnTo>
                    <a:lnTo>
                      <a:pt x="72" y="22"/>
                    </a:lnTo>
                    <a:lnTo>
                      <a:pt x="74" y="24"/>
                    </a:lnTo>
                    <a:lnTo>
                      <a:pt x="74" y="26"/>
                    </a:lnTo>
                    <a:lnTo>
                      <a:pt x="76" y="26"/>
                    </a:lnTo>
                    <a:lnTo>
                      <a:pt x="76" y="28"/>
                    </a:lnTo>
                    <a:lnTo>
                      <a:pt x="72" y="28"/>
                    </a:lnTo>
                    <a:lnTo>
                      <a:pt x="70" y="28"/>
                    </a:lnTo>
                    <a:lnTo>
                      <a:pt x="68" y="28"/>
                    </a:lnTo>
                    <a:lnTo>
                      <a:pt x="66" y="28"/>
                    </a:lnTo>
                    <a:lnTo>
                      <a:pt x="64" y="28"/>
                    </a:lnTo>
                    <a:lnTo>
                      <a:pt x="62" y="28"/>
                    </a:lnTo>
                    <a:lnTo>
                      <a:pt x="60" y="28"/>
                    </a:lnTo>
                    <a:lnTo>
                      <a:pt x="60" y="26"/>
                    </a:lnTo>
                    <a:lnTo>
                      <a:pt x="58" y="26"/>
                    </a:lnTo>
                    <a:lnTo>
                      <a:pt x="56" y="26"/>
                    </a:lnTo>
                    <a:lnTo>
                      <a:pt x="54" y="28"/>
                    </a:lnTo>
                    <a:lnTo>
                      <a:pt x="52" y="28"/>
                    </a:lnTo>
                    <a:lnTo>
                      <a:pt x="52" y="30"/>
                    </a:lnTo>
                    <a:lnTo>
                      <a:pt x="50" y="28"/>
                    </a:lnTo>
                    <a:lnTo>
                      <a:pt x="48" y="28"/>
                    </a:lnTo>
                    <a:lnTo>
                      <a:pt x="48" y="26"/>
                    </a:lnTo>
                    <a:lnTo>
                      <a:pt x="46" y="24"/>
                    </a:lnTo>
                    <a:lnTo>
                      <a:pt x="44" y="22"/>
                    </a:lnTo>
                    <a:lnTo>
                      <a:pt x="42" y="20"/>
                    </a:lnTo>
                    <a:lnTo>
                      <a:pt x="42" y="18"/>
                    </a:lnTo>
                    <a:lnTo>
                      <a:pt x="40" y="18"/>
                    </a:lnTo>
                    <a:lnTo>
                      <a:pt x="40" y="16"/>
                    </a:lnTo>
                    <a:lnTo>
                      <a:pt x="38" y="16"/>
                    </a:lnTo>
                    <a:lnTo>
                      <a:pt x="36" y="14"/>
                    </a:lnTo>
                    <a:lnTo>
                      <a:pt x="36" y="12"/>
                    </a:lnTo>
                    <a:lnTo>
                      <a:pt x="34" y="12"/>
                    </a:lnTo>
                    <a:lnTo>
                      <a:pt x="32" y="12"/>
                    </a:lnTo>
                    <a:lnTo>
                      <a:pt x="30" y="10"/>
                    </a:lnTo>
                    <a:lnTo>
                      <a:pt x="28" y="10"/>
                    </a:lnTo>
                    <a:lnTo>
                      <a:pt x="26" y="8"/>
                    </a:lnTo>
                    <a:lnTo>
                      <a:pt x="24" y="8"/>
                    </a:lnTo>
                    <a:lnTo>
                      <a:pt x="22" y="8"/>
                    </a:lnTo>
                    <a:lnTo>
                      <a:pt x="20" y="8"/>
                    </a:lnTo>
                    <a:lnTo>
                      <a:pt x="18" y="8"/>
                    </a:lnTo>
                    <a:lnTo>
                      <a:pt x="18" y="10"/>
                    </a:lnTo>
                    <a:lnTo>
                      <a:pt x="18" y="12"/>
                    </a:lnTo>
                    <a:lnTo>
                      <a:pt x="20" y="12"/>
                    </a:lnTo>
                    <a:lnTo>
                      <a:pt x="22" y="14"/>
                    </a:lnTo>
                    <a:lnTo>
                      <a:pt x="22" y="16"/>
                    </a:lnTo>
                    <a:lnTo>
                      <a:pt x="24" y="16"/>
                    </a:lnTo>
                    <a:lnTo>
                      <a:pt x="24" y="18"/>
                    </a:lnTo>
                    <a:lnTo>
                      <a:pt x="24" y="20"/>
                    </a:lnTo>
                    <a:lnTo>
                      <a:pt x="26" y="20"/>
                    </a:lnTo>
                    <a:lnTo>
                      <a:pt x="26" y="22"/>
                    </a:lnTo>
                    <a:lnTo>
                      <a:pt x="28" y="22"/>
                    </a:lnTo>
                    <a:lnTo>
                      <a:pt x="32" y="24"/>
                    </a:lnTo>
                    <a:lnTo>
                      <a:pt x="34" y="26"/>
                    </a:lnTo>
                    <a:lnTo>
                      <a:pt x="36" y="28"/>
                    </a:lnTo>
                    <a:lnTo>
                      <a:pt x="38" y="28"/>
                    </a:lnTo>
                    <a:lnTo>
                      <a:pt x="40" y="30"/>
                    </a:lnTo>
                    <a:lnTo>
                      <a:pt x="40" y="32"/>
                    </a:lnTo>
                    <a:lnTo>
                      <a:pt x="40" y="34"/>
                    </a:lnTo>
                    <a:lnTo>
                      <a:pt x="38" y="36"/>
                    </a:lnTo>
                    <a:lnTo>
                      <a:pt x="38" y="38"/>
                    </a:lnTo>
                    <a:lnTo>
                      <a:pt x="36" y="36"/>
                    </a:lnTo>
                    <a:lnTo>
                      <a:pt x="34" y="36"/>
                    </a:lnTo>
                    <a:lnTo>
                      <a:pt x="32" y="34"/>
                    </a:lnTo>
                    <a:lnTo>
                      <a:pt x="30" y="34"/>
                    </a:lnTo>
                    <a:lnTo>
                      <a:pt x="30" y="32"/>
                    </a:lnTo>
                    <a:lnTo>
                      <a:pt x="30" y="34"/>
                    </a:lnTo>
                    <a:lnTo>
                      <a:pt x="30" y="36"/>
                    </a:lnTo>
                    <a:lnTo>
                      <a:pt x="28" y="38"/>
                    </a:lnTo>
                    <a:lnTo>
                      <a:pt x="26" y="38"/>
                    </a:lnTo>
                    <a:lnTo>
                      <a:pt x="24" y="38"/>
                    </a:lnTo>
                    <a:lnTo>
                      <a:pt x="22" y="38"/>
                    </a:lnTo>
                    <a:lnTo>
                      <a:pt x="20" y="38"/>
                    </a:lnTo>
                    <a:lnTo>
                      <a:pt x="18" y="36"/>
                    </a:lnTo>
                    <a:lnTo>
                      <a:pt x="18" y="34"/>
                    </a:lnTo>
                    <a:lnTo>
                      <a:pt x="16" y="34"/>
                    </a:lnTo>
                    <a:lnTo>
                      <a:pt x="16" y="36"/>
                    </a:lnTo>
                    <a:lnTo>
                      <a:pt x="14" y="36"/>
                    </a:lnTo>
                    <a:lnTo>
                      <a:pt x="14" y="34"/>
                    </a:lnTo>
                    <a:lnTo>
                      <a:pt x="12" y="34"/>
                    </a:lnTo>
                    <a:lnTo>
                      <a:pt x="12" y="30"/>
                    </a:lnTo>
                    <a:lnTo>
                      <a:pt x="10" y="28"/>
                    </a:lnTo>
                    <a:lnTo>
                      <a:pt x="8" y="26"/>
                    </a:lnTo>
                    <a:lnTo>
                      <a:pt x="8" y="22"/>
                    </a:lnTo>
                    <a:lnTo>
                      <a:pt x="8" y="20"/>
                    </a:lnTo>
                    <a:lnTo>
                      <a:pt x="6" y="20"/>
                    </a:lnTo>
                    <a:lnTo>
                      <a:pt x="4" y="18"/>
                    </a:lnTo>
                    <a:lnTo>
                      <a:pt x="2" y="18"/>
                    </a:lnTo>
                    <a:lnTo>
                      <a:pt x="0" y="20"/>
                    </a:lnTo>
                    <a:lnTo>
                      <a:pt x="2" y="20"/>
                    </a:lnTo>
                    <a:lnTo>
                      <a:pt x="2" y="22"/>
                    </a:lnTo>
                    <a:lnTo>
                      <a:pt x="4" y="24"/>
                    </a:lnTo>
                    <a:lnTo>
                      <a:pt x="6" y="24"/>
                    </a:lnTo>
                    <a:lnTo>
                      <a:pt x="6" y="26"/>
                    </a:lnTo>
                    <a:lnTo>
                      <a:pt x="8" y="28"/>
                    </a:lnTo>
                    <a:lnTo>
                      <a:pt x="10" y="30"/>
                    </a:lnTo>
                    <a:lnTo>
                      <a:pt x="10" y="32"/>
                    </a:lnTo>
                    <a:lnTo>
                      <a:pt x="12" y="34"/>
                    </a:lnTo>
                    <a:lnTo>
                      <a:pt x="12" y="3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8" name="Freeform 197">
                <a:extLst>
                  <a:ext uri="{FF2B5EF4-FFF2-40B4-BE49-F238E27FC236}">
                    <a16:creationId xmlns:a16="http://schemas.microsoft.com/office/drawing/2014/main" id="{98F40D62-95F9-45C0-9900-5AF7603FDB16}"/>
                  </a:ext>
                </a:extLst>
              </p:cNvPr>
              <p:cNvSpPr>
                <a:spLocks noChangeAspect="1"/>
              </p:cNvSpPr>
              <p:nvPr/>
            </p:nvSpPr>
            <p:spPr bwMode="auto">
              <a:xfrm>
                <a:off x="6019232" y="2966797"/>
                <a:ext cx="358470" cy="303450"/>
              </a:xfrm>
              <a:custGeom>
                <a:avLst/>
                <a:gdLst/>
                <a:ahLst/>
                <a:cxnLst>
                  <a:cxn ang="0">
                    <a:pos x="214" y="20"/>
                  </a:cxn>
                  <a:cxn ang="0">
                    <a:pos x="202" y="24"/>
                  </a:cxn>
                  <a:cxn ang="0">
                    <a:pos x="196" y="20"/>
                  </a:cxn>
                  <a:cxn ang="0">
                    <a:pos x="184" y="28"/>
                  </a:cxn>
                  <a:cxn ang="0">
                    <a:pos x="176" y="36"/>
                  </a:cxn>
                  <a:cxn ang="0">
                    <a:pos x="164" y="24"/>
                  </a:cxn>
                  <a:cxn ang="0">
                    <a:pos x="162" y="12"/>
                  </a:cxn>
                  <a:cxn ang="0">
                    <a:pos x="158" y="6"/>
                  </a:cxn>
                  <a:cxn ang="0">
                    <a:pos x="148" y="2"/>
                  </a:cxn>
                  <a:cxn ang="0">
                    <a:pos x="142" y="12"/>
                  </a:cxn>
                  <a:cxn ang="0">
                    <a:pos x="144" y="18"/>
                  </a:cxn>
                  <a:cxn ang="0">
                    <a:pos x="134" y="18"/>
                  </a:cxn>
                  <a:cxn ang="0">
                    <a:pos x="128" y="26"/>
                  </a:cxn>
                  <a:cxn ang="0">
                    <a:pos x="114" y="28"/>
                  </a:cxn>
                  <a:cxn ang="0">
                    <a:pos x="104" y="24"/>
                  </a:cxn>
                  <a:cxn ang="0">
                    <a:pos x="96" y="22"/>
                  </a:cxn>
                  <a:cxn ang="0">
                    <a:pos x="88" y="22"/>
                  </a:cxn>
                  <a:cxn ang="0">
                    <a:pos x="80" y="20"/>
                  </a:cxn>
                  <a:cxn ang="0">
                    <a:pos x="72" y="24"/>
                  </a:cxn>
                  <a:cxn ang="0">
                    <a:pos x="60" y="32"/>
                  </a:cxn>
                  <a:cxn ang="0">
                    <a:pos x="56" y="42"/>
                  </a:cxn>
                  <a:cxn ang="0">
                    <a:pos x="40" y="50"/>
                  </a:cxn>
                  <a:cxn ang="0">
                    <a:pos x="34" y="62"/>
                  </a:cxn>
                  <a:cxn ang="0">
                    <a:pos x="22" y="58"/>
                  </a:cxn>
                  <a:cxn ang="0">
                    <a:pos x="12" y="54"/>
                  </a:cxn>
                  <a:cxn ang="0">
                    <a:pos x="10" y="70"/>
                  </a:cxn>
                  <a:cxn ang="0">
                    <a:pos x="6" y="76"/>
                  </a:cxn>
                  <a:cxn ang="0">
                    <a:pos x="0" y="82"/>
                  </a:cxn>
                  <a:cxn ang="0">
                    <a:pos x="2" y="92"/>
                  </a:cxn>
                  <a:cxn ang="0">
                    <a:pos x="12" y="94"/>
                  </a:cxn>
                  <a:cxn ang="0">
                    <a:pos x="8" y="110"/>
                  </a:cxn>
                  <a:cxn ang="0">
                    <a:pos x="14" y="134"/>
                  </a:cxn>
                  <a:cxn ang="0">
                    <a:pos x="26" y="134"/>
                  </a:cxn>
                  <a:cxn ang="0">
                    <a:pos x="28" y="154"/>
                  </a:cxn>
                  <a:cxn ang="0">
                    <a:pos x="22" y="166"/>
                  </a:cxn>
                  <a:cxn ang="0">
                    <a:pos x="38" y="172"/>
                  </a:cxn>
                  <a:cxn ang="0">
                    <a:pos x="58" y="172"/>
                  </a:cxn>
                  <a:cxn ang="0">
                    <a:pos x="70" y="172"/>
                  </a:cxn>
                  <a:cxn ang="0">
                    <a:pos x="78" y="172"/>
                  </a:cxn>
                  <a:cxn ang="0">
                    <a:pos x="94" y="170"/>
                  </a:cxn>
                  <a:cxn ang="0">
                    <a:pos x="110" y="162"/>
                  </a:cxn>
                  <a:cxn ang="0">
                    <a:pos x="108" y="150"/>
                  </a:cxn>
                  <a:cxn ang="0">
                    <a:pos x="114" y="136"/>
                  </a:cxn>
                  <a:cxn ang="0">
                    <a:pos x="120" y="138"/>
                  </a:cxn>
                  <a:cxn ang="0">
                    <a:pos x="124" y="134"/>
                  </a:cxn>
                  <a:cxn ang="0">
                    <a:pos x="134" y="130"/>
                  </a:cxn>
                  <a:cxn ang="0">
                    <a:pos x="142" y="130"/>
                  </a:cxn>
                  <a:cxn ang="0">
                    <a:pos x="152" y="126"/>
                  </a:cxn>
                  <a:cxn ang="0">
                    <a:pos x="150" y="112"/>
                  </a:cxn>
                  <a:cxn ang="0">
                    <a:pos x="154" y="104"/>
                  </a:cxn>
                  <a:cxn ang="0">
                    <a:pos x="166" y="98"/>
                  </a:cxn>
                  <a:cxn ang="0">
                    <a:pos x="160" y="92"/>
                  </a:cxn>
                  <a:cxn ang="0">
                    <a:pos x="156" y="84"/>
                  </a:cxn>
                  <a:cxn ang="0">
                    <a:pos x="162" y="86"/>
                  </a:cxn>
                  <a:cxn ang="0">
                    <a:pos x="168" y="86"/>
                  </a:cxn>
                  <a:cxn ang="0">
                    <a:pos x="172" y="78"/>
                  </a:cxn>
                  <a:cxn ang="0">
                    <a:pos x="178" y="66"/>
                  </a:cxn>
                  <a:cxn ang="0">
                    <a:pos x="174" y="58"/>
                  </a:cxn>
                  <a:cxn ang="0">
                    <a:pos x="168" y="46"/>
                  </a:cxn>
                  <a:cxn ang="0">
                    <a:pos x="178" y="36"/>
                  </a:cxn>
                  <a:cxn ang="0">
                    <a:pos x="194" y="32"/>
                  </a:cxn>
                  <a:cxn ang="0">
                    <a:pos x="208" y="32"/>
                  </a:cxn>
                </a:cxnLst>
                <a:rect l="0" t="0" r="r" b="b"/>
                <a:pathLst>
                  <a:path w="218" h="174">
                    <a:moveTo>
                      <a:pt x="214" y="26"/>
                    </a:moveTo>
                    <a:lnTo>
                      <a:pt x="214" y="24"/>
                    </a:lnTo>
                    <a:lnTo>
                      <a:pt x="216" y="22"/>
                    </a:lnTo>
                    <a:lnTo>
                      <a:pt x="218" y="22"/>
                    </a:lnTo>
                    <a:lnTo>
                      <a:pt x="216" y="22"/>
                    </a:lnTo>
                    <a:lnTo>
                      <a:pt x="216" y="20"/>
                    </a:lnTo>
                    <a:lnTo>
                      <a:pt x="214" y="20"/>
                    </a:lnTo>
                    <a:lnTo>
                      <a:pt x="212" y="20"/>
                    </a:lnTo>
                    <a:lnTo>
                      <a:pt x="210" y="20"/>
                    </a:lnTo>
                    <a:lnTo>
                      <a:pt x="208" y="22"/>
                    </a:lnTo>
                    <a:lnTo>
                      <a:pt x="206" y="22"/>
                    </a:lnTo>
                    <a:lnTo>
                      <a:pt x="204" y="22"/>
                    </a:lnTo>
                    <a:lnTo>
                      <a:pt x="204" y="24"/>
                    </a:lnTo>
                    <a:lnTo>
                      <a:pt x="202" y="24"/>
                    </a:lnTo>
                    <a:lnTo>
                      <a:pt x="202" y="22"/>
                    </a:lnTo>
                    <a:lnTo>
                      <a:pt x="202" y="20"/>
                    </a:lnTo>
                    <a:lnTo>
                      <a:pt x="200" y="20"/>
                    </a:lnTo>
                    <a:lnTo>
                      <a:pt x="198" y="20"/>
                    </a:lnTo>
                    <a:lnTo>
                      <a:pt x="196" y="20"/>
                    </a:lnTo>
                    <a:lnTo>
                      <a:pt x="194" y="20"/>
                    </a:lnTo>
                    <a:lnTo>
                      <a:pt x="192" y="20"/>
                    </a:lnTo>
                    <a:lnTo>
                      <a:pt x="190" y="22"/>
                    </a:lnTo>
                    <a:lnTo>
                      <a:pt x="188" y="24"/>
                    </a:lnTo>
                    <a:lnTo>
                      <a:pt x="186" y="26"/>
                    </a:lnTo>
                    <a:lnTo>
                      <a:pt x="186" y="28"/>
                    </a:lnTo>
                    <a:lnTo>
                      <a:pt x="184" y="28"/>
                    </a:lnTo>
                    <a:lnTo>
                      <a:pt x="182" y="28"/>
                    </a:lnTo>
                    <a:lnTo>
                      <a:pt x="182" y="30"/>
                    </a:lnTo>
                    <a:lnTo>
                      <a:pt x="180" y="30"/>
                    </a:lnTo>
                    <a:lnTo>
                      <a:pt x="178" y="32"/>
                    </a:lnTo>
                    <a:lnTo>
                      <a:pt x="176" y="34"/>
                    </a:lnTo>
                    <a:lnTo>
                      <a:pt x="176" y="36"/>
                    </a:lnTo>
                    <a:lnTo>
                      <a:pt x="174" y="36"/>
                    </a:lnTo>
                    <a:lnTo>
                      <a:pt x="172" y="36"/>
                    </a:lnTo>
                    <a:lnTo>
                      <a:pt x="172" y="34"/>
                    </a:lnTo>
                    <a:lnTo>
                      <a:pt x="170" y="34"/>
                    </a:lnTo>
                    <a:lnTo>
                      <a:pt x="168" y="32"/>
                    </a:lnTo>
                    <a:lnTo>
                      <a:pt x="168" y="30"/>
                    </a:lnTo>
                    <a:lnTo>
                      <a:pt x="166" y="28"/>
                    </a:lnTo>
                    <a:lnTo>
                      <a:pt x="166" y="26"/>
                    </a:lnTo>
                    <a:lnTo>
                      <a:pt x="164" y="24"/>
                    </a:lnTo>
                    <a:lnTo>
                      <a:pt x="164" y="22"/>
                    </a:lnTo>
                    <a:lnTo>
                      <a:pt x="164" y="20"/>
                    </a:lnTo>
                    <a:lnTo>
                      <a:pt x="164" y="18"/>
                    </a:lnTo>
                    <a:lnTo>
                      <a:pt x="164" y="16"/>
                    </a:lnTo>
                    <a:lnTo>
                      <a:pt x="164" y="14"/>
                    </a:lnTo>
                    <a:lnTo>
                      <a:pt x="164" y="12"/>
                    </a:lnTo>
                    <a:lnTo>
                      <a:pt x="162" y="12"/>
                    </a:lnTo>
                    <a:lnTo>
                      <a:pt x="160" y="12"/>
                    </a:lnTo>
                    <a:lnTo>
                      <a:pt x="158" y="12"/>
                    </a:lnTo>
                    <a:lnTo>
                      <a:pt x="158" y="10"/>
                    </a:lnTo>
                    <a:lnTo>
                      <a:pt x="158" y="6"/>
                    </a:lnTo>
                    <a:lnTo>
                      <a:pt x="158" y="4"/>
                    </a:lnTo>
                    <a:lnTo>
                      <a:pt x="158" y="2"/>
                    </a:lnTo>
                    <a:lnTo>
                      <a:pt x="156" y="2"/>
                    </a:lnTo>
                    <a:lnTo>
                      <a:pt x="154" y="0"/>
                    </a:lnTo>
                    <a:lnTo>
                      <a:pt x="152" y="0"/>
                    </a:lnTo>
                    <a:lnTo>
                      <a:pt x="150" y="0"/>
                    </a:lnTo>
                    <a:lnTo>
                      <a:pt x="148" y="2"/>
                    </a:lnTo>
                    <a:lnTo>
                      <a:pt x="148" y="4"/>
                    </a:lnTo>
                    <a:lnTo>
                      <a:pt x="148" y="6"/>
                    </a:lnTo>
                    <a:lnTo>
                      <a:pt x="148" y="8"/>
                    </a:lnTo>
                    <a:lnTo>
                      <a:pt x="146" y="8"/>
                    </a:lnTo>
                    <a:lnTo>
                      <a:pt x="144" y="10"/>
                    </a:lnTo>
                    <a:lnTo>
                      <a:pt x="142" y="10"/>
                    </a:lnTo>
                    <a:lnTo>
                      <a:pt x="142" y="12"/>
                    </a:lnTo>
                    <a:lnTo>
                      <a:pt x="144" y="12"/>
                    </a:lnTo>
                    <a:lnTo>
                      <a:pt x="144" y="14"/>
                    </a:lnTo>
                    <a:lnTo>
                      <a:pt x="146" y="14"/>
                    </a:lnTo>
                    <a:lnTo>
                      <a:pt x="146" y="16"/>
                    </a:lnTo>
                    <a:lnTo>
                      <a:pt x="144" y="16"/>
                    </a:lnTo>
                    <a:lnTo>
                      <a:pt x="144" y="18"/>
                    </a:lnTo>
                    <a:lnTo>
                      <a:pt x="142" y="18"/>
                    </a:lnTo>
                    <a:lnTo>
                      <a:pt x="142" y="16"/>
                    </a:lnTo>
                    <a:lnTo>
                      <a:pt x="140" y="16"/>
                    </a:lnTo>
                    <a:lnTo>
                      <a:pt x="138" y="16"/>
                    </a:lnTo>
                    <a:lnTo>
                      <a:pt x="136" y="16"/>
                    </a:lnTo>
                    <a:lnTo>
                      <a:pt x="136" y="18"/>
                    </a:lnTo>
                    <a:lnTo>
                      <a:pt x="134" y="18"/>
                    </a:lnTo>
                    <a:lnTo>
                      <a:pt x="132" y="18"/>
                    </a:lnTo>
                    <a:lnTo>
                      <a:pt x="132" y="20"/>
                    </a:lnTo>
                    <a:lnTo>
                      <a:pt x="132" y="24"/>
                    </a:lnTo>
                    <a:lnTo>
                      <a:pt x="132" y="26"/>
                    </a:lnTo>
                    <a:lnTo>
                      <a:pt x="132" y="28"/>
                    </a:lnTo>
                    <a:lnTo>
                      <a:pt x="130" y="28"/>
                    </a:lnTo>
                    <a:lnTo>
                      <a:pt x="128" y="26"/>
                    </a:lnTo>
                    <a:lnTo>
                      <a:pt x="126" y="24"/>
                    </a:lnTo>
                    <a:lnTo>
                      <a:pt x="124" y="22"/>
                    </a:lnTo>
                    <a:lnTo>
                      <a:pt x="122" y="24"/>
                    </a:lnTo>
                    <a:lnTo>
                      <a:pt x="120" y="24"/>
                    </a:lnTo>
                    <a:lnTo>
                      <a:pt x="118" y="26"/>
                    </a:lnTo>
                    <a:lnTo>
                      <a:pt x="116" y="28"/>
                    </a:lnTo>
                    <a:lnTo>
                      <a:pt x="114" y="28"/>
                    </a:lnTo>
                    <a:lnTo>
                      <a:pt x="114" y="30"/>
                    </a:lnTo>
                    <a:lnTo>
                      <a:pt x="112" y="30"/>
                    </a:lnTo>
                    <a:lnTo>
                      <a:pt x="110" y="28"/>
                    </a:lnTo>
                    <a:lnTo>
                      <a:pt x="108" y="26"/>
                    </a:lnTo>
                    <a:lnTo>
                      <a:pt x="106" y="24"/>
                    </a:lnTo>
                    <a:lnTo>
                      <a:pt x="104" y="24"/>
                    </a:lnTo>
                    <a:lnTo>
                      <a:pt x="102" y="24"/>
                    </a:lnTo>
                    <a:lnTo>
                      <a:pt x="100" y="24"/>
                    </a:lnTo>
                    <a:lnTo>
                      <a:pt x="98" y="24"/>
                    </a:lnTo>
                    <a:lnTo>
                      <a:pt x="98" y="26"/>
                    </a:lnTo>
                    <a:lnTo>
                      <a:pt x="98" y="24"/>
                    </a:lnTo>
                    <a:lnTo>
                      <a:pt x="96" y="22"/>
                    </a:lnTo>
                    <a:lnTo>
                      <a:pt x="96" y="20"/>
                    </a:lnTo>
                    <a:lnTo>
                      <a:pt x="94" y="20"/>
                    </a:lnTo>
                    <a:lnTo>
                      <a:pt x="94" y="22"/>
                    </a:lnTo>
                    <a:lnTo>
                      <a:pt x="92" y="22"/>
                    </a:lnTo>
                    <a:lnTo>
                      <a:pt x="90" y="22"/>
                    </a:lnTo>
                    <a:lnTo>
                      <a:pt x="88" y="22"/>
                    </a:lnTo>
                    <a:lnTo>
                      <a:pt x="86" y="22"/>
                    </a:lnTo>
                    <a:lnTo>
                      <a:pt x="84" y="22"/>
                    </a:lnTo>
                    <a:lnTo>
                      <a:pt x="82" y="22"/>
                    </a:lnTo>
                    <a:lnTo>
                      <a:pt x="80" y="20"/>
                    </a:lnTo>
                    <a:lnTo>
                      <a:pt x="76" y="18"/>
                    </a:lnTo>
                    <a:lnTo>
                      <a:pt x="74" y="18"/>
                    </a:lnTo>
                    <a:lnTo>
                      <a:pt x="72" y="18"/>
                    </a:lnTo>
                    <a:lnTo>
                      <a:pt x="72" y="20"/>
                    </a:lnTo>
                    <a:lnTo>
                      <a:pt x="72" y="22"/>
                    </a:lnTo>
                    <a:lnTo>
                      <a:pt x="72" y="24"/>
                    </a:lnTo>
                    <a:lnTo>
                      <a:pt x="70" y="24"/>
                    </a:lnTo>
                    <a:lnTo>
                      <a:pt x="68" y="24"/>
                    </a:lnTo>
                    <a:lnTo>
                      <a:pt x="66" y="24"/>
                    </a:lnTo>
                    <a:lnTo>
                      <a:pt x="64" y="24"/>
                    </a:lnTo>
                    <a:lnTo>
                      <a:pt x="62" y="24"/>
                    </a:lnTo>
                    <a:lnTo>
                      <a:pt x="62" y="26"/>
                    </a:lnTo>
                    <a:lnTo>
                      <a:pt x="60" y="28"/>
                    </a:lnTo>
                    <a:lnTo>
                      <a:pt x="60" y="30"/>
                    </a:lnTo>
                    <a:lnTo>
                      <a:pt x="60" y="32"/>
                    </a:lnTo>
                    <a:lnTo>
                      <a:pt x="60" y="34"/>
                    </a:lnTo>
                    <a:lnTo>
                      <a:pt x="60" y="36"/>
                    </a:lnTo>
                    <a:lnTo>
                      <a:pt x="60" y="38"/>
                    </a:lnTo>
                    <a:lnTo>
                      <a:pt x="60" y="40"/>
                    </a:lnTo>
                    <a:lnTo>
                      <a:pt x="60" y="42"/>
                    </a:lnTo>
                    <a:lnTo>
                      <a:pt x="58" y="42"/>
                    </a:lnTo>
                    <a:lnTo>
                      <a:pt x="56" y="42"/>
                    </a:lnTo>
                    <a:lnTo>
                      <a:pt x="54" y="44"/>
                    </a:lnTo>
                    <a:lnTo>
                      <a:pt x="52" y="46"/>
                    </a:lnTo>
                    <a:lnTo>
                      <a:pt x="48" y="48"/>
                    </a:lnTo>
                    <a:lnTo>
                      <a:pt x="46" y="50"/>
                    </a:lnTo>
                    <a:lnTo>
                      <a:pt x="44" y="50"/>
                    </a:lnTo>
                    <a:lnTo>
                      <a:pt x="42" y="50"/>
                    </a:lnTo>
                    <a:lnTo>
                      <a:pt x="40" y="50"/>
                    </a:lnTo>
                    <a:lnTo>
                      <a:pt x="40" y="52"/>
                    </a:lnTo>
                    <a:lnTo>
                      <a:pt x="40" y="54"/>
                    </a:lnTo>
                    <a:lnTo>
                      <a:pt x="38" y="56"/>
                    </a:lnTo>
                    <a:lnTo>
                      <a:pt x="38" y="60"/>
                    </a:lnTo>
                    <a:lnTo>
                      <a:pt x="36" y="60"/>
                    </a:lnTo>
                    <a:lnTo>
                      <a:pt x="34" y="62"/>
                    </a:lnTo>
                    <a:lnTo>
                      <a:pt x="32" y="62"/>
                    </a:lnTo>
                    <a:lnTo>
                      <a:pt x="30" y="62"/>
                    </a:lnTo>
                    <a:lnTo>
                      <a:pt x="28" y="62"/>
                    </a:lnTo>
                    <a:lnTo>
                      <a:pt x="26" y="60"/>
                    </a:lnTo>
                    <a:lnTo>
                      <a:pt x="24" y="60"/>
                    </a:lnTo>
                    <a:lnTo>
                      <a:pt x="22" y="58"/>
                    </a:lnTo>
                    <a:lnTo>
                      <a:pt x="20" y="58"/>
                    </a:lnTo>
                    <a:lnTo>
                      <a:pt x="18" y="58"/>
                    </a:lnTo>
                    <a:lnTo>
                      <a:pt x="16" y="58"/>
                    </a:lnTo>
                    <a:lnTo>
                      <a:pt x="14" y="58"/>
                    </a:lnTo>
                    <a:lnTo>
                      <a:pt x="14" y="56"/>
                    </a:lnTo>
                    <a:lnTo>
                      <a:pt x="12" y="56"/>
                    </a:lnTo>
                    <a:lnTo>
                      <a:pt x="12" y="54"/>
                    </a:lnTo>
                    <a:lnTo>
                      <a:pt x="10" y="54"/>
                    </a:lnTo>
                    <a:lnTo>
                      <a:pt x="10" y="56"/>
                    </a:lnTo>
                    <a:lnTo>
                      <a:pt x="8" y="58"/>
                    </a:lnTo>
                    <a:lnTo>
                      <a:pt x="8" y="60"/>
                    </a:lnTo>
                    <a:lnTo>
                      <a:pt x="8" y="62"/>
                    </a:lnTo>
                    <a:lnTo>
                      <a:pt x="8" y="64"/>
                    </a:lnTo>
                    <a:lnTo>
                      <a:pt x="10" y="66"/>
                    </a:lnTo>
                    <a:lnTo>
                      <a:pt x="10" y="68"/>
                    </a:lnTo>
                    <a:lnTo>
                      <a:pt x="10" y="70"/>
                    </a:lnTo>
                    <a:lnTo>
                      <a:pt x="10" y="72"/>
                    </a:lnTo>
                    <a:lnTo>
                      <a:pt x="8" y="74"/>
                    </a:lnTo>
                    <a:lnTo>
                      <a:pt x="6" y="74"/>
                    </a:lnTo>
                    <a:lnTo>
                      <a:pt x="6" y="76"/>
                    </a:lnTo>
                    <a:lnTo>
                      <a:pt x="6" y="78"/>
                    </a:lnTo>
                    <a:lnTo>
                      <a:pt x="8" y="78"/>
                    </a:lnTo>
                    <a:lnTo>
                      <a:pt x="6" y="78"/>
                    </a:lnTo>
                    <a:lnTo>
                      <a:pt x="4" y="80"/>
                    </a:lnTo>
                    <a:lnTo>
                      <a:pt x="2" y="80"/>
                    </a:lnTo>
                    <a:lnTo>
                      <a:pt x="2" y="82"/>
                    </a:lnTo>
                    <a:lnTo>
                      <a:pt x="0" y="82"/>
                    </a:lnTo>
                    <a:lnTo>
                      <a:pt x="0" y="84"/>
                    </a:lnTo>
                    <a:lnTo>
                      <a:pt x="2" y="84"/>
                    </a:lnTo>
                    <a:lnTo>
                      <a:pt x="4" y="86"/>
                    </a:lnTo>
                    <a:lnTo>
                      <a:pt x="4" y="88"/>
                    </a:lnTo>
                    <a:lnTo>
                      <a:pt x="4" y="90"/>
                    </a:lnTo>
                    <a:lnTo>
                      <a:pt x="4" y="92"/>
                    </a:lnTo>
                    <a:lnTo>
                      <a:pt x="2" y="92"/>
                    </a:lnTo>
                    <a:lnTo>
                      <a:pt x="2" y="94"/>
                    </a:lnTo>
                    <a:lnTo>
                      <a:pt x="4" y="94"/>
                    </a:lnTo>
                    <a:lnTo>
                      <a:pt x="6" y="92"/>
                    </a:lnTo>
                    <a:lnTo>
                      <a:pt x="8" y="92"/>
                    </a:lnTo>
                    <a:lnTo>
                      <a:pt x="10" y="94"/>
                    </a:lnTo>
                    <a:lnTo>
                      <a:pt x="12" y="94"/>
                    </a:lnTo>
                    <a:lnTo>
                      <a:pt x="12" y="96"/>
                    </a:lnTo>
                    <a:lnTo>
                      <a:pt x="10" y="96"/>
                    </a:lnTo>
                    <a:lnTo>
                      <a:pt x="10" y="98"/>
                    </a:lnTo>
                    <a:lnTo>
                      <a:pt x="8" y="98"/>
                    </a:lnTo>
                    <a:lnTo>
                      <a:pt x="6" y="100"/>
                    </a:lnTo>
                    <a:lnTo>
                      <a:pt x="6" y="102"/>
                    </a:lnTo>
                    <a:lnTo>
                      <a:pt x="6" y="104"/>
                    </a:lnTo>
                    <a:lnTo>
                      <a:pt x="6" y="106"/>
                    </a:lnTo>
                    <a:lnTo>
                      <a:pt x="6" y="108"/>
                    </a:lnTo>
                    <a:lnTo>
                      <a:pt x="8" y="110"/>
                    </a:lnTo>
                    <a:lnTo>
                      <a:pt x="10" y="112"/>
                    </a:lnTo>
                    <a:lnTo>
                      <a:pt x="12" y="114"/>
                    </a:lnTo>
                    <a:lnTo>
                      <a:pt x="12" y="118"/>
                    </a:lnTo>
                    <a:lnTo>
                      <a:pt x="14" y="120"/>
                    </a:lnTo>
                    <a:lnTo>
                      <a:pt x="14" y="122"/>
                    </a:lnTo>
                    <a:lnTo>
                      <a:pt x="14" y="124"/>
                    </a:lnTo>
                    <a:lnTo>
                      <a:pt x="14" y="128"/>
                    </a:lnTo>
                    <a:lnTo>
                      <a:pt x="14" y="130"/>
                    </a:lnTo>
                    <a:lnTo>
                      <a:pt x="14" y="132"/>
                    </a:lnTo>
                    <a:lnTo>
                      <a:pt x="14" y="134"/>
                    </a:lnTo>
                    <a:lnTo>
                      <a:pt x="16" y="134"/>
                    </a:lnTo>
                    <a:lnTo>
                      <a:pt x="18" y="134"/>
                    </a:lnTo>
                    <a:lnTo>
                      <a:pt x="20" y="134"/>
                    </a:lnTo>
                    <a:lnTo>
                      <a:pt x="22" y="134"/>
                    </a:lnTo>
                    <a:lnTo>
                      <a:pt x="24" y="136"/>
                    </a:lnTo>
                    <a:lnTo>
                      <a:pt x="26" y="136"/>
                    </a:lnTo>
                    <a:lnTo>
                      <a:pt x="26" y="134"/>
                    </a:lnTo>
                    <a:lnTo>
                      <a:pt x="28" y="136"/>
                    </a:lnTo>
                    <a:lnTo>
                      <a:pt x="30" y="136"/>
                    </a:lnTo>
                    <a:lnTo>
                      <a:pt x="32" y="138"/>
                    </a:lnTo>
                    <a:lnTo>
                      <a:pt x="32" y="140"/>
                    </a:lnTo>
                    <a:lnTo>
                      <a:pt x="34" y="142"/>
                    </a:lnTo>
                    <a:lnTo>
                      <a:pt x="34" y="144"/>
                    </a:lnTo>
                    <a:lnTo>
                      <a:pt x="32" y="146"/>
                    </a:lnTo>
                    <a:lnTo>
                      <a:pt x="32" y="148"/>
                    </a:lnTo>
                    <a:lnTo>
                      <a:pt x="30" y="152"/>
                    </a:lnTo>
                    <a:lnTo>
                      <a:pt x="28" y="154"/>
                    </a:lnTo>
                    <a:lnTo>
                      <a:pt x="26" y="156"/>
                    </a:lnTo>
                    <a:lnTo>
                      <a:pt x="22" y="160"/>
                    </a:lnTo>
                    <a:lnTo>
                      <a:pt x="20" y="162"/>
                    </a:lnTo>
                    <a:lnTo>
                      <a:pt x="20" y="164"/>
                    </a:lnTo>
                    <a:lnTo>
                      <a:pt x="20" y="166"/>
                    </a:lnTo>
                    <a:lnTo>
                      <a:pt x="22" y="166"/>
                    </a:lnTo>
                    <a:lnTo>
                      <a:pt x="24" y="166"/>
                    </a:lnTo>
                    <a:lnTo>
                      <a:pt x="26" y="166"/>
                    </a:lnTo>
                    <a:lnTo>
                      <a:pt x="28" y="166"/>
                    </a:lnTo>
                    <a:lnTo>
                      <a:pt x="30" y="166"/>
                    </a:lnTo>
                    <a:lnTo>
                      <a:pt x="30" y="168"/>
                    </a:lnTo>
                    <a:lnTo>
                      <a:pt x="34" y="168"/>
                    </a:lnTo>
                    <a:lnTo>
                      <a:pt x="36" y="170"/>
                    </a:lnTo>
                    <a:lnTo>
                      <a:pt x="38" y="172"/>
                    </a:lnTo>
                    <a:lnTo>
                      <a:pt x="40" y="172"/>
                    </a:lnTo>
                    <a:lnTo>
                      <a:pt x="44" y="174"/>
                    </a:lnTo>
                    <a:lnTo>
                      <a:pt x="48" y="174"/>
                    </a:lnTo>
                    <a:lnTo>
                      <a:pt x="50" y="174"/>
                    </a:lnTo>
                    <a:lnTo>
                      <a:pt x="54" y="174"/>
                    </a:lnTo>
                    <a:lnTo>
                      <a:pt x="56" y="174"/>
                    </a:lnTo>
                    <a:lnTo>
                      <a:pt x="58" y="172"/>
                    </a:lnTo>
                    <a:lnTo>
                      <a:pt x="60" y="172"/>
                    </a:lnTo>
                    <a:lnTo>
                      <a:pt x="62" y="172"/>
                    </a:lnTo>
                    <a:lnTo>
                      <a:pt x="64" y="172"/>
                    </a:lnTo>
                    <a:lnTo>
                      <a:pt x="66" y="172"/>
                    </a:lnTo>
                    <a:lnTo>
                      <a:pt x="68" y="172"/>
                    </a:lnTo>
                    <a:lnTo>
                      <a:pt x="70" y="172"/>
                    </a:lnTo>
                    <a:lnTo>
                      <a:pt x="70" y="174"/>
                    </a:lnTo>
                    <a:lnTo>
                      <a:pt x="72" y="174"/>
                    </a:lnTo>
                    <a:lnTo>
                      <a:pt x="74" y="174"/>
                    </a:lnTo>
                    <a:lnTo>
                      <a:pt x="76" y="174"/>
                    </a:lnTo>
                    <a:lnTo>
                      <a:pt x="76" y="172"/>
                    </a:lnTo>
                    <a:lnTo>
                      <a:pt x="78" y="172"/>
                    </a:lnTo>
                    <a:lnTo>
                      <a:pt x="80" y="172"/>
                    </a:lnTo>
                    <a:lnTo>
                      <a:pt x="84" y="172"/>
                    </a:lnTo>
                    <a:lnTo>
                      <a:pt x="86" y="170"/>
                    </a:lnTo>
                    <a:lnTo>
                      <a:pt x="88" y="170"/>
                    </a:lnTo>
                    <a:lnTo>
                      <a:pt x="90" y="170"/>
                    </a:lnTo>
                    <a:lnTo>
                      <a:pt x="92" y="170"/>
                    </a:lnTo>
                    <a:lnTo>
                      <a:pt x="94" y="170"/>
                    </a:lnTo>
                    <a:lnTo>
                      <a:pt x="96" y="170"/>
                    </a:lnTo>
                    <a:lnTo>
                      <a:pt x="100" y="168"/>
                    </a:lnTo>
                    <a:lnTo>
                      <a:pt x="102" y="168"/>
                    </a:lnTo>
                    <a:lnTo>
                      <a:pt x="106" y="166"/>
                    </a:lnTo>
                    <a:lnTo>
                      <a:pt x="108" y="164"/>
                    </a:lnTo>
                    <a:lnTo>
                      <a:pt x="110" y="164"/>
                    </a:lnTo>
                    <a:lnTo>
                      <a:pt x="110" y="162"/>
                    </a:lnTo>
                    <a:lnTo>
                      <a:pt x="110" y="160"/>
                    </a:lnTo>
                    <a:lnTo>
                      <a:pt x="110" y="158"/>
                    </a:lnTo>
                    <a:lnTo>
                      <a:pt x="110" y="156"/>
                    </a:lnTo>
                    <a:lnTo>
                      <a:pt x="110" y="154"/>
                    </a:lnTo>
                    <a:lnTo>
                      <a:pt x="108" y="154"/>
                    </a:lnTo>
                    <a:lnTo>
                      <a:pt x="108" y="152"/>
                    </a:lnTo>
                    <a:lnTo>
                      <a:pt x="108" y="150"/>
                    </a:lnTo>
                    <a:lnTo>
                      <a:pt x="108" y="148"/>
                    </a:lnTo>
                    <a:lnTo>
                      <a:pt x="106" y="146"/>
                    </a:lnTo>
                    <a:lnTo>
                      <a:pt x="106" y="144"/>
                    </a:lnTo>
                    <a:lnTo>
                      <a:pt x="108" y="144"/>
                    </a:lnTo>
                    <a:lnTo>
                      <a:pt x="108" y="142"/>
                    </a:lnTo>
                    <a:lnTo>
                      <a:pt x="108" y="140"/>
                    </a:lnTo>
                    <a:lnTo>
                      <a:pt x="110" y="140"/>
                    </a:lnTo>
                    <a:lnTo>
                      <a:pt x="110" y="138"/>
                    </a:lnTo>
                    <a:lnTo>
                      <a:pt x="112" y="138"/>
                    </a:lnTo>
                    <a:lnTo>
                      <a:pt x="112" y="136"/>
                    </a:lnTo>
                    <a:lnTo>
                      <a:pt x="114" y="136"/>
                    </a:lnTo>
                    <a:lnTo>
                      <a:pt x="116" y="136"/>
                    </a:lnTo>
                    <a:lnTo>
                      <a:pt x="118" y="136"/>
                    </a:lnTo>
                    <a:lnTo>
                      <a:pt x="118" y="138"/>
                    </a:lnTo>
                    <a:lnTo>
                      <a:pt x="116" y="138"/>
                    </a:lnTo>
                    <a:lnTo>
                      <a:pt x="118" y="138"/>
                    </a:lnTo>
                    <a:lnTo>
                      <a:pt x="120" y="138"/>
                    </a:lnTo>
                    <a:lnTo>
                      <a:pt x="122" y="138"/>
                    </a:lnTo>
                    <a:lnTo>
                      <a:pt x="124" y="138"/>
                    </a:lnTo>
                    <a:lnTo>
                      <a:pt x="126" y="138"/>
                    </a:lnTo>
                    <a:lnTo>
                      <a:pt x="128" y="138"/>
                    </a:lnTo>
                    <a:lnTo>
                      <a:pt x="128" y="136"/>
                    </a:lnTo>
                    <a:lnTo>
                      <a:pt x="126" y="136"/>
                    </a:lnTo>
                    <a:lnTo>
                      <a:pt x="126" y="134"/>
                    </a:lnTo>
                    <a:lnTo>
                      <a:pt x="124" y="134"/>
                    </a:lnTo>
                    <a:lnTo>
                      <a:pt x="126" y="132"/>
                    </a:lnTo>
                    <a:lnTo>
                      <a:pt x="128" y="130"/>
                    </a:lnTo>
                    <a:lnTo>
                      <a:pt x="130" y="130"/>
                    </a:lnTo>
                    <a:lnTo>
                      <a:pt x="132" y="130"/>
                    </a:lnTo>
                    <a:lnTo>
                      <a:pt x="134" y="130"/>
                    </a:lnTo>
                    <a:lnTo>
                      <a:pt x="134" y="128"/>
                    </a:lnTo>
                    <a:lnTo>
                      <a:pt x="136" y="128"/>
                    </a:lnTo>
                    <a:lnTo>
                      <a:pt x="138" y="128"/>
                    </a:lnTo>
                    <a:lnTo>
                      <a:pt x="140" y="128"/>
                    </a:lnTo>
                    <a:lnTo>
                      <a:pt x="142" y="128"/>
                    </a:lnTo>
                    <a:lnTo>
                      <a:pt x="142" y="130"/>
                    </a:lnTo>
                    <a:lnTo>
                      <a:pt x="144" y="130"/>
                    </a:lnTo>
                    <a:lnTo>
                      <a:pt x="144" y="132"/>
                    </a:lnTo>
                    <a:lnTo>
                      <a:pt x="146" y="132"/>
                    </a:lnTo>
                    <a:lnTo>
                      <a:pt x="148" y="130"/>
                    </a:lnTo>
                    <a:lnTo>
                      <a:pt x="150" y="130"/>
                    </a:lnTo>
                    <a:lnTo>
                      <a:pt x="152" y="128"/>
                    </a:lnTo>
                    <a:lnTo>
                      <a:pt x="152" y="126"/>
                    </a:lnTo>
                    <a:lnTo>
                      <a:pt x="152" y="124"/>
                    </a:lnTo>
                    <a:lnTo>
                      <a:pt x="150" y="122"/>
                    </a:lnTo>
                    <a:lnTo>
                      <a:pt x="150" y="118"/>
                    </a:lnTo>
                    <a:lnTo>
                      <a:pt x="150" y="116"/>
                    </a:lnTo>
                    <a:lnTo>
                      <a:pt x="150" y="114"/>
                    </a:lnTo>
                    <a:lnTo>
                      <a:pt x="150" y="112"/>
                    </a:lnTo>
                    <a:lnTo>
                      <a:pt x="152" y="112"/>
                    </a:lnTo>
                    <a:lnTo>
                      <a:pt x="152" y="110"/>
                    </a:lnTo>
                    <a:lnTo>
                      <a:pt x="152" y="108"/>
                    </a:lnTo>
                    <a:lnTo>
                      <a:pt x="152" y="106"/>
                    </a:lnTo>
                    <a:lnTo>
                      <a:pt x="152" y="104"/>
                    </a:lnTo>
                    <a:lnTo>
                      <a:pt x="154" y="104"/>
                    </a:lnTo>
                    <a:lnTo>
                      <a:pt x="154" y="102"/>
                    </a:lnTo>
                    <a:lnTo>
                      <a:pt x="156" y="102"/>
                    </a:lnTo>
                    <a:lnTo>
                      <a:pt x="158" y="102"/>
                    </a:lnTo>
                    <a:lnTo>
                      <a:pt x="160" y="102"/>
                    </a:lnTo>
                    <a:lnTo>
                      <a:pt x="162" y="100"/>
                    </a:lnTo>
                    <a:lnTo>
                      <a:pt x="164" y="98"/>
                    </a:lnTo>
                    <a:lnTo>
                      <a:pt x="166" y="98"/>
                    </a:lnTo>
                    <a:lnTo>
                      <a:pt x="164" y="98"/>
                    </a:lnTo>
                    <a:lnTo>
                      <a:pt x="162" y="96"/>
                    </a:lnTo>
                    <a:lnTo>
                      <a:pt x="160" y="96"/>
                    </a:lnTo>
                    <a:lnTo>
                      <a:pt x="160" y="94"/>
                    </a:lnTo>
                    <a:lnTo>
                      <a:pt x="160" y="92"/>
                    </a:lnTo>
                    <a:lnTo>
                      <a:pt x="158" y="92"/>
                    </a:lnTo>
                    <a:lnTo>
                      <a:pt x="158" y="90"/>
                    </a:lnTo>
                    <a:lnTo>
                      <a:pt x="156" y="90"/>
                    </a:lnTo>
                    <a:lnTo>
                      <a:pt x="156" y="88"/>
                    </a:lnTo>
                    <a:lnTo>
                      <a:pt x="154" y="88"/>
                    </a:lnTo>
                    <a:lnTo>
                      <a:pt x="154" y="86"/>
                    </a:lnTo>
                    <a:lnTo>
                      <a:pt x="156" y="84"/>
                    </a:lnTo>
                    <a:lnTo>
                      <a:pt x="158" y="84"/>
                    </a:lnTo>
                    <a:lnTo>
                      <a:pt x="158" y="86"/>
                    </a:lnTo>
                    <a:lnTo>
                      <a:pt x="160" y="86"/>
                    </a:lnTo>
                    <a:lnTo>
                      <a:pt x="162" y="86"/>
                    </a:lnTo>
                    <a:lnTo>
                      <a:pt x="164" y="86"/>
                    </a:lnTo>
                    <a:lnTo>
                      <a:pt x="164" y="88"/>
                    </a:lnTo>
                    <a:lnTo>
                      <a:pt x="166" y="88"/>
                    </a:lnTo>
                    <a:lnTo>
                      <a:pt x="166" y="86"/>
                    </a:lnTo>
                    <a:lnTo>
                      <a:pt x="168" y="86"/>
                    </a:lnTo>
                    <a:lnTo>
                      <a:pt x="170" y="86"/>
                    </a:lnTo>
                    <a:lnTo>
                      <a:pt x="172" y="84"/>
                    </a:lnTo>
                    <a:lnTo>
                      <a:pt x="172" y="82"/>
                    </a:lnTo>
                    <a:lnTo>
                      <a:pt x="172" y="80"/>
                    </a:lnTo>
                    <a:lnTo>
                      <a:pt x="172" y="78"/>
                    </a:lnTo>
                    <a:lnTo>
                      <a:pt x="170" y="78"/>
                    </a:lnTo>
                    <a:lnTo>
                      <a:pt x="170" y="76"/>
                    </a:lnTo>
                    <a:lnTo>
                      <a:pt x="170" y="74"/>
                    </a:lnTo>
                    <a:lnTo>
                      <a:pt x="170" y="72"/>
                    </a:lnTo>
                    <a:lnTo>
                      <a:pt x="172" y="72"/>
                    </a:lnTo>
                    <a:lnTo>
                      <a:pt x="174" y="70"/>
                    </a:lnTo>
                    <a:lnTo>
                      <a:pt x="176" y="68"/>
                    </a:lnTo>
                    <a:lnTo>
                      <a:pt x="178" y="66"/>
                    </a:lnTo>
                    <a:lnTo>
                      <a:pt x="178" y="64"/>
                    </a:lnTo>
                    <a:lnTo>
                      <a:pt x="176" y="62"/>
                    </a:lnTo>
                    <a:lnTo>
                      <a:pt x="174" y="60"/>
                    </a:lnTo>
                    <a:lnTo>
                      <a:pt x="174" y="58"/>
                    </a:lnTo>
                    <a:lnTo>
                      <a:pt x="174" y="56"/>
                    </a:lnTo>
                    <a:lnTo>
                      <a:pt x="174" y="54"/>
                    </a:lnTo>
                    <a:lnTo>
                      <a:pt x="174" y="52"/>
                    </a:lnTo>
                    <a:lnTo>
                      <a:pt x="172" y="52"/>
                    </a:lnTo>
                    <a:lnTo>
                      <a:pt x="170" y="50"/>
                    </a:lnTo>
                    <a:lnTo>
                      <a:pt x="170" y="48"/>
                    </a:lnTo>
                    <a:lnTo>
                      <a:pt x="168" y="48"/>
                    </a:lnTo>
                    <a:lnTo>
                      <a:pt x="168" y="46"/>
                    </a:lnTo>
                    <a:lnTo>
                      <a:pt x="168" y="44"/>
                    </a:lnTo>
                    <a:lnTo>
                      <a:pt x="168" y="42"/>
                    </a:lnTo>
                    <a:lnTo>
                      <a:pt x="170" y="40"/>
                    </a:lnTo>
                    <a:lnTo>
                      <a:pt x="172" y="40"/>
                    </a:lnTo>
                    <a:lnTo>
                      <a:pt x="174" y="38"/>
                    </a:lnTo>
                    <a:lnTo>
                      <a:pt x="176" y="38"/>
                    </a:lnTo>
                    <a:lnTo>
                      <a:pt x="178" y="36"/>
                    </a:lnTo>
                    <a:lnTo>
                      <a:pt x="180" y="36"/>
                    </a:lnTo>
                    <a:lnTo>
                      <a:pt x="182" y="34"/>
                    </a:lnTo>
                    <a:lnTo>
                      <a:pt x="184" y="32"/>
                    </a:lnTo>
                    <a:lnTo>
                      <a:pt x="186" y="32"/>
                    </a:lnTo>
                    <a:lnTo>
                      <a:pt x="188" y="32"/>
                    </a:lnTo>
                    <a:lnTo>
                      <a:pt x="190" y="32"/>
                    </a:lnTo>
                    <a:lnTo>
                      <a:pt x="192" y="32"/>
                    </a:lnTo>
                    <a:lnTo>
                      <a:pt x="194" y="32"/>
                    </a:lnTo>
                    <a:lnTo>
                      <a:pt x="194" y="30"/>
                    </a:lnTo>
                    <a:lnTo>
                      <a:pt x="196" y="30"/>
                    </a:lnTo>
                    <a:lnTo>
                      <a:pt x="198" y="30"/>
                    </a:lnTo>
                    <a:lnTo>
                      <a:pt x="200" y="30"/>
                    </a:lnTo>
                    <a:lnTo>
                      <a:pt x="202" y="30"/>
                    </a:lnTo>
                    <a:lnTo>
                      <a:pt x="204" y="30"/>
                    </a:lnTo>
                    <a:lnTo>
                      <a:pt x="206" y="30"/>
                    </a:lnTo>
                    <a:lnTo>
                      <a:pt x="208" y="32"/>
                    </a:lnTo>
                    <a:lnTo>
                      <a:pt x="210" y="32"/>
                    </a:lnTo>
                    <a:lnTo>
                      <a:pt x="210" y="30"/>
                    </a:lnTo>
                    <a:lnTo>
                      <a:pt x="212" y="30"/>
                    </a:lnTo>
                    <a:lnTo>
                      <a:pt x="214" y="28"/>
                    </a:lnTo>
                    <a:lnTo>
                      <a:pt x="216" y="28"/>
                    </a:lnTo>
                    <a:lnTo>
                      <a:pt x="214" y="2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89" name="Freeform 198">
                <a:extLst>
                  <a:ext uri="{FF2B5EF4-FFF2-40B4-BE49-F238E27FC236}">
                    <a16:creationId xmlns:a16="http://schemas.microsoft.com/office/drawing/2014/main" id="{8297CC08-1C16-4638-882D-F9BC58F80C7C}"/>
                  </a:ext>
                </a:extLst>
              </p:cNvPr>
              <p:cNvSpPr>
                <a:spLocks noChangeAspect="1"/>
              </p:cNvSpPr>
              <p:nvPr/>
            </p:nvSpPr>
            <p:spPr bwMode="auto">
              <a:xfrm>
                <a:off x="6584892" y="2518600"/>
                <a:ext cx="825469" cy="343561"/>
              </a:xfrm>
              <a:custGeom>
                <a:avLst/>
                <a:gdLst/>
                <a:ahLst/>
                <a:cxnLst>
                  <a:cxn ang="0">
                    <a:pos x="478" y="80"/>
                  </a:cxn>
                  <a:cxn ang="0">
                    <a:pos x="462" y="76"/>
                  </a:cxn>
                  <a:cxn ang="0">
                    <a:pos x="452" y="82"/>
                  </a:cxn>
                  <a:cxn ang="0">
                    <a:pos x="432" y="78"/>
                  </a:cxn>
                  <a:cxn ang="0">
                    <a:pos x="422" y="70"/>
                  </a:cxn>
                  <a:cxn ang="0">
                    <a:pos x="420" y="56"/>
                  </a:cxn>
                  <a:cxn ang="0">
                    <a:pos x="416" y="40"/>
                  </a:cxn>
                  <a:cxn ang="0">
                    <a:pos x="394" y="38"/>
                  </a:cxn>
                  <a:cxn ang="0">
                    <a:pos x="368" y="42"/>
                  </a:cxn>
                  <a:cxn ang="0">
                    <a:pos x="356" y="48"/>
                  </a:cxn>
                  <a:cxn ang="0">
                    <a:pos x="340" y="54"/>
                  </a:cxn>
                  <a:cxn ang="0">
                    <a:pos x="324" y="54"/>
                  </a:cxn>
                  <a:cxn ang="0">
                    <a:pos x="302" y="50"/>
                  </a:cxn>
                  <a:cxn ang="0">
                    <a:pos x="292" y="42"/>
                  </a:cxn>
                  <a:cxn ang="0">
                    <a:pos x="270" y="32"/>
                  </a:cxn>
                  <a:cxn ang="0">
                    <a:pos x="244" y="30"/>
                  </a:cxn>
                  <a:cxn ang="0">
                    <a:pos x="214" y="32"/>
                  </a:cxn>
                  <a:cxn ang="0">
                    <a:pos x="200" y="28"/>
                  </a:cxn>
                  <a:cxn ang="0">
                    <a:pos x="176" y="10"/>
                  </a:cxn>
                  <a:cxn ang="0">
                    <a:pos x="144" y="2"/>
                  </a:cxn>
                  <a:cxn ang="0">
                    <a:pos x="134" y="6"/>
                  </a:cxn>
                  <a:cxn ang="0">
                    <a:pos x="130" y="14"/>
                  </a:cxn>
                  <a:cxn ang="0">
                    <a:pos x="140" y="30"/>
                  </a:cxn>
                  <a:cxn ang="0">
                    <a:pos x="138" y="40"/>
                  </a:cxn>
                  <a:cxn ang="0">
                    <a:pos x="120" y="40"/>
                  </a:cxn>
                  <a:cxn ang="0">
                    <a:pos x="108" y="40"/>
                  </a:cxn>
                  <a:cxn ang="0">
                    <a:pos x="100" y="36"/>
                  </a:cxn>
                  <a:cxn ang="0">
                    <a:pos x="82" y="28"/>
                  </a:cxn>
                  <a:cxn ang="0">
                    <a:pos x="62" y="26"/>
                  </a:cxn>
                  <a:cxn ang="0">
                    <a:pos x="52" y="26"/>
                  </a:cxn>
                  <a:cxn ang="0">
                    <a:pos x="36" y="30"/>
                  </a:cxn>
                  <a:cxn ang="0">
                    <a:pos x="28" y="36"/>
                  </a:cxn>
                  <a:cxn ang="0">
                    <a:pos x="16" y="46"/>
                  </a:cxn>
                  <a:cxn ang="0">
                    <a:pos x="4" y="50"/>
                  </a:cxn>
                  <a:cxn ang="0">
                    <a:pos x="2" y="60"/>
                  </a:cxn>
                  <a:cxn ang="0">
                    <a:pos x="14" y="68"/>
                  </a:cxn>
                  <a:cxn ang="0">
                    <a:pos x="30" y="76"/>
                  </a:cxn>
                  <a:cxn ang="0">
                    <a:pos x="44" y="78"/>
                  </a:cxn>
                  <a:cxn ang="0">
                    <a:pos x="68" y="104"/>
                  </a:cxn>
                  <a:cxn ang="0">
                    <a:pos x="68" y="116"/>
                  </a:cxn>
                  <a:cxn ang="0">
                    <a:pos x="110" y="132"/>
                  </a:cxn>
                  <a:cxn ang="0">
                    <a:pos x="128" y="140"/>
                  </a:cxn>
                  <a:cxn ang="0">
                    <a:pos x="152" y="148"/>
                  </a:cxn>
                  <a:cxn ang="0">
                    <a:pos x="166" y="164"/>
                  </a:cxn>
                  <a:cxn ang="0">
                    <a:pos x="190" y="174"/>
                  </a:cxn>
                  <a:cxn ang="0">
                    <a:pos x="208" y="176"/>
                  </a:cxn>
                  <a:cxn ang="0">
                    <a:pos x="228" y="176"/>
                  </a:cxn>
                  <a:cxn ang="0">
                    <a:pos x="246" y="176"/>
                  </a:cxn>
                  <a:cxn ang="0">
                    <a:pos x="280" y="188"/>
                  </a:cxn>
                  <a:cxn ang="0">
                    <a:pos x="310" y="190"/>
                  </a:cxn>
                  <a:cxn ang="0">
                    <a:pos x="328" y="190"/>
                  </a:cxn>
                  <a:cxn ang="0">
                    <a:pos x="378" y="180"/>
                  </a:cxn>
                  <a:cxn ang="0">
                    <a:pos x="394" y="172"/>
                  </a:cxn>
                  <a:cxn ang="0">
                    <a:pos x="408" y="156"/>
                  </a:cxn>
                  <a:cxn ang="0">
                    <a:pos x="396" y="130"/>
                  </a:cxn>
                  <a:cxn ang="0">
                    <a:pos x="414" y="136"/>
                  </a:cxn>
                  <a:cxn ang="0">
                    <a:pos x="434" y="128"/>
                  </a:cxn>
                  <a:cxn ang="0">
                    <a:pos x="454" y="122"/>
                  </a:cxn>
                  <a:cxn ang="0">
                    <a:pos x="460" y="106"/>
                  </a:cxn>
                  <a:cxn ang="0">
                    <a:pos x="472" y="102"/>
                  </a:cxn>
                  <a:cxn ang="0">
                    <a:pos x="486" y="98"/>
                  </a:cxn>
                  <a:cxn ang="0">
                    <a:pos x="502" y="98"/>
                  </a:cxn>
                </a:cxnLst>
                <a:rect l="0" t="0" r="r" b="b"/>
                <a:pathLst>
                  <a:path w="502" h="196">
                    <a:moveTo>
                      <a:pt x="498" y="96"/>
                    </a:moveTo>
                    <a:lnTo>
                      <a:pt x="496" y="94"/>
                    </a:lnTo>
                    <a:lnTo>
                      <a:pt x="494" y="92"/>
                    </a:lnTo>
                    <a:lnTo>
                      <a:pt x="494" y="90"/>
                    </a:lnTo>
                    <a:lnTo>
                      <a:pt x="492" y="90"/>
                    </a:lnTo>
                    <a:lnTo>
                      <a:pt x="490" y="88"/>
                    </a:lnTo>
                    <a:lnTo>
                      <a:pt x="486" y="88"/>
                    </a:lnTo>
                    <a:lnTo>
                      <a:pt x="484" y="86"/>
                    </a:lnTo>
                    <a:lnTo>
                      <a:pt x="482" y="84"/>
                    </a:lnTo>
                    <a:lnTo>
                      <a:pt x="480" y="82"/>
                    </a:lnTo>
                    <a:lnTo>
                      <a:pt x="478" y="80"/>
                    </a:lnTo>
                    <a:lnTo>
                      <a:pt x="476" y="80"/>
                    </a:lnTo>
                    <a:lnTo>
                      <a:pt x="474" y="80"/>
                    </a:lnTo>
                    <a:lnTo>
                      <a:pt x="472" y="80"/>
                    </a:lnTo>
                    <a:lnTo>
                      <a:pt x="472" y="78"/>
                    </a:lnTo>
                    <a:lnTo>
                      <a:pt x="470" y="78"/>
                    </a:lnTo>
                    <a:lnTo>
                      <a:pt x="470" y="76"/>
                    </a:lnTo>
                    <a:lnTo>
                      <a:pt x="468" y="76"/>
                    </a:lnTo>
                    <a:lnTo>
                      <a:pt x="466" y="76"/>
                    </a:lnTo>
                    <a:lnTo>
                      <a:pt x="464" y="76"/>
                    </a:lnTo>
                    <a:lnTo>
                      <a:pt x="462" y="76"/>
                    </a:lnTo>
                    <a:lnTo>
                      <a:pt x="460" y="76"/>
                    </a:lnTo>
                    <a:lnTo>
                      <a:pt x="458" y="76"/>
                    </a:lnTo>
                    <a:lnTo>
                      <a:pt x="456" y="76"/>
                    </a:lnTo>
                    <a:lnTo>
                      <a:pt x="454" y="76"/>
                    </a:lnTo>
                    <a:lnTo>
                      <a:pt x="454" y="78"/>
                    </a:lnTo>
                    <a:lnTo>
                      <a:pt x="454" y="80"/>
                    </a:lnTo>
                    <a:lnTo>
                      <a:pt x="452" y="80"/>
                    </a:lnTo>
                    <a:lnTo>
                      <a:pt x="452" y="82"/>
                    </a:lnTo>
                    <a:lnTo>
                      <a:pt x="450" y="82"/>
                    </a:lnTo>
                    <a:lnTo>
                      <a:pt x="448" y="80"/>
                    </a:lnTo>
                    <a:lnTo>
                      <a:pt x="446" y="80"/>
                    </a:lnTo>
                    <a:lnTo>
                      <a:pt x="446" y="78"/>
                    </a:lnTo>
                    <a:lnTo>
                      <a:pt x="444" y="78"/>
                    </a:lnTo>
                    <a:lnTo>
                      <a:pt x="442" y="78"/>
                    </a:lnTo>
                    <a:lnTo>
                      <a:pt x="440" y="78"/>
                    </a:lnTo>
                    <a:lnTo>
                      <a:pt x="438" y="78"/>
                    </a:lnTo>
                    <a:lnTo>
                      <a:pt x="436" y="78"/>
                    </a:lnTo>
                    <a:lnTo>
                      <a:pt x="434" y="78"/>
                    </a:lnTo>
                    <a:lnTo>
                      <a:pt x="432" y="78"/>
                    </a:lnTo>
                    <a:lnTo>
                      <a:pt x="432" y="80"/>
                    </a:lnTo>
                    <a:lnTo>
                      <a:pt x="432" y="82"/>
                    </a:lnTo>
                    <a:lnTo>
                      <a:pt x="430" y="82"/>
                    </a:lnTo>
                    <a:lnTo>
                      <a:pt x="428" y="82"/>
                    </a:lnTo>
                    <a:lnTo>
                      <a:pt x="428" y="80"/>
                    </a:lnTo>
                    <a:lnTo>
                      <a:pt x="426" y="80"/>
                    </a:lnTo>
                    <a:lnTo>
                      <a:pt x="424" y="78"/>
                    </a:lnTo>
                    <a:lnTo>
                      <a:pt x="424" y="76"/>
                    </a:lnTo>
                    <a:lnTo>
                      <a:pt x="422" y="76"/>
                    </a:lnTo>
                    <a:lnTo>
                      <a:pt x="422" y="74"/>
                    </a:lnTo>
                    <a:lnTo>
                      <a:pt x="422" y="72"/>
                    </a:lnTo>
                    <a:lnTo>
                      <a:pt x="422" y="70"/>
                    </a:lnTo>
                    <a:lnTo>
                      <a:pt x="424" y="70"/>
                    </a:lnTo>
                    <a:lnTo>
                      <a:pt x="422" y="70"/>
                    </a:lnTo>
                    <a:lnTo>
                      <a:pt x="422" y="68"/>
                    </a:lnTo>
                    <a:lnTo>
                      <a:pt x="422" y="66"/>
                    </a:lnTo>
                    <a:lnTo>
                      <a:pt x="422" y="64"/>
                    </a:lnTo>
                    <a:lnTo>
                      <a:pt x="422" y="62"/>
                    </a:lnTo>
                    <a:lnTo>
                      <a:pt x="420" y="60"/>
                    </a:lnTo>
                    <a:lnTo>
                      <a:pt x="420" y="56"/>
                    </a:lnTo>
                    <a:lnTo>
                      <a:pt x="420" y="54"/>
                    </a:lnTo>
                    <a:lnTo>
                      <a:pt x="420" y="52"/>
                    </a:lnTo>
                    <a:lnTo>
                      <a:pt x="420" y="48"/>
                    </a:lnTo>
                    <a:lnTo>
                      <a:pt x="420" y="46"/>
                    </a:lnTo>
                    <a:lnTo>
                      <a:pt x="420" y="44"/>
                    </a:lnTo>
                    <a:lnTo>
                      <a:pt x="420" y="42"/>
                    </a:lnTo>
                    <a:lnTo>
                      <a:pt x="420" y="40"/>
                    </a:lnTo>
                    <a:lnTo>
                      <a:pt x="418" y="40"/>
                    </a:lnTo>
                    <a:lnTo>
                      <a:pt x="416" y="40"/>
                    </a:lnTo>
                    <a:lnTo>
                      <a:pt x="412" y="38"/>
                    </a:lnTo>
                    <a:lnTo>
                      <a:pt x="410" y="38"/>
                    </a:lnTo>
                    <a:lnTo>
                      <a:pt x="408" y="38"/>
                    </a:lnTo>
                    <a:lnTo>
                      <a:pt x="408" y="40"/>
                    </a:lnTo>
                    <a:lnTo>
                      <a:pt x="406" y="40"/>
                    </a:lnTo>
                    <a:lnTo>
                      <a:pt x="404" y="40"/>
                    </a:lnTo>
                    <a:lnTo>
                      <a:pt x="402" y="40"/>
                    </a:lnTo>
                    <a:lnTo>
                      <a:pt x="400" y="40"/>
                    </a:lnTo>
                    <a:lnTo>
                      <a:pt x="398" y="40"/>
                    </a:lnTo>
                    <a:lnTo>
                      <a:pt x="396" y="38"/>
                    </a:lnTo>
                    <a:lnTo>
                      <a:pt x="394" y="38"/>
                    </a:lnTo>
                    <a:lnTo>
                      <a:pt x="394" y="36"/>
                    </a:lnTo>
                    <a:lnTo>
                      <a:pt x="392" y="36"/>
                    </a:lnTo>
                    <a:lnTo>
                      <a:pt x="390" y="36"/>
                    </a:lnTo>
                    <a:lnTo>
                      <a:pt x="390" y="34"/>
                    </a:lnTo>
                    <a:lnTo>
                      <a:pt x="388" y="34"/>
                    </a:lnTo>
                    <a:lnTo>
                      <a:pt x="384" y="34"/>
                    </a:lnTo>
                    <a:lnTo>
                      <a:pt x="382" y="34"/>
                    </a:lnTo>
                    <a:lnTo>
                      <a:pt x="380" y="34"/>
                    </a:lnTo>
                    <a:lnTo>
                      <a:pt x="378" y="34"/>
                    </a:lnTo>
                    <a:lnTo>
                      <a:pt x="374" y="36"/>
                    </a:lnTo>
                    <a:lnTo>
                      <a:pt x="372" y="38"/>
                    </a:lnTo>
                    <a:lnTo>
                      <a:pt x="370" y="40"/>
                    </a:lnTo>
                    <a:lnTo>
                      <a:pt x="368" y="42"/>
                    </a:lnTo>
                    <a:lnTo>
                      <a:pt x="368" y="44"/>
                    </a:lnTo>
                    <a:lnTo>
                      <a:pt x="368" y="46"/>
                    </a:lnTo>
                    <a:lnTo>
                      <a:pt x="366" y="48"/>
                    </a:lnTo>
                    <a:lnTo>
                      <a:pt x="364" y="48"/>
                    </a:lnTo>
                    <a:lnTo>
                      <a:pt x="362" y="48"/>
                    </a:lnTo>
                    <a:lnTo>
                      <a:pt x="360" y="48"/>
                    </a:lnTo>
                    <a:lnTo>
                      <a:pt x="358" y="48"/>
                    </a:lnTo>
                    <a:lnTo>
                      <a:pt x="356" y="48"/>
                    </a:lnTo>
                    <a:lnTo>
                      <a:pt x="356" y="50"/>
                    </a:lnTo>
                    <a:lnTo>
                      <a:pt x="354" y="50"/>
                    </a:lnTo>
                    <a:lnTo>
                      <a:pt x="352" y="50"/>
                    </a:lnTo>
                    <a:lnTo>
                      <a:pt x="348" y="50"/>
                    </a:lnTo>
                    <a:lnTo>
                      <a:pt x="346" y="50"/>
                    </a:lnTo>
                    <a:lnTo>
                      <a:pt x="344" y="50"/>
                    </a:lnTo>
                    <a:lnTo>
                      <a:pt x="342" y="52"/>
                    </a:lnTo>
                    <a:lnTo>
                      <a:pt x="342" y="54"/>
                    </a:lnTo>
                    <a:lnTo>
                      <a:pt x="340" y="54"/>
                    </a:lnTo>
                    <a:lnTo>
                      <a:pt x="338" y="54"/>
                    </a:lnTo>
                    <a:lnTo>
                      <a:pt x="336" y="54"/>
                    </a:lnTo>
                    <a:lnTo>
                      <a:pt x="336" y="52"/>
                    </a:lnTo>
                    <a:lnTo>
                      <a:pt x="334" y="52"/>
                    </a:lnTo>
                    <a:lnTo>
                      <a:pt x="332" y="54"/>
                    </a:lnTo>
                    <a:lnTo>
                      <a:pt x="330" y="54"/>
                    </a:lnTo>
                    <a:lnTo>
                      <a:pt x="328" y="54"/>
                    </a:lnTo>
                    <a:lnTo>
                      <a:pt x="326" y="54"/>
                    </a:lnTo>
                    <a:lnTo>
                      <a:pt x="324" y="54"/>
                    </a:lnTo>
                    <a:lnTo>
                      <a:pt x="322" y="54"/>
                    </a:lnTo>
                    <a:lnTo>
                      <a:pt x="320" y="54"/>
                    </a:lnTo>
                    <a:lnTo>
                      <a:pt x="318" y="52"/>
                    </a:lnTo>
                    <a:lnTo>
                      <a:pt x="316" y="52"/>
                    </a:lnTo>
                    <a:lnTo>
                      <a:pt x="314" y="52"/>
                    </a:lnTo>
                    <a:lnTo>
                      <a:pt x="312" y="52"/>
                    </a:lnTo>
                    <a:lnTo>
                      <a:pt x="310" y="52"/>
                    </a:lnTo>
                    <a:lnTo>
                      <a:pt x="308" y="52"/>
                    </a:lnTo>
                    <a:lnTo>
                      <a:pt x="306" y="52"/>
                    </a:lnTo>
                    <a:lnTo>
                      <a:pt x="304" y="52"/>
                    </a:lnTo>
                    <a:lnTo>
                      <a:pt x="302" y="50"/>
                    </a:lnTo>
                    <a:lnTo>
                      <a:pt x="300" y="50"/>
                    </a:lnTo>
                    <a:lnTo>
                      <a:pt x="300" y="48"/>
                    </a:lnTo>
                    <a:lnTo>
                      <a:pt x="300" y="46"/>
                    </a:lnTo>
                    <a:lnTo>
                      <a:pt x="298" y="46"/>
                    </a:lnTo>
                    <a:lnTo>
                      <a:pt x="296" y="46"/>
                    </a:lnTo>
                    <a:lnTo>
                      <a:pt x="294" y="46"/>
                    </a:lnTo>
                    <a:lnTo>
                      <a:pt x="292" y="44"/>
                    </a:lnTo>
                    <a:lnTo>
                      <a:pt x="292" y="42"/>
                    </a:lnTo>
                    <a:lnTo>
                      <a:pt x="292" y="40"/>
                    </a:lnTo>
                    <a:lnTo>
                      <a:pt x="290" y="40"/>
                    </a:lnTo>
                    <a:lnTo>
                      <a:pt x="288" y="38"/>
                    </a:lnTo>
                    <a:lnTo>
                      <a:pt x="286" y="38"/>
                    </a:lnTo>
                    <a:lnTo>
                      <a:pt x="282" y="38"/>
                    </a:lnTo>
                    <a:lnTo>
                      <a:pt x="280" y="38"/>
                    </a:lnTo>
                    <a:lnTo>
                      <a:pt x="278" y="38"/>
                    </a:lnTo>
                    <a:lnTo>
                      <a:pt x="276" y="38"/>
                    </a:lnTo>
                    <a:lnTo>
                      <a:pt x="274" y="38"/>
                    </a:lnTo>
                    <a:lnTo>
                      <a:pt x="274" y="36"/>
                    </a:lnTo>
                    <a:lnTo>
                      <a:pt x="272" y="36"/>
                    </a:lnTo>
                    <a:lnTo>
                      <a:pt x="270" y="34"/>
                    </a:lnTo>
                    <a:lnTo>
                      <a:pt x="270" y="32"/>
                    </a:lnTo>
                    <a:lnTo>
                      <a:pt x="266" y="32"/>
                    </a:lnTo>
                    <a:lnTo>
                      <a:pt x="264" y="32"/>
                    </a:lnTo>
                    <a:lnTo>
                      <a:pt x="262" y="32"/>
                    </a:lnTo>
                    <a:lnTo>
                      <a:pt x="260" y="32"/>
                    </a:lnTo>
                    <a:lnTo>
                      <a:pt x="258" y="32"/>
                    </a:lnTo>
                    <a:lnTo>
                      <a:pt x="258" y="30"/>
                    </a:lnTo>
                    <a:lnTo>
                      <a:pt x="256" y="30"/>
                    </a:lnTo>
                    <a:lnTo>
                      <a:pt x="252" y="30"/>
                    </a:lnTo>
                    <a:lnTo>
                      <a:pt x="248" y="30"/>
                    </a:lnTo>
                    <a:lnTo>
                      <a:pt x="244" y="30"/>
                    </a:lnTo>
                    <a:lnTo>
                      <a:pt x="242" y="30"/>
                    </a:lnTo>
                    <a:lnTo>
                      <a:pt x="240" y="30"/>
                    </a:lnTo>
                    <a:lnTo>
                      <a:pt x="236" y="32"/>
                    </a:lnTo>
                    <a:lnTo>
                      <a:pt x="234" y="34"/>
                    </a:lnTo>
                    <a:lnTo>
                      <a:pt x="232" y="34"/>
                    </a:lnTo>
                    <a:lnTo>
                      <a:pt x="230" y="36"/>
                    </a:lnTo>
                    <a:lnTo>
                      <a:pt x="228" y="36"/>
                    </a:lnTo>
                    <a:lnTo>
                      <a:pt x="226" y="36"/>
                    </a:lnTo>
                    <a:lnTo>
                      <a:pt x="224" y="36"/>
                    </a:lnTo>
                    <a:lnTo>
                      <a:pt x="220" y="34"/>
                    </a:lnTo>
                    <a:lnTo>
                      <a:pt x="218" y="32"/>
                    </a:lnTo>
                    <a:lnTo>
                      <a:pt x="216" y="32"/>
                    </a:lnTo>
                    <a:lnTo>
                      <a:pt x="214" y="32"/>
                    </a:lnTo>
                    <a:lnTo>
                      <a:pt x="210" y="32"/>
                    </a:lnTo>
                    <a:lnTo>
                      <a:pt x="208" y="32"/>
                    </a:lnTo>
                    <a:lnTo>
                      <a:pt x="208" y="30"/>
                    </a:lnTo>
                    <a:lnTo>
                      <a:pt x="206" y="30"/>
                    </a:lnTo>
                    <a:lnTo>
                      <a:pt x="206" y="28"/>
                    </a:lnTo>
                    <a:lnTo>
                      <a:pt x="204" y="28"/>
                    </a:lnTo>
                    <a:lnTo>
                      <a:pt x="202" y="28"/>
                    </a:lnTo>
                    <a:lnTo>
                      <a:pt x="200" y="28"/>
                    </a:lnTo>
                    <a:lnTo>
                      <a:pt x="200" y="26"/>
                    </a:lnTo>
                    <a:lnTo>
                      <a:pt x="198" y="24"/>
                    </a:lnTo>
                    <a:lnTo>
                      <a:pt x="198" y="22"/>
                    </a:lnTo>
                    <a:lnTo>
                      <a:pt x="196" y="20"/>
                    </a:lnTo>
                    <a:lnTo>
                      <a:pt x="194" y="16"/>
                    </a:lnTo>
                    <a:lnTo>
                      <a:pt x="192" y="14"/>
                    </a:lnTo>
                    <a:lnTo>
                      <a:pt x="190" y="12"/>
                    </a:lnTo>
                    <a:lnTo>
                      <a:pt x="188" y="10"/>
                    </a:lnTo>
                    <a:lnTo>
                      <a:pt x="186" y="10"/>
                    </a:lnTo>
                    <a:lnTo>
                      <a:pt x="184" y="10"/>
                    </a:lnTo>
                    <a:lnTo>
                      <a:pt x="182" y="12"/>
                    </a:lnTo>
                    <a:lnTo>
                      <a:pt x="180" y="12"/>
                    </a:lnTo>
                    <a:lnTo>
                      <a:pt x="178" y="12"/>
                    </a:lnTo>
                    <a:lnTo>
                      <a:pt x="176" y="10"/>
                    </a:lnTo>
                    <a:lnTo>
                      <a:pt x="172" y="8"/>
                    </a:lnTo>
                    <a:lnTo>
                      <a:pt x="170" y="6"/>
                    </a:lnTo>
                    <a:lnTo>
                      <a:pt x="168" y="6"/>
                    </a:lnTo>
                    <a:lnTo>
                      <a:pt x="166" y="6"/>
                    </a:lnTo>
                    <a:lnTo>
                      <a:pt x="164" y="6"/>
                    </a:lnTo>
                    <a:lnTo>
                      <a:pt x="162" y="6"/>
                    </a:lnTo>
                    <a:lnTo>
                      <a:pt x="160" y="6"/>
                    </a:lnTo>
                    <a:lnTo>
                      <a:pt x="154" y="6"/>
                    </a:lnTo>
                    <a:lnTo>
                      <a:pt x="152" y="6"/>
                    </a:lnTo>
                    <a:lnTo>
                      <a:pt x="150" y="6"/>
                    </a:lnTo>
                    <a:lnTo>
                      <a:pt x="148" y="4"/>
                    </a:lnTo>
                    <a:lnTo>
                      <a:pt x="146" y="2"/>
                    </a:lnTo>
                    <a:lnTo>
                      <a:pt x="144" y="2"/>
                    </a:lnTo>
                    <a:lnTo>
                      <a:pt x="142" y="0"/>
                    </a:lnTo>
                    <a:lnTo>
                      <a:pt x="140" y="0"/>
                    </a:lnTo>
                    <a:lnTo>
                      <a:pt x="138" y="0"/>
                    </a:lnTo>
                    <a:lnTo>
                      <a:pt x="138" y="2"/>
                    </a:lnTo>
                    <a:lnTo>
                      <a:pt x="136" y="4"/>
                    </a:lnTo>
                    <a:lnTo>
                      <a:pt x="136" y="6"/>
                    </a:lnTo>
                    <a:lnTo>
                      <a:pt x="134" y="6"/>
                    </a:lnTo>
                    <a:lnTo>
                      <a:pt x="132" y="6"/>
                    </a:lnTo>
                    <a:lnTo>
                      <a:pt x="132" y="8"/>
                    </a:lnTo>
                    <a:lnTo>
                      <a:pt x="132" y="10"/>
                    </a:lnTo>
                    <a:lnTo>
                      <a:pt x="134" y="10"/>
                    </a:lnTo>
                    <a:lnTo>
                      <a:pt x="132" y="10"/>
                    </a:lnTo>
                    <a:lnTo>
                      <a:pt x="130" y="10"/>
                    </a:lnTo>
                    <a:lnTo>
                      <a:pt x="128" y="12"/>
                    </a:lnTo>
                    <a:lnTo>
                      <a:pt x="130" y="14"/>
                    </a:lnTo>
                    <a:lnTo>
                      <a:pt x="132" y="16"/>
                    </a:lnTo>
                    <a:lnTo>
                      <a:pt x="132" y="18"/>
                    </a:lnTo>
                    <a:lnTo>
                      <a:pt x="132" y="20"/>
                    </a:lnTo>
                    <a:lnTo>
                      <a:pt x="134" y="24"/>
                    </a:lnTo>
                    <a:lnTo>
                      <a:pt x="136" y="26"/>
                    </a:lnTo>
                    <a:lnTo>
                      <a:pt x="138" y="26"/>
                    </a:lnTo>
                    <a:lnTo>
                      <a:pt x="138" y="28"/>
                    </a:lnTo>
                    <a:lnTo>
                      <a:pt x="138" y="30"/>
                    </a:lnTo>
                    <a:lnTo>
                      <a:pt x="140" y="30"/>
                    </a:lnTo>
                    <a:lnTo>
                      <a:pt x="142" y="30"/>
                    </a:lnTo>
                    <a:lnTo>
                      <a:pt x="144" y="30"/>
                    </a:lnTo>
                    <a:lnTo>
                      <a:pt x="144" y="32"/>
                    </a:lnTo>
                    <a:lnTo>
                      <a:pt x="144" y="34"/>
                    </a:lnTo>
                    <a:lnTo>
                      <a:pt x="144" y="36"/>
                    </a:lnTo>
                    <a:lnTo>
                      <a:pt x="144" y="38"/>
                    </a:lnTo>
                    <a:lnTo>
                      <a:pt x="142" y="38"/>
                    </a:lnTo>
                    <a:lnTo>
                      <a:pt x="140" y="38"/>
                    </a:lnTo>
                    <a:lnTo>
                      <a:pt x="140" y="40"/>
                    </a:lnTo>
                    <a:lnTo>
                      <a:pt x="138" y="40"/>
                    </a:lnTo>
                    <a:lnTo>
                      <a:pt x="138" y="42"/>
                    </a:lnTo>
                    <a:lnTo>
                      <a:pt x="136" y="42"/>
                    </a:lnTo>
                    <a:lnTo>
                      <a:pt x="134" y="44"/>
                    </a:lnTo>
                    <a:lnTo>
                      <a:pt x="132" y="44"/>
                    </a:lnTo>
                    <a:lnTo>
                      <a:pt x="130" y="44"/>
                    </a:lnTo>
                    <a:lnTo>
                      <a:pt x="130" y="42"/>
                    </a:lnTo>
                    <a:lnTo>
                      <a:pt x="130" y="40"/>
                    </a:lnTo>
                    <a:lnTo>
                      <a:pt x="128" y="40"/>
                    </a:lnTo>
                    <a:lnTo>
                      <a:pt x="126" y="40"/>
                    </a:lnTo>
                    <a:lnTo>
                      <a:pt x="124" y="40"/>
                    </a:lnTo>
                    <a:lnTo>
                      <a:pt x="122" y="40"/>
                    </a:lnTo>
                    <a:lnTo>
                      <a:pt x="120" y="40"/>
                    </a:lnTo>
                    <a:lnTo>
                      <a:pt x="120" y="42"/>
                    </a:lnTo>
                    <a:lnTo>
                      <a:pt x="120" y="40"/>
                    </a:lnTo>
                    <a:lnTo>
                      <a:pt x="120" y="38"/>
                    </a:lnTo>
                    <a:lnTo>
                      <a:pt x="118" y="38"/>
                    </a:lnTo>
                    <a:lnTo>
                      <a:pt x="114" y="38"/>
                    </a:lnTo>
                    <a:lnTo>
                      <a:pt x="112" y="38"/>
                    </a:lnTo>
                    <a:lnTo>
                      <a:pt x="110" y="38"/>
                    </a:lnTo>
                    <a:lnTo>
                      <a:pt x="108" y="40"/>
                    </a:lnTo>
                    <a:lnTo>
                      <a:pt x="106" y="40"/>
                    </a:lnTo>
                    <a:lnTo>
                      <a:pt x="106" y="38"/>
                    </a:lnTo>
                    <a:lnTo>
                      <a:pt x="104" y="40"/>
                    </a:lnTo>
                    <a:lnTo>
                      <a:pt x="102" y="40"/>
                    </a:lnTo>
                    <a:lnTo>
                      <a:pt x="100" y="40"/>
                    </a:lnTo>
                    <a:lnTo>
                      <a:pt x="100" y="38"/>
                    </a:lnTo>
                    <a:lnTo>
                      <a:pt x="100" y="36"/>
                    </a:lnTo>
                    <a:lnTo>
                      <a:pt x="98" y="36"/>
                    </a:lnTo>
                    <a:lnTo>
                      <a:pt x="96" y="36"/>
                    </a:lnTo>
                    <a:lnTo>
                      <a:pt x="94" y="36"/>
                    </a:lnTo>
                    <a:lnTo>
                      <a:pt x="92" y="36"/>
                    </a:lnTo>
                    <a:lnTo>
                      <a:pt x="90" y="36"/>
                    </a:lnTo>
                    <a:lnTo>
                      <a:pt x="88" y="34"/>
                    </a:lnTo>
                    <a:lnTo>
                      <a:pt x="86" y="34"/>
                    </a:lnTo>
                    <a:lnTo>
                      <a:pt x="86" y="32"/>
                    </a:lnTo>
                    <a:lnTo>
                      <a:pt x="86" y="30"/>
                    </a:lnTo>
                    <a:lnTo>
                      <a:pt x="84" y="30"/>
                    </a:lnTo>
                    <a:lnTo>
                      <a:pt x="84" y="28"/>
                    </a:lnTo>
                    <a:lnTo>
                      <a:pt x="82" y="28"/>
                    </a:lnTo>
                    <a:lnTo>
                      <a:pt x="78" y="28"/>
                    </a:lnTo>
                    <a:lnTo>
                      <a:pt x="76" y="28"/>
                    </a:lnTo>
                    <a:lnTo>
                      <a:pt x="74" y="30"/>
                    </a:lnTo>
                    <a:lnTo>
                      <a:pt x="70" y="30"/>
                    </a:lnTo>
                    <a:lnTo>
                      <a:pt x="68" y="30"/>
                    </a:lnTo>
                    <a:lnTo>
                      <a:pt x="66" y="30"/>
                    </a:lnTo>
                    <a:lnTo>
                      <a:pt x="64" y="30"/>
                    </a:lnTo>
                    <a:lnTo>
                      <a:pt x="64" y="28"/>
                    </a:lnTo>
                    <a:lnTo>
                      <a:pt x="64" y="26"/>
                    </a:lnTo>
                    <a:lnTo>
                      <a:pt x="62" y="26"/>
                    </a:lnTo>
                    <a:lnTo>
                      <a:pt x="60" y="26"/>
                    </a:lnTo>
                    <a:lnTo>
                      <a:pt x="58" y="26"/>
                    </a:lnTo>
                    <a:lnTo>
                      <a:pt x="56" y="26"/>
                    </a:lnTo>
                    <a:lnTo>
                      <a:pt x="54" y="24"/>
                    </a:lnTo>
                    <a:lnTo>
                      <a:pt x="54" y="26"/>
                    </a:lnTo>
                    <a:lnTo>
                      <a:pt x="52" y="26"/>
                    </a:lnTo>
                    <a:lnTo>
                      <a:pt x="50" y="26"/>
                    </a:lnTo>
                    <a:lnTo>
                      <a:pt x="48" y="24"/>
                    </a:lnTo>
                    <a:lnTo>
                      <a:pt x="46" y="24"/>
                    </a:lnTo>
                    <a:lnTo>
                      <a:pt x="44" y="24"/>
                    </a:lnTo>
                    <a:lnTo>
                      <a:pt x="44" y="26"/>
                    </a:lnTo>
                    <a:lnTo>
                      <a:pt x="42" y="28"/>
                    </a:lnTo>
                    <a:lnTo>
                      <a:pt x="42" y="30"/>
                    </a:lnTo>
                    <a:lnTo>
                      <a:pt x="40" y="30"/>
                    </a:lnTo>
                    <a:lnTo>
                      <a:pt x="38" y="30"/>
                    </a:lnTo>
                    <a:lnTo>
                      <a:pt x="36" y="30"/>
                    </a:lnTo>
                    <a:lnTo>
                      <a:pt x="34" y="32"/>
                    </a:lnTo>
                    <a:lnTo>
                      <a:pt x="34" y="34"/>
                    </a:lnTo>
                    <a:lnTo>
                      <a:pt x="32" y="34"/>
                    </a:lnTo>
                    <a:lnTo>
                      <a:pt x="30" y="34"/>
                    </a:lnTo>
                    <a:lnTo>
                      <a:pt x="28" y="36"/>
                    </a:lnTo>
                    <a:lnTo>
                      <a:pt x="26" y="38"/>
                    </a:lnTo>
                    <a:lnTo>
                      <a:pt x="22" y="40"/>
                    </a:lnTo>
                    <a:lnTo>
                      <a:pt x="22" y="42"/>
                    </a:lnTo>
                    <a:lnTo>
                      <a:pt x="20" y="44"/>
                    </a:lnTo>
                    <a:lnTo>
                      <a:pt x="22" y="44"/>
                    </a:lnTo>
                    <a:lnTo>
                      <a:pt x="22" y="46"/>
                    </a:lnTo>
                    <a:lnTo>
                      <a:pt x="20" y="46"/>
                    </a:lnTo>
                    <a:lnTo>
                      <a:pt x="18" y="46"/>
                    </a:lnTo>
                    <a:lnTo>
                      <a:pt x="16" y="46"/>
                    </a:lnTo>
                    <a:lnTo>
                      <a:pt x="18" y="48"/>
                    </a:lnTo>
                    <a:lnTo>
                      <a:pt x="14" y="48"/>
                    </a:lnTo>
                    <a:lnTo>
                      <a:pt x="12" y="48"/>
                    </a:lnTo>
                    <a:lnTo>
                      <a:pt x="10" y="48"/>
                    </a:lnTo>
                    <a:lnTo>
                      <a:pt x="8" y="48"/>
                    </a:lnTo>
                    <a:lnTo>
                      <a:pt x="6" y="48"/>
                    </a:lnTo>
                    <a:lnTo>
                      <a:pt x="4" y="48"/>
                    </a:lnTo>
                    <a:lnTo>
                      <a:pt x="4" y="50"/>
                    </a:lnTo>
                    <a:lnTo>
                      <a:pt x="4" y="52"/>
                    </a:lnTo>
                    <a:lnTo>
                      <a:pt x="2" y="54"/>
                    </a:lnTo>
                    <a:lnTo>
                      <a:pt x="0" y="54"/>
                    </a:lnTo>
                    <a:lnTo>
                      <a:pt x="2" y="56"/>
                    </a:lnTo>
                    <a:lnTo>
                      <a:pt x="2" y="58"/>
                    </a:lnTo>
                    <a:lnTo>
                      <a:pt x="0" y="60"/>
                    </a:lnTo>
                    <a:lnTo>
                      <a:pt x="2" y="60"/>
                    </a:lnTo>
                    <a:lnTo>
                      <a:pt x="4" y="60"/>
                    </a:lnTo>
                    <a:lnTo>
                      <a:pt x="6" y="60"/>
                    </a:lnTo>
                    <a:lnTo>
                      <a:pt x="6" y="62"/>
                    </a:lnTo>
                    <a:lnTo>
                      <a:pt x="6" y="64"/>
                    </a:lnTo>
                    <a:lnTo>
                      <a:pt x="6" y="66"/>
                    </a:lnTo>
                    <a:lnTo>
                      <a:pt x="8" y="66"/>
                    </a:lnTo>
                    <a:lnTo>
                      <a:pt x="10" y="66"/>
                    </a:lnTo>
                    <a:lnTo>
                      <a:pt x="12" y="68"/>
                    </a:lnTo>
                    <a:lnTo>
                      <a:pt x="14" y="68"/>
                    </a:lnTo>
                    <a:lnTo>
                      <a:pt x="16" y="68"/>
                    </a:lnTo>
                    <a:lnTo>
                      <a:pt x="18" y="70"/>
                    </a:lnTo>
                    <a:lnTo>
                      <a:pt x="20" y="72"/>
                    </a:lnTo>
                    <a:lnTo>
                      <a:pt x="22" y="74"/>
                    </a:lnTo>
                    <a:lnTo>
                      <a:pt x="24" y="76"/>
                    </a:lnTo>
                    <a:lnTo>
                      <a:pt x="26" y="76"/>
                    </a:lnTo>
                    <a:lnTo>
                      <a:pt x="26" y="78"/>
                    </a:lnTo>
                    <a:lnTo>
                      <a:pt x="28" y="76"/>
                    </a:lnTo>
                    <a:lnTo>
                      <a:pt x="30" y="76"/>
                    </a:lnTo>
                    <a:lnTo>
                      <a:pt x="32" y="76"/>
                    </a:lnTo>
                    <a:lnTo>
                      <a:pt x="32" y="74"/>
                    </a:lnTo>
                    <a:lnTo>
                      <a:pt x="34" y="76"/>
                    </a:lnTo>
                    <a:lnTo>
                      <a:pt x="36" y="76"/>
                    </a:lnTo>
                    <a:lnTo>
                      <a:pt x="36" y="78"/>
                    </a:lnTo>
                    <a:lnTo>
                      <a:pt x="38" y="78"/>
                    </a:lnTo>
                    <a:lnTo>
                      <a:pt x="40" y="78"/>
                    </a:lnTo>
                    <a:lnTo>
                      <a:pt x="42" y="78"/>
                    </a:lnTo>
                    <a:lnTo>
                      <a:pt x="44" y="78"/>
                    </a:lnTo>
                    <a:lnTo>
                      <a:pt x="46" y="80"/>
                    </a:lnTo>
                    <a:lnTo>
                      <a:pt x="48" y="80"/>
                    </a:lnTo>
                    <a:lnTo>
                      <a:pt x="52" y="84"/>
                    </a:lnTo>
                    <a:lnTo>
                      <a:pt x="54" y="86"/>
                    </a:lnTo>
                    <a:lnTo>
                      <a:pt x="54" y="88"/>
                    </a:lnTo>
                    <a:lnTo>
                      <a:pt x="56" y="90"/>
                    </a:lnTo>
                    <a:lnTo>
                      <a:pt x="58" y="92"/>
                    </a:lnTo>
                    <a:lnTo>
                      <a:pt x="60" y="94"/>
                    </a:lnTo>
                    <a:lnTo>
                      <a:pt x="64" y="98"/>
                    </a:lnTo>
                    <a:lnTo>
                      <a:pt x="66" y="100"/>
                    </a:lnTo>
                    <a:lnTo>
                      <a:pt x="66" y="102"/>
                    </a:lnTo>
                    <a:lnTo>
                      <a:pt x="68" y="102"/>
                    </a:lnTo>
                    <a:lnTo>
                      <a:pt x="68" y="104"/>
                    </a:lnTo>
                    <a:lnTo>
                      <a:pt x="68" y="106"/>
                    </a:lnTo>
                    <a:lnTo>
                      <a:pt x="70" y="108"/>
                    </a:lnTo>
                    <a:lnTo>
                      <a:pt x="72" y="110"/>
                    </a:lnTo>
                    <a:lnTo>
                      <a:pt x="72" y="112"/>
                    </a:lnTo>
                    <a:lnTo>
                      <a:pt x="70" y="114"/>
                    </a:lnTo>
                    <a:lnTo>
                      <a:pt x="68" y="114"/>
                    </a:lnTo>
                    <a:lnTo>
                      <a:pt x="68" y="116"/>
                    </a:lnTo>
                    <a:lnTo>
                      <a:pt x="70" y="120"/>
                    </a:lnTo>
                    <a:lnTo>
                      <a:pt x="70" y="124"/>
                    </a:lnTo>
                    <a:lnTo>
                      <a:pt x="72" y="124"/>
                    </a:lnTo>
                    <a:lnTo>
                      <a:pt x="74" y="126"/>
                    </a:lnTo>
                    <a:lnTo>
                      <a:pt x="76" y="126"/>
                    </a:lnTo>
                    <a:lnTo>
                      <a:pt x="80" y="128"/>
                    </a:lnTo>
                    <a:lnTo>
                      <a:pt x="82" y="128"/>
                    </a:lnTo>
                    <a:lnTo>
                      <a:pt x="84" y="130"/>
                    </a:lnTo>
                    <a:lnTo>
                      <a:pt x="86" y="130"/>
                    </a:lnTo>
                    <a:lnTo>
                      <a:pt x="90" y="130"/>
                    </a:lnTo>
                    <a:lnTo>
                      <a:pt x="94" y="132"/>
                    </a:lnTo>
                    <a:lnTo>
                      <a:pt x="98" y="132"/>
                    </a:lnTo>
                    <a:lnTo>
                      <a:pt x="100" y="132"/>
                    </a:lnTo>
                    <a:lnTo>
                      <a:pt x="102" y="132"/>
                    </a:lnTo>
                    <a:lnTo>
                      <a:pt x="108" y="132"/>
                    </a:lnTo>
                    <a:lnTo>
                      <a:pt x="110" y="132"/>
                    </a:lnTo>
                    <a:lnTo>
                      <a:pt x="112" y="132"/>
                    </a:lnTo>
                    <a:lnTo>
                      <a:pt x="114" y="132"/>
                    </a:lnTo>
                    <a:lnTo>
                      <a:pt x="116" y="132"/>
                    </a:lnTo>
                    <a:lnTo>
                      <a:pt x="118" y="132"/>
                    </a:lnTo>
                    <a:lnTo>
                      <a:pt x="120" y="134"/>
                    </a:lnTo>
                    <a:lnTo>
                      <a:pt x="122" y="134"/>
                    </a:lnTo>
                    <a:lnTo>
                      <a:pt x="124" y="134"/>
                    </a:lnTo>
                    <a:lnTo>
                      <a:pt x="124" y="136"/>
                    </a:lnTo>
                    <a:lnTo>
                      <a:pt x="126" y="138"/>
                    </a:lnTo>
                    <a:lnTo>
                      <a:pt x="128" y="138"/>
                    </a:lnTo>
                    <a:lnTo>
                      <a:pt x="128" y="140"/>
                    </a:lnTo>
                    <a:lnTo>
                      <a:pt x="130" y="140"/>
                    </a:lnTo>
                    <a:lnTo>
                      <a:pt x="132" y="140"/>
                    </a:lnTo>
                    <a:lnTo>
                      <a:pt x="134" y="142"/>
                    </a:lnTo>
                    <a:lnTo>
                      <a:pt x="136" y="142"/>
                    </a:lnTo>
                    <a:lnTo>
                      <a:pt x="138" y="144"/>
                    </a:lnTo>
                    <a:lnTo>
                      <a:pt x="142" y="144"/>
                    </a:lnTo>
                    <a:lnTo>
                      <a:pt x="144" y="144"/>
                    </a:lnTo>
                    <a:lnTo>
                      <a:pt x="146" y="144"/>
                    </a:lnTo>
                    <a:lnTo>
                      <a:pt x="148" y="146"/>
                    </a:lnTo>
                    <a:lnTo>
                      <a:pt x="150" y="146"/>
                    </a:lnTo>
                    <a:lnTo>
                      <a:pt x="152" y="148"/>
                    </a:lnTo>
                    <a:lnTo>
                      <a:pt x="152" y="150"/>
                    </a:lnTo>
                    <a:lnTo>
                      <a:pt x="154" y="150"/>
                    </a:lnTo>
                    <a:lnTo>
                      <a:pt x="156" y="152"/>
                    </a:lnTo>
                    <a:lnTo>
                      <a:pt x="158" y="154"/>
                    </a:lnTo>
                    <a:lnTo>
                      <a:pt x="160" y="156"/>
                    </a:lnTo>
                    <a:lnTo>
                      <a:pt x="160" y="158"/>
                    </a:lnTo>
                    <a:lnTo>
                      <a:pt x="162" y="158"/>
                    </a:lnTo>
                    <a:lnTo>
                      <a:pt x="164" y="162"/>
                    </a:lnTo>
                    <a:lnTo>
                      <a:pt x="166" y="164"/>
                    </a:lnTo>
                    <a:lnTo>
                      <a:pt x="166" y="166"/>
                    </a:lnTo>
                    <a:lnTo>
                      <a:pt x="168" y="166"/>
                    </a:lnTo>
                    <a:lnTo>
                      <a:pt x="170" y="168"/>
                    </a:lnTo>
                    <a:lnTo>
                      <a:pt x="172" y="170"/>
                    </a:lnTo>
                    <a:lnTo>
                      <a:pt x="174" y="172"/>
                    </a:lnTo>
                    <a:lnTo>
                      <a:pt x="176" y="172"/>
                    </a:lnTo>
                    <a:lnTo>
                      <a:pt x="178" y="174"/>
                    </a:lnTo>
                    <a:lnTo>
                      <a:pt x="180" y="176"/>
                    </a:lnTo>
                    <a:lnTo>
                      <a:pt x="182" y="174"/>
                    </a:lnTo>
                    <a:lnTo>
                      <a:pt x="184" y="174"/>
                    </a:lnTo>
                    <a:lnTo>
                      <a:pt x="186" y="174"/>
                    </a:lnTo>
                    <a:lnTo>
                      <a:pt x="188" y="174"/>
                    </a:lnTo>
                    <a:lnTo>
                      <a:pt x="190" y="174"/>
                    </a:lnTo>
                    <a:lnTo>
                      <a:pt x="192" y="174"/>
                    </a:lnTo>
                    <a:lnTo>
                      <a:pt x="194" y="174"/>
                    </a:lnTo>
                    <a:lnTo>
                      <a:pt x="196" y="174"/>
                    </a:lnTo>
                    <a:lnTo>
                      <a:pt x="198" y="174"/>
                    </a:lnTo>
                    <a:lnTo>
                      <a:pt x="200" y="174"/>
                    </a:lnTo>
                    <a:lnTo>
                      <a:pt x="202" y="174"/>
                    </a:lnTo>
                    <a:lnTo>
                      <a:pt x="204" y="176"/>
                    </a:lnTo>
                    <a:lnTo>
                      <a:pt x="206" y="176"/>
                    </a:lnTo>
                    <a:lnTo>
                      <a:pt x="208" y="176"/>
                    </a:lnTo>
                    <a:lnTo>
                      <a:pt x="210" y="176"/>
                    </a:lnTo>
                    <a:lnTo>
                      <a:pt x="214" y="176"/>
                    </a:lnTo>
                    <a:lnTo>
                      <a:pt x="216" y="176"/>
                    </a:lnTo>
                    <a:lnTo>
                      <a:pt x="218" y="176"/>
                    </a:lnTo>
                    <a:lnTo>
                      <a:pt x="220" y="176"/>
                    </a:lnTo>
                    <a:lnTo>
                      <a:pt x="222" y="176"/>
                    </a:lnTo>
                    <a:lnTo>
                      <a:pt x="224" y="176"/>
                    </a:lnTo>
                    <a:lnTo>
                      <a:pt x="226" y="178"/>
                    </a:lnTo>
                    <a:lnTo>
                      <a:pt x="228" y="176"/>
                    </a:lnTo>
                    <a:lnTo>
                      <a:pt x="230" y="176"/>
                    </a:lnTo>
                    <a:lnTo>
                      <a:pt x="232" y="174"/>
                    </a:lnTo>
                    <a:lnTo>
                      <a:pt x="234" y="174"/>
                    </a:lnTo>
                    <a:lnTo>
                      <a:pt x="236" y="174"/>
                    </a:lnTo>
                    <a:lnTo>
                      <a:pt x="240" y="174"/>
                    </a:lnTo>
                    <a:lnTo>
                      <a:pt x="240" y="176"/>
                    </a:lnTo>
                    <a:lnTo>
                      <a:pt x="242" y="176"/>
                    </a:lnTo>
                    <a:lnTo>
                      <a:pt x="244" y="176"/>
                    </a:lnTo>
                    <a:lnTo>
                      <a:pt x="246" y="176"/>
                    </a:lnTo>
                    <a:lnTo>
                      <a:pt x="250" y="176"/>
                    </a:lnTo>
                    <a:lnTo>
                      <a:pt x="252" y="176"/>
                    </a:lnTo>
                    <a:lnTo>
                      <a:pt x="256" y="176"/>
                    </a:lnTo>
                    <a:lnTo>
                      <a:pt x="258" y="176"/>
                    </a:lnTo>
                    <a:lnTo>
                      <a:pt x="260" y="178"/>
                    </a:lnTo>
                    <a:lnTo>
                      <a:pt x="262" y="178"/>
                    </a:lnTo>
                    <a:lnTo>
                      <a:pt x="264" y="182"/>
                    </a:lnTo>
                    <a:lnTo>
                      <a:pt x="266" y="182"/>
                    </a:lnTo>
                    <a:lnTo>
                      <a:pt x="266" y="184"/>
                    </a:lnTo>
                    <a:lnTo>
                      <a:pt x="268" y="184"/>
                    </a:lnTo>
                    <a:lnTo>
                      <a:pt x="270" y="186"/>
                    </a:lnTo>
                    <a:lnTo>
                      <a:pt x="272" y="186"/>
                    </a:lnTo>
                    <a:lnTo>
                      <a:pt x="274" y="186"/>
                    </a:lnTo>
                    <a:lnTo>
                      <a:pt x="276" y="188"/>
                    </a:lnTo>
                    <a:lnTo>
                      <a:pt x="280" y="188"/>
                    </a:lnTo>
                    <a:lnTo>
                      <a:pt x="284" y="188"/>
                    </a:lnTo>
                    <a:lnTo>
                      <a:pt x="286" y="188"/>
                    </a:lnTo>
                    <a:lnTo>
                      <a:pt x="288" y="188"/>
                    </a:lnTo>
                    <a:lnTo>
                      <a:pt x="292" y="190"/>
                    </a:lnTo>
                    <a:lnTo>
                      <a:pt x="296" y="192"/>
                    </a:lnTo>
                    <a:lnTo>
                      <a:pt x="298" y="192"/>
                    </a:lnTo>
                    <a:lnTo>
                      <a:pt x="298" y="194"/>
                    </a:lnTo>
                    <a:lnTo>
                      <a:pt x="300" y="194"/>
                    </a:lnTo>
                    <a:lnTo>
                      <a:pt x="300" y="192"/>
                    </a:lnTo>
                    <a:lnTo>
                      <a:pt x="302" y="192"/>
                    </a:lnTo>
                    <a:lnTo>
                      <a:pt x="304" y="192"/>
                    </a:lnTo>
                    <a:lnTo>
                      <a:pt x="306" y="190"/>
                    </a:lnTo>
                    <a:lnTo>
                      <a:pt x="308" y="190"/>
                    </a:lnTo>
                    <a:lnTo>
                      <a:pt x="310" y="190"/>
                    </a:lnTo>
                    <a:lnTo>
                      <a:pt x="312" y="192"/>
                    </a:lnTo>
                    <a:lnTo>
                      <a:pt x="312" y="194"/>
                    </a:lnTo>
                    <a:lnTo>
                      <a:pt x="314" y="194"/>
                    </a:lnTo>
                    <a:lnTo>
                      <a:pt x="314" y="196"/>
                    </a:lnTo>
                    <a:lnTo>
                      <a:pt x="316" y="196"/>
                    </a:lnTo>
                    <a:lnTo>
                      <a:pt x="318" y="196"/>
                    </a:lnTo>
                    <a:lnTo>
                      <a:pt x="320" y="196"/>
                    </a:lnTo>
                    <a:lnTo>
                      <a:pt x="322" y="196"/>
                    </a:lnTo>
                    <a:lnTo>
                      <a:pt x="322" y="194"/>
                    </a:lnTo>
                    <a:lnTo>
                      <a:pt x="324" y="194"/>
                    </a:lnTo>
                    <a:lnTo>
                      <a:pt x="324" y="192"/>
                    </a:lnTo>
                    <a:lnTo>
                      <a:pt x="328" y="190"/>
                    </a:lnTo>
                    <a:lnTo>
                      <a:pt x="332" y="188"/>
                    </a:lnTo>
                    <a:lnTo>
                      <a:pt x="336" y="186"/>
                    </a:lnTo>
                    <a:lnTo>
                      <a:pt x="338" y="184"/>
                    </a:lnTo>
                    <a:lnTo>
                      <a:pt x="342" y="182"/>
                    </a:lnTo>
                    <a:lnTo>
                      <a:pt x="344" y="180"/>
                    </a:lnTo>
                    <a:lnTo>
                      <a:pt x="346" y="180"/>
                    </a:lnTo>
                    <a:lnTo>
                      <a:pt x="348" y="180"/>
                    </a:lnTo>
                    <a:lnTo>
                      <a:pt x="352" y="180"/>
                    </a:lnTo>
                    <a:lnTo>
                      <a:pt x="354" y="180"/>
                    </a:lnTo>
                    <a:lnTo>
                      <a:pt x="358" y="180"/>
                    </a:lnTo>
                    <a:lnTo>
                      <a:pt x="364" y="180"/>
                    </a:lnTo>
                    <a:lnTo>
                      <a:pt x="370" y="180"/>
                    </a:lnTo>
                    <a:lnTo>
                      <a:pt x="374" y="180"/>
                    </a:lnTo>
                    <a:lnTo>
                      <a:pt x="376" y="180"/>
                    </a:lnTo>
                    <a:lnTo>
                      <a:pt x="378" y="180"/>
                    </a:lnTo>
                    <a:lnTo>
                      <a:pt x="380" y="180"/>
                    </a:lnTo>
                    <a:lnTo>
                      <a:pt x="382" y="180"/>
                    </a:lnTo>
                    <a:lnTo>
                      <a:pt x="382" y="178"/>
                    </a:lnTo>
                    <a:lnTo>
                      <a:pt x="384" y="176"/>
                    </a:lnTo>
                    <a:lnTo>
                      <a:pt x="386" y="176"/>
                    </a:lnTo>
                    <a:lnTo>
                      <a:pt x="386" y="174"/>
                    </a:lnTo>
                    <a:lnTo>
                      <a:pt x="388" y="174"/>
                    </a:lnTo>
                    <a:lnTo>
                      <a:pt x="392" y="174"/>
                    </a:lnTo>
                    <a:lnTo>
                      <a:pt x="394" y="172"/>
                    </a:lnTo>
                    <a:lnTo>
                      <a:pt x="396" y="172"/>
                    </a:lnTo>
                    <a:lnTo>
                      <a:pt x="396" y="168"/>
                    </a:lnTo>
                    <a:lnTo>
                      <a:pt x="396" y="166"/>
                    </a:lnTo>
                    <a:lnTo>
                      <a:pt x="396" y="164"/>
                    </a:lnTo>
                    <a:lnTo>
                      <a:pt x="398" y="164"/>
                    </a:lnTo>
                    <a:lnTo>
                      <a:pt x="398" y="162"/>
                    </a:lnTo>
                    <a:lnTo>
                      <a:pt x="400" y="162"/>
                    </a:lnTo>
                    <a:lnTo>
                      <a:pt x="402" y="162"/>
                    </a:lnTo>
                    <a:lnTo>
                      <a:pt x="404" y="162"/>
                    </a:lnTo>
                    <a:lnTo>
                      <a:pt x="406" y="160"/>
                    </a:lnTo>
                    <a:lnTo>
                      <a:pt x="406" y="158"/>
                    </a:lnTo>
                    <a:lnTo>
                      <a:pt x="408" y="156"/>
                    </a:lnTo>
                    <a:lnTo>
                      <a:pt x="410" y="154"/>
                    </a:lnTo>
                    <a:lnTo>
                      <a:pt x="408" y="154"/>
                    </a:lnTo>
                    <a:lnTo>
                      <a:pt x="408" y="152"/>
                    </a:lnTo>
                    <a:lnTo>
                      <a:pt x="406" y="150"/>
                    </a:lnTo>
                    <a:lnTo>
                      <a:pt x="404" y="148"/>
                    </a:lnTo>
                    <a:lnTo>
                      <a:pt x="402" y="148"/>
                    </a:lnTo>
                    <a:lnTo>
                      <a:pt x="398" y="146"/>
                    </a:lnTo>
                    <a:lnTo>
                      <a:pt x="398" y="144"/>
                    </a:lnTo>
                    <a:lnTo>
                      <a:pt x="396" y="144"/>
                    </a:lnTo>
                    <a:lnTo>
                      <a:pt x="396" y="142"/>
                    </a:lnTo>
                    <a:lnTo>
                      <a:pt x="394" y="142"/>
                    </a:lnTo>
                    <a:lnTo>
                      <a:pt x="394" y="140"/>
                    </a:lnTo>
                    <a:lnTo>
                      <a:pt x="394" y="138"/>
                    </a:lnTo>
                    <a:lnTo>
                      <a:pt x="394" y="134"/>
                    </a:lnTo>
                    <a:lnTo>
                      <a:pt x="394" y="132"/>
                    </a:lnTo>
                    <a:lnTo>
                      <a:pt x="396" y="130"/>
                    </a:lnTo>
                    <a:lnTo>
                      <a:pt x="398" y="130"/>
                    </a:lnTo>
                    <a:lnTo>
                      <a:pt x="398" y="128"/>
                    </a:lnTo>
                    <a:lnTo>
                      <a:pt x="400" y="128"/>
                    </a:lnTo>
                    <a:lnTo>
                      <a:pt x="402" y="130"/>
                    </a:lnTo>
                    <a:lnTo>
                      <a:pt x="404" y="130"/>
                    </a:lnTo>
                    <a:lnTo>
                      <a:pt x="406" y="130"/>
                    </a:lnTo>
                    <a:lnTo>
                      <a:pt x="408" y="130"/>
                    </a:lnTo>
                    <a:lnTo>
                      <a:pt x="410" y="132"/>
                    </a:lnTo>
                    <a:lnTo>
                      <a:pt x="410" y="134"/>
                    </a:lnTo>
                    <a:lnTo>
                      <a:pt x="412" y="134"/>
                    </a:lnTo>
                    <a:lnTo>
                      <a:pt x="412" y="136"/>
                    </a:lnTo>
                    <a:lnTo>
                      <a:pt x="414" y="136"/>
                    </a:lnTo>
                    <a:lnTo>
                      <a:pt x="416" y="136"/>
                    </a:lnTo>
                    <a:lnTo>
                      <a:pt x="418" y="136"/>
                    </a:lnTo>
                    <a:lnTo>
                      <a:pt x="420" y="136"/>
                    </a:lnTo>
                    <a:lnTo>
                      <a:pt x="422" y="136"/>
                    </a:lnTo>
                    <a:lnTo>
                      <a:pt x="424" y="136"/>
                    </a:lnTo>
                    <a:lnTo>
                      <a:pt x="426" y="136"/>
                    </a:lnTo>
                    <a:lnTo>
                      <a:pt x="428" y="134"/>
                    </a:lnTo>
                    <a:lnTo>
                      <a:pt x="432" y="132"/>
                    </a:lnTo>
                    <a:lnTo>
                      <a:pt x="432" y="130"/>
                    </a:lnTo>
                    <a:lnTo>
                      <a:pt x="434" y="130"/>
                    </a:lnTo>
                    <a:lnTo>
                      <a:pt x="434" y="128"/>
                    </a:lnTo>
                    <a:lnTo>
                      <a:pt x="434" y="126"/>
                    </a:lnTo>
                    <a:lnTo>
                      <a:pt x="434" y="124"/>
                    </a:lnTo>
                    <a:lnTo>
                      <a:pt x="436" y="122"/>
                    </a:lnTo>
                    <a:lnTo>
                      <a:pt x="440" y="122"/>
                    </a:lnTo>
                    <a:lnTo>
                      <a:pt x="442" y="122"/>
                    </a:lnTo>
                    <a:lnTo>
                      <a:pt x="446" y="124"/>
                    </a:lnTo>
                    <a:lnTo>
                      <a:pt x="448" y="124"/>
                    </a:lnTo>
                    <a:lnTo>
                      <a:pt x="450" y="124"/>
                    </a:lnTo>
                    <a:lnTo>
                      <a:pt x="452" y="124"/>
                    </a:lnTo>
                    <a:lnTo>
                      <a:pt x="454" y="122"/>
                    </a:lnTo>
                    <a:lnTo>
                      <a:pt x="454" y="120"/>
                    </a:lnTo>
                    <a:lnTo>
                      <a:pt x="456" y="120"/>
                    </a:lnTo>
                    <a:lnTo>
                      <a:pt x="456" y="118"/>
                    </a:lnTo>
                    <a:lnTo>
                      <a:pt x="458" y="118"/>
                    </a:lnTo>
                    <a:lnTo>
                      <a:pt x="456" y="118"/>
                    </a:lnTo>
                    <a:lnTo>
                      <a:pt x="456" y="116"/>
                    </a:lnTo>
                    <a:lnTo>
                      <a:pt x="454" y="116"/>
                    </a:lnTo>
                    <a:lnTo>
                      <a:pt x="454" y="114"/>
                    </a:lnTo>
                    <a:lnTo>
                      <a:pt x="454" y="112"/>
                    </a:lnTo>
                    <a:lnTo>
                      <a:pt x="454" y="110"/>
                    </a:lnTo>
                    <a:lnTo>
                      <a:pt x="456" y="108"/>
                    </a:lnTo>
                    <a:lnTo>
                      <a:pt x="458" y="108"/>
                    </a:lnTo>
                    <a:lnTo>
                      <a:pt x="460" y="106"/>
                    </a:lnTo>
                    <a:lnTo>
                      <a:pt x="462" y="106"/>
                    </a:lnTo>
                    <a:lnTo>
                      <a:pt x="464" y="106"/>
                    </a:lnTo>
                    <a:lnTo>
                      <a:pt x="466" y="106"/>
                    </a:lnTo>
                    <a:lnTo>
                      <a:pt x="466" y="104"/>
                    </a:lnTo>
                    <a:lnTo>
                      <a:pt x="466" y="102"/>
                    </a:lnTo>
                    <a:lnTo>
                      <a:pt x="468" y="102"/>
                    </a:lnTo>
                    <a:lnTo>
                      <a:pt x="470" y="102"/>
                    </a:lnTo>
                    <a:lnTo>
                      <a:pt x="472" y="102"/>
                    </a:lnTo>
                    <a:lnTo>
                      <a:pt x="474" y="102"/>
                    </a:lnTo>
                    <a:lnTo>
                      <a:pt x="476" y="102"/>
                    </a:lnTo>
                    <a:lnTo>
                      <a:pt x="476" y="100"/>
                    </a:lnTo>
                    <a:lnTo>
                      <a:pt x="478" y="100"/>
                    </a:lnTo>
                    <a:lnTo>
                      <a:pt x="478" y="98"/>
                    </a:lnTo>
                    <a:lnTo>
                      <a:pt x="480" y="98"/>
                    </a:lnTo>
                    <a:lnTo>
                      <a:pt x="482" y="98"/>
                    </a:lnTo>
                    <a:lnTo>
                      <a:pt x="484" y="98"/>
                    </a:lnTo>
                    <a:lnTo>
                      <a:pt x="486" y="98"/>
                    </a:lnTo>
                    <a:lnTo>
                      <a:pt x="488" y="100"/>
                    </a:lnTo>
                    <a:lnTo>
                      <a:pt x="490" y="100"/>
                    </a:lnTo>
                    <a:lnTo>
                      <a:pt x="490" y="102"/>
                    </a:lnTo>
                    <a:lnTo>
                      <a:pt x="492" y="102"/>
                    </a:lnTo>
                    <a:lnTo>
                      <a:pt x="494" y="102"/>
                    </a:lnTo>
                    <a:lnTo>
                      <a:pt x="498" y="100"/>
                    </a:lnTo>
                    <a:lnTo>
                      <a:pt x="500" y="100"/>
                    </a:lnTo>
                    <a:lnTo>
                      <a:pt x="502" y="100"/>
                    </a:lnTo>
                    <a:lnTo>
                      <a:pt x="502" y="98"/>
                    </a:lnTo>
                    <a:lnTo>
                      <a:pt x="500" y="98"/>
                    </a:lnTo>
                    <a:lnTo>
                      <a:pt x="498" y="9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0" name="Freeform 199">
                <a:extLst>
                  <a:ext uri="{FF2B5EF4-FFF2-40B4-BE49-F238E27FC236}">
                    <a16:creationId xmlns:a16="http://schemas.microsoft.com/office/drawing/2014/main" id="{C2F566E7-E5EB-4BD7-B13C-E117D5B208E1}"/>
                  </a:ext>
                </a:extLst>
              </p:cNvPr>
              <p:cNvSpPr>
                <a:spLocks noChangeAspect="1"/>
              </p:cNvSpPr>
              <p:nvPr/>
            </p:nvSpPr>
            <p:spPr bwMode="auto">
              <a:xfrm>
                <a:off x="5839997" y="2731363"/>
                <a:ext cx="465354" cy="277290"/>
              </a:xfrm>
              <a:custGeom>
                <a:avLst/>
                <a:gdLst/>
                <a:ahLst/>
                <a:cxnLst>
                  <a:cxn ang="0">
                    <a:pos x="266" y="82"/>
                  </a:cxn>
                  <a:cxn ang="0">
                    <a:pos x="258" y="74"/>
                  </a:cxn>
                  <a:cxn ang="0">
                    <a:pos x="254" y="80"/>
                  </a:cxn>
                  <a:cxn ang="0">
                    <a:pos x="244" y="78"/>
                  </a:cxn>
                  <a:cxn ang="0">
                    <a:pos x="244" y="68"/>
                  </a:cxn>
                  <a:cxn ang="0">
                    <a:pos x="240" y="66"/>
                  </a:cxn>
                  <a:cxn ang="0">
                    <a:pos x="230" y="72"/>
                  </a:cxn>
                  <a:cxn ang="0">
                    <a:pos x="218" y="80"/>
                  </a:cxn>
                  <a:cxn ang="0">
                    <a:pos x="212" y="94"/>
                  </a:cxn>
                  <a:cxn ang="0">
                    <a:pos x="204" y="82"/>
                  </a:cxn>
                  <a:cxn ang="0">
                    <a:pos x="176" y="74"/>
                  </a:cxn>
                  <a:cxn ang="0">
                    <a:pos x="166" y="64"/>
                  </a:cxn>
                  <a:cxn ang="0">
                    <a:pos x="156" y="48"/>
                  </a:cxn>
                  <a:cxn ang="0">
                    <a:pos x="142" y="32"/>
                  </a:cxn>
                  <a:cxn ang="0">
                    <a:pos x="120" y="36"/>
                  </a:cxn>
                  <a:cxn ang="0">
                    <a:pos x="90" y="32"/>
                  </a:cxn>
                  <a:cxn ang="0">
                    <a:pos x="70" y="16"/>
                  </a:cxn>
                  <a:cxn ang="0">
                    <a:pos x="62" y="24"/>
                  </a:cxn>
                  <a:cxn ang="0">
                    <a:pos x="52" y="20"/>
                  </a:cxn>
                  <a:cxn ang="0">
                    <a:pos x="52" y="8"/>
                  </a:cxn>
                  <a:cxn ang="0">
                    <a:pos x="38" y="6"/>
                  </a:cxn>
                  <a:cxn ang="0">
                    <a:pos x="40" y="16"/>
                  </a:cxn>
                  <a:cxn ang="0">
                    <a:pos x="32" y="14"/>
                  </a:cxn>
                  <a:cxn ang="0">
                    <a:pos x="36" y="2"/>
                  </a:cxn>
                  <a:cxn ang="0">
                    <a:pos x="4" y="8"/>
                  </a:cxn>
                  <a:cxn ang="0">
                    <a:pos x="4" y="46"/>
                  </a:cxn>
                  <a:cxn ang="0">
                    <a:pos x="10" y="76"/>
                  </a:cxn>
                  <a:cxn ang="0">
                    <a:pos x="30" y="80"/>
                  </a:cxn>
                  <a:cxn ang="0">
                    <a:pos x="28" y="68"/>
                  </a:cxn>
                  <a:cxn ang="0">
                    <a:pos x="40" y="58"/>
                  </a:cxn>
                  <a:cxn ang="0">
                    <a:pos x="42" y="54"/>
                  </a:cxn>
                  <a:cxn ang="0">
                    <a:pos x="52" y="56"/>
                  </a:cxn>
                  <a:cxn ang="0">
                    <a:pos x="60" y="58"/>
                  </a:cxn>
                  <a:cxn ang="0">
                    <a:pos x="72" y="62"/>
                  </a:cxn>
                  <a:cxn ang="0">
                    <a:pos x="76" y="70"/>
                  </a:cxn>
                  <a:cxn ang="0">
                    <a:pos x="84" y="80"/>
                  </a:cxn>
                  <a:cxn ang="0">
                    <a:pos x="100" y="80"/>
                  </a:cxn>
                  <a:cxn ang="0">
                    <a:pos x="110" y="90"/>
                  </a:cxn>
                  <a:cxn ang="0">
                    <a:pos x="118" y="100"/>
                  </a:cxn>
                  <a:cxn ang="0">
                    <a:pos x="138" y="116"/>
                  </a:cxn>
                  <a:cxn ang="0">
                    <a:pos x="152" y="124"/>
                  </a:cxn>
                  <a:cxn ang="0">
                    <a:pos x="162" y="128"/>
                  </a:cxn>
                  <a:cxn ang="0">
                    <a:pos x="178" y="138"/>
                  </a:cxn>
                  <a:cxn ang="0">
                    <a:pos x="194" y="144"/>
                  </a:cxn>
                  <a:cxn ang="0">
                    <a:pos x="196" y="154"/>
                  </a:cxn>
                  <a:cxn ang="0">
                    <a:pos x="206" y="156"/>
                  </a:cxn>
                  <a:cxn ang="0">
                    <a:pos x="212" y="156"/>
                  </a:cxn>
                  <a:cxn ang="0">
                    <a:pos x="220" y="142"/>
                  </a:cxn>
                  <a:cxn ang="0">
                    <a:pos x="216" y="126"/>
                  </a:cxn>
                  <a:cxn ang="0">
                    <a:pos x="204" y="120"/>
                  </a:cxn>
                  <a:cxn ang="0">
                    <a:pos x="206" y="114"/>
                  </a:cxn>
                  <a:cxn ang="0">
                    <a:pos x="218" y="108"/>
                  </a:cxn>
                  <a:cxn ang="0">
                    <a:pos x="218" y="100"/>
                  </a:cxn>
                  <a:cxn ang="0">
                    <a:pos x="224" y="90"/>
                  </a:cxn>
                  <a:cxn ang="0">
                    <a:pos x="242" y="86"/>
                  </a:cxn>
                  <a:cxn ang="0">
                    <a:pos x="242" y="96"/>
                  </a:cxn>
                  <a:cxn ang="0">
                    <a:pos x="258" y="98"/>
                  </a:cxn>
                  <a:cxn ang="0">
                    <a:pos x="270" y="96"/>
                  </a:cxn>
                  <a:cxn ang="0">
                    <a:pos x="278" y="92"/>
                  </a:cxn>
                  <a:cxn ang="0">
                    <a:pos x="274" y="88"/>
                  </a:cxn>
                </a:cxnLst>
                <a:rect l="0" t="0" r="r" b="b"/>
                <a:pathLst>
                  <a:path w="282" h="158">
                    <a:moveTo>
                      <a:pt x="274" y="88"/>
                    </a:moveTo>
                    <a:lnTo>
                      <a:pt x="274" y="86"/>
                    </a:lnTo>
                    <a:lnTo>
                      <a:pt x="272" y="86"/>
                    </a:lnTo>
                    <a:lnTo>
                      <a:pt x="270" y="86"/>
                    </a:lnTo>
                    <a:lnTo>
                      <a:pt x="268" y="86"/>
                    </a:lnTo>
                    <a:lnTo>
                      <a:pt x="266" y="84"/>
                    </a:lnTo>
                    <a:lnTo>
                      <a:pt x="266" y="82"/>
                    </a:lnTo>
                    <a:lnTo>
                      <a:pt x="264" y="82"/>
                    </a:lnTo>
                    <a:lnTo>
                      <a:pt x="262" y="82"/>
                    </a:lnTo>
                    <a:lnTo>
                      <a:pt x="260" y="80"/>
                    </a:lnTo>
                    <a:lnTo>
                      <a:pt x="258" y="78"/>
                    </a:lnTo>
                    <a:lnTo>
                      <a:pt x="258" y="76"/>
                    </a:lnTo>
                    <a:lnTo>
                      <a:pt x="258" y="74"/>
                    </a:lnTo>
                    <a:lnTo>
                      <a:pt x="258" y="76"/>
                    </a:lnTo>
                    <a:lnTo>
                      <a:pt x="258" y="78"/>
                    </a:lnTo>
                    <a:lnTo>
                      <a:pt x="256" y="78"/>
                    </a:lnTo>
                    <a:lnTo>
                      <a:pt x="254" y="78"/>
                    </a:lnTo>
                    <a:lnTo>
                      <a:pt x="254" y="80"/>
                    </a:lnTo>
                    <a:lnTo>
                      <a:pt x="254" y="82"/>
                    </a:lnTo>
                    <a:lnTo>
                      <a:pt x="252" y="82"/>
                    </a:lnTo>
                    <a:lnTo>
                      <a:pt x="250" y="82"/>
                    </a:lnTo>
                    <a:lnTo>
                      <a:pt x="248" y="82"/>
                    </a:lnTo>
                    <a:lnTo>
                      <a:pt x="246" y="82"/>
                    </a:lnTo>
                    <a:lnTo>
                      <a:pt x="246" y="80"/>
                    </a:lnTo>
                    <a:lnTo>
                      <a:pt x="244" y="80"/>
                    </a:lnTo>
                    <a:lnTo>
                      <a:pt x="244" y="78"/>
                    </a:lnTo>
                    <a:lnTo>
                      <a:pt x="242" y="76"/>
                    </a:lnTo>
                    <a:lnTo>
                      <a:pt x="240" y="76"/>
                    </a:lnTo>
                    <a:lnTo>
                      <a:pt x="238" y="76"/>
                    </a:lnTo>
                    <a:lnTo>
                      <a:pt x="236" y="76"/>
                    </a:lnTo>
                    <a:lnTo>
                      <a:pt x="236" y="74"/>
                    </a:lnTo>
                    <a:lnTo>
                      <a:pt x="238" y="74"/>
                    </a:lnTo>
                    <a:lnTo>
                      <a:pt x="240" y="72"/>
                    </a:lnTo>
                    <a:lnTo>
                      <a:pt x="242" y="70"/>
                    </a:lnTo>
                    <a:lnTo>
                      <a:pt x="244" y="68"/>
                    </a:lnTo>
                    <a:lnTo>
                      <a:pt x="246" y="66"/>
                    </a:lnTo>
                    <a:lnTo>
                      <a:pt x="246" y="64"/>
                    </a:lnTo>
                    <a:lnTo>
                      <a:pt x="248" y="64"/>
                    </a:lnTo>
                    <a:lnTo>
                      <a:pt x="246" y="62"/>
                    </a:lnTo>
                    <a:lnTo>
                      <a:pt x="244" y="64"/>
                    </a:lnTo>
                    <a:lnTo>
                      <a:pt x="242" y="64"/>
                    </a:lnTo>
                    <a:lnTo>
                      <a:pt x="240" y="64"/>
                    </a:lnTo>
                    <a:lnTo>
                      <a:pt x="240" y="66"/>
                    </a:lnTo>
                    <a:lnTo>
                      <a:pt x="238" y="66"/>
                    </a:lnTo>
                    <a:lnTo>
                      <a:pt x="236" y="66"/>
                    </a:lnTo>
                    <a:lnTo>
                      <a:pt x="234" y="66"/>
                    </a:lnTo>
                    <a:lnTo>
                      <a:pt x="232" y="66"/>
                    </a:lnTo>
                    <a:lnTo>
                      <a:pt x="232" y="68"/>
                    </a:lnTo>
                    <a:lnTo>
                      <a:pt x="232" y="70"/>
                    </a:lnTo>
                    <a:lnTo>
                      <a:pt x="230" y="70"/>
                    </a:lnTo>
                    <a:lnTo>
                      <a:pt x="230" y="72"/>
                    </a:lnTo>
                    <a:lnTo>
                      <a:pt x="228" y="72"/>
                    </a:lnTo>
                    <a:lnTo>
                      <a:pt x="224" y="74"/>
                    </a:lnTo>
                    <a:lnTo>
                      <a:pt x="222" y="74"/>
                    </a:lnTo>
                    <a:lnTo>
                      <a:pt x="220" y="74"/>
                    </a:lnTo>
                    <a:lnTo>
                      <a:pt x="218" y="76"/>
                    </a:lnTo>
                    <a:lnTo>
                      <a:pt x="218" y="78"/>
                    </a:lnTo>
                    <a:lnTo>
                      <a:pt x="218" y="80"/>
                    </a:lnTo>
                    <a:lnTo>
                      <a:pt x="216" y="82"/>
                    </a:lnTo>
                    <a:lnTo>
                      <a:pt x="214" y="82"/>
                    </a:lnTo>
                    <a:lnTo>
                      <a:pt x="212" y="84"/>
                    </a:lnTo>
                    <a:lnTo>
                      <a:pt x="212" y="86"/>
                    </a:lnTo>
                    <a:lnTo>
                      <a:pt x="210" y="88"/>
                    </a:lnTo>
                    <a:lnTo>
                      <a:pt x="212" y="90"/>
                    </a:lnTo>
                    <a:lnTo>
                      <a:pt x="212" y="92"/>
                    </a:lnTo>
                    <a:lnTo>
                      <a:pt x="212" y="94"/>
                    </a:lnTo>
                    <a:lnTo>
                      <a:pt x="212" y="96"/>
                    </a:lnTo>
                    <a:lnTo>
                      <a:pt x="212" y="94"/>
                    </a:lnTo>
                    <a:lnTo>
                      <a:pt x="210" y="94"/>
                    </a:lnTo>
                    <a:lnTo>
                      <a:pt x="206" y="92"/>
                    </a:lnTo>
                    <a:lnTo>
                      <a:pt x="204" y="92"/>
                    </a:lnTo>
                    <a:lnTo>
                      <a:pt x="202" y="92"/>
                    </a:lnTo>
                    <a:lnTo>
                      <a:pt x="202" y="90"/>
                    </a:lnTo>
                    <a:lnTo>
                      <a:pt x="204" y="88"/>
                    </a:lnTo>
                    <a:lnTo>
                      <a:pt x="204" y="86"/>
                    </a:lnTo>
                    <a:lnTo>
                      <a:pt x="204" y="84"/>
                    </a:lnTo>
                    <a:lnTo>
                      <a:pt x="204" y="82"/>
                    </a:lnTo>
                    <a:lnTo>
                      <a:pt x="202" y="82"/>
                    </a:lnTo>
                    <a:lnTo>
                      <a:pt x="200" y="80"/>
                    </a:lnTo>
                    <a:lnTo>
                      <a:pt x="196" y="80"/>
                    </a:lnTo>
                    <a:lnTo>
                      <a:pt x="194" y="80"/>
                    </a:lnTo>
                    <a:lnTo>
                      <a:pt x="190" y="82"/>
                    </a:lnTo>
                    <a:lnTo>
                      <a:pt x="186" y="82"/>
                    </a:lnTo>
                    <a:lnTo>
                      <a:pt x="184" y="82"/>
                    </a:lnTo>
                    <a:lnTo>
                      <a:pt x="182" y="80"/>
                    </a:lnTo>
                    <a:lnTo>
                      <a:pt x="180" y="80"/>
                    </a:lnTo>
                    <a:lnTo>
                      <a:pt x="178" y="78"/>
                    </a:lnTo>
                    <a:lnTo>
                      <a:pt x="178" y="76"/>
                    </a:lnTo>
                    <a:lnTo>
                      <a:pt x="176" y="74"/>
                    </a:lnTo>
                    <a:lnTo>
                      <a:pt x="176" y="70"/>
                    </a:lnTo>
                    <a:lnTo>
                      <a:pt x="174" y="68"/>
                    </a:lnTo>
                    <a:lnTo>
                      <a:pt x="174" y="66"/>
                    </a:lnTo>
                    <a:lnTo>
                      <a:pt x="172" y="66"/>
                    </a:lnTo>
                    <a:lnTo>
                      <a:pt x="170" y="66"/>
                    </a:lnTo>
                    <a:lnTo>
                      <a:pt x="168" y="66"/>
                    </a:lnTo>
                    <a:lnTo>
                      <a:pt x="166" y="66"/>
                    </a:lnTo>
                    <a:lnTo>
                      <a:pt x="166" y="64"/>
                    </a:lnTo>
                    <a:lnTo>
                      <a:pt x="166" y="60"/>
                    </a:lnTo>
                    <a:lnTo>
                      <a:pt x="166" y="56"/>
                    </a:lnTo>
                    <a:lnTo>
                      <a:pt x="166" y="54"/>
                    </a:lnTo>
                    <a:lnTo>
                      <a:pt x="166" y="50"/>
                    </a:lnTo>
                    <a:lnTo>
                      <a:pt x="164" y="50"/>
                    </a:lnTo>
                    <a:lnTo>
                      <a:pt x="164" y="48"/>
                    </a:lnTo>
                    <a:lnTo>
                      <a:pt x="162" y="48"/>
                    </a:lnTo>
                    <a:lnTo>
                      <a:pt x="160" y="48"/>
                    </a:lnTo>
                    <a:lnTo>
                      <a:pt x="158" y="48"/>
                    </a:lnTo>
                    <a:lnTo>
                      <a:pt x="156" y="48"/>
                    </a:lnTo>
                    <a:lnTo>
                      <a:pt x="154" y="46"/>
                    </a:lnTo>
                    <a:lnTo>
                      <a:pt x="152" y="44"/>
                    </a:lnTo>
                    <a:lnTo>
                      <a:pt x="150" y="40"/>
                    </a:lnTo>
                    <a:lnTo>
                      <a:pt x="148" y="38"/>
                    </a:lnTo>
                    <a:lnTo>
                      <a:pt x="146" y="36"/>
                    </a:lnTo>
                    <a:lnTo>
                      <a:pt x="146" y="34"/>
                    </a:lnTo>
                    <a:lnTo>
                      <a:pt x="144" y="32"/>
                    </a:lnTo>
                    <a:lnTo>
                      <a:pt x="142" y="32"/>
                    </a:lnTo>
                    <a:lnTo>
                      <a:pt x="142" y="34"/>
                    </a:lnTo>
                    <a:lnTo>
                      <a:pt x="138" y="34"/>
                    </a:lnTo>
                    <a:lnTo>
                      <a:pt x="136" y="36"/>
                    </a:lnTo>
                    <a:lnTo>
                      <a:pt x="134" y="36"/>
                    </a:lnTo>
                    <a:lnTo>
                      <a:pt x="134" y="38"/>
                    </a:lnTo>
                    <a:lnTo>
                      <a:pt x="134" y="36"/>
                    </a:lnTo>
                    <a:lnTo>
                      <a:pt x="132" y="36"/>
                    </a:lnTo>
                    <a:lnTo>
                      <a:pt x="130" y="36"/>
                    </a:lnTo>
                    <a:lnTo>
                      <a:pt x="126" y="36"/>
                    </a:lnTo>
                    <a:lnTo>
                      <a:pt x="124" y="36"/>
                    </a:lnTo>
                    <a:lnTo>
                      <a:pt x="120" y="36"/>
                    </a:lnTo>
                    <a:lnTo>
                      <a:pt x="118" y="36"/>
                    </a:lnTo>
                    <a:lnTo>
                      <a:pt x="116" y="36"/>
                    </a:lnTo>
                    <a:lnTo>
                      <a:pt x="112" y="36"/>
                    </a:lnTo>
                    <a:lnTo>
                      <a:pt x="110" y="36"/>
                    </a:lnTo>
                    <a:lnTo>
                      <a:pt x="106" y="36"/>
                    </a:lnTo>
                    <a:lnTo>
                      <a:pt x="104" y="36"/>
                    </a:lnTo>
                    <a:lnTo>
                      <a:pt x="100" y="38"/>
                    </a:lnTo>
                    <a:lnTo>
                      <a:pt x="98" y="38"/>
                    </a:lnTo>
                    <a:lnTo>
                      <a:pt x="96" y="38"/>
                    </a:lnTo>
                    <a:lnTo>
                      <a:pt x="94" y="34"/>
                    </a:lnTo>
                    <a:lnTo>
                      <a:pt x="90" y="32"/>
                    </a:lnTo>
                    <a:lnTo>
                      <a:pt x="88" y="30"/>
                    </a:lnTo>
                    <a:lnTo>
                      <a:pt x="86" y="28"/>
                    </a:lnTo>
                    <a:lnTo>
                      <a:pt x="84" y="26"/>
                    </a:lnTo>
                    <a:lnTo>
                      <a:pt x="82" y="26"/>
                    </a:lnTo>
                    <a:lnTo>
                      <a:pt x="82" y="24"/>
                    </a:lnTo>
                    <a:lnTo>
                      <a:pt x="80" y="24"/>
                    </a:lnTo>
                    <a:lnTo>
                      <a:pt x="80" y="22"/>
                    </a:lnTo>
                    <a:lnTo>
                      <a:pt x="78" y="22"/>
                    </a:lnTo>
                    <a:lnTo>
                      <a:pt x="76" y="20"/>
                    </a:lnTo>
                    <a:lnTo>
                      <a:pt x="74" y="18"/>
                    </a:lnTo>
                    <a:lnTo>
                      <a:pt x="72" y="18"/>
                    </a:lnTo>
                    <a:lnTo>
                      <a:pt x="70" y="16"/>
                    </a:lnTo>
                    <a:lnTo>
                      <a:pt x="68" y="16"/>
                    </a:lnTo>
                    <a:lnTo>
                      <a:pt x="66" y="16"/>
                    </a:lnTo>
                    <a:lnTo>
                      <a:pt x="66" y="14"/>
                    </a:lnTo>
                    <a:lnTo>
                      <a:pt x="64" y="14"/>
                    </a:lnTo>
                    <a:lnTo>
                      <a:pt x="62" y="14"/>
                    </a:lnTo>
                    <a:lnTo>
                      <a:pt x="64" y="16"/>
                    </a:lnTo>
                    <a:lnTo>
                      <a:pt x="64" y="18"/>
                    </a:lnTo>
                    <a:lnTo>
                      <a:pt x="64" y="20"/>
                    </a:lnTo>
                    <a:lnTo>
                      <a:pt x="64" y="22"/>
                    </a:lnTo>
                    <a:lnTo>
                      <a:pt x="62" y="24"/>
                    </a:lnTo>
                    <a:lnTo>
                      <a:pt x="62" y="26"/>
                    </a:lnTo>
                    <a:lnTo>
                      <a:pt x="60" y="26"/>
                    </a:lnTo>
                    <a:lnTo>
                      <a:pt x="58" y="26"/>
                    </a:lnTo>
                    <a:lnTo>
                      <a:pt x="56" y="26"/>
                    </a:lnTo>
                    <a:lnTo>
                      <a:pt x="54" y="26"/>
                    </a:lnTo>
                    <a:lnTo>
                      <a:pt x="52" y="24"/>
                    </a:lnTo>
                    <a:lnTo>
                      <a:pt x="52" y="22"/>
                    </a:lnTo>
                    <a:lnTo>
                      <a:pt x="52" y="20"/>
                    </a:lnTo>
                    <a:lnTo>
                      <a:pt x="52" y="18"/>
                    </a:lnTo>
                    <a:lnTo>
                      <a:pt x="52" y="16"/>
                    </a:lnTo>
                    <a:lnTo>
                      <a:pt x="50" y="14"/>
                    </a:lnTo>
                    <a:lnTo>
                      <a:pt x="50" y="12"/>
                    </a:lnTo>
                    <a:lnTo>
                      <a:pt x="50" y="10"/>
                    </a:lnTo>
                    <a:lnTo>
                      <a:pt x="50" y="8"/>
                    </a:lnTo>
                    <a:lnTo>
                      <a:pt x="52" y="8"/>
                    </a:lnTo>
                    <a:lnTo>
                      <a:pt x="48" y="6"/>
                    </a:lnTo>
                    <a:lnTo>
                      <a:pt x="46" y="4"/>
                    </a:lnTo>
                    <a:lnTo>
                      <a:pt x="44" y="4"/>
                    </a:lnTo>
                    <a:lnTo>
                      <a:pt x="42" y="4"/>
                    </a:lnTo>
                    <a:lnTo>
                      <a:pt x="40" y="4"/>
                    </a:lnTo>
                    <a:lnTo>
                      <a:pt x="40" y="2"/>
                    </a:lnTo>
                    <a:lnTo>
                      <a:pt x="38" y="2"/>
                    </a:lnTo>
                    <a:lnTo>
                      <a:pt x="38" y="4"/>
                    </a:lnTo>
                    <a:lnTo>
                      <a:pt x="38" y="6"/>
                    </a:lnTo>
                    <a:lnTo>
                      <a:pt x="36" y="6"/>
                    </a:lnTo>
                    <a:lnTo>
                      <a:pt x="38" y="8"/>
                    </a:lnTo>
                    <a:lnTo>
                      <a:pt x="40" y="10"/>
                    </a:lnTo>
                    <a:lnTo>
                      <a:pt x="42" y="12"/>
                    </a:lnTo>
                    <a:lnTo>
                      <a:pt x="42" y="14"/>
                    </a:lnTo>
                    <a:lnTo>
                      <a:pt x="42" y="16"/>
                    </a:lnTo>
                    <a:lnTo>
                      <a:pt x="40" y="16"/>
                    </a:lnTo>
                    <a:lnTo>
                      <a:pt x="40" y="18"/>
                    </a:lnTo>
                    <a:lnTo>
                      <a:pt x="38" y="20"/>
                    </a:lnTo>
                    <a:lnTo>
                      <a:pt x="36" y="20"/>
                    </a:lnTo>
                    <a:lnTo>
                      <a:pt x="34" y="20"/>
                    </a:lnTo>
                    <a:lnTo>
                      <a:pt x="34" y="18"/>
                    </a:lnTo>
                    <a:lnTo>
                      <a:pt x="32" y="16"/>
                    </a:lnTo>
                    <a:lnTo>
                      <a:pt x="32" y="14"/>
                    </a:lnTo>
                    <a:lnTo>
                      <a:pt x="32" y="12"/>
                    </a:lnTo>
                    <a:lnTo>
                      <a:pt x="30" y="12"/>
                    </a:lnTo>
                    <a:lnTo>
                      <a:pt x="32" y="10"/>
                    </a:lnTo>
                    <a:lnTo>
                      <a:pt x="32" y="8"/>
                    </a:lnTo>
                    <a:lnTo>
                      <a:pt x="34" y="8"/>
                    </a:lnTo>
                    <a:lnTo>
                      <a:pt x="34" y="6"/>
                    </a:lnTo>
                    <a:lnTo>
                      <a:pt x="34" y="4"/>
                    </a:lnTo>
                    <a:lnTo>
                      <a:pt x="36" y="2"/>
                    </a:lnTo>
                    <a:lnTo>
                      <a:pt x="34" y="0"/>
                    </a:lnTo>
                    <a:lnTo>
                      <a:pt x="32" y="0"/>
                    </a:lnTo>
                    <a:lnTo>
                      <a:pt x="28" y="2"/>
                    </a:lnTo>
                    <a:lnTo>
                      <a:pt x="22" y="4"/>
                    </a:lnTo>
                    <a:lnTo>
                      <a:pt x="18" y="4"/>
                    </a:lnTo>
                    <a:lnTo>
                      <a:pt x="14" y="6"/>
                    </a:lnTo>
                    <a:lnTo>
                      <a:pt x="10" y="6"/>
                    </a:lnTo>
                    <a:lnTo>
                      <a:pt x="6" y="8"/>
                    </a:lnTo>
                    <a:lnTo>
                      <a:pt x="4" y="8"/>
                    </a:lnTo>
                    <a:lnTo>
                      <a:pt x="4" y="10"/>
                    </a:lnTo>
                    <a:lnTo>
                      <a:pt x="2" y="10"/>
                    </a:lnTo>
                    <a:lnTo>
                      <a:pt x="0" y="10"/>
                    </a:lnTo>
                    <a:lnTo>
                      <a:pt x="0" y="16"/>
                    </a:lnTo>
                    <a:lnTo>
                      <a:pt x="2" y="22"/>
                    </a:lnTo>
                    <a:lnTo>
                      <a:pt x="2" y="28"/>
                    </a:lnTo>
                    <a:lnTo>
                      <a:pt x="4" y="32"/>
                    </a:lnTo>
                    <a:lnTo>
                      <a:pt x="4" y="38"/>
                    </a:lnTo>
                    <a:lnTo>
                      <a:pt x="4" y="42"/>
                    </a:lnTo>
                    <a:lnTo>
                      <a:pt x="4" y="46"/>
                    </a:lnTo>
                    <a:lnTo>
                      <a:pt x="6" y="50"/>
                    </a:lnTo>
                    <a:lnTo>
                      <a:pt x="6" y="52"/>
                    </a:lnTo>
                    <a:lnTo>
                      <a:pt x="6" y="56"/>
                    </a:lnTo>
                    <a:lnTo>
                      <a:pt x="8" y="58"/>
                    </a:lnTo>
                    <a:lnTo>
                      <a:pt x="8" y="60"/>
                    </a:lnTo>
                    <a:lnTo>
                      <a:pt x="8" y="64"/>
                    </a:lnTo>
                    <a:lnTo>
                      <a:pt x="8" y="66"/>
                    </a:lnTo>
                    <a:lnTo>
                      <a:pt x="10" y="70"/>
                    </a:lnTo>
                    <a:lnTo>
                      <a:pt x="10" y="72"/>
                    </a:lnTo>
                    <a:lnTo>
                      <a:pt x="10" y="74"/>
                    </a:lnTo>
                    <a:lnTo>
                      <a:pt x="10" y="76"/>
                    </a:lnTo>
                    <a:lnTo>
                      <a:pt x="12" y="76"/>
                    </a:lnTo>
                    <a:lnTo>
                      <a:pt x="14" y="76"/>
                    </a:lnTo>
                    <a:lnTo>
                      <a:pt x="14" y="78"/>
                    </a:lnTo>
                    <a:lnTo>
                      <a:pt x="16" y="78"/>
                    </a:lnTo>
                    <a:lnTo>
                      <a:pt x="16" y="80"/>
                    </a:lnTo>
                    <a:lnTo>
                      <a:pt x="18" y="80"/>
                    </a:lnTo>
                    <a:lnTo>
                      <a:pt x="22" y="80"/>
                    </a:lnTo>
                    <a:lnTo>
                      <a:pt x="24" y="80"/>
                    </a:lnTo>
                    <a:lnTo>
                      <a:pt x="26" y="80"/>
                    </a:lnTo>
                    <a:lnTo>
                      <a:pt x="28" y="80"/>
                    </a:lnTo>
                    <a:lnTo>
                      <a:pt x="30" y="80"/>
                    </a:lnTo>
                    <a:lnTo>
                      <a:pt x="32" y="80"/>
                    </a:lnTo>
                    <a:lnTo>
                      <a:pt x="32" y="78"/>
                    </a:lnTo>
                    <a:lnTo>
                      <a:pt x="30" y="78"/>
                    </a:lnTo>
                    <a:lnTo>
                      <a:pt x="30" y="76"/>
                    </a:lnTo>
                    <a:lnTo>
                      <a:pt x="28" y="76"/>
                    </a:lnTo>
                    <a:lnTo>
                      <a:pt x="28" y="74"/>
                    </a:lnTo>
                    <a:lnTo>
                      <a:pt x="28" y="72"/>
                    </a:lnTo>
                    <a:lnTo>
                      <a:pt x="28" y="70"/>
                    </a:lnTo>
                    <a:lnTo>
                      <a:pt x="28" y="68"/>
                    </a:lnTo>
                    <a:lnTo>
                      <a:pt x="28" y="66"/>
                    </a:lnTo>
                    <a:lnTo>
                      <a:pt x="30" y="64"/>
                    </a:lnTo>
                    <a:lnTo>
                      <a:pt x="32" y="64"/>
                    </a:lnTo>
                    <a:lnTo>
                      <a:pt x="34" y="62"/>
                    </a:lnTo>
                    <a:lnTo>
                      <a:pt x="36" y="62"/>
                    </a:lnTo>
                    <a:lnTo>
                      <a:pt x="38" y="62"/>
                    </a:lnTo>
                    <a:lnTo>
                      <a:pt x="38" y="60"/>
                    </a:lnTo>
                    <a:lnTo>
                      <a:pt x="40" y="58"/>
                    </a:lnTo>
                    <a:lnTo>
                      <a:pt x="42" y="58"/>
                    </a:lnTo>
                    <a:lnTo>
                      <a:pt x="46" y="58"/>
                    </a:lnTo>
                    <a:lnTo>
                      <a:pt x="48" y="60"/>
                    </a:lnTo>
                    <a:lnTo>
                      <a:pt x="46" y="58"/>
                    </a:lnTo>
                    <a:lnTo>
                      <a:pt x="44" y="56"/>
                    </a:lnTo>
                    <a:lnTo>
                      <a:pt x="44" y="54"/>
                    </a:lnTo>
                    <a:lnTo>
                      <a:pt x="42" y="54"/>
                    </a:lnTo>
                    <a:lnTo>
                      <a:pt x="44" y="54"/>
                    </a:lnTo>
                    <a:lnTo>
                      <a:pt x="46" y="54"/>
                    </a:lnTo>
                    <a:lnTo>
                      <a:pt x="48" y="54"/>
                    </a:lnTo>
                    <a:lnTo>
                      <a:pt x="50" y="52"/>
                    </a:lnTo>
                    <a:lnTo>
                      <a:pt x="50" y="50"/>
                    </a:lnTo>
                    <a:lnTo>
                      <a:pt x="52" y="52"/>
                    </a:lnTo>
                    <a:lnTo>
                      <a:pt x="52" y="54"/>
                    </a:lnTo>
                    <a:lnTo>
                      <a:pt x="52" y="56"/>
                    </a:lnTo>
                    <a:lnTo>
                      <a:pt x="54" y="56"/>
                    </a:lnTo>
                    <a:lnTo>
                      <a:pt x="56" y="56"/>
                    </a:lnTo>
                    <a:lnTo>
                      <a:pt x="58" y="56"/>
                    </a:lnTo>
                    <a:lnTo>
                      <a:pt x="60" y="56"/>
                    </a:lnTo>
                    <a:lnTo>
                      <a:pt x="60" y="58"/>
                    </a:lnTo>
                    <a:lnTo>
                      <a:pt x="60" y="60"/>
                    </a:lnTo>
                    <a:lnTo>
                      <a:pt x="62" y="60"/>
                    </a:lnTo>
                    <a:lnTo>
                      <a:pt x="64" y="60"/>
                    </a:lnTo>
                    <a:lnTo>
                      <a:pt x="66" y="60"/>
                    </a:lnTo>
                    <a:lnTo>
                      <a:pt x="68" y="60"/>
                    </a:lnTo>
                    <a:lnTo>
                      <a:pt x="72" y="62"/>
                    </a:lnTo>
                    <a:lnTo>
                      <a:pt x="74" y="62"/>
                    </a:lnTo>
                    <a:lnTo>
                      <a:pt x="74" y="64"/>
                    </a:lnTo>
                    <a:lnTo>
                      <a:pt x="74" y="66"/>
                    </a:lnTo>
                    <a:lnTo>
                      <a:pt x="74" y="68"/>
                    </a:lnTo>
                    <a:lnTo>
                      <a:pt x="76" y="68"/>
                    </a:lnTo>
                    <a:lnTo>
                      <a:pt x="76" y="70"/>
                    </a:lnTo>
                    <a:lnTo>
                      <a:pt x="76" y="72"/>
                    </a:lnTo>
                    <a:lnTo>
                      <a:pt x="76" y="74"/>
                    </a:lnTo>
                    <a:lnTo>
                      <a:pt x="74" y="74"/>
                    </a:lnTo>
                    <a:lnTo>
                      <a:pt x="74" y="76"/>
                    </a:lnTo>
                    <a:lnTo>
                      <a:pt x="76" y="78"/>
                    </a:lnTo>
                    <a:lnTo>
                      <a:pt x="76" y="80"/>
                    </a:lnTo>
                    <a:lnTo>
                      <a:pt x="78" y="80"/>
                    </a:lnTo>
                    <a:lnTo>
                      <a:pt x="80" y="80"/>
                    </a:lnTo>
                    <a:lnTo>
                      <a:pt x="82" y="80"/>
                    </a:lnTo>
                    <a:lnTo>
                      <a:pt x="84" y="80"/>
                    </a:lnTo>
                    <a:lnTo>
                      <a:pt x="86" y="80"/>
                    </a:lnTo>
                    <a:lnTo>
                      <a:pt x="88" y="80"/>
                    </a:lnTo>
                    <a:lnTo>
                      <a:pt x="90" y="80"/>
                    </a:lnTo>
                    <a:lnTo>
                      <a:pt x="92" y="80"/>
                    </a:lnTo>
                    <a:lnTo>
                      <a:pt x="94" y="82"/>
                    </a:lnTo>
                    <a:lnTo>
                      <a:pt x="96" y="82"/>
                    </a:lnTo>
                    <a:lnTo>
                      <a:pt x="98" y="82"/>
                    </a:lnTo>
                    <a:lnTo>
                      <a:pt x="100" y="82"/>
                    </a:lnTo>
                    <a:lnTo>
                      <a:pt x="100" y="80"/>
                    </a:lnTo>
                    <a:lnTo>
                      <a:pt x="102" y="80"/>
                    </a:lnTo>
                    <a:lnTo>
                      <a:pt x="104" y="82"/>
                    </a:lnTo>
                    <a:lnTo>
                      <a:pt x="106" y="84"/>
                    </a:lnTo>
                    <a:lnTo>
                      <a:pt x="108" y="84"/>
                    </a:lnTo>
                    <a:lnTo>
                      <a:pt x="108" y="86"/>
                    </a:lnTo>
                    <a:lnTo>
                      <a:pt x="110" y="88"/>
                    </a:lnTo>
                    <a:lnTo>
                      <a:pt x="110" y="90"/>
                    </a:lnTo>
                    <a:lnTo>
                      <a:pt x="112" y="92"/>
                    </a:lnTo>
                    <a:lnTo>
                      <a:pt x="114" y="94"/>
                    </a:lnTo>
                    <a:lnTo>
                      <a:pt x="114" y="96"/>
                    </a:lnTo>
                    <a:lnTo>
                      <a:pt x="116" y="96"/>
                    </a:lnTo>
                    <a:lnTo>
                      <a:pt x="116" y="98"/>
                    </a:lnTo>
                    <a:lnTo>
                      <a:pt x="118" y="100"/>
                    </a:lnTo>
                    <a:lnTo>
                      <a:pt x="120" y="104"/>
                    </a:lnTo>
                    <a:lnTo>
                      <a:pt x="120" y="106"/>
                    </a:lnTo>
                    <a:lnTo>
                      <a:pt x="122" y="108"/>
                    </a:lnTo>
                    <a:lnTo>
                      <a:pt x="124" y="110"/>
                    </a:lnTo>
                    <a:lnTo>
                      <a:pt x="126" y="110"/>
                    </a:lnTo>
                    <a:lnTo>
                      <a:pt x="128" y="112"/>
                    </a:lnTo>
                    <a:lnTo>
                      <a:pt x="132" y="112"/>
                    </a:lnTo>
                    <a:lnTo>
                      <a:pt x="134" y="112"/>
                    </a:lnTo>
                    <a:lnTo>
                      <a:pt x="136" y="114"/>
                    </a:lnTo>
                    <a:lnTo>
                      <a:pt x="138" y="116"/>
                    </a:lnTo>
                    <a:lnTo>
                      <a:pt x="140" y="118"/>
                    </a:lnTo>
                    <a:lnTo>
                      <a:pt x="140" y="120"/>
                    </a:lnTo>
                    <a:lnTo>
                      <a:pt x="142" y="120"/>
                    </a:lnTo>
                    <a:lnTo>
                      <a:pt x="144" y="122"/>
                    </a:lnTo>
                    <a:lnTo>
                      <a:pt x="146" y="122"/>
                    </a:lnTo>
                    <a:lnTo>
                      <a:pt x="148" y="122"/>
                    </a:lnTo>
                    <a:lnTo>
                      <a:pt x="148" y="124"/>
                    </a:lnTo>
                    <a:lnTo>
                      <a:pt x="150" y="124"/>
                    </a:lnTo>
                    <a:lnTo>
                      <a:pt x="152" y="124"/>
                    </a:lnTo>
                    <a:lnTo>
                      <a:pt x="154" y="124"/>
                    </a:lnTo>
                    <a:lnTo>
                      <a:pt x="156" y="124"/>
                    </a:lnTo>
                    <a:lnTo>
                      <a:pt x="156" y="126"/>
                    </a:lnTo>
                    <a:lnTo>
                      <a:pt x="158" y="126"/>
                    </a:lnTo>
                    <a:lnTo>
                      <a:pt x="160" y="126"/>
                    </a:lnTo>
                    <a:lnTo>
                      <a:pt x="160" y="128"/>
                    </a:lnTo>
                    <a:lnTo>
                      <a:pt x="162" y="128"/>
                    </a:lnTo>
                    <a:lnTo>
                      <a:pt x="164" y="128"/>
                    </a:lnTo>
                    <a:lnTo>
                      <a:pt x="164" y="130"/>
                    </a:lnTo>
                    <a:lnTo>
                      <a:pt x="168" y="132"/>
                    </a:lnTo>
                    <a:lnTo>
                      <a:pt x="170" y="134"/>
                    </a:lnTo>
                    <a:lnTo>
                      <a:pt x="172" y="134"/>
                    </a:lnTo>
                    <a:lnTo>
                      <a:pt x="174" y="136"/>
                    </a:lnTo>
                    <a:lnTo>
                      <a:pt x="176" y="138"/>
                    </a:lnTo>
                    <a:lnTo>
                      <a:pt x="178" y="138"/>
                    </a:lnTo>
                    <a:lnTo>
                      <a:pt x="180" y="138"/>
                    </a:lnTo>
                    <a:lnTo>
                      <a:pt x="182" y="138"/>
                    </a:lnTo>
                    <a:lnTo>
                      <a:pt x="184" y="138"/>
                    </a:lnTo>
                    <a:lnTo>
                      <a:pt x="186" y="138"/>
                    </a:lnTo>
                    <a:lnTo>
                      <a:pt x="188" y="140"/>
                    </a:lnTo>
                    <a:lnTo>
                      <a:pt x="190" y="140"/>
                    </a:lnTo>
                    <a:lnTo>
                      <a:pt x="190" y="142"/>
                    </a:lnTo>
                    <a:lnTo>
                      <a:pt x="192" y="142"/>
                    </a:lnTo>
                    <a:lnTo>
                      <a:pt x="194" y="144"/>
                    </a:lnTo>
                    <a:lnTo>
                      <a:pt x="194" y="146"/>
                    </a:lnTo>
                    <a:lnTo>
                      <a:pt x="194" y="148"/>
                    </a:lnTo>
                    <a:lnTo>
                      <a:pt x="194" y="150"/>
                    </a:lnTo>
                    <a:lnTo>
                      <a:pt x="196" y="152"/>
                    </a:lnTo>
                    <a:lnTo>
                      <a:pt x="196" y="154"/>
                    </a:lnTo>
                    <a:lnTo>
                      <a:pt x="198" y="154"/>
                    </a:lnTo>
                    <a:lnTo>
                      <a:pt x="198" y="156"/>
                    </a:lnTo>
                    <a:lnTo>
                      <a:pt x="200" y="156"/>
                    </a:lnTo>
                    <a:lnTo>
                      <a:pt x="202" y="154"/>
                    </a:lnTo>
                    <a:lnTo>
                      <a:pt x="204" y="152"/>
                    </a:lnTo>
                    <a:lnTo>
                      <a:pt x="204" y="154"/>
                    </a:lnTo>
                    <a:lnTo>
                      <a:pt x="206" y="156"/>
                    </a:lnTo>
                    <a:lnTo>
                      <a:pt x="206" y="158"/>
                    </a:lnTo>
                    <a:lnTo>
                      <a:pt x="208" y="158"/>
                    </a:lnTo>
                    <a:lnTo>
                      <a:pt x="208" y="156"/>
                    </a:lnTo>
                    <a:lnTo>
                      <a:pt x="210" y="156"/>
                    </a:lnTo>
                    <a:lnTo>
                      <a:pt x="212" y="156"/>
                    </a:lnTo>
                    <a:lnTo>
                      <a:pt x="214" y="156"/>
                    </a:lnTo>
                    <a:lnTo>
                      <a:pt x="214" y="158"/>
                    </a:lnTo>
                    <a:lnTo>
                      <a:pt x="216" y="158"/>
                    </a:lnTo>
                    <a:lnTo>
                      <a:pt x="214" y="156"/>
                    </a:lnTo>
                    <a:lnTo>
                      <a:pt x="214" y="154"/>
                    </a:lnTo>
                    <a:lnTo>
                      <a:pt x="216" y="152"/>
                    </a:lnTo>
                    <a:lnTo>
                      <a:pt x="216" y="150"/>
                    </a:lnTo>
                    <a:lnTo>
                      <a:pt x="218" y="148"/>
                    </a:lnTo>
                    <a:lnTo>
                      <a:pt x="220" y="146"/>
                    </a:lnTo>
                    <a:lnTo>
                      <a:pt x="220" y="144"/>
                    </a:lnTo>
                    <a:lnTo>
                      <a:pt x="220" y="142"/>
                    </a:lnTo>
                    <a:lnTo>
                      <a:pt x="222" y="142"/>
                    </a:lnTo>
                    <a:lnTo>
                      <a:pt x="220" y="140"/>
                    </a:lnTo>
                    <a:lnTo>
                      <a:pt x="220" y="138"/>
                    </a:lnTo>
                    <a:lnTo>
                      <a:pt x="218" y="138"/>
                    </a:lnTo>
                    <a:lnTo>
                      <a:pt x="218" y="136"/>
                    </a:lnTo>
                    <a:lnTo>
                      <a:pt x="216" y="136"/>
                    </a:lnTo>
                    <a:lnTo>
                      <a:pt x="216" y="134"/>
                    </a:lnTo>
                    <a:lnTo>
                      <a:pt x="214" y="132"/>
                    </a:lnTo>
                    <a:lnTo>
                      <a:pt x="214" y="130"/>
                    </a:lnTo>
                    <a:lnTo>
                      <a:pt x="216" y="128"/>
                    </a:lnTo>
                    <a:lnTo>
                      <a:pt x="216" y="126"/>
                    </a:lnTo>
                    <a:lnTo>
                      <a:pt x="216" y="124"/>
                    </a:lnTo>
                    <a:lnTo>
                      <a:pt x="214" y="124"/>
                    </a:lnTo>
                    <a:lnTo>
                      <a:pt x="210" y="124"/>
                    </a:lnTo>
                    <a:lnTo>
                      <a:pt x="210" y="122"/>
                    </a:lnTo>
                    <a:lnTo>
                      <a:pt x="208" y="122"/>
                    </a:lnTo>
                    <a:lnTo>
                      <a:pt x="206" y="122"/>
                    </a:lnTo>
                    <a:lnTo>
                      <a:pt x="204" y="122"/>
                    </a:lnTo>
                    <a:lnTo>
                      <a:pt x="204" y="120"/>
                    </a:lnTo>
                    <a:lnTo>
                      <a:pt x="202" y="120"/>
                    </a:lnTo>
                    <a:lnTo>
                      <a:pt x="200" y="120"/>
                    </a:lnTo>
                    <a:lnTo>
                      <a:pt x="200" y="118"/>
                    </a:lnTo>
                    <a:lnTo>
                      <a:pt x="200" y="116"/>
                    </a:lnTo>
                    <a:lnTo>
                      <a:pt x="202" y="114"/>
                    </a:lnTo>
                    <a:lnTo>
                      <a:pt x="204" y="114"/>
                    </a:lnTo>
                    <a:lnTo>
                      <a:pt x="206" y="114"/>
                    </a:lnTo>
                    <a:lnTo>
                      <a:pt x="208" y="114"/>
                    </a:lnTo>
                    <a:lnTo>
                      <a:pt x="210" y="114"/>
                    </a:lnTo>
                    <a:lnTo>
                      <a:pt x="212" y="114"/>
                    </a:lnTo>
                    <a:lnTo>
                      <a:pt x="214" y="114"/>
                    </a:lnTo>
                    <a:lnTo>
                      <a:pt x="216" y="114"/>
                    </a:lnTo>
                    <a:lnTo>
                      <a:pt x="218" y="112"/>
                    </a:lnTo>
                    <a:lnTo>
                      <a:pt x="218" y="110"/>
                    </a:lnTo>
                    <a:lnTo>
                      <a:pt x="218" y="108"/>
                    </a:lnTo>
                    <a:lnTo>
                      <a:pt x="218" y="106"/>
                    </a:lnTo>
                    <a:lnTo>
                      <a:pt x="220" y="106"/>
                    </a:lnTo>
                    <a:lnTo>
                      <a:pt x="220" y="104"/>
                    </a:lnTo>
                    <a:lnTo>
                      <a:pt x="218" y="104"/>
                    </a:lnTo>
                    <a:lnTo>
                      <a:pt x="218" y="102"/>
                    </a:lnTo>
                    <a:lnTo>
                      <a:pt x="218" y="100"/>
                    </a:lnTo>
                    <a:lnTo>
                      <a:pt x="216" y="100"/>
                    </a:lnTo>
                    <a:lnTo>
                      <a:pt x="218" y="100"/>
                    </a:lnTo>
                    <a:lnTo>
                      <a:pt x="220" y="100"/>
                    </a:lnTo>
                    <a:lnTo>
                      <a:pt x="222" y="100"/>
                    </a:lnTo>
                    <a:lnTo>
                      <a:pt x="224" y="100"/>
                    </a:lnTo>
                    <a:lnTo>
                      <a:pt x="226" y="98"/>
                    </a:lnTo>
                    <a:lnTo>
                      <a:pt x="224" y="96"/>
                    </a:lnTo>
                    <a:lnTo>
                      <a:pt x="222" y="94"/>
                    </a:lnTo>
                    <a:lnTo>
                      <a:pt x="224" y="92"/>
                    </a:lnTo>
                    <a:lnTo>
                      <a:pt x="224" y="90"/>
                    </a:lnTo>
                    <a:lnTo>
                      <a:pt x="226" y="90"/>
                    </a:lnTo>
                    <a:lnTo>
                      <a:pt x="228" y="90"/>
                    </a:lnTo>
                    <a:lnTo>
                      <a:pt x="228" y="92"/>
                    </a:lnTo>
                    <a:lnTo>
                      <a:pt x="230" y="92"/>
                    </a:lnTo>
                    <a:lnTo>
                      <a:pt x="232" y="92"/>
                    </a:lnTo>
                    <a:lnTo>
                      <a:pt x="234" y="90"/>
                    </a:lnTo>
                    <a:lnTo>
                      <a:pt x="238" y="88"/>
                    </a:lnTo>
                    <a:lnTo>
                      <a:pt x="240" y="86"/>
                    </a:lnTo>
                    <a:lnTo>
                      <a:pt x="242" y="86"/>
                    </a:lnTo>
                    <a:lnTo>
                      <a:pt x="244" y="86"/>
                    </a:lnTo>
                    <a:lnTo>
                      <a:pt x="246" y="88"/>
                    </a:lnTo>
                    <a:lnTo>
                      <a:pt x="248" y="90"/>
                    </a:lnTo>
                    <a:lnTo>
                      <a:pt x="246" y="92"/>
                    </a:lnTo>
                    <a:lnTo>
                      <a:pt x="244" y="94"/>
                    </a:lnTo>
                    <a:lnTo>
                      <a:pt x="242" y="94"/>
                    </a:lnTo>
                    <a:lnTo>
                      <a:pt x="242" y="96"/>
                    </a:lnTo>
                    <a:lnTo>
                      <a:pt x="242" y="98"/>
                    </a:lnTo>
                    <a:lnTo>
                      <a:pt x="244" y="98"/>
                    </a:lnTo>
                    <a:lnTo>
                      <a:pt x="246" y="98"/>
                    </a:lnTo>
                    <a:lnTo>
                      <a:pt x="248" y="98"/>
                    </a:lnTo>
                    <a:lnTo>
                      <a:pt x="248" y="100"/>
                    </a:lnTo>
                    <a:lnTo>
                      <a:pt x="250" y="100"/>
                    </a:lnTo>
                    <a:lnTo>
                      <a:pt x="252" y="100"/>
                    </a:lnTo>
                    <a:lnTo>
                      <a:pt x="254" y="98"/>
                    </a:lnTo>
                    <a:lnTo>
                      <a:pt x="256" y="98"/>
                    </a:lnTo>
                    <a:lnTo>
                      <a:pt x="258" y="98"/>
                    </a:lnTo>
                    <a:lnTo>
                      <a:pt x="260" y="98"/>
                    </a:lnTo>
                    <a:lnTo>
                      <a:pt x="260" y="100"/>
                    </a:lnTo>
                    <a:lnTo>
                      <a:pt x="262" y="100"/>
                    </a:lnTo>
                    <a:lnTo>
                      <a:pt x="264" y="102"/>
                    </a:lnTo>
                    <a:lnTo>
                      <a:pt x="266" y="100"/>
                    </a:lnTo>
                    <a:lnTo>
                      <a:pt x="266" y="98"/>
                    </a:lnTo>
                    <a:lnTo>
                      <a:pt x="268" y="98"/>
                    </a:lnTo>
                    <a:lnTo>
                      <a:pt x="270" y="98"/>
                    </a:lnTo>
                    <a:lnTo>
                      <a:pt x="270" y="96"/>
                    </a:lnTo>
                    <a:lnTo>
                      <a:pt x="272" y="96"/>
                    </a:lnTo>
                    <a:lnTo>
                      <a:pt x="274" y="96"/>
                    </a:lnTo>
                    <a:lnTo>
                      <a:pt x="274" y="94"/>
                    </a:lnTo>
                    <a:lnTo>
                      <a:pt x="276" y="94"/>
                    </a:lnTo>
                    <a:lnTo>
                      <a:pt x="278" y="92"/>
                    </a:lnTo>
                    <a:lnTo>
                      <a:pt x="280" y="92"/>
                    </a:lnTo>
                    <a:lnTo>
                      <a:pt x="282" y="90"/>
                    </a:lnTo>
                    <a:lnTo>
                      <a:pt x="282" y="88"/>
                    </a:lnTo>
                    <a:lnTo>
                      <a:pt x="280" y="88"/>
                    </a:lnTo>
                    <a:lnTo>
                      <a:pt x="278" y="88"/>
                    </a:lnTo>
                    <a:lnTo>
                      <a:pt x="276" y="88"/>
                    </a:lnTo>
                    <a:lnTo>
                      <a:pt x="274" y="8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1" name="Freeform 200">
                <a:extLst>
                  <a:ext uri="{FF2B5EF4-FFF2-40B4-BE49-F238E27FC236}">
                    <a16:creationId xmlns:a16="http://schemas.microsoft.com/office/drawing/2014/main" id="{388E4480-2E17-4029-B35D-888BC3953BD6}"/>
                  </a:ext>
                </a:extLst>
              </p:cNvPr>
              <p:cNvSpPr>
                <a:spLocks noChangeAspect="1" noEditPoints="1"/>
              </p:cNvSpPr>
              <p:nvPr/>
            </p:nvSpPr>
            <p:spPr bwMode="auto">
              <a:xfrm>
                <a:off x="5583477" y="2413961"/>
                <a:ext cx="984973" cy="483078"/>
              </a:xfrm>
              <a:custGeom>
                <a:avLst/>
                <a:gdLst/>
                <a:ahLst/>
                <a:cxnLst>
                  <a:cxn ang="0">
                    <a:pos x="582" y="106"/>
                  </a:cxn>
                  <a:cxn ang="0">
                    <a:pos x="548" y="92"/>
                  </a:cxn>
                  <a:cxn ang="0">
                    <a:pos x="508" y="86"/>
                  </a:cxn>
                  <a:cxn ang="0">
                    <a:pos x="482" y="84"/>
                  </a:cxn>
                  <a:cxn ang="0">
                    <a:pos x="432" y="40"/>
                  </a:cxn>
                  <a:cxn ang="0">
                    <a:pos x="406" y="20"/>
                  </a:cxn>
                  <a:cxn ang="0">
                    <a:pos x="386" y="26"/>
                  </a:cxn>
                  <a:cxn ang="0">
                    <a:pos x="362" y="34"/>
                  </a:cxn>
                  <a:cxn ang="0">
                    <a:pos x="352" y="22"/>
                  </a:cxn>
                  <a:cxn ang="0">
                    <a:pos x="326" y="22"/>
                  </a:cxn>
                  <a:cxn ang="0">
                    <a:pos x="308" y="2"/>
                  </a:cxn>
                  <a:cxn ang="0">
                    <a:pos x="242" y="12"/>
                  </a:cxn>
                  <a:cxn ang="0">
                    <a:pos x="184" y="28"/>
                  </a:cxn>
                  <a:cxn ang="0">
                    <a:pos x="204" y="44"/>
                  </a:cxn>
                  <a:cxn ang="0">
                    <a:pos x="182" y="60"/>
                  </a:cxn>
                  <a:cxn ang="0">
                    <a:pos x="206" y="86"/>
                  </a:cxn>
                  <a:cxn ang="0">
                    <a:pos x="170" y="84"/>
                  </a:cxn>
                  <a:cxn ang="0">
                    <a:pos x="134" y="80"/>
                  </a:cxn>
                  <a:cxn ang="0">
                    <a:pos x="108" y="82"/>
                  </a:cxn>
                  <a:cxn ang="0">
                    <a:pos x="90" y="70"/>
                  </a:cxn>
                  <a:cxn ang="0">
                    <a:pos x="42" y="66"/>
                  </a:cxn>
                  <a:cxn ang="0">
                    <a:pos x="24" y="98"/>
                  </a:cxn>
                  <a:cxn ang="0">
                    <a:pos x="0" y="100"/>
                  </a:cxn>
                  <a:cxn ang="0">
                    <a:pos x="14" y="140"/>
                  </a:cxn>
                  <a:cxn ang="0">
                    <a:pos x="34" y="162"/>
                  </a:cxn>
                  <a:cxn ang="0">
                    <a:pos x="64" y="156"/>
                  </a:cxn>
                  <a:cxn ang="0">
                    <a:pos x="98" y="158"/>
                  </a:cxn>
                  <a:cxn ang="0">
                    <a:pos x="110" y="184"/>
                  </a:cxn>
                  <a:cxn ang="0">
                    <a:pos x="130" y="192"/>
                  </a:cxn>
                  <a:cxn ang="0">
                    <a:pos x="108" y="188"/>
                  </a:cxn>
                  <a:cxn ang="0">
                    <a:pos x="78" y="196"/>
                  </a:cxn>
                  <a:cxn ang="0">
                    <a:pos x="68" y="202"/>
                  </a:cxn>
                  <a:cxn ang="0">
                    <a:pos x="88" y="222"/>
                  </a:cxn>
                  <a:cxn ang="0">
                    <a:pos x="110" y="248"/>
                  </a:cxn>
                  <a:cxn ang="0">
                    <a:pos x="134" y="240"/>
                  </a:cxn>
                  <a:cxn ang="0">
                    <a:pos x="160" y="260"/>
                  </a:cxn>
                  <a:cxn ang="0">
                    <a:pos x="158" y="204"/>
                  </a:cxn>
                  <a:cxn ang="0">
                    <a:pos x="190" y="182"/>
                  </a:cxn>
                  <a:cxn ang="0">
                    <a:pos x="208" y="174"/>
                  </a:cxn>
                  <a:cxn ang="0">
                    <a:pos x="222" y="168"/>
                  </a:cxn>
                  <a:cxn ang="0">
                    <a:pos x="222" y="160"/>
                  </a:cxn>
                  <a:cxn ang="0">
                    <a:pos x="222" y="172"/>
                  </a:cxn>
                  <a:cxn ang="0">
                    <a:pos x="216" y="192"/>
                  </a:cxn>
                  <a:cxn ang="0">
                    <a:pos x="252" y="220"/>
                  </a:cxn>
                  <a:cxn ang="0">
                    <a:pos x="310" y="228"/>
                  </a:cxn>
                  <a:cxn ang="0">
                    <a:pos x="338" y="262"/>
                  </a:cxn>
                  <a:cxn ang="0">
                    <a:pos x="368" y="266"/>
                  </a:cxn>
                  <a:cxn ang="0">
                    <a:pos x="400" y="244"/>
                  </a:cxn>
                  <a:cxn ang="0">
                    <a:pos x="422" y="238"/>
                  </a:cxn>
                  <a:cxn ang="0">
                    <a:pos x="450" y="230"/>
                  </a:cxn>
                  <a:cxn ang="0">
                    <a:pos x="522" y="238"/>
                  </a:cxn>
                  <a:cxn ang="0">
                    <a:pos x="544" y="226"/>
                  </a:cxn>
                  <a:cxn ang="0">
                    <a:pos x="518" y="192"/>
                  </a:cxn>
                  <a:cxn ang="0">
                    <a:pos x="548" y="188"/>
                  </a:cxn>
                  <a:cxn ang="0">
                    <a:pos x="552" y="148"/>
                  </a:cxn>
                  <a:cxn ang="0">
                    <a:pos x="590" y="146"/>
                  </a:cxn>
                  <a:cxn ang="0">
                    <a:pos x="592" y="118"/>
                  </a:cxn>
                  <a:cxn ang="0">
                    <a:pos x="472" y="166"/>
                  </a:cxn>
                  <a:cxn ang="0">
                    <a:pos x="434" y="170"/>
                  </a:cxn>
                  <a:cxn ang="0">
                    <a:pos x="422" y="186"/>
                  </a:cxn>
                  <a:cxn ang="0">
                    <a:pos x="436" y="158"/>
                  </a:cxn>
                  <a:cxn ang="0">
                    <a:pos x="470" y="162"/>
                  </a:cxn>
                </a:cxnLst>
                <a:rect l="0" t="0" r="r" b="b"/>
                <a:pathLst>
                  <a:path w="598" h="276">
                    <a:moveTo>
                      <a:pt x="592" y="114"/>
                    </a:moveTo>
                    <a:lnTo>
                      <a:pt x="594" y="114"/>
                    </a:lnTo>
                    <a:lnTo>
                      <a:pt x="596" y="114"/>
                    </a:lnTo>
                    <a:lnTo>
                      <a:pt x="598" y="114"/>
                    </a:lnTo>
                    <a:lnTo>
                      <a:pt x="594" y="112"/>
                    </a:lnTo>
                    <a:lnTo>
                      <a:pt x="592" y="110"/>
                    </a:lnTo>
                    <a:lnTo>
                      <a:pt x="590" y="108"/>
                    </a:lnTo>
                    <a:lnTo>
                      <a:pt x="590" y="106"/>
                    </a:lnTo>
                    <a:lnTo>
                      <a:pt x="588" y="104"/>
                    </a:lnTo>
                    <a:lnTo>
                      <a:pt x="586" y="102"/>
                    </a:lnTo>
                    <a:lnTo>
                      <a:pt x="586" y="100"/>
                    </a:lnTo>
                    <a:lnTo>
                      <a:pt x="584" y="100"/>
                    </a:lnTo>
                    <a:lnTo>
                      <a:pt x="584" y="102"/>
                    </a:lnTo>
                    <a:lnTo>
                      <a:pt x="582" y="104"/>
                    </a:lnTo>
                    <a:lnTo>
                      <a:pt x="582" y="106"/>
                    </a:lnTo>
                    <a:lnTo>
                      <a:pt x="580" y="108"/>
                    </a:lnTo>
                    <a:lnTo>
                      <a:pt x="572" y="108"/>
                    </a:lnTo>
                    <a:lnTo>
                      <a:pt x="570" y="106"/>
                    </a:lnTo>
                    <a:lnTo>
                      <a:pt x="564" y="106"/>
                    </a:lnTo>
                    <a:lnTo>
                      <a:pt x="564" y="104"/>
                    </a:lnTo>
                    <a:lnTo>
                      <a:pt x="562" y="102"/>
                    </a:lnTo>
                    <a:lnTo>
                      <a:pt x="562" y="100"/>
                    </a:lnTo>
                    <a:lnTo>
                      <a:pt x="560" y="98"/>
                    </a:lnTo>
                    <a:lnTo>
                      <a:pt x="558" y="96"/>
                    </a:lnTo>
                    <a:lnTo>
                      <a:pt x="558" y="94"/>
                    </a:lnTo>
                    <a:lnTo>
                      <a:pt x="556" y="94"/>
                    </a:lnTo>
                    <a:lnTo>
                      <a:pt x="554" y="92"/>
                    </a:lnTo>
                    <a:lnTo>
                      <a:pt x="552" y="92"/>
                    </a:lnTo>
                    <a:lnTo>
                      <a:pt x="548" y="92"/>
                    </a:lnTo>
                    <a:lnTo>
                      <a:pt x="544" y="92"/>
                    </a:lnTo>
                    <a:lnTo>
                      <a:pt x="544" y="90"/>
                    </a:lnTo>
                    <a:lnTo>
                      <a:pt x="542" y="88"/>
                    </a:lnTo>
                    <a:lnTo>
                      <a:pt x="540" y="86"/>
                    </a:lnTo>
                    <a:lnTo>
                      <a:pt x="538" y="84"/>
                    </a:lnTo>
                    <a:lnTo>
                      <a:pt x="536" y="82"/>
                    </a:lnTo>
                    <a:lnTo>
                      <a:pt x="532" y="80"/>
                    </a:lnTo>
                    <a:lnTo>
                      <a:pt x="530" y="80"/>
                    </a:lnTo>
                    <a:lnTo>
                      <a:pt x="524" y="80"/>
                    </a:lnTo>
                    <a:lnTo>
                      <a:pt x="520" y="80"/>
                    </a:lnTo>
                    <a:lnTo>
                      <a:pt x="518" y="82"/>
                    </a:lnTo>
                    <a:lnTo>
                      <a:pt x="516" y="84"/>
                    </a:lnTo>
                    <a:lnTo>
                      <a:pt x="514" y="84"/>
                    </a:lnTo>
                    <a:lnTo>
                      <a:pt x="512" y="86"/>
                    </a:lnTo>
                    <a:lnTo>
                      <a:pt x="510" y="86"/>
                    </a:lnTo>
                    <a:lnTo>
                      <a:pt x="508" y="86"/>
                    </a:lnTo>
                    <a:lnTo>
                      <a:pt x="506" y="84"/>
                    </a:lnTo>
                    <a:lnTo>
                      <a:pt x="504" y="84"/>
                    </a:lnTo>
                    <a:lnTo>
                      <a:pt x="502" y="82"/>
                    </a:lnTo>
                    <a:lnTo>
                      <a:pt x="500" y="80"/>
                    </a:lnTo>
                    <a:lnTo>
                      <a:pt x="494" y="80"/>
                    </a:lnTo>
                    <a:lnTo>
                      <a:pt x="494" y="76"/>
                    </a:lnTo>
                    <a:lnTo>
                      <a:pt x="492" y="76"/>
                    </a:lnTo>
                    <a:lnTo>
                      <a:pt x="492" y="74"/>
                    </a:lnTo>
                    <a:lnTo>
                      <a:pt x="490" y="72"/>
                    </a:lnTo>
                    <a:lnTo>
                      <a:pt x="488" y="74"/>
                    </a:lnTo>
                    <a:lnTo>
                      <a:pt x="488" y="76"/>
                    </a:lnTo>
                    <a:lnTo>
                      <a:pt x="486" y="78"/>
                    </a:lnTo>
                    <a:lnTo>
                      <a:pt x="484" y="82"/>
                    </a:lnTo>
                    <a:lnTo>
                      <a:pt x="482" y="84"/>
                    </a:lnTo>
                    <a:lnTo>
                      <a:pt x="478" y="84"/>
                    </a:lnTo>
                    <a:lnTo>
                      <a:pt x="476" y="82"/>
                    </a:lnTo>
                    <a:lnTo>
                      <a:pt x="474" y="80"/>
                    </a:lnTo>
                    <a:lnTo>
                      <a:pt x="470" y="76"/>
                    </a:lnTo>
                    <a:lnTo>
                      <a:pt x="468" y="74"/>
                    </a:lnTo>
                    <a:lnTo>
                      <a:pt x="466" y="70"/>
                    </a:lnTo>
                    <a:lnTo>
                      <a:pt x="464" y="68"/>
                    </a:lnTo>
                    <a:lnTo>
                      <a:pt x="462" y="66"/>
                    </a:lnTo>
                    <a:lnTo>
                      <a:pt x="460" y="64"/>
                    </a:lnTo>
                    <a:lnTo>
                      <a:pt x="458" y="64"/>
                    </a:lnTo>
                    <a:lnTo>
                      <a:pt x="456" y="62"/>
                    </a:lnTo>
                    <a:lnTo>
                      <a:pt x="454" y="60"/>
                    </a:lnTo>
                    <a:lnTo>
                      <a:pt x="448" y="54"/>
                    </a:lnTo>
                    <a:lnTo>
                      <a:pt x="444" y="50"/>
                    </a:lnTo>
                    <a:lnTo>
                      <a:pt x="438" y="44"/>
                    </a:lnTo>
                    <a:lnTo>
                      <a:pt x="436" y="42"/>
                    </a:lnTo>
                    <a:lnTo>
                      <a:pt x="434" y="40"/>
                    </a:lnTo>
                    <a:lnTo>
                      <a:pt x="432" y="40"/>
                    </a:lnTo>
                    <a:lnTo>
                      <a:pt x="430" y="38"/>
                    </a:lnTo>
                    <a:lnTo>
                      <a:pt x="430" y="36"/>
                    </a:lnTo>
                    <a:lnTo>
                      <a:pt x="428" y="36"/>
                    </a:lnTo>
                    <a:lnTo>
                      <a:pt x="426" y="36"/>
                    </a:lnTo>
                    <a:lnTo>
                      <a:pt x="426" y="34"/>
                    </a:lnTo>
                    <a:lnTo>
                      <a:pt x="424" y="34"/>
                    </a:lnTo>
                    <a:lnTo>
                      <a:pt x="422" y="32"/>
                    </a:lnTo>
                    <a:lnTo>
                      <a:pt x="420" y="32"/>
                    </a:lnTo>
                    <a:lnTo>
                      <a:pt x="414" y="30"/>
                    </a:lnTo>
                    <a:lnTo>
                      <a:pt x="410" y="28"/>
                    </a:lnTo>
                    <a:lnTo>
                      <a:pt x="408" y="26"/>
                    </a:lnTo>
                    <a:lnTo>
                      <a:pt x="406" y="26"/>
                    </a:lnTo>
                    <a:lnTo>
                      <a:pt x="404" y="24"/>
                    </a:lnTo>
                    <a:lnTo>
                      <a:pt x="402" y="24"/>
                    </a:lnTo>
                    <a:lnTo>
                      <a:pt x="402" y="22"/>
                    </a:lnTo>
                    <a:lnTo>
                      <a:pt x="404" y="22"/>
                    </a:lnTo>
                    <a:lnTo>
                      <a:pt x="406" y="20"/>
                    </a:lnTo>
                    <a:lnTo>
                      <a:pt x="406" y="16"/>
                    </a:lnTo>
                    <a:lnTo>
                      <a:pt x="404" y="14"/>
                    </a:lnTo>
                    <a:lnTo>
                      <a:pt x="402" y="16"/>
                    </a:lnTo>
                    <a:lnTo>
                      <a:pt x="400" y="18"/>
                    </a:lnTo>
                    <a:lnTo>
                      <a:pt x="398" y="18"/>
                    </a:lnTo>
                    <a:lnTo>
                      <a:pt x="398" y="20"/>
                    </a:lnTo>
                    <a:lnTo>
                      <a:pt x="396" y="20"/>
                    </a:lnTo>
                    <a:lnTo>
                      <a:pt x="394" y="20"/>
                    </a:lnTo>
                    <a:lnTo>
                      <a:pt x="394" y="22"/>
                    </a:lnTo>
                    <a:lnTo>
                      <a:pt x="392" y="22"/>
                    </a:lnTo>
                    <a:lnTo>
                      <a:pt x="390" y="24"/>
                    </a:lnTo>
                    <a:lnTo>
                      <a:pt x="388" y="24"/>
                    </a:lnTo>
                    <a:lnTo>
                      <a:pt x="388" y="26"/>
                    </a:lnTo>
                    <a:lnTo>
                      <a:pt x="386" y="26"/>
                    </a:lnTo>
                    <a:lnTo>
                      <a:pt x="384" y="28"/>
                    </a:lnTo>
                    <a:lnTo>
                      <a:pt x="382" y="28"/>
                    </a:lnTo>
                    <a:lnTo>
                      <a:pt x="382" y="32"/>
                    </a:lnTo>
                    <a:lnTo>
                      <a:pt x="380" y="34"/>
                    </a:lnTo>
                    <a:lnTo>
                      <a:pt x="378" y="36"/>
                    </a:lnTo>
                    <a:lnTo>
                      <a:pt x="376" y="34"/>
                    </a:lnTo>
                    <a:lnTo>
                      <a:pt x="374" y="34"/>
                    </a:lnTo>
                    <a:lnTo>
                      <a:pt x="372" y="32"/>
                    </a:lnTo>
                    <a:lnTo>
                      <a:pt x="370" y="30"/>
                    </a:lnTo>
                    <a:lnTo>
                      <a:pt x="368" y="30"/>
                    </a:lnTo>
                    <a:lnTo>
                      <a:pt x="368" y="32"/>
                    </a:lnTo>
                    <a:lnTo>
                      <a:pt x="366" y="32"/>
                    </a:lnTo>
                    <a:lnTo>
                      <a:pt x="366" y="34"/>
                    </a:lnTo>
                    <a:lnTo>
                      <a:pt x="364" y="34"/>
                    </a:lnTo>
                    <a:lnTo>
                      <a:pt x="362" y="34"/>
                    </a:lnTo>
                    <a:lnTo>
                      <a:pt x="362" y="32"/>
                    </a:lnTo>
                    <a:lnTo>
                      <a:pt x="362" y="30"/>
                    </a:lnTo>
                    <a:lnTo>
                      <a:pt x="364" y="28"/>
                    </a:lnTo>
                    <a:lnTo>
                      <a:pt x="364" y="26"/>
                    </a:lnTo>
                    <a:lnTo>
                      <a:pt x="362" y="24"/>
                    </a:lnTo>
                    <a:lnTo>
                      <a:pt x="362" y="22"/>
                    </a:lnTo>
                    <a:lnTo>
                      <a:pt x="360" y="22"/>
                    </a:lnTo>
                    <a:lnTo>
                      <a:pt x="360" y="24"/>
                    </a:lnTo>
                    <a:lnTo>
                      <a:pt x="358" y="24"/>
                    </a:lnTo>
                    <a:lnTo>
                      <a:pt x="358" y="26"/>
                    </a:lnTo>
                    <a:lnTo>
                      <a:pt x="356" y="24"/>
                    </a:lnTo>
                    <a:lnTo>
                      <a:pt x="354" y="22"/>
                    </a:lnTo>
                    <a:lnTo>
                      <a:pt x="352" y="22"/>
                    </a:lnTo>
                    <a:lnTo>
                      <a:pt x="350" y="22"/>
                    </a:lnTo>
                    <a:lnTo>
                      <a:pt x="348" y="24"/>
                    </a:lnTo>
                    <a:lnTo>
                      <a:pt x="346" y="22"/>
                    </a:lnTo>
                    <a:lnTo>
                      <a:pt x="344" y="20"/>
                    </a:lnTo>
                    <a:lnTo>
                      <a:pt x="342" y="18"/>
                    </a:lnTo>
                    <a:lnTo>
                      <a:pt x="340" y="18"/>
                    </a:lnTo>
                    <a:lnTo>
                      <a:pt x="338" y="18"/>
                    </a:lnTo>
                    <a:lnTo>
                      <a:pt x="338" y="20"/>
                    </a:lnTo>
                    <a:lnTo>
                      <a:pt x="336" y="20"/>
                    </a:lnTo>
                    <a:lnTo>
                      <a:pt x="330" y="20"/>
                    </a:lnTo>
                    <a:lnTo>
                      <a:pt x="328" y="22"/>
                    </a:lnTo>
                    <a:lnTo>
                      <a:pt x="326" y="22"/>
                    </a:lnTo>
                    <a:lnTo>
                      <a:pt x="326" y="20"/>
                    </a:lnTo>
                    <a:lnTo>
                      <a:pt x="326" y="12"/>
                    </a:lnTo>
                    <a:lnTo>
                      <a:pt x="324" y="12"/>
                    </a:lnTo>
                    <a:lnTo>
                      <a:pt x="324" y="10"/>
                    </a:lnTo>
                    <a:lnTo>
                      <a:pt x="322" y="10"/>
                    </a:lnTo>
                    <a:lnTo>
                      <a:pt x="320" y="10"/>
                    </a:lnTo>
                    <a:lnTo>
                      <a:pt x="320" y="8"/>
                    </a:lnTo>
                    <a:lnTo>
                      <a:pt x="320" y="6"/>
                    </a:lnTo>
                    <a:lnTo>
                      <a:pt x="318" y="4"/>
                    </a:lnTo>
                    <a:lnTo>
                      <a:pt x="316" y="2"/>
                    </a:lnTo>
                    <a:lnTo>
                      <a:pt x="314" y="0"/>
                    </a:lnTo>
                    <a:lnTo>
                      <a:pt x="312" y="0"/>
                    </a:lnTo>
                    <a:lnTo>
                      <a:pt x="312" y="2"/>
                    </a:lnTo>
                    <a:lnTo>
                      <a:pt x="310" y="2"/>
                    </a:lnTo>
                    <a:lnTo>
                      <a:pt x="308" y="2"/>
                    </a:lnTo>
                    <a:lnTo>
                      <a:pt x="306" y="2"/>
                    </a:lnTo>
                    <a:lnTo>
                      <a:pt x="304" y="2"/>
                    </a:lnTo>
                    <a:lnTo>
                      <a:pt x="302" y="0"/>
                    </a:lnTo>
                    <a:lnTo>
                      <a:pt x="300" y="0"/>
                    </a:lnTo>
                    <a:lnTo>
                      <a:pt x="286" y="0"/>
                    </a:lnTo>
                    <a:lnTo>
                      <a:pt x="284" y="0"/>
                    </a:lnTo>
                    <a:lnTo>
                      <a:pt x="282" y="0"/>
                    </a:lnTo>
                    <a:lnTo>
                      <a:pt x="280" y="2"/>
                    </a:lnTo>
                    <a:lnTo>
                      <a:pt x="280" y="4"/>
                    </a:lnTo>
                    <a:lnTo>
                      <a:pt x="278" y="4"/>
                    </a:lnTo>
                    <a:lnTo>
                      <a:pt x="278" y="8"/>
                    </a:lnTo>
                    <a:lnTo>
                      <a:pt x="276" y="8"/>
                    </a:lnTo>
                    <a:lnTo>
                      <a:pt x="274" y="8"/>
                    </a:lnTo>
                    <a:lnTo>
                      <a:pt x="272" y="10"/>
                    </a:lnTo>
                    <a:lnTo>
                      <a:pt x="270" y="10"/>
                    </a:lnTo>
                    <a:lnTo>
                      <a:pt x="264" y="12"/>
                    </a:lnTo>
                    <a:lnTo>
                      <a:pt x="260" y="12"/>
                    </a:lnTo>
                    <a:lnTo>
                      <a:pt x="242" y="12"/>
                    </a:lnTo>
                    <a:lnTo>
                      <a:pt x="242" y="14"/>
                    </a:lnTo>
                    <a:lnTo>
                      <a:pt x="240" y="14"/>
                    </a:lnTo>
                    <a:lnTo>
                      <a:pt x="240" y="18"/>
                    </a:lnTo>
                    <a:lnTo>
                      <a:pt x="226" y="18"/>
                    </a:lnTo>
                    <a:lnTo>
                      <a:pt x="226" y="20"/>
                    </a:lnTo>
                    <a:lnTo>
                      <a:pt x="224" y="20"/>
                    </a:lnTo>
                    <a:lnTo>
                      <a:pt x="224" y="22"/>
                    </a:lnTo>
                    <a:lnTo>
                      <a:pt x="212" y="22"/>
                    </a:lnTo>
                    <a:lnTo>
                      <a:pt x="208" y="22"/>
                    </a:lnTo>
                    <a:lnTo>
                      <a:pt x="202" y="22"/>
                    </a:lnTo>
                    <a:lnTo>
                      <a:pt x="196" y="24"/>
                    </a:lnTo>
                    <a:lnTo>
                      <a:pt x="194" y="24"/>
                    </a:lnTo>
                    <a:lnTo>
                      <a:pt x="190" y="24"/>
                    </a:lnTo>
                    <a:lnTo>
                      <a:pt x="190" y="26"/>
                    </a:lnTo>
                    <a:lnTo>
                      <a:pt x="188" y="26"/>
                    </a:lnTo>
                    <a:lnTo>
                      <a:pt x="186" y="26"/>
                    </a:lnTo>
                    <a:lnTo>
                      <a:pt x="184" y="28"/>
                    </a:lnTo>
                    <a:lnTo>
                      <a:pt x="184" y="32"/>
                    </a:lnTo>
                    <a:lnTo>
                      <a:pt x="186" y="32"/>
                    </a:lnTo>
                    <a:lnTo>
                      <a:pt x="188" y="32"/>
                    </a:lnTo>
                    <a:lnTo>
                      <a:pt x="190" y="34"/>
                    </a:lnTo>
                    <a:lnTo>
                      <a:pt x="192" y="34"/>
                    </a:lnTo>
                    <a:lnTo>
                      <a:pt x="190" y="36"/>
                    </a:lnTo>
                    <a:lnTo>
                      <a:pt x="190" y="38"/>
                    </a:lnTo>
                    <a:lnTo>
                      <a:pt x="194" y="38"/>
                    </a:lnTo>
                    <a:lnTo>
                      <a:pt x="196" y="40"/>
                    </a:lnTo>
                    <a:lnTo>
                      <a:pt x="200" y="40"/>
                    </a:lnTo>
                    <a:lnTo>
                      <a:pt x="202" y="42"/>
                    </a:lnTo>
                    <a:lnTo>
                      <a:pt x="204" y="42"/>
                    </a:lnTo>
                    <a:lnTo>
                      <a:pt x="204" y="44"/>
                    </a:lnTo>
                    <a:lnTo>
                      <a:pt x="198" y="44"/>
                    </a:lnTo>
                    <a:lnTo>
                      <a:pt x="194" y="42"/>
                    </a:lnTo>
                    <a:lnTo>
                      <a:pt x="190" y="42"/>
                    </a:lnTo>
                    <a:lnTo>
                      <a:pt x="190" y="44"/>
                    </a:lnTo>
                    <a:lnTo>
                      <a:pt x="188" y="46"/>
                    </a:lnTo>
                    <a:lnTo>
                      <a:pt x="190" y="48"/>
                    </a:lnTo>
                    <a:lnTo>
                      <a:pt x="190" y="50"/>
                    </a:lnTo>
                    <a:lnTo>
                      <a:pt x="192" y="52"/>
                    </a:lnTo>
                    <a:lnTo>
                      <a:pt x="192" y="56"/>
                    </a:lnTo>
                    <a:lnTo>
                      <a:pt x="190" y="56"/>
                    </a:lnTo>
                    <a:lnTo>
                      <a:pt x="188" y="58"/>
                    </a:lnTo>
                    <a:lnTo>
                      <a:pt x="186" y="58"/>
                    </a:lnTo>
                    <a:lnTo>
                      <a:pt x="184" y="58"/>
                    </a:lnTo>
                    <a:lnTo>
                      <a:pt x="182" y="60"/>
                    </a:lnTo>
                    <a:lnTo>
                      <a:pt x="180" y="60"/>
                    </a:lnTo>
                    <a:lnTo>
                      <a:pt x="184" y="62"/>
                    </a:lnTo>
                    <a:lnTo>
                      <a:pt x="184" y="64"/>
                    </a:lnTo>
                    <a:lnTo>
                      <a:pt x="186" y="66"/>
                    </a:lnTo>
                    <a:lnTo>
                      <a:pt x="188" y="66"/>
                    </a:lnTo>
                    <a:lnTo>
                      <a:pt x="194" y="66"/>
                    </a:lnTo>
                    <a:lnTo>
                      <a:pt x="198" y="68"/>
                    </a:lnTo>
                    <a:lnTo>
                      <a:pt x="202" y="68"/>
                    </a:lnTo>
                    <a:lnTo>
                      <a:pt x="202" y="70"/>
                    </a:lnTo>
                    <a:lnTo>
                      <a:pt x="204" y="72"/>
                    </a:lnTo>
                    <a:lnTo>
                      <a:pt x="206" y="72"/>
                    </a:lnTo>
                    <a:lnTo>
                      <a:pt x="206" y="74"/>
                    </a:lnTo>
                    <a:lnTo>
                      <a:pt x="208" y="76"/>
                    </a:lnTo>
                    <a:lnTo>
                      <a:pt x="208" y="80"/>
                    </a:lnTo>
                    <a:lnTo>
                      <a:pt x="208" y="82"/>
                    </a:lnTo>
                    <a:lnTo>
                      <a:pt x="208" y="84"/>
                    </a:lnTo>
                    <a:lnTo>
                      <a:pt x="206" y="86"/>
                    </a:lnTo>
                    <a:lnTo>
                      <a:pt x="198" y="86"/>
                    </a:lnTo>
                    <a:lnTo>
                      <a:pt x="194" y="86"/>
                    </a:lnTo>
                    <a:lnTo>
                      <a:pt x="192" y="84"/>
                    </a:lnTo>
                    <a:lnTo>
                      <a:pt x="190" y="84"/>
                    </a:lnTo>
                    <a:lnTo>
                      <a:pt x="188" y="82"/>
                    </a:lnTo>
                    <a:lnTo>
                      <a:pt x="186" y="84"/>
                    </a:lnTo>
                    <a:lnTo>
                      <a:pt x="186" y="86"/>
                    </a:lnTo>
                    <a:lnTo>
                      <a:pt x="186" y="88"/>
                    </a:lnTo>
                    <a:lnTo>
                      <a:pt x="184" y="88"/>
                    </a:lnTo>
                    <a:lnTo>
                      <a:pt x="182" y="88"/>
                    </a:lnTo>
                    <a:lnTo>
                      <a:pt x="178" y="86"/>
                    </a:lnTo>
                    <a:lnTo>
                      <a:pt x="174" y="86"/>
                    </a:lnTo>
                    <a:lnTo>
                      <a:pt x="172" y="86"/>
                    </a:lnTo>
                    <a:lnTo>
                      <a:pt x="170" y="84"/>
                    </a:lnTo>
                    <a:lnTo>
                      <a:pt x="168" y="82"/>
                    </a:lnTo>
                    <a:lnTo>
                      <a:pt x="166" y="80"/>
                    </a:lnTo>
                    <a:lnTo>
                      <a:pt x="164" y="80"/>
                    </a:lnTo>
                    <a:lnTo>
                      <a:pt x="164" y="78"/>
                    </a:lnTo>
                    <a:lnTo>
                      <a:pt x="162" y="78"/>
                    </a:lnTo>
                    <a:lnTo>
                      <a:pt x="160" y="78"/>
                    </a:lnTo>
                    <a:lnTo>
                      <a:pt x="158" y="78"/>
                    </a:lnTo>
                    <a:lnTo>
                      <a:pt x="154" y="80"/>
                    </a:lnTo>
                    <a:lnTo>
                      <a:pt x="150" y="82"/>
                    </a:lnTo>
                    <a:lnTo>
                      <a:pt x="148" y="82"/>
                    </a:lnTo>
                    <a:lnTo>
                      <a:pt x="146" y="82"/>
                    </a:lnTo>
                    <a:lnTo>
                      <a:pt x="144" y="82"/>
                    </a:lnTo>
                    <a:lnTo>
                      <a:pt x="142" y="80"/>
                    </a:lnTo>
                    <a:lnTo>
                      <a:pt x="140" y="78"/>
                    </a:lnTo>
                    <a:lnTo>
                      <a:pt x="136" y="78"/>
                    </a:lnTo>
                    <a:lnTo>
                      <a:pt x="134" y="80"/>
                    </a:lnTo>
                    <a:lnTo>
                      <a:pt x="132" y="82"/>
                    </a:lnTo>
                    <a:lnTo>
                      <a:pt x="130" y="84"/>
                    </a:lnTo>
                    <a:lnTo>
                      <a:pt x="128" y="86"/>
                    </a:lnTo>
                    <a:lnTo>
                      <a:pt x="128" y="88"/>
                    </a:lnTo>
                    <a:lnTo>
                      <a:pt x="126" y="88"/>
                    </a:lnTo>
                    <a:lnTo>
                      <a:pt x="124" y="86"/>
                    </a:lnTo>
                    <a:lnTo>
                      <a:pt x="122" y="86"/>
                    </a:lnTo>
                    <a:lnTo>
                      <a:pt x="118" y="84"/>
                    </a:lnTo>
                    <a:lnTo>
                      <a:pt x="114" y="82"/>
                    </a:lnTo>
                    <a:lnTo>
                      <a:pt x="112" y="80"/>
                    </a:lnTo>
                    <a:lnTo>
                      <a:pt x="110" y="78"/>
                    </a:lnTo>
                    <a:lnTo>
                      <a:pt x="108" y="78"/>
                    </a:lnTo>
                    <a:lnTo>
                      <a:pt x="106" y="80"/>
                    </a:lnTo>
                    <a:lnTo>
                      <a:pt x="108" y="82"/>
                    </a:lnTo>
                    <a:lnTo>
                      <a:pt x="108" y="84"/>
                    </a:lnTo>
                    <a:lnTo>
                      <a:pt x="110" y="86"/>
                    </a:lnTo>
                    <a:lnTo>
                      <a:pt x="110" y="88"/>
                    </a:lnTo>
                    <a:lnTo>
                      <a:pt x="108" y="88"/>
                    </a:lnTo>
                    <a:lnTo>
                      <a:pt x="106" y="88"/>
                    </a:lnTo>
                    <a:lnTo>
                      <a:pt x="106" y="86"/>
                    </a:lnTo>
                    <a:lnTo>
                      <a:pt x="104" y="86"/>
                    </a:lnTo>
                    <a:lnTo>
                      <a:pt x="104" y="84"/>
                    </a:lnTo>
                    <a:lnTo>
                      <a:pt x="102" y="80"/>
                    </a:lnTo>
                    <a:lnTo>
                      <a:pt x="102" y="78"/>
                    </a:lnTo>
                    <a:lnTo>
                      <a:pt x="100" y="76"/>
                    </a:lnTo>
                    <a:lnTo>
                      <a:pt x="92" y="76"/>
                    </a:lnTo>
                    <a:lnTo>
                      <a:pt x="92" y="74"/>
                    </a:lnTo>
                    <a:lnTo>
                      <a:pt x="90" y="72"/>
                    </a:lnTo>
                    <a:lnTo>
                      <a:pt x="90" y="70"/>
                    </a:lnTo>
                    <a:lnTo>
                      <a:pt x="76" y="70"/>
                    </a:lnTo>
                    <a:lnTo>
                      <a:pt x="74" y="70"/>
                    </a:lnTo>
                    <a:lnTo>
                      <a:pt x="72" y="68"/>
                    </a:lnTo>
                    <a:lnTo>
                      <a:pt x="72" y="66"/>
                    </a:lnTo>
                    <a:lnTo>
                      <a:pt x="68" y="66"/>
                    </a:lnTo>
                    <a:lnTo>
                      <a:pt x="64" y="68"/>
                    </a:lnTo>
                    <a:lnTo>
                      <a:pt x="62" y="70"/>
                    </a:lnTo>
                    <a:lnTo>
                      <a:pt x="60" y="70"/>
                    </a:lnTo>
                    <a:lnTo>
                      <a:pt x="58" y="70"/>
                    </a:lnTo>
                    <a:lnTo>
                      <a:pt x="56" y="70"/>
                    </a:lnTo>
                    <a:lnTo>
                      <a:pt x="54" y="70"/>
                    </a:lnTo>
                    <a:lnTo>
                      <a:pt x="54" y="68"/>
                    </a:lnTo>
                    <a:lnTo>
                      <a:pt x="52" y="66"/>
                    </a:lnTo>
                    <a:lnTo>
                      <a:pt x="50" y="66"/>
                    </a:lnTo>
                    <a:lnTo>
                      <a:pt x="48" y="66"/>
                    </a:lnTo>
                    <a:lnTo>
                      <a:pt x="44" y="66"/>
                    </a:lnTo>
                    <a:lnTo>
                      <a:pt x="42" y="66"/>
                    </a:lnTo>
                    <a:lnTo>
                      <a:pt x="42" y="68"/>
                    </a:lnTo>
                    <a:lnTo>
                      <a:pt x="44" y="70"/>
                    </a:lnTo>
                    <a:lnTo>
                      <a:pt x="44" y="74"/>
                    </a:lnTo>
                    <a:lnTo>
                      <a:pt x="34" y="78"/>
                    </a:lnTo>
                    <a:lnTo>
                      <a:pt x="30" y="78"/>
                    </a:lnTo>
                    <a:lnTo>
                      <a:pt x="30" y="84"/>
                    </a:lnTo>
                    <a:lnTo>
                      <a:pt x="28" y="86"/>
                    </a:lnTo>
                    <a:lnTo>
                      <a:pt x="26" y="86"/>
                    </a:lnTo>
                    <a:lnTo>
                      <a:pt x="24" y="88"/>
                    </a:lnTo>
                    <a:lnTo>
                      <a:pt x="26" y="90"/>
                    </a:lnTo>
                    <a:lnTo>
                      <a:pt x="28" y="92"/>
                    </a:lnTo>
                    <a:lnTo>
                      <a:pt x="28" y="94"/>
                    </a:lnTo>
                    <a:lnTo>
                      <a:pt x="26" y="96"/>
                    </a:lnTo>
                    <a:lnTo>
                      <a:pt x="26" y="98"/>
                    </a:lnTo>
                    <a:lnTo>
                      <a:pt x="24" y="98"/>
                    </a:lnTo>
                    <a:lnTo>
                      <a:pt x="24" y="100"/>
                    </a:lnTo>
                    <a:lnTo>
                      <a:pt x="22" y="100"/>
                    </a:lnTo>
                    <a:lnTo>
                      <a:pt x="20" y="98"/>
                    </a:lnTo>
                    <a:lnTo>
                      <a:pt x="18" y="98"/>
                    </a:lnTo>
                    <a:lnTo>
                      <a:pt x="16" y="94"/>
                    </a:lnTo>
                    <a:lnTo>
                      <a:pt x="12" y="92"/>
                    </a:lnTo>
                    <a:lnTo>
                      <a:pt x="10" y="90"/>
                    </a:lnTo>
                    <a:lnTo>
                      <a:pt x="8" y="90"/>
                    </a:lnTo>
                    <a:lnTo>
                      <a:pt x="4" y="90"/>
                    </a:lnTo>
                    <a:lnTo>
                      <a:pt x="4" y="92"/>
                    </a:lnTo>
                    <a:lnTo>
                      <a:pt x="4" y="96"/>
                    </a:lnTo>
                    <a:lnTo>
                      <a:pt x="4" y="100"/>
                    </a:lnTo>
                    <a:lnTo>
                      <a:pt x="2" y="100"/>
                    </a:lnTo>
                    <a:lnTo>
                      <a:pt x="0" y="100"/>
                    </a:lnTo>
                    <a:lnTo>
                      <a:pt x="0" y="106"/>
                    </a:lnTo>
                    <a:lnTo>
                      <a:pt x="0" y="108"/>
                    </a:lnTo>
                    <a:lnTo>
                      <a:pt x="0" y="110"/>
                    </a:lnTo>
                    <a:lnTo>
                      <a:pt x="2" y="110"/>
                    </a:lnTo>
                    <a:lnTo>
                      <a:pt x="2" y="112"/>
                    </a:lnTo>
                    <a:lnTo>
                      <a:pt x="2" y="116"/>
                    </a:lnTo>
                    <a:lnTo>
                      <a:pt x="2" y="118"/>
                    </a:lnTo>
                    <a:lnTo>
                      <a:pt x="0" y="122"/>
                    </a:lnTo>
                    <a:lnTo>
                      <a:pt x="0" y="128"/>
                    </a:lnTo>
                    <a:lnTo>
                      <a:pt x="0" y="130"/>
                    </a:lnTo>
                    <a:lnTo>
                      <a:pt x="6" y="130"/>
                    </a:lnTo>
                    <a:lnTo>
                      <a:pt x="8" y="132"/>
                    </a:lnTo>
                    <a:lnTo>
                      <a:pt x="10" y="132"/>
                    </a:lnTo>
                    <a:lnTo>
                      <a:pt x="10" y="138"/>
                    </a:lnTo>
                    <a:lnTo>
                      <a:pt x="12" y="140"/>
                    </a:lnTo>
                    <a:lnTo>
                      <a:pt x="14" y="140"/>
                    </a:lnTo>
                    <a:lnTo>
                      <a:pt x="16" y="140"/>
                    </a:lnTo>
                    <a:lnTo>
                      <a:pt x="26" y="140"/>
                    </a:lnTo>
                    <a:lnTo>
                      <a:pt x="28" y="140"/>
                    </a:lnTo>
                    <a:lnTo>
                      <a:pt x="30" y="142"/>
                    </a:lnTo>
                    <a:lnTo>
                      <a:pt x="32" y="144"/>
                    </a:lnTo>
                    <a:lnTo>
                      <a:pt x="34" y="148"/>
                    </a:lnTo>
                    <a:lnTo>
                      <a:pt x="38" y="150"/>
                    </a:lnTo>
                    <a:lnTo>
                      <a:pt x="40" y="154"/>
                    </a:lnTo>
                    <a:lnTo>
                      <a:pt x="40" y="156"/>
                    </a:lnTo>
                    <a:lnTo>
                      <a:pt x="42" y="158"/>
                    </a:lnTo>
                    <a:lnTo>
                      <a:pt x="40" y="158"/>
                    </a:lnTo>
                    <a:lnTo>
                      <a:pt x="40" y="160"/>
                    </a:lnTo>
                    <a:lnTo>
                      <a:pt x="34" y="160"/>
                    </a:lnTo>
                    <a:lnTo>
                      <a:pt x="34" y="162"/>
                    </a:lnTo>
                    <a:lnTo>
                      <a:pt x="36" y="162"/>
                    </a:lnTo>
                    <a:lnTo>
                      <a:pt x="38" y="162"/>
                    </a:lnTo>
                    <a:lnTo>
                      <a:pt x="40" y="164"/>
                    </a:lnTo>
                    <a:lnTo>
                      <a:pt x="42" y="166"/>
                    </a:lnTo>
                    <a:lnTo>
                      <a:pt x="44" y="166"/>
                    </a:lnTo>
                    <a:lnTo>
                      <a:pt x="46" y="166"/>
                    </a:lnTo>
                    <a:lnTo>
                      <a:pt x="48" y="164"/>
                    </a:lnTo>
                    <a:lnTo>
                      <a:pt x="48" y="162"/>
                    </a:lnTo>
                    <a:lnTo>
                      <a:pt x="52" y="162"/>
                    </a:lnTo>
                    <a:lnTo>
                      <a:pt x="54" y="162"/>
                    </a:lnTo>
                    <a:lnTo>
                      <a:pt x="56" y="160"/>
                    </a:lnTo>
                    <a:lnTo>
                      <a:pt x="58" y="160"/>
                    </a:lnTo>
                    <a:lnTo>
                      <a:pt x="62" y="158"/>
                    </a:lnTo>
                    <a:lnTo>
                      <a:pt x="64" y="156"/>
                    </a:lnTo>
                    <a:lnTo>
                      <a:pt x="68" y="154"/>
                    </a:lnTo>
                    <a:lnTo>
                      <a:pt x="72" y="154"/>
                    </a:lnTo>
                    <a:lnTo>
                      <a:pt x="74" y="152"/>
                    </a:lnTo>
                    <a:lnTo>
                      <a:pt x="76" y="152"/>
                    </a:lnTo>
                    <a:lnTo>
                      <a:pt x="78" y="154"/>
                    </a:lnTo>
                    <a:lnTo>
                      <a:pt x="80" y="154"/>
                    </a:lnTo>
                    <a:lnTo>
                      <a:pt x="82" y="156"/>
                    </a:lnTo>
                    <a:lnTo>
                      <a:pt x="86" y="158"/>
                    </a:lnTo>
                    <a:lnTo>
                      <a:pt x="88" y="158"/>
                    </a:lnTo>
                    <a:lnTo>
                      <a:pt x="88" y="160"/>
                    </a:lnTo>
                    <a:lnTo>
                      <a:pt x="90" y="160"/>
                    </a:lnTo>
                    <a:lnTo>
                      <a:pt x="90" y="158"/>
                    </a:lnTo>
                    <a:lnTo>
                      <a:pt x="92" y="158"/>
                    </a:lnTo>
                    <a:lnTo>
                      <a:pt x="94" y="158"/>
                    </a:lnTo>
                    <a:lnTo>
                      <a:pt x="96" y="156"/>
                    </a:lnTo>
                    <a:lnTo>
                      <a:pt x="98" y="158"/>
                    </a:lnTo>
                    <a:lnTo>
                      <a:pt x="100" y="158"/>
                    </a:lnTo>
                    <a:lnTo>
                      <a:pt x="100" y="160"/>
                    </a:lnTo>
                    <a:lnTo>
                      <a:pt x="102" y="160"/>
                    </a:lnTo>
                    <a:lnTo>
                      <a:pt x="104" y="162"/>
                    </a:lnTo>
                    <a:lnTo>
                      <a:pt x="106" y="164"/>
                    </a:lnTo>
                    <a:lnTo>
                      <a:pt x="106" y="166"/>
                    </a:lnTo>
                    <a:lnTo>
                      <a:pt x="106" y="170"/>
                    </a:lnTo>
                    <a:lnTo>
                      <a:pt x="106" y="172"/>
                    </a:lnTo>
                    <a:lnTo>
                      <a:pt x="106" y="174"/>
                    </a:lnTo>
                    <a:lnTo>
                      <a:pt x="104" y="174"/>
                    </a:lnTo>
                    <a:lnTo>
                      <a:pt x="104" y="176"/>
                    </a:lnTo>
                    <a:lnTo>
                      <a:pt x="104" y="178"/>
                    </a:lnTo>
                    <a:lnTo>
                      <a:pt x="106" y="180"/>
                    </a:lnTo>
                    <a:lnTo>
                      <a:pt x="108" y="182"/>
                    </a:lnTo>
                    <a:lnTo>
                      <a:pt x="108" y="184"/>
                    </a:lnTo>
                    <a:lnTo>
                      <a:pt x="110" y="184"/>
                    </a:lnTo>
                    <a:lnTo>
                      <a:pt x="112" y="186"/>
                    </a:lnTo>
                    <a:lnTo>
                      <a:pt x="114" y="186"/>
                    </a:lnTo>
                    <a:lnTo>
                      <a:pt x="116" y="186"/>
                    </a:lnTo>
                    <a:lnTo>
                      <a:pt x="116" y="184"/>
                    </a:lnTo>
                    <a:lnTo>
                      <a:pt x="120" y="182"/>
                    </a:lnTo>
                    <a:lnTo>
                      <a:pt x="122" y="180"/>
                    </a:lnTo>
                    <a:lnTo>
                      <a:pt x="124" y="180"/>
                    </a:lnTo>
                    <a:lnTo>
                      <a:pt x="124" y="182"/>
                    </a:lnTo>
                    <a:lnTo>
                      <a:pt x="126" y="184"/>
                    </a:lnTo>
                    <a:lnTo>
                      <a:pt x="126" y="186"/>
                    </a:lnTo>
                    <a:lnTo>
                      <a:pt x="126" y="188"/>
                    </a:lnTo>
                    <a:lnTo>
                      <a:pt x="128" y="190"/>
                    </a:lnTo>
                    <a:lnTo>
                      <a:pt x="130" y="192"/>
                    </a:lnTo>
                    <a:lnTo>
                      <a:pt x="120" y="192"/>
                    </a:lnTo>
                    <a:lnTo>
                      <a:pt x="120" y="194"/>
                    </a:lnTo>
                    <a:lnTo>
                      <a:pt x="120" y="196"/>
                    </a:lnTo>
                    <a:lnTo>
                      <a:pt x="118" y="198"/>
                    </a:lnTo>
                    <a:lnTo>
                      <a:pt x="116" y="198"/>
                    </a:lnTo>
                    <a:lnTo>
                      <a:pt x="116" y="196"/>
                    </a:lnTo>
                    <a:lnTo>
                      <a:pt x="114" y="196"/>
                    </a:lnTo>
                    <a:lnTo>
                      <a:pt x="114" y="194"/>
                    </a:lnTo>
                    <a:lnTo>
                      <a:pt x="116" y="192"/>
                    </a:lnTo>
                    <a:lnTo>
                      <a:pt x="118" y="190"/>
                    </a:lnTo>
                    <a:lnTo>
                      <a:pt x="120" y="190"/>
                    </a:lnTo>
                    <a:lnTo>
                      <a:pt x="120" y="188"/>
                    </a:lnTo>
                    <a:lnTo>
                      <a:pt x="118" y="188"/>
                    </a:lnTo>
                    <a:lnTo>
                      <a:pt x="114" y="188"/>
                    </a:lnTo>
                    <a:lnTo>
                      <a:pt x="108" y="188"/>
                    </a:lnTo>
                    <a:lnTo>
                      <a:pt x="106" y="186"/>
                    </a:lnTo>
                    <a:lnTo>
                      <a:pt x="100" y="186"/>
                    </a:lnTo>
                    <a:lnTo>
                      <a:pt x="98" y="186"/>
                    </a:lnTo>
                    <a:lnTo>
                      <a:pt x="96" y="186"/>
                    </a:lnTo>
                    <a:lnTo>
                      <a:pt x="94" y="186"/>
                    </a:lnTo>
                    <a:lnTo>
                      <a:pt x="90" y="184"/>
                    </a:lnTo>
                    <a:lnTo>
                      <a:pt x="88" y="184"/>
                    </a:lnTo>
                    <a:lnTo>
                      <a:pt x="86" y="184"/>
                    </a:lnTo>
                    <a:lnTo>
                      <a:pt x="84" y="184"/>
                    </a:lnTo>
                    <a:lnTo>
                      <a:pt x="84" y="186"/>
                    </a:lnTo>
                    <a:lnTo>
                      <a:pt x="84" y="188"/>
                    </a:lnTo>
                    <a:lnTo>
                      <a:pt x="86" y="188"/>
                    </a:lnTo>
                    <a:lnTo>
                      <a:pt x="86" y="190"/>
                    </a:lnTo>
                    <a:lnTo>
                      <a:pt x="80" y="190"/>
                    </a:lnTo>
                    <a:lnTo>
                      <a:pt x="78" y="192"/>
                    </a:lnTo>
                    <a:lnTo>
                      <a:pt x="78" y="194"/>
                    </a:lnTo>
                    <a:lnTo>
                      <a:pt x="78" y="196"/>
                    </a:lnTo>
                    <a:lnTo>
                      <a:pt x="80" y="198"/>
                    </a:lnTo>
                    <a:lnTo>
                      <a:pt x="82" y="198"/>
                    </a:lnTo>
                    <a:lnTo>
                      <a:pt x="86" y="198"/>
                    </a:lnTo>
                    <a:lnTo>
                      <a:pt x="88" y="200"/>
                    </a:lnTo>
                    <a:lnTo>
                      <a:pt x="88" y="202"/>
                    </a:lnTo>
                    <a:lnTo>
                      <a:pt x="86" y="202"/>
                    </a:lnTo>
                    <a:lnTo>
                      <a:pt x="82" y="202"/>
                    </a:lnTo>
                    <a:lnTo>
                      <a:pt x="80" y="200"/>
                    </a:lnTo>
                    <a:lnTo>
                      <a:pt x="76" y="200"/>
                    </a:lnTo>
                    <a:lnTo>
                      <a:pt x="72" y="198"/>
                    </a:lnTo>
                    <a:lnTo>
                      <a:pt x="70" y="198"/>
                    </a:lnTo>
                    <a:lnTo>
                      <a:pt x="70" y="200"/>
                    </a:lnTo>
                    <a:lnTo>
                      <a:pt x="68" y="200"/>
                    </a:lnTo>
                    <a:lnTo>
                      <a:pt x="68" y="202"/>
                    </a:lnTo>
                    <a:lnTo>
                      <a:pt x="70" y="202"/>
                    </a:lnTo>
                    <a:lnTo>
                      <a:pt x="70" y="204"/>
                    </a:lnTo>
                    <a:lnTo>
                      <a:pt x="72" y="206"/>
                    </a:lnTo>
                    <a:lnTo>
                      <a:pt x="76" y="206"/>
                    </a:lnTo>
                    <a:lnTo>
                      <a:pt x="78" y="206"/>
                    </a:lnTo>
                    <a:lnTo>
                      <a:pt x="78" y="208"/>
                    </a:lnTo>
                    <a:lnTo>
                      <a:pt x="80" y="208"/>
                    </a:lnTo>
                    <a:lnTo>
                      <a:pt x="80" y="210"/>
                    </a:lnTo>
                    <a:lnTo>
                      <a:pt x="82" y="212"/>
                    </a:lnTo>
                    <a:lnTo>
                      <a:pt x="82" y="214"/>
                    </a:lnTo>
                    <a:lnTo>
                      <a:pt x="84" y="214"/>
                    </a:lnTo>
                    <a:lnTo>
                      <a:pt x="86" y="218"/>
                    </a:lnTo>
                    <a:lnTo>
                      <a:pt x="88" y="218"/>
                    </a:lnTo>
                    <a:lnTo>
                      <a:pt x="88" y="220"/>
                    </a:lnTo>
                    <a:lnTo>
                      <a:pt x="88" y="222"/>
                    </a:lnTo>
                    <a:lnTo>
                      <a:pt x="88" y="226"/>
                    </a:lnTo>
                    <a:lnTo>
                      <a:pt x="92" y="226"/>
                    </a:lnTo>
                    <a:lnTo>
                      <a:pt x="94" y="228"/>
                    </a:lnTo>
                    <a:lnTo>
                      <a:pt x="96" y="228"/>
                    </a:lnTo>
                    <a:lnTo>
                      <a:pt x="96" y="230"/>
                    </a:lnTo>
                    <a:lnTo>
                      <a:pt x="98" y="232"/>
                    </a:lnTo>
                    <a:lnTo>
                      <a:pt x="108" y="232"/>
                    </a:lnTo>
                    <a:lnTo>
                      <a:pt x="110" y="234"/>
                    </a:lnTo>
                    <a:lnTo>
                      <a:pt x="114" y="236"/>
                    </a:lnTo>
                    <a:lnTo>
                      <a:pt x="114" y="238"/>
                    </a:lnTo>
                    <a:lnTo>
                      <a:pt x="114" y="240"/>
                    </a:lnTo>
                    <a:lnTo>
                      <a:pt x="112" y="242"/>
                    </a:lnTo>
                    <a:lnTo>
                      <a:pt x="112" y="244"/>
                    </a:lnTo>
                    <a:lnTo>
                      <a:pt x="110" y="246"/>
                    </a:lnTo>
                    <a:lnTo>
                      <a:pt x="110" y="248"/>
                    </a:lnTo>
                    <a:lnTo>
                      <a:pt x="110" y="250"/>
                    </a:lnTo>
                    <a:lnTo>
                      <a:pt x="112" y="252"/>
                    </a:lnTo>
                    <a:lnTo>
                      <a:pt x="116" y="252"/>
                    </a:lnTo>
                    <a:lnTo>
                      <a:pt x="118" y="252"/>
                    </a:lnTo>
                    <a:lnTo>
                      <a:pt x="118" y="250"/>
                    </a:lnTo>
                    <a:lnTo>
                      <a:pt x="118" y="246"/>
                    </a:lnTo>
                    <a:lnTo>
                      <a:pt x="120" y="246"/>
                    </a:lnTo>
                    <a:lnTo>
                      <a:pt x="120" y="244"/>
                    </a:lnTo>
                    <a:lnTo>
                      <a:pt x="122" y="242"/>
                    </a:lnTo>
                    <a:lnTo>
                      <a:pt x="130" y="242"/>
                    </a:lnTo>
                    <a:lnTo>
                      <a:pt x="130" y="240"/>
                    </a:lnTo>
                    <a:lnTo>
                      <a:pt x="134" y="240"/>
                    </a:lnTo>
                    <a:lnTo>
                      <a:pt x="136" y="242"/>
                    </a:lnTo>
                    <a:lnTo>
                      <a:pt x="140" y="242"/>
                    </a:lnTo>
                    <a:lnTo>
                      <a:pt x="142" y="244"/>
                    </a:lnTo>
                    <a:lnTo>
                      <a:pt x="144" y="244"/>
                    </a:lnTo>
                    <a:lnTo>
                      <a:pt x="146" y="246"/>
                    </a:lnTo>
                    <a:lnTo>
                      <a:pt x="148" y="246"/>
                    </a:lnTo>
                    <a:lnTo>
                      <a:pt x="150" y="250"/>
                    </a:lnTo>
                    <a:lnTo>
                      <a:pt x="152" y="250"/>
                    </a:lnTo>
                    <a:lnTo>
                      <a:pt x="152" y="252"/>
                    </a:lnTo>
                    <a:lnTo>
                      <a:pt x="154" y="254"/>
                    </a:lnTo>
                    <a:lnTo>
                      <a:pt x="156" y="256"/>
                    </a:lnTo>
                    <a:lnTo>
                      <a:pt x="158" y="258"/>
                    </a:lnTo>
                    <a:lnTo>
                      <a:pt x="160" y="260"/>
                    </a:lnTo>
                    <a:lnTo>
                      <a:pt x="160" y="262"/>
                    </a:lnTo>
                    <a:lnTo>
                      <a:pt x="162" y="262"/>
                    </a:lnTo>
                    <a:lnTo>
                      <a:pt x="164" y="262"/>
                    </a:lnTo>
                    <a:lnTo>
                      <a:pt x="166" y="260"/>
                    </a:lnTo>
                    <a:lnTo>
                      <a:pt x="166" y="258"/>
                    </a:lnTo>
                    <a:lnTo>
                      <a:pt x="166" y="254"/>
                    </a:lnTo>
                    <a:lnTo>
                      <a:pt x="164" y="242"/>
                    </a:lnTo>
                    <a:lnTo>
                      <a:pt x="162" y="236"/>
                    </a:lnTo>
                    <a:lnTo>
                      <a:pt x="162" y="232"/>
                    </a:lnTo>
                    <a:lnTo>
                      <a:pt x="160" y="228"/>
                    </a:lnTo>
                    <a:lnTo>
                      <a:pt x="160" y="224"/>
                    </a:lnTo>
                    <a:lnTo>
                      <a:pt x="160" y="220"/>
                    </a:lnTo>
                    <a:lnTo>
                      <a:pt x="160" y="218"/>
                    </a:lnTo>
                    <a:lnTo>
                      <a:pt x="158" y="214"/>
                    </a:lnTo>
                    <a:lnTo>
                      <a:pt x="158" y="210"/>
                    </a:lnTo>
                    <a:lnTo>
                      <a:pt x="158" y="208"/>
                    </a:lnTo>
                    <a:lnTo>
                      <a:pt x="158" y="204"/>
                    </a:lnTo>
                    <a:lnTo>
                      <a:pt x="156" y="200"/>
                    </a:lnTo>
                    <a:lnTo>
                      <a:pt x="156" y="198"/>
                    </a:lnTo>
                    <a:lnTo>
                      <a:pt x="156" y="194"/>
                    </a:lnTo>
                    <a:lnTo>
                      <a:pt x="154" y="194"/>
                    </a:lnTo>
                    <a:lnTo>
                      <a:pt x="154" y="192"/>
                    </a:lnTo>
                    <a:lnTo>
                      <a:pt x="160" y="190"/>
                    </a:lnTo>
                    <a:lnTo>
                      <a:pt x="166" y="188"/>
                    </a:lnTo>
                    <a:lnTo>
                      <a:pt x="170" y="186"/>
                    </a:lnTo>
                    <a:lnTo>
                      <a:pt x="174" y="186"/>
                    </a:lnTo>
                    <a:lnTo>
                      <a:pt x="178" y="186"/>
                    </a:lnTo>
                    <a:lnTo>
                      <a:pt x="180" y="184"/>
                    </a:lnTo>
                    <a:lnTo>
                      <a:pt x="184" y="184"/>
                    </a:lnTo>
                    <a:lnTo>
                      <a:pt x="186" y="182"/>
                    </a:lnTo>
                    <a:lnTo>
                      <a:pt x="188" y="182"/>
                    </a:lnTo>
                    <a:lnTo>
                      <a:pt x="190" y="182"/>
                    </a:lnTo>
                    <a:lnTo>
                      <a:pt x="192" y="182"/>
                    </a:lnTo>
                    <a:lnTo>
                      <a:pt x="192" y="180"/>
                    </a:lnTo>
                    <a:lnTo>
                      <a:pt x="192" y="178"/>
                    </a:lnTo>
                    <a:lnTo>
                      <a:pt x="194" y="174"/>
                    </a:lnTo>
                    <a:lnTo>
                      <a:pt x="194" y="172"/>
                    </a:lnTo>
                    <a:lnTo>
                      <a:pt x="196" y="172"/>
                    </a:lnTo>
                    <a:lnTo>
                      <a:pt x="198" y="172"/>
                    </a:lnTo>
                    <a:lnTo>
                      <a:pt x="200" y="172"/>
                    </a:lnTo>
                    <a:lnTo>
                      <a:pt x="202" y="174"/>
                    </a:lnTo>
                    <a:lnTo>
                      <a:pt x="202" y="176"/>
                    </a:lnTo>
                    <a:lnTo>
                      <a:pt x="202" y="178"/>
                    </a:lnTo>
                    <a:lnTo>
                      <a:pt x="204" y="178"/>
                    </a:lnTo>
                    <a:lnTo>
                      <a:pt x="204" y="176"/>
                    </a:lnTo>
                    <a:lnTo>
                      <a:pt x="208" y="176"/>
                    </a:lnTo>
                    <a:lnTo>
                      <a:pt x="208" y="174"/>
                    </a:lnTo>
                    <a:lnTo>
                      <a:pt x="206" y="170"/>
                    </a:lnTo>
                    <a:lnTo>
                      <a:pt x="204" y="168"/>
                    </a:lnTo>
                    <a:lnTo>
                      <a:pt x="204" y="166"/>
                    </a:lnTo>
                    <a:lnTo>
                      <a:pt x="206" y="166"/>
                    </a:lnTo>
                    <a:lnTo>
                      <a:pt x="208" y="168"/>
                    </a:lnTo>
                    <a:lnTo>
                      <a:pt x="208" y="170"/>
                    </a:lnTo>
                    <a:lnTo>
                      <a:pt x="210" y="170"/>
                    </a:lnTo>
                    <a:lnTo>
                      <a:pt x="212" y="170"/>
                    </a:lnTo>
                    <a:lnTo>
                      <a:pt x="216" y="170"/>
                    </a:lnTo>
                    <a:lnTo>
                      <a:pt x="218" y="170"/>
                    </a:lnTo>
                    <a:lnTo>
                      <a:pt x="222" y="170"/>
                    </a:lnTo>
                    <a:lnTo>
                      <a:pt x="222" y="168"/>
                    </a:lnTo>
                    <a:lnTo>
                      <a:pt x="220" y="168"/>
                    </a:lnTo>
                    <a:lnTo>
                      <a:pt x="220" y="166"/>
                    </a:lnTo>
                    <a:lnTo>
                      <a:pt x="218" y="166"/>
                    </a:lnTo>
                    <a:lnTo>
                      <a:pt x="216" y="166"/>
                    </a:lnTo>
                    <a:lnTo>
                      <a:pt x="210" y="166"/>
                    </a:lnTo>
                    <a:lnTo>
                      <a:pt x="210" y="164"/>
                    </a:lnTo>
                    <a:lnTo>
                      <a:pt x="208" y="164"/>
                    </a:lnTo>
                    <a:lnTo>
                      <a:pt x="208" y="162"/>
                    </a:lnTo>
                    <a:lnTo>
                      <a:pt x="210" y="162"/>
                    </a:lnTo>
                    <a:lnTo>
                      <a:pt x="212" y="160"/>
                    </a:lnTo>
                    <a:lnTo>
                      <a:pt x="216" y="160"/>
                    </a:lnTo>
                    <a:lnTo>
                      <a:pt x="218" y="160"/>
                    </a:lnTo>
                    <a:lnTo>
                      <a:pt x="218" y="158"/>
                    </a:lnTo>
                    <a:lnTo>
                      <a:pt x="220" y="158"/>
                    </a:lnTo>
                    <a:lnTo>
                      <a:pt x="220" y="160"/>
                    </a:lnTo>
                    <a:lnTo>
                      <a:pt x="222" y="160"/>
                    </a:lnTo>
                    <a:lnTo>
                      <a:pt x="222" y="162"/>
                    </a:lnTo>
                    <a:lnTo>
                      <a:pt x="224" y="162"/>
                    </a:lnTo>
                    <a:lnTo>
                      <a:pt x="224" y="164"/>
                    </a:lnTo>
                    <a:lnTo>
                      <a:pt x="226" y="162"/>
                    </a:lnTo>
                    <a:lnTo>
                      <a:pt x="228" y="162"/>
                    </a:lnTo>
                    <a:lnTo>
                      <a:pt x="230" y="164"/>
                    </a:lnTo>
                    <a:lnTo>
                      <a:pt x="230" y="166"/>
                    </a:lnTo>
                    <a:lnTo>
                      <a:pt x="228" y="168"/>
                    </a:lnTo>
                    <a:lnTo>
                      <a:pt x="226" y="170"/>
                    </a:lnTo>
                    <a:lnTo>
                      <a:pt x="224" y="170"/>
                    </a:lnTo>
                    <a:lnTo>
                      <a:pt x="222" y="170"/>
                    </a:lnTo>
                    <a:lnTo>
                      <a:pt x="222" y="172"/>
                    </a:lnTo>
                    <a:lnTo>
                      <a:pt x="220" y="174"/>
                    </a:lnTo>
                    <a:lnTo>
                      <a:pt x="218" y="174"/>
                    </a:lnTo>
                    <a:lnTo>
                      <a:pt x="216" y="176"/>
                    </a:lnTo>
                    <a:lnTo>
                      <a:pt x="214" y="176"/>
                    </a:lnTo>
                    <a:lnTo>
                      <a:pt x="212" y="174"/>
                    </a:lnTo>
                    <a:lnTo>
                      <a:pt x="210" y="174"/>
                    </a:lnTo>
                    <a:lnTo>
                      <a:pt x="210" y="176"/>
                    </a:lnTo>
                    <a:lnTo>
                      <a:pt x="210" y="180"/>
                    </a:lnTo>
                    <a:lnTo>
                      <a:pt x="212" y="180"/>
                    </a:lnTo>
                    <a:lnTo>
                      <a:pt x="214" y="182"/>
                    </a:lnTo>
                    <a:lnTo>
                      <a:pt x="216" y="182"/>
                    </a:lnTo>
                    <a:lnTo>
                      <a:pt x="218" y="184"/>
                    </a:lnTo>
                    <a:lnTo>
                      <a:pt x="218" y="188"/>
                    </a:lnTo>
                    <a:lnTo>
                      <a:pt x="216" y="188"/>
                    </a:lnTo>
                    <a:lnTo>
                      <a:pt x="216" y="192"/>
                    </a:lnTo>
                    <a:lnTo>
                      <a:pt x="218" y="194"/>
                    </a:lnTo>
                    <a:lnTo>
                      <a:pt x="220" y="196"/>
                    </a:lnTo>
                    <a:lnTo>
                      <a:pt x="224" y="198"/>
                    </a:lnTo>
                    <a:lnTo>
                      <a:pt x="230" y="200"/>
                    </a:lnTo>
                    <a:lnTo>
                      <a:pt x="230" y="202"/>
                    </a:lnTo>
                    <a:lnTo>
                      <a:pt x="232" y="202"/>
                    </a:lnTo>
                    <a:lnTo>
                      <a:pt x="234" y="202"/>
                    </a:lnTo>
                    <a:lnTo>
                      <a:pt x="234" y="204"/>
                    </a:lnTo>
                    <a:lnTo>
                      <a:pt x="236" y="206"/>
                    </a:lnTo>
                    <a:lnTo>
                      <a:pt x="240" y="208"/>
                    </a:lnTo>
                    <a:lnTo>
                      <a:pt x="242" y="210"/>
                    </a:lnTo>
                    <a:lnTo>
                      <a:pt x="244" y="212"/>
                    </a:lnTo>
                    <a:lnTo>
                      <a:pt x="246" y="214"/>
                    </a:lnTo>
                    <a:lnTo>
                      <a:pt x="248" y="216"/>
                    </a:lnTo>
                    <a:lnTo>
                      <a:pt x="250" y="218"/>
                    </a:lnTo>
                    <a:lnTo>
                      <a:pt x="252" y="220"/>
                    </a:lnTo>
                    <a:lnTo>
                      <a:pt x="256" y="220"/>
                    </a:lnTo>
                    <a:lnTo>
                      <a:pt x="258" y="218"/>
                    </a:lnTo>
                    <a:lnTo>
                      <a:pt x="262" y="218"/>
                    </a:lnTo>
                    <a:lnTo>
                      <a:pt x="266" y="218"/>
                    </a:lnTo>
                    <a:lnTo>
                      <a:pt x="278" y="218"/>
                    </a:lnTo>
                    <a:lnTo>
                      <a:pt x="282" y="218"/>
                    </a:lnTo>
                    <a:lnTo>
                      <a:pt x="292" y="218"/>
                    </a:lnTo>
                    <a:lnTo>
                      <a:pt x="294" y="216"/>
                    </a:lnTo>
                    <a:lnTo>
                      <a:pt x="296" y="214"/>
                    </a:lnTo>
                    <a:lnTo>
                      <a:pt x="300" y="214"/>
                    </a:lnTo>
                    <a:lnTo>
                      <a:pt x="302" y="216"/>
                    </a:lnTo>
                    <a:lnTo>
                      <a:pt x="304" y="220"/>
                    </a:lnTo>
                    <a:lnTo>
                      <a:pt x="306" y="222"/>
                    </a:lnTo>
                    <a:lnTo>
                      <a:pt x="308" y="226"/>
                    </a:lnTo>
                    <a:lnTo>
                      <a:pt x="310" y="228"/>
                    </a:lnTo>
                    <a:lnTo>
                      <a:pt x="312" y="230"/>
                    </a:lnTo>
                    <a:lnTo>
                      <a:pt x="320" y="230"/>
                    </a:lnTo>
                    <a:lnTo>
                      <a:pt x="320" y="232"/>
                    </a:lnTo>
                    <a:lnTo>
                      <a:pt x="320" y="246"/>
                    </a:lnTo>
                    <a:lnTo>
                      <a:pt x="322" y="246"/>
                    </a:lnTo>
                    <a:lnTo>
                      <a:pt x="322" y="248"/>
                    </a:lnTo>
                    <a:lnTo>
                      <a:pt x="324" y="248"/>
                    </a:lnTo>
                    <a:lnTo>
                      <a:pt x="326" y="248"/>
                    </a:lnTo>
                    <a:lnTo>
                      <a:pt x="328" y="248"/>
                    </a:lnTo>
                    <a:lnTo>
                      <a:pt x="330" y="252"/>
                    </a:lnTo>
                    <a:lnTo>
                      <a:pt x="332" y="256"/>
                    </a:lnTo>
                    <a:lnTo>
                      <a:pt x="334" y="258"/>
                    </a:lnTo>
                    <a:lnTo>
                      <a:pt x="334" y="260"/>
                    </a:lnTo>
                    <a:lnTo>
                      <a:pt x="334" y="262"/>
                    </a:lnTo>
                    <a:lnTo>
                      <a:pt x="336" y="262"/>
                    </a:lnTo>
                    <a:lnTo>
                      <a:pt x="338" y="262"/>
                    </a:lnTo>
                    <a:lnTo>
                      <a:pt x="338" y="264"/>
                    </a:lnTo>
                    <a:lnTo>
                      <a:pt x="346" y="264"/>
                    </a:lnTo>
                    <a:lnTo>
                      <a:pt x="350" y="262"/>
                    </a:lnTo>
                    <a:lnTo>
                      <a:pt x="352" y="262"/>
                    </a:lnTo>
                    <a:lnTo>
                      <a:pt x="356" y="264"/>
                    </a:lnTo>
                    <a:lnTo>
                      <a:pt x="358" y="264"/>
                    </a:lnTo>
                    <a:lnTo>
                      <a:pt x="360" y="264"/>
                    </a:lnTo>
                    <a:lnTo>
                      <a:pt x="360" y="268"/>
                    </a:lnTo>
                    <a:lnTo>
                      <a:pt x="358" y="270"/>
                    </a:lnTo>
                    <a:lnTo>
                      <a:pt x="358" y="274"/>
                    </a:lnTo>
                    <a:lnTo>
                      <a:pt x="360" y="274"/>
                    </a:lnTo>
                    <a:lnTo>
                      <a:pt x="362" y="274"/>
                    </a:lnTo>
                    <a:lnTo>
                      <a:pt x="364" y="276"/>
                    </a:lnTo>
                    <a:lnTo>
                      <a:pt x="366" y="276"/>
                    </a:lnTo>
                    <a:lnTo>
                      <a:pt x="368" y="276"/>
                    </a:lnTo>
                    <a:lnTo>
                      <a:pt x="366" y="276"/>
                    </a:lnTo>
                    <a:lnTo>
                      <a:pt x="366" y="266"/>
                    </a:lnTo>
                    <a:lnTo>
                      <a:pt x="368" y="266"/>
                    </a:lnTo>
                    <a:lnTo>
                      <a:pt x="370" y="264"/>
                    </a:lnTo>
                    <a:lnTo>
                      <a:pt x="372" y="264"/>
                    </a:lnTo>
                    <a:lnTo>
                      <a:pt x="374" y="264"/>
                    </a:lnTo>
                    <a:lnTo>
                      <a:pt x="374" y="258"/>
                    </a:lnTo>
                    <a:lnTo>
                      <a:pt x="374" y="256"/>
                    </a:lnTo>
                    <a:lnTo>
                      <a:pt x="376" y="256"/>
                    </a:lnTo>
                    <a:lnTo>
                      <a:pt x="380" y="256"/>
                    </a:lnTo>
                    <a:lnTo>
                      <a:pt x="382" y="254"/>
                    </a:lnTo>
                    <a:lnTo>
                      <a:pt x="386" y="254"/>
                    </a:lnTo>
                    <a:lnTo>
                      <a:pt x="386" y="252"/>
                    </a:lnTo>
                    <a:lnTo>
                      <a:pt x="386" y="250"/>
                    </a:lnTo>
                    <a:lnTo>
                      <a:pt x="388" y="250"/>
                    </a:lnTo>
                    <a:lnTo>
                      <a:pt x="388" y="248"/>
                    </a:lnTo>
                    <a:lnTo>
                      <a:pt x="394" y="248"/>
                    </a:lnTo>
                    <a:lnTo>
                      <a:pt x="398" y="246"/>
                    </a:lnTo>
                    <a:lnTo>
                      <a:pt x="400" y="244"/>
                    </a:lnTo>
                    <a:lnTo>
                      <a:pt x="398" y="244"/>
                    </a:lnTo>
                    <a:lnTo>
                      <a:pt x="398" y="242"/>
                    </a:lnTo>
                    <a:lnTo>
                      <a:pt x="396" y="242"/>
                    </a:lnTo>
                    <a:lnTo>
                      <a:pt x="396" y="240"/>
                    </a:lnTo>
                    <a:lnTo>
                      <a:pt x="396" y="238"/>
                    </a:lnTo>
                    <a:lnTo>
                      <a:pt x="398" y="236"/>
                    </a:lnTo>
                    <a:lnTo>
                      <a:pt x="398" y="234"/>
                    </a:lnTo>
                    <a:lnTo>
                      <a:pt x="400" y="232"/>
                    </a:lnTo>
                    <a:lnTo>
                      <a:pt x="404" y="232"/>
                    </a:lnTo>
                    <a:lnTo>
                      <a:pt x="408" y="232"/>
                    </a:lnTo>
                    <a:lnTo>
                      <a:pt x="410" y="232"/>
                    </a:lnTo>
                    <a:lnTo>
                      <a:pt x="414" y="234"/>
                    </a:lnTo>
                    <a:lnTo>
                      <a:pt x="416" y="234"/>
                    </a:lnTo>
                    <a:lnTo>
                      <a:pt x="420" y="236"/>
                    </a:lnTo>
                    <a:lnTo>
                      <a:pt x="422" y="238"/>
                    </a:lnTo>
                    <a:lnTo>
                      <a:pt x="432" y="238"/>
                    </a:lnTo>
                    <a:lnTo>
                      <a:pt x="432" y="240"/>
                    </a:lnTo>
                    <a:lnTo>
                      <a:pt x="434" y="240"/>
                    </a:lnTo>
                    <a:lnTo>
                      <a:pt x="436" y="240"/>
                    </a:lnTo>
                    <a:lnTo>
                      <a:pt x="436" y="238"/>
                    </a:lnTo>
                    <a:lnTo>
                      <a:pt x="434" y="236"/>
                    </a:lnTo>
                    <a:lnTo>
                      <a:pt x="434" y="234"/>
                    </a:lnTo>
                    <a:lnTo>
                      <a:pt x="434" y="232"/>
                    </a:lnTo>
                    <a:lnTo>
                      <a:pt x="434" y="228"/>
                    </a:lnTo>
                    <a:lnTo>
                      <a:pt x="436" y="226"/>
                    </a:lnTo>
                    <a:lnTo>
                      <a:pt x="438" y="226"/>
                    </a:lnTo>
                    <a:lnTo>
                      <a:pt x="440" y="226"/>
                    </a:lnTo>
                    <a:lnTo>
                      <a:pt x="444" y="226"/>
                    </a:lnTo>
                    <a:lnTo>
                      <a:pt x="446" y="226"/>
                    </a:lnTo>
                    <a:lnTo>
                      <a:pt x="448" y="228"/>
                    </a:lnTo>
                    <a:lnTo>
                      <a:pt x="450" y="230"/>
                    </a:lnTo>
                    <a:lnTo>
                      <a:pt x="456" y="230"/>
                    </a:lnTo>
                    <a:lnTo>
                      <a:pt x="458" y="232"/>
                    </a:lnTo>
                    <a:lnTo>
                      <a:pt x="460" y="232"/>
                    </a:lnTo>
                    <a:lnTo>
                      <a:pt x="462" y="232"/>
                    </a:lnTo>
                    <a:lnTo>
                      <a:pt x="464" y="232"/>
                    </a:lnTo>
                    <a:lnTo>
                      <a:pt x="466" y="232"/>
                    </a:lnTo>
                    <a:lnTo>
                      <a:pt x="472" y="232"/>
                    </a:lnTo>
                    <a:lnTo>
                      <a:pt x="476" y="230"/>
                    </a:lnTo>
                    <a:lnTo>
                      <a:pt x="494" y="230"/>
                    </a:lnTo>
                    <a:lnTo>
                      <a:pt x="494" y="232"/>
                    </a:lnTo>
                    <a:lnTo>
                      <a:pt x="512" y="232"/>
                    </a:lnTo>
                    <a:lnTo>
                      <a:pt x="514" y="232"/>
                    </a:lnTo>
                    <a:lnTo>
                      <a:pt x="516" y="234"/>
                    </a:lnTo>
                    <a:lnTo>
                      <a:pt x="520" y="234"/>
                    </a:lnTo>
                    <a:lnTo>
                      <a:pt x="522" y="236"/>
                    </a:lnTo>
                    <a:lnTo>
                      <a:pt x="522" y="238"/>
                    </a:lnTo>
                    <a:lnTo>
                      <a:pt x="524" y="240"/>
                    </a:lnTo>
                    <a:lnTo>
                      <a:pt x="526" y="240"/>
                    </a:lnTo>
                    <a:lnTo>
                      <a:pt x="538" y="240"/>
                    </a:lnTo>
                    <a:lnTo>
                      <a:pt x="538" y="242"/>
                    </a:lnTo>
                    <a:lnTo>
                      <a:pt x="540" y="242"/>
                    </a:lnTo>
                    <a:lnTo>
                      <a:pt x="540" y="240"/>
                    </a:lnTo>
                    <a:lnTo>
                      <a:pt x="538" y="238"/>
                    </a:lnTo>
                    <a:lnTo>
                      <a:pt x="538" y="236"/>
                    </a:lnTo>
                    <a:lnTo>
                      <a:pt x="538" y="234"/>
                    </a:lnTo>
                    <a:lnTo>
                      <a:pt x="538" y="232"/>
                    </a:lnTo>
                    <a:lnTo>
                      <a:pt x="542" y="232"/>
                    </a:lnTo>
                    <a:lnTo>
                      <a:pt x="540" y="232"/>
                    </a:lnTo>
                    <a:lnTo>
                      <a:pt x="538" y="230"/>
                    </a:lnTo>
                    <a:lnTo>
                      <a:pt x="538" y="228"/>
                    </a:lnTo>
                    <a:lnTo>
                      <a:pt x="542" y="228"/>
                    </a:lnTo>
                    <a:lnTo>
                      <a:pt x="542" y="226"/>
                    </a:lnTo>
                    <a:lnTo>
                      <a:pt x="544" y="226"/>
                    </a:lnTo>
                    <a:lnTo>
                      <a:pt x="544" y="224"/>
                    </a:lnTo>
                    <a:lnTo>
                      <a:pt x="542" y="224"/>
                    </a:lnTo>
                    <a:lnTo>
                      <a:pt x="542" y="222"/>
                    </a:lnTo>
                    <a:lnTo>
                      <a:pt x="540" y="220"/>
                    </a:lnTo>
                    <a:lnTo>
                      <a:pt x="538" y="216"/>
                    </a:lnTo>
                    <a:lnTo>
                      <a:pt x="536" y="214"/>
                    </a:lnTo>
                    <a:lnTo>
                      <a:pt x="534" y="212"/>
                    </a:lnTo>
                    <a:lnTo>
                      <a:pt x="532" y="210"/>
                    </a:lnTo>
                    <a:lnTo>
                      <a:pt x="530" y="208"/>
                    </a:lnTo>
                    <a:lnTo>
                      <a:pt x="528" y="206"/>
                    </a:lnTo>
                    <a:lnTo>
                      <a:pt x="528" y="202"/>
                    </a:lnTo>
                    <a:lnTo>
                      <a:pt x="528" y="196"/>
                    </a:lnTo>
                    <a:lnTo>
                      <a:pt x="524" y="196"/>
                    </a:lnTo>
                    <a:lnTo>
                      <a:pt x="522" y="196"/>
                    </a:lnTo>
                    <a:lnTo>
                      <a:pt x="520" y="196"/>
                    </a:lnTo>
                    <a:lnTo>
                      <a:pt x="518" y="194"/>
                    </a:lnTo>
                    <a:lnTo>
                      <a:pt x="518" y="192"/>
                    </a:lnTo>
                    <a:lnTo>
                      <a:pt x="520" y="190"/>
                    </a:lnTo>
                    <a:lnTo>
                      <a:pt x="522" y="190"/>
                    </a:lnTo>
                    <a:lnTo>
                      <a:pt x="524" y="188"/>
                    </a:lnTo>
                    <a:lnTo>
                      <a:pt x="526" y="188"/>
                    </a:lnTo>
                    <a:lnTo>
                      <a:pt x="528" y="188"/>
                    </a:lnTo>
                    <a:lnTo>
                      <a:pt x="530" y="188"/>
                    </a:lnTo>
                    <a:lnTo>
                      <a:pt x="532" y="186"/>
                    </a:lnTo>
                    <a:lnTo>
                      <a:pt x="534" y="186"/>
                    </a:lnTo>
                    <a:lnTo>
                      <a:pt x="536" y="186"/>
                    </a:lnTo>
                    <a:lnTo>
                      <a:pt x="538" y="186"/>
                    </a:lnTo>
                    <a:lnTo>
                      <a:pt x="540" y="184"/>
                    </a:lnTo>
                    <a:lnTo>
                      <a:pt x="542" y="184"/>
                    </a:lnTo>
                    <a:lnTo>
                      <a:pt x="542" y="186"/>
                    </a:lnTo>
                    <a:lnTo>
                      <a:pt x="544" y="186"/>
                    </a:lnTo>
                    <a:lnTo>
                      <a:pt x="546" y="188"/>
                    </a:lnTo>
                    <a:lnTo>
                      <a:pt x="548" y="188"/>
                    </a:lnTo>
                    <a:lnTo>
                      <a:pt x="550" y="188"/>
                    </a:lnTo>
                    <a:lnTo>
                      <a:pt x="550" y="186"/>
                    </a:lnTo>
                    <a:lnTo>
                      <a:pt x="552" y="186"/>
                    </a:lnTo>
                    <a:lnTo>
                      <a:pt x="552" y="188"/>
                    </a:lnTo>
                    <a:lnTo>
                      <a:pt x="556" y="188"/>
                    </a:lnTo>
                    <a:lnTo>
                      <a:pt x="558" y="188"/>
                    </a:lnTo>
                    <a:lnTo>
                      <a:pt x="558" y="186"/>
                    </a:lnTo>
                    <a:lnTo>
                      <a:pt x="556" y="184"/>
                    </a:lnTo>
                    <a:lnTo>
                      <a:pt x="552" y="184"/>
                    </a:lnTo>
                    <a:lnTo>
                      <a:pt x="552" y="182"/>
                    </a:lnTo>
                    <a:lnTo>
                      <a:pt x="550" y="182"/>
                    </a:lnTo>
                    <a:lnTo>
                      <a:pt x="550" y="168"/>
                    </a:lnTo>
                    <a:lnTo>
                      <a:pt x="550" y="164"/>
                    </a:lnTo>
                    <a:lnTo>
                      <a:pt x="550" y="150"/>
                    </a:lnTo>
                    <a:lnTo>
                      <a:pt x="552" y="150"/>
                    </a:lnTo>
                    <a:lnTo>
                      <a:pt x="552" y="148"/>
                    </a:lnTo>
                    <a:lnTo>
                      <a:pt x="554" y="148"/>
                    </a:lnTo>
                    <a:lnTo>
                      <a:pt x="562" y="152"/>
                    </a:lnTo>
                    <a:lnTo>
                      <a:pt x="564" y="152"/>
                    </a:lnTo>
                    <a:lnTo>
                      <a:pt x="566" y="154"/>
                    </a:lnTo>
                    <a:lnTo>
                      <a:pt x="576" y="154"/>
                    </a:lnTo>
                    <a:lnTo>
                      <a:pt x="578" y="156"/>
                    </a:lnTo>
                    <a:lnTo>
                      <a:pt x="580" y="156"/>
                    </a:lnTo>
                    <a:lnTo>
                      <a:pt x="580" y="158"/>
                    </a:lnTo>
                    <a:lnTo>
                      <a:pt x="582" y="156"/>
                    </a:lnTo>
                    <a:lnTo>
                      <a:pt x="584" y="154"/>
                    </a:lnTo>
                    <a:lnTo>
                      <a:pt x="584" y="152"/>
                    </a:lnTo>
                    <a:lnTo>
                      <a:pt x="588" y="152"/>
                    </a:lnTo>
                    <a:lnTo>
                      <a:pt x="590" y="152"/>
                    </a:lnTo>
                    <a:lnTo>
                      <a:pt x="590" y="150"/>
                    </a:lnTo>
                    <a:lnTo>
                      <a:pt x="590" y="146"/>
                    </a:lnTo>
                    <a:lnTo>
                      <a:pt x="588" y="144"/>
                    </a:lnTo>
                    <a:lnTo>
                      <a:pt x="586" y="140"/>
                    </a:lnTo>
                    <a:lnTo>
                      <a:pt x="584" y="138"/>
                    </a:lnTo>
                    <a:lnTo>
                      <a:pt x="582" y="134"/>
                    </a:lnTo>
                    <a:lnTo>
                      <a:pt x="580" y="132"/>
                    </a:lnTo>
                    <a:lnTo>
                      <a:pt x="580" y="130"/>
                    </a:lnTo>
                    <a:lnTo>
                      <a:pt x="582" y="128"/>
                    </a:lnTo>
                    <a:lnTo>
                      <a:pt x="582" y="126"/>
                    </a:lnTo>
                    <a:lnTo>
                      <a:pt x="584" y="126"/>
                    </a:lnTo>
                    <a:lnTo>
                      <a:pt x="586" y="124"/>
                    </a:lnTo>
                    <a:lnTo>
                      <a:pt x="592" y="124"/>
                    </a:lnTo>
                    <a:lnTo>
                      <a:pt x="594" y="124"/>
                    </a:lnTo>
                    <a:lnTo>
                      <a:pt x="596" y="124"/>
                    </a:lnTo>
                    <a:lnTo>
                      <a:pt x="596" y="120"/>
                    </a:lnTo>
                    <a:lnTo>
                      <a:pt x="594" y="120"/>
                    </a:lnTo>
                    <a:lnTo>
                      <a:pt x="592" y="118"/>
                    </a:lnTo>
                    <a:lnTo>
                      <a:pt x="590" y="116"/>
                    </a:lnTo>
                    <a:lnTo>
                      <a:pt x="592" y="114"/>
                    </a:lnTo>
                    <a:close/>
                    <a:moveTo>
                      <a:pt x="496" y="162"/>
                    </a:moveTo>
                    <a:lnTo>
                      <a:pt x="496" y="162"/>
                    </a:lnTo>
                    <a:lnTo>
                      <a:pt x="494" y="164"/>
                    </a:lnTo>
                    <a:lnTo>
                      <a:pt x="494" y="166"/>
                    </a:lnTo>
                    <a:lnTo>
                      <a:pt x="486" y="166"/>
                    </a:lnTo>
                    <a:lnTo>
                      <a:pt x="486" y="168"/>
                    </a:lnTo>
                    <a:lnTo>
                      <a:pt x="482" y="168"/>
                    </a:lnTo>
                    <a:lnTo>
                      <a:pt x="480" y="166"/>
                    </a:lnTo>
                    <a:lnTo>
                      <a:pt x="480" y="164"/>
                    </a:lnTo>
                    <a:lnTo>
                      <a:pt x="474" y="164"/>
                    </a:lnTo>
                    <a:lnTo>
                      <a:pt x="472" y="166"/>
                    </a:lnTo>
                    <a:lnTo>
                      <a:pt x="470" y="164"/>
                    </a:lnTo>
                    <a:lnTo>
                      <a:pt x="466" y="164"/>
                    </a:lnTo>
                    <a:lnTo>
                      <a:pt x="462" y="164"/>
                    </a:lnTo>
                    <a:lnTo>
                      <a:pt x="460" y="164"/>
                    </a:lnTo>
                    <a:lnTo>
                      <a:pt x="458" y="164"/>
                    </a:lnTo>
                    <a:lnTo>
                      <a:pt x="456" y="164"/>
                    </a:lnTo>
                    <a:lnTo>
                      <a:pt x="456" y="162"/>
                    </a:lnTo>
                    <a:lnTo>
                      <a:pt x="442" y="162"/>
                    </a:lnTo>
                    <a:lnTo>
                      <a:pt x="440" y="162"/>
                    </a:lnTo>
                    <a:lnTo>
                      <a:pt x="438" y="164"/>
                    </a:lnTo>
                    <a:lnTo>
                      <a:pt x="436" y="164"/>
                    </a:lnTo>
                    <a:lnTo>
                      <a:pt x="436" y="166"/>
                    </a:lnTo>
                    <a:lnTo>
                      <a:pt x="434" y="168"/>
                    </a:lnTo>
                    <a:lnTo>
                      <a:pt x="434" y="170"/>
                    </a:lnTo>
                    <a:lnTo>
                      <a:pt x="432" y="172"/>
                    </a:lnTo>
                    <a:lnTo>
                      <a:pt x="430" y="172"/>
                    </a:lnTo>
                    <a:lnTo>
                      <a:pt x="430" y="174"/>
                    </a:lnTo>
                    <a:lnTo>
                      <a:pt x="426" y="174"/>
                    </a:lnTo>
                    <a:lnTo>
                      <a:pt x="428" y="176"/>
                    </a:lnTo>
                    <a:lnTo>
                      <a:pt x="428" y="180"/>
                    </a:lnTo>
                    <a:lnTo>
                      <a:pt x="428" y="182"/>
                    </a:lnTo>
                    <a:lnTo>
                      <a:pt x="426" y="182"/>
                    </a:lnTo>
                    <a:lnTo>
                      <a:pt x="426" y="184"/>
                    </a:lnTo>
                    <a:lnTo>
                      <a:pt x="428" y="186"/>
                    </a:lnTo>
                    <a:lnTo>
                      <a:pt x="428" y="192"/>
                    </a:lnTo>
                    <a:lnTo>
                      <a:pt x="426" y="190"/>
                    </a:lnTo>
                    <a:lnTo>
                      <a:pt x="424" y="188"/>
                    </a:lnTo>
                    <a:lnTo>
                      <a:pt x="422" y="186"/>
                    </a:lnTo>
                    <a:lnTo>
                      <a:pt x="420" y="184"/>
                    </a:lnTo>
                    <a:lnTo>
                      <a:pt x="418" y="182"/>
                    </a:lnTo>
                    <a:lnTo>
                      <a:pt x="418" y="180"/>
                    </a:lnTo>
                    <a:lnTo>
                      <a:pt x="416" y="180"/>
                    </a:lnTo>
                    <a:lnTo>
                      <a:pt x="416" y="176"/>
                    </a:lnTo>
                    <a:lnTo>
                      <a:pt x="416" y="174"/>
                    </a:lnTo>
                    <a:lnTo>
                      <a:pt x="416" y="170"/>
                    </a:lnTo>
                    <a:lnTo>
                      <a:pt x="416" y="168"/>
                    </a:lnTo>
                    <a:lnTo>
                      <a:pt x="418" y="168"/>
                    </a:lnTo>
                    <a:lnTo>
                      <a:pt x="422" y="166"/>
                    </a:lnTo>
                    <a:lnTo>
                      <a:pt x="424" y="164"/>
                    </a:lnTo>
                    <a:lnTo>
                      <a:pt x="424" y="162"/>
                    </a:lnTo>
                    <a:lnTo>
                      <a:pt x="426" y="160"/>
                    </a:lnTo>
                    <a:lnTo>
                      <a:pt x="426" y="158"/>
                    </a:lnTo>
                    <a:lnTo>
                      <a:pt x="436" y="158"/>
                    </a:lnTo>
                    <a:lnTo>
                      <a:pt x="438" y="160"/>
                    </a:lnTo>
                    <a:lnTo>
                      <a:pt x="440" y="158"/>
                    </a:lnTo>
                    <a:lnTo>
                      <a:pt x="442" y="158"/>
                    </a:lnTo>
                    <a:lnTo>
                      <a:pt x="444" y="158"/>
                    </a:lnTo>
                    <a:lnTo>
                      <a:pt x="448" y="158"/>
                    </a:lnTo>
                    <a:lnTo>
                      <a:pt x="450" y="158"/>
                    </a:lnTo>
                    <a:lnTo>
                      <a:pt x="454" y="160"/>
                    </a:lnTo>
                    <a:lnTo>
                      <a:pt x="456" y="160"/>
                    </a:lnTo>
                    <a:lnTo>
                      <a:pt x="458" y="160"/>
                    </a:lnTo>
                    <a:lnTo>
                      <a:pt x="460" y="162"/>
                    </a:lnTo>
                    <a:lnTo>
                      <a:pt x="462" y="162"/>
                    </a:lnTo>
                    <a:lnTo>
                      <a:pt x="464" y="162"/>
                    </a:lnTo>
                    <a:lnTo>
                      <a:pt x="466" y="162"/>
                    </a:lnTo>
                    <a:lnTo>
                      <a:pt x="468" y="162"/>
                    </a:lnTo>
                    <a:lnTo>
                      <a:pt x="470" y="162"/>
                    </a:lnTo>
                    <a:lnTo>
                      <a:pt x="470" y="160"/>
                    </a:lnTo>
                    <a:lnTo>
                      <a:pt x="472" y="160"/>
                    </a:lnTo>
                    <a:lnTo>
                      <a:pt x="478" y="160"/>
                    </a:lnTo>
                    <a:lnTo>
                      <a:pt x="482" y="160"/>
                    </a:lnTo>
                    <a:lnTo>
                      <a:pt x="484" y="160"/>
                    </a:lnTo>
                    <a:lnTo>
                      <a:pt x="484" y="162"/>
                    </a:lnTo>
                    <a:lnTo>
                      <a:pt x="486" y="162"/>
                    </a:lnTo>
                    <a:lnTo>
                      <a:pt x="488" y="160"/>
                    </a:lnTo>
                    <a:lnTo>
                      <a:pt x="492" y="158"/>
                    </a:lnTo>
                    <a:lnTo>
                      <a:pt x="494" y="158"/>
                    </a:lnTo>
                    <a:lnTo>
                      <a:pt x="496" y="158"/>
                    </a:lnTo>
                    <a:lnTo>
                      <a:pt x="496" y="16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2" name="Freeform 201">
                <a:extLst>
                  <a:ext uri="{FF2B5EF4-FFF2-40B4-BE49-F238E27FC236}">
                    <a16:creationId xmlns:a16="http://schemas.microsoft.com/office/drawing/2014/main" id="{F80115A3-6723-48FD-B402-D39E53BEECF4}"/>
                  </a:ext>
                </a:extLst>
              </p:cNvPr>
              <p:cNvSpPr>
                <a:spLocks noChangeAspect="1"/>
              </p:cNvSpPr>
              <p:nvPr/>
            </p:nvSpPr>
            <p:spPr bwMode="auto">
              <a:xfrm>
                <a:off x="8329560" y="4348017"/>
                <a:ext cx="263098" cy="268570"/>
              </a:xfrm>
              <a:custGeom>
                <a:avLst/>
                <a:gdLst/>
                <a:ahLst/>
                <a:cxnLst>
                  <a:cxn ang="0">
                    <a:pos x="146" y="134"/>
                  </a:cxn>
                  <a:cxn ang="0">
                    <a:pos x="150" y="130"/>
                  </a:cxn>
                  <a:cxn ang="0">
                    <a:pos x="140" y="128"/>
                  </a:cxn>
                  <a:cxn ang="0">
                    <a:pos x="142" y="118"/>
                  </a:cxn>
                  <a:cxn ang="0">
                    <a:pos x="130" y="120"/>
                  </a:cxn>
                  <a:cxn ang="0">
                    <a:pos x="128" y="114"/>
                  </a:cxn>
                  <a:cxn ang="0">
                    <a:pos x="124" y="110"/>
                  </a:cxn>
                  <a:cxn ang="0">
                    <a:pos x="122" y="102"/>
                  </a:cxn>
                  <a:cxn ang="0">
                    <a:pos x="118" y="98"/>
                  </a:cxn>
                  <a:cxn ang="0">
                    <a:pos x="110" y="92"/>
                  </a:cxn>
                  <a:cxn ang="0">
                    <a:pos x="104" y="80"/>
                  </a:cxn>
                  <a:cxn ang="0">
                    <a:pos x="106" y="76"/>
                  </a:cxn>
                  <a:cxn ang="0">
                    <a:pos x="118" y="68"/>
                  </a:cxn>
                  <a:cxn ang="0">
                    <a:pos x="108" y="60"/>
                  </a:cxn>
                  <a:cxn ang="0">
                    <a:pos x="102" y="58"/>
                  </a:cxn>
                  <a:cxn ang="0">
                    <a:pos x="88" y="52"/>
                  </a:cxn>
                  <a:cxn ang="0">
                    <a:pos x="86" y="46"/>
                  </a:cxn>
                  <a:cxn ang="0">
                    <a:pos x="84" y="34"/>
                  </a:cxn>
                  <a:cxn ang="0">
                    <a:pos x="72" y="28"/>
                  </a:cxn>
                  <a:cxn ang="0">
                    <a:pos x="68" y="22"/>
                  </a:cxn>
                  <a:cxn ang="0">
                    <a:pos x="58" y="22"/>
                  </a:cxn>
                  <a:cxn ang="0">
                    <a:pos x="50" y="14"/>
                  </a:cxn>
                  <a:cxn ang="0">
                    <a:pos x="44" y="12"/>
                  </a:cxn>
                  <a:cxn ang="0">
                    <a:pos x="20" y="2"/>
                  </a:cxn>
                  <a:cxn ang="0">
                    <a:pos x="14" y="0"/>
                  </a:cxn>
                  <a:cxn ang="0">
                    <a:pos x="8" y="2"/>
                  </a:cxn>
                  <a:cxn ang="0">
                    <a:pos x="8" y="14"/>
                  </a:cxn>
                  <a:cxn ang="0">
                    <a:pos x="8" y="36"/>
                  </a:cxn>
                  <a:cxn ang="0">
                    <a:pos x="6" y="58"/>
                  </a:cxn>
                  <a:cxn ang="0">
                    <a:pos x="6" y="72"/>
                  </a:cxn>
                  <a:cxn ang="0">
                    <a:pos x="0" y="78"/>
                  </a:cxn>
                  <a:cxn ang="0">
                    <a:pos x="6" y="80"/>
                  </a:cxn>
                  <a:cxn ang="0">
                    <a:pos x="4" y="92"/>
                  </a:cxn>
                  <a:cxn ang="0">
                    <a:pos x="2" y="102"/>
                  </a:cxn>
                  <a:cxn ang="0">
                    <a:pos x="2" y="110"/>
                  </a:cxn>
                  <a:cxn ang="0">
                    <a:pos x="2" y="120"/>
                  </a:cxn>
                  <a:cxn ang="0">
                    <a:pos x="8" y="122"/>
                  </a:cxn>
                  <a:cxn ang="0">
                    <a:pos x="22" y="120"/>
                  </a:cxn>
                  <a:cxn ang="0">
                    <a:pos x="28" y="124"/>
                  </a:cxn>
                  <a:cxn ang="0">
                    <a:pos x="42" y="118"/>
                  </a:cxn>
                  <a:cxn ang="0">
                    <a:pos x="32" y="108"/>
                  </a:cxn>
                  <a:cxn ang="0">
                    <a:pos x="22" y="104"/>
                  </a:cxn>
                  <a:cxn ang="0">
                    <a:pos x="32" y="104"/>
                  </a:cxn>
                  <a:cxn ang="0">
                    <a:pos x="46" y="104"/>
                  </a:cxn>
                  <a:cxn ang="0">
                    <a:pos x="44" y="98"/>
                  </a:cxn>
                  <a:cxn ang="0">
                    <a:pos x="48" y="100"/>
                  </a:cxn>
                  <a:cxn ang="0">
                    <a:pos x="48" y="94"/>
                  </a:cxn>
                  <a:cxn ang="0">
                    <a:pos x="52" y="94"/>
                  </a:cxn>
                  <a:cxn ang="0">
                    <a:pos x="62" y="92"/>
                  </a:cxn>
                  <a:cxn ang="0">
                    <a:pos x="70" y="98"/>
                  </a:cxn>
                  <a:cxn ang="0">
                    <a:pos x="86" y="100"/>
                  </a:cxn>
                  <a:cxn ang="0">
                    <a:pos x="94" y="116"/>
                  </a:cxn>
                  <a:cxn ang="0">
                    <a:pos x="102" y="120"/>
                  </a:cxn>
                  <a:cxn ang="0">
                    <a:pos x="108" y="134"/>
                  </a:cxn>
                  <a:cxn ang="0">
                    <a:pos x="118" y="144"/>
                  </a:cxn>
                  <a:cxn ang="0">
                    <a:pos x="142" y="144"/>
                  </a:cxn>
                  <a:cxn ang="0">
                    <a:pos x="152" y="150"/>
                  </a:cxn>
                  <a:cxn ang="0">
                    <a:pos x="160" y="150"/>
                  </a:cxn>
                  <a:cxn ang="0">
                    <a:pos x="156" y="140"/>
                  </a:cxn>
                </a:cxnLst>
                <a:rect l="0" t="0" r="r" b="b"/>
                <a:pathLst>
                  <a:path w="160" h="154">
                    <a:moveTo>
                      <a:pt x="156" y="140"/>
                    </a:moveTo>
                    <a:lnTo>
                      <a:pt x="154" y="138"/>
                    </a:lnTo>
                    <a:lnTo>
                      <a:pt x="150" y="136"/>
                    </a:lnTo>
                    <a:lnTo>
                      <a:pt x="148" y="136"/>
                    </a:lnTo>
                    <a:lnTo>
                      <a:pt x="148" y="134"/>
                    </a:lnTo>
                    <a:lnTo>
                      <a:pt x="146" y="134"/>
                    </a:lnTo>
                    <a:lnTo>
                      <a:pt x="148" y="134"/>
                    </a:lnTo>
                    <a:lnTo>
                      <a:pt x="148" y="132"/>
                    </a:lnTo>
                    <a:lnTo>
                      <a:pt x="150" y="132"/>
                    </a:lnTo>
                    <a:lnTo>
                      <a:pt x="150" y="130"/>
                    </a:lnTo>
                    <a:lnTo>
                      <a:pt x="148" y="130"/>
                    </a:lnTo>
                    <a:lnTo>
                      <a:pt x="146" y="130"/>
                    </a:lnTo>
                    <a:lnTo>
                      <a:pt x="142" y="130"/>
                    </a:lnTo>
                    <a:lnTo>
                      <a:pt x="142" y="128"/>
                    </a:lnTo>
                    <a:lnTo>
                      <a:pt x="140" y="128"/>
                    </a:lnTo>
                    <a:lnTo>
                      <a:pt x="140" y="126"/>
                    </a:lnTo>
                    <a:lnTo>
                      <a:pt x="140" y="124"/>
                    </a:lnTo>
                    <a:lnTo>
                      <a:pt x="140" y="120"/>
                    </a:lnTo>
                    <a:lnTo>
                      <a:pt x="142" y="118"/>
                    </a:lnTo>
                    <a:lnTo>
                      <a:pt x="140" y="118"/>
                    </a:lnTo>
                    <a:lnTo>
                      <a:pt x="140" y="116"/>
                    </a:lnTo>
                    <a:lnTo>
                      <a:pt x="138" y="118"/>
                    </a:lnTo>
                    <a:lnTo>
                      <a:pt x="136" y="118"/>
                    </a:lnTo>
                    <a:lnTo>
                      <a:pt x="132" y="118"/>
                    </a:lnTo>
                    <a:lnTo>
                      <a:pt x="130" y="120"/>
                    </a:lnTo>
                    <a:lnTo>
                      <a:pt x="128" y="118"/>
                    </a:lnTo>
                    <a:lnTo>
                      <a:pt x="128" y="116"/>
                    </a:lnTo>
                    <a:lnTo>
                      <a:pt x="128" y="114"/>
                    </a:lnTo>
                    <a:lnTo>
                      <a:pt x="126" y="112"/>
                    </a:lnTo>
                    <a:lnTo>
                      <a:pt x="124" y="110"/>
                    </a:lnTo>
                    <a:lnTo>
                      <a:pt x="122" y="110"/>
                    </a:lnTo>
                    <a:lnTo>
                      <a:pt x="122" y="108"/>
                    </a:lnTo>
                    <a:lnTo>
                      <a:pt x="122" y="106"/>
                    </a:lnTo>
                    <a:lnTo>
                      <a:pt x="122" y="104"/>
                    </a:lnTo>
                    <a:lnTo>
                      <a:pt x="122" y="102"/>
                    </a:lnTo>
                    <a:lnTo>
                      <a:pt x="122" y="100"/>
                    </a:lnTo>
                    <a:lnTo>
                      <a:pt x="120" y="98"/>
                    </a:lnTo>
                    <a:lnTo>
                      <a:pt x="118" y="98"/>
                    </a:lnTo>
                    <a:lnTo>
                      <a:pt x="118" y="96"/>
                    </a:lnTo>
                    <a:lnTo>
                      <a:pt x="116" y="96"/>
                    </a:lnTo>
                    <a:lnTo>
                      <a:pt x="114" y="94"/>
                    </a:lnTo>
                    <a:lnTo>
                      <a:pt x="112" y="92"/>
                    </a:lnTo>
                    <a:lnTo>
                      <a:pt x="110" y="92"/>
                    </a:lnTo>
                    <a:lnTo>
                      <a:pt x="108" y="88"/>
                    </a:lnTo>
                    <a:lnTo>
                      <a:pt x="108" y="86"/>
                    </a:lnTo>
                    <a:lnTo>
                      <a:pt x="108" y="84"/>
                    </a:lnTo>
                    <a:lnTo>
                      <a:pt x="106" y="84"/>
                    </a:lnTo>
                    <a:lnTo>
                      <a:pt x="106" y="80"/>
                    </a:lnTo>
                    <a:lnTo>
                      <a:pt x="104" y="80"/>
                    </a:lnTo>
                    <a:lnTo>
                      <a:pt x="104" y="78"/>
                    </a:lnTo>
                    <a:lnTo>
                      <a:pt x="106" y="76"/>
                    </a:lnTo>
                    <a:lnTo>
                      <a:pt x="108" y="76"/>
                    </a:lnTo>
                    <a:lnTo>
                      <a:pt x="112" y="76"/>
                    </a:lnTo>
                    <a:lnTo>
                      <a:pt x="114" y="74"/>
                    </a:lnTo>
                    <a:lnTo>
                      <a:pt x="116" y="72"/>
                    </a:lnTo>
                    <a:lnTo>
                      <a:pt x="118" y="70"/>
                    </a:lnTo>
                    <a:lnTo>
                      <a:pt x="118" y="68"/>
                    </a:lnTo>
                    <a:lnTo>
                      <a:pt x="118" y="66"/>
                    </a:lnTo>
                    <a:lnTo>
                      <a:pt x="116" y="64"/>
                    </a:lnTo>
                    <a:lnTo>
                      <a:pt x="114" y="62"/>
                    </a:lnTo>
                    <a:lnTo>
                      <a:pt x="112" y="62"/>
                    </a:lnTo>
                    <a:lnTo>
                      <a:pt x="110" y="60"/>
                    </a:lnTo>
                    <a:lnTo>
                      <a:pt x="108" y="60"/>
                    </a:lnTo>
                    <a:lnTo>
                      <a:pt x="106" y="58"/>
                    </a:lnTo>
                    <a:lnTo>
                      <a:pt x="104" y="58"/>
                    </a:lnTo>
                    <a:lnTo>
                      <a:pt x="102" y="58"/>
                    </a:lnTo>
                    <a:lnTo>
                      <a:pt x="98" y="56"/>
                    </a:lnTo>
                    <a:lnTo>
                      <a:pt x="96" y="56"/>
                    </a:lnTo>
                    <a:lnTo>
                      <a:pt x="92" y="54"/>
                    </a:lnTo>
                    <a:lnTo>
                      <a:pt x="90" y="54"/>
                    </a:lnTo>
                    <a:lnTo>
                      <a:pt x="88" y="52"/>
                    </a:lnTo>
                    <a:lnTo>
                      <a:pt x="86" y="52"/>
                    </a:lnTo>
                    <a:lnTo>
                      <a:pt x="86" y="50"/>
                    </a:lnTo>
                    <a:lnTo>
                      <a:pt x="86" y="48"/>
                    </a:lnTo>
                    <a:lnTo>
                      <a:pt x="86" y="46"/>
                    </a:lnTo>
                    <a:lnTo>
                      <a:pt x="86" y="44"/>
                    </a:lnTo>
                    <a:lnTo>
                      <a:pt x="88" y="42"/>
                    </a:lnTo>
                    <a:lnTo>
                      <a:pt x="88" y="40"/>
                    </a:lnTo>
                    <a:lnTo>
                      <a:pt x="88" y="38"/>
                    </a:lnTo>
                    <a:lnTo>
                      <a:pt x="86" y="38"/>
                    </a:lnTo>
                    <a:lnTo>
                      <a:pt x="86" y="36"/>
                    </a:lnTo>
                    <a:lnTo>
                      <a:pt x="84" y="34"/>
                    </a:lnTo>
                    <a:lnTo>
                      <a:pt x="82" y="34"/>
                    </a:lnTo>
                    <a:lnTo>
                      <a:pt x="80" y="34"/>
                    </a:lnTo>
                    <a:lnTo>
                      <a:pt x="78" y="34"/>
                    </a:lnTo>
                    <a:lnTo>
                      <a:pt x="76" y="32"/>
                    </a:lnTo>
                    <a:lnTo>
                      <a:pt x="74" y="30"/>
                    </a:lnTo>
                    <a:lnTo>
                      <a:pt x="72" y="28"/>
                    </a:lnTo>
                    <a:lnTo>
                      <a:pt x="70" y="24"/>
                    </a:lnTo>
                    <a:lnTo>
                      <a:pt x="68" y="24"/>
                    </a:lnTo>
                    <a:lnTo>
                      <a:pt x="68" y="22"/>
                    </a:lnTo>
                    <a:lnTo>
                      <a:pt x="64" y="22"/>
                    </a:lnTo>
                    <a:lnTo>
                      <a:pt x="62" y="22"/>
                    </a:lnTo>
                    <a:lnTo>
                      <a:pt x="60" y="22"/>
                    </a:lnTo>
                    <a:lnTo>
                      <a:pt x="58" y="22"/>
                    </a:lnTo>
                    <a:lnTo>
                      <a:pt x="56" y="20"/>
                    </a:lnTo>
                    <a:lnTo>
                      <a:pt x="54" y="18"/>
                    </a:lnTo>
                    <a:lnTo>
                      <a:pt x="52" y="16"/>
                    </a:lnTo>
                    <a:lnTo>
                      <a:pt x="50" y="16"/>
                    </a:lnTo>
                    <a:lnTo>
                      <a:pt x="50" y="14"/>
                    </a:lnTo>
                    <a:lnTo>
                      <a:pt x="48" y="14"/>
                    </a:lnTo>
                    <a:lnTo>
                      <a:pt x="46" y="14"/>
                    </a:lnTo>
                    <a:lnTo>
                      <a:pt x="46" y="12"/>
                    </a:lnTo>
                    <a:lnTo>
                      <a:pt x="44" y="12"/>
                    </a:lnTo>
                    <a:lnTo>
                      <a:pt x="38" y="10"/>
                    </a:lnTo>
                    <a:lnTo>
                      <a:pt x="34" y="8"/>
                    </a:lnTo>
                    <a:lnTo>
                      <a:pt x="30" y="6"/>
                    </a:lnTo>
                    <a:lnTo>
                      <a:pt x="26" y="4"/>
                    </a:lnTo>
                    <a:lnTo>
                      <a:pt x="22" y="4"/>
                    </a:lnTo>
                    <a:lnTo>
                      <a:pt x="20" y="2"/>
                    </a:lnTo>
                    <a:lnTo>
                      <a:pt x="18" y="2"/>
                    </a:lnTo>
                    <a:lnTo>
                      <a:pt x="16" y="0"/>
                    </a:lnTo>
                    <a:lnTo>
                      <a:pt x="14" y="0"/>
                    </a:lnTo>
                    <a:lnTo>
                      <a:pt x="12" y="0"/>
                    </a:lnTo>
                    <a:lnTo>
                      <a:pt x="10" y="0"/>
                    </a:lnTo>
                    <a:lnTo>
                      <a:pt x="10" y="2"/>
                    </a:lnTo>
                    <a:lnTo>
                      <a:pt x="8" y="2"/>
                    </a:lnTo>
                    <a:lnTo>
                      <a:pt x="8" y="4"/>
                    </a:lnTo>
                    <a:lnTo>
                      <a:pt x="8" y="6"/>
                    </a:lnTo>
                    <a:lnTo>
                      <a:pt x="8" y="8"/>
                    </a:lnTo>
                    <a:lnTo>
                      <a:pt x="8" y="14"/>
                    </a:lnTo>
                    <a:lnTo>
                      <a:pt x="8" y="20"/>
                    </a:lnTo>
                    <a:lnTo>
                      <a:pt x="8" y="26"/>
                    </a:lnTo>
                    <a:lnTo>
                      <a:pt x="8" y="30"/>
                    </a:lnTo>
                    <a:lnTo>
                      <a:pt x="8" y="32"/>
                    </a:lnTo>
                    <a:lnTo>
                      <a:pt x="8" y="34"/>
                    </a:lnTo>
                    <a:lnTo>
                      <a:pt x="8" y="36"/>
                    </a:lnTo>
                    <a:lnTo>
                      <a:pt x="6" y="40"/>
                    </a:lnTo>
                    <a:lnTo>
                      <a:pt x="6" y="42"/>
                    </a:lnTo>
                    <a:lnTo>
                      <a:pt x="6" y="48"/>
                    </a:lnTo>
                    <a:lnTo>
                      <a:pt x="4" y="52"/>
                    </a:lnTo>
                    <a:lnTo>
                      <a:pt x="4" y="54"/>
                    </a:lnTo>
                    <a:lnTo>
                      <a:pt x="4" y="56"/>
                    </a:lnTo>
                    <a:lnTo>
                      <a:pt x="6" y="58"/>
                    </a:lnTo>
                    <a:lnTo>
                      <a:pt x="6" y="60"/>
                    </a:lnTo>
                    <a:lnTo>
                      <a:pt x="6" y="66"/>
                    </a:lnTo>
                    <a:lnTo>
                      <a:pt x="6" y="68"/>
                    </a:lnTo>
                    <a:lnTo>
                      <a:pt x="6" y="70"/>
                    </a:lnTo>
                    <a:lnTo>
                      <a:pt x="6" y="72"/>
                    </a:lnTo>
                    <a:lnTo>
                      <a:pt x="4" y="72"/>
                    </a:lnTo>
                    <a:lnTo>
                      <a:pt x="2" y="74"/>
                    </a:lnTo>
                    <a:lnTo>
                      <a:pt x="0" y="76"/>
                    </a:lnTo>
                    <a:lnTo>
                      <a:pt x="0" y="78"/>
                    </a:lnTo>
                    <a:lnTo>
                      <a:pt x="2" y="80"/>
                    </a:lnTo>
                    <a:lnTo>
                      <a:pt x="4" y="80"/>
                    </a:lnTo>
                    <a:lnTo>
                      <a:pt x="6" y="80"/>
                    </a:lnTo>
                    <a:lnTo>
                      <a:pt x="6" y="82"/>
                    </a:lnTo>
                    <a:lnTo>
                      <a:pt x="6" y="84"/>
                    </a:lnTo>
                    <a:lnTo>
                      <a:pt x="4" y="88"/>
                    </a:lnTo>
                    <a:lnTo>
                      <a:pt x="4" y="90"/>
                    </a:lnTo>
                    <a:lnTo>
                      <a:pt x="4" y="92"/>
                    </a:lnTo>
                    <a:lnTo>
                      <a:pt x="4" y="96"/>
                    </a:lnTo>
                    <a:lnTo>
                      <a:pt x="4" y="98"/>
                    </a:lnTo>
                    <a:lnTo>
                      <a:pt x="2" y="100"/>
                    </a:lnTo>
                    <a:lnTo>
                      <a:pt x="2" y="102"/>
                    </a:lnTo>
                    <a:lnTo>
                      <a:pt x="2" y="104"/>
                    </a:lnTo>
                    <a:lnTo>
                      <a:pt x="2" y="106"/>
                    </a:lnTo>
                    <a:lnTo>
                      <a:pt x="2" y="108"/>
                    </a:lnTo>
                    <a:lnTo>
                      <a:pt x="2" y="110"/>
                    </a:lnTo>
                    <a:lnTo>
                      <a:pt x="2" y="112"/>
                    </a:lnTo>
                    <a:lnTo>
                      <a:pt x="2" y="114"/>
                    </a:lnTo>
                    <a:lnTo>
                      <a:pt x="2" y="118"/>
                    </a:lnTo>
                    <a:lnTo>
                      <a:pt x="2" y="120"/>
                    </a:lnTo>
                    <a:lnTo>
                      <a:pt x="2" y="122"/>
                    </a:lnTo>
                    <a:lnTo>
                      <a:pt x="4" y="122"/>
                    </a:lnTo>
                    <a:lnTo>
                      <a:pt x="8" y="122"/>
                    </a:lnTo>
                    <a:lnTo>
                      <a:pt x="12" y="122"/>
                    </a:lnTo>
                    <a:lnTo>
                      <a:pt x="16" y="122"/>
                    </a:lnTo>
                    <a:lnTo>
                      <a:pt x="18" y="122"/>
                    </a:lnTo>
                    <a:lnTo>
                      <a:pt x="22" y="122"/>
                    </a:lnTo>
                    <a:lnTo>
                      <a:pt x="22" y="120"/>
                    </a:lnTo>
                    <a:lnTo>
                      <a:pt x="24" y="122"/>
                    </a:lnTo>
                    <a:lnTo>
                      <a:pt x="26" y="124"/>
                    </a:lnTo>
                    <a:lnTo>
                      <a:pt x="28" y="124"/>
                    </a:lnTo>
                    <a:lnTo>
                      <a:pt x="30" y="124"/>
                    </a:lnTo>
                    <a:lnTo>
                      <a:pt x="32" y="122"/>
                    </a:lnTo>
                    <a:lnTo>
                      <a:pt x="38" y="120"/>
                    </a:lnTo>
                    <a:lnTo>
                      <a:pt x="40" y="120"/>
                    </a:lnTo>
                    <a:lnTo>
                      <a:pt x="42" y="118"/>
                    </a:lnTo>
                    <a:lnTo>
                      <a:pt x="42" y="116"/>
                    </a:lnTo>
                    <a:lnTo>
                      <a:pt x="40" y="114"/>
                    </a:lnTo>
                    <a:lnTo>
                      <a:pt x="38" y="112"/>
                    </a:lnTo>
                    <a:lnTo>
                      <a:pt x="36" y="112"/>
                    </a:lnTo>
                    <a:lnTo>
                      <a:pt x="32" y="108"/>
                    </a:lnTo>
                    <a:lnTo>
                      <a:pt x="28" y="106"/>
                    </a:lnTo>
                    <a:lnTo>
                      <a:pt x="26" y="106"/>
                    </a:lnTo>
                    <a:lnTo>
                      <a:pt x="24" y="104"/>
                    </a:lnTo>
                    <a:lnTo>
                      <a:pt x="22" y="104"/>
                    </a:lnTo>
                    <a:lnTo>
                      <a:pt x="24" y="104"/>
                    </a:lnTo>
                    <a:lnTo>
                      <a:pt x="26" y="104"/>
                    </a:lnTo>
                    <a:lnTo>
                      <a:pt x="28" y="104"/>
                    </a:lnTo>
                    <a:lnTo>
                      <a:pt x="32" y="104"/>
                    </a:lnTo>
                    <a:lnTo>
                      <a:pt x="36" y="104"/>
                    </a:lnTo>
                    <a:lnTo>
                      <a:pt x="40" y="106"/>
                    </a:lnTo>
                    <a:lnTo>
                      <a:pt x="42" y="106"/>
                    </a:lnTo>
                    <a:lnTo>
                      <a:pt x="44" y="106"/>
                    </a:lnTo>
                    <a:lnTo>
                      <a:pt x="46" y="106"/>
                    </a:lnTo>
                    <a:lnTo>
                      <a:pt x="46" y="104"/>
                    </a:lnTo>
                    <a:lnTo>
                      <a:pt x="46" y="102"/>
                    </a:lnTo>
                    <a:lnTo>
                      <a:pt x="46" y="100"/>
                    </a:lnTo>
                    <a:lnTo>
                      <a:pt x="44" y="100"/>
                    </a:lnTo>
                    <a:lnTo>
                      <a:pt x="44" y="98"/>
                    </a:lnTo>
                    <a:lnTo>
                      <a:pt x="42" y="98"/>
                    </a:lnTo>
                    <a:lnTo>
                      <a:pt x="44" y="98"/>
                    </a:lnTo>
                    <a:lnTo>
                      <a:pt x="46" y="100"/>
                    </a:lnTo>
                    <a:lnTo>
                      <a:pt x="48" y="100"/>
                    </a:lnTo>
                    <a:lnTo>
                      <a:pt x="50" y="100"/>
                    </a:lnTo>
                    <a:lnTo>
                      <a:pt x="50" y="98"/>
                    </a:lnTo>
                    <a:lnTo>
                      <a:pt x="50" y="96"/>
                    </a:lnTo>
                    <a:lnTo>
                      <a:pt x="48" y="94"/>
                    </a:lnTo>
                    <a:lnTo>
                      <a:pt x="48" y="92"/>
                    </a:lnTo>
                    <a:lnTo>
                      <a:pt x="50" y="94"/>
                    </a:lnTo>
                    <a:lnTo>
                      <a:pt x="52" y="94"/>
                    </a:lnTo>
                    <a:lnTo>
                      <a:pt x="54" y="96"/>
                    </a:lnTo>
                    <a:lnTo>
                      <a:pt x="56" y="94"/>
                    </a:lnTo>
                    <a:lnTo>
                      <a:pt x="58" y="94"/>
                    </a:lnTo>
                    <a:lnTo>
                      <a:pt x="60" y="92"/>
                    </a:lnTo>
                    <a:lnTo>
                      <a:pt x="62" y="92"/>
                    </a:lnTo>
                    <a:lnTo>
                      <a:pt x="64" y="92"/>
                    </a:lnTo>
                    <a:lnTo>
                      <a:pt x="66" y="92"/>
                    </a:lnTo>
                    <a:lnTo>
                      <a:pt x="66" y="94"/>
                    </a:lnTo>
                    <a:lnTo>
                      <a:pt x="68" y="96"/>
                    </a:lnTo>
                    <a:lnTo>
                      <a:pt x="70" y="98"/>
                    </a:lnTo>
                    <a:lnTo>
                      <a:pt x="70" y="100"/>
                    </a:lnTo>
                    <a:lnTo>
                      <a:pt x="72" y="100"/>
                    </a:lnTo>
                    <a:lnTo>
                      <a:pt x="74" y="100"/>
                    </a:lnTo>
                    <a:lnTo>
                      <a:pt x="78" y="100"/>
                    </a:lnTo>
                    <a:lnTo>
                      <a:pt x="80" y="100"/>
                    </a:lnTo>
                    <a:lnTo>
                      <a:pt x="82" y="100"/>
                    </a:lnTo>
                    <a:lnTo>
                      <a:pt x="86" y="100"/>
                    </a:lnTo>
                    <a:lnTo>
                      <a:pt x="88" y="102"/>
                    </a:lnTo>
                    <a:lnTo>
                      <a:pt x="90" y="102"/>
                    </a:lnTo>
                    <a:lnTo>
                      <a:pt x="92" y="104"/>
                    </a:lnTo>
                    <a:lnTo>
                      <a:pt x="92" y="106"/>
                    </a:lnTo>
                    <a:lnTo>
                      <a:pt x="92" y="110"/>
                    </a:lnTo>
                    <a:lnTo>
                      <a:pt x="94" y="114"/>
                    </a:lnTo>
                    <a:lnTo>
                      <a:pt x="94" y="116"/>
                    </a:lnTo>
                    <a:lnTo>
                      <a:pt x="94" y="118"/>
                    </a:lnTo>
                    <a:lnTo>
                      <a:pt x="94" y="120"/>
                    </a:lnTo>
                    <a:lnTo>
                      <a:pt x="96" y="120"/>
                    </a:lnTo>
                    <a:lnTo>
                      <a:pt x="98" y="120"/>
                    </a:lnTo>
                    <a:lnTo>
                      <a:pt x="102" y="120"/>
                    </a:lnTo>
                    <a:lnTo>
                      <a:pt x="104" y="122"/>
                    </a:lnTo>
                    <a:lnTo>
                      <a:pt x="104" y="124"/>
                    </a:lnTo>
                    <a:lnTo>
                      <a:pt x="106" y="128"/>
                    </a:lnTo>
                    <a:lnTo>
                      <a:pt x="108" y="130"/>
                    </a:lnTo>
                    <a:lnTo>
                      <a:pt x="108" y="134"/>
                    </a:lnTo>
                    <a:lnTo>
                      <a:pt x="110" y="138"/>
                    </a:lnTo>
                    <a:lnTo>
                      <a:pt x="112" y="140"/>
                    </a:lnTo>
                    <a:lnTo>
                      <a:pt x="114" y="142"/>
                    </a:lnTo>
                    <a:lnTo>
                      <a:pt x="116" y="142"/>
                    </a:lnTo>
                    <a:lnTo>
                      <a:pt x="118" y="144"/>
                    </a:lnTo>
                    <a:lnTo>
                      <a:pt x="120" y="144"/>
                    </a:lnTo>
                    <a:lnTo>
                      <a:pt x="124" y="144"/>
                    </a:lnTo>
                    <a:lnTo>
                      <a:pt x="130" y="144"/>
                    </a:lnTo>
                    <a:lnTo>
                      <a:pt x="134" y="144"/>
                    </a:lnTo>
                    <a:lnTo>
                      <a:pt x="140" y="144"/>
                    </a:lnTo>
                    <a:lnTo>
                      <a:pt x="142" y="144"/>
                    </a:lnTo>
                    <a:lnTo>
                      <a:pt x="144" y="144"/>
                    </a:lnTo>
                    <a:lnTo>
                      <a:pt x="146" y="146"/>
                    </a:lnTo>
                    <a:lnTo>
                      <a:pt x="148" y="148"/>
                    </a:lnTo>
                    <a:lnTo>
                      <a:pt x="150" y="148"/>
                    </a:lnTo>
                    <a:lnTo>
                      <a:pt x="152" y="150"/>
                    </a:lnTo>
                    <a:lnTo>
                      <a:pt x="156" y="152"/>
                    </a:lnTo>
                    <a:lnTo>
                      <a:pt x="158" y="154"/>
                    </a:lnTo>
                    <a:lnTo>
                      <a:pt x="160" y="152"/>
                    </a:lnTo>
                    <a:lnTo>
                      <a:pt x="160" y="150"/>
                    </a:lnTo>
                    <a:lnTo>
                      <a:pt x="158" y="148"/>
                    </a:lnTo>
                    <a:lnTo>
                      <a:pt x="156" y="146"/>
                    </a:lnTo>
                    <a:lnTo>
                      <a:pt x="156" y="144"/>
                    </a:lnTo>
                    <a:lnTo>
                      <a:pt x="156" y="1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3" name="Freeform 202">
                <a:extLst>
                  <a:ext uri="{FF2B5EF4-FFF2-40B4-BE49-F238E27FC236}">
                    <a16:creationId xmlns:a16="http://schemas.microsoft.com/office/drawing/2014/main" id="{D9E73638-E1DF-4212-A352-F6CE43870D35}"/>
                  </a:ext>
                </a:extLst>
              </p:cNvPr>
              <p:cNvSpPr>
                <a:spLocks noChangeAspect="1"/>
              </p:cNvSpPr>
              <p:nvPr/>
            </p:nvSpPr>
            <p:spPr bwMode="auto">
              <a:xfrm>
                <a:off x="7686614" y="3406276"/>
                <a:ext cx="46042" cy="115102"/>
              </a:xfrm>
              <a:custGeom>
                <a:avLst/>
                <a:gdLst/>
                <a:ahLst/>
                <a:cxnLst>
                  <a:cxn ang="0">
                    <a:pos x="18" y="62"/>
                  </a:cxn>
                  <a:cxn ang="0">
                    <a:pos x="18" y="60"/>
                  </a:cxn>
                  <a:cxn ang="0">
                    <a:pos x="18" y="56"/>
                  </a:cxn>
                  <a:cxn ang="0">
                    <a:pos x="18" y="54"/>
                  </a:cxn>
                  <a:cxn ang="0">
                    <a:pos x="18" y="52"/>
                  </a:cxn>
                  <a:cxn ang="0">
                    <a:pos x="18" y="52"/>
                  </a:cxn>
                  <a:cxn ang="0">
                    <a:pos x="20" y="52"/>
                  </a:cxn>
                  <a:cxn ang="0">
                    <a:pos x="22" y="48"/>
                  </a:cxn>
                  <a:cxn ang="0">
                    <a:pos x="24" y="46"/>
                  </a:cxn>
                  <a:cxn ang="0">
                    <a:pos x="24" y="40"/>
                  </a:cxn>
                  <a:cxn ang="0">
                    <a:pos x="24" y="34"/>
                  </a:cxn>
                  <a:cxn ang="0">
                    <a:pos x="24" y="28"/>
                  </a:cxn>
                  <a:cxn ang="0">
                    <a:pos x="24" y="24"/>
                  </a:cxn>
                  <a:cxn ang="0">
                    <a:pos x="24" y="24"/>
                  </a:cxn>
                  <a:cxn ang="0">
                    <a:pos x="24" y="24"/>
                  </a:cxn>
                  <a:cxn ang="0">
                    <a:pos x="26" y="22"/>
                  </a:cxn>
                  <a:cxn ang="0">
                    <a:pos x="26" y="18"/>
                  </a:cxn>
                  <a:cxn ang="0">
                    <a:pos x="26" y="12"/>
                  </a:cxn>
                  <a:cxn ang="0">
                    <a:pos x="26" y="8"/>
                  </a:cxn>
                  <a:cxn ang="0">
                    <a:pos x="26" y="6"/>
                  </a:cxn>
                  <a:cxn ang="0">
                    <a:pos x="26" y="6"/>
                  </a:cxn>
                  <a:cxn ang="0">
                    <a:pos x="20" y="2"/>
                  </a:cxn>
                  <a:cxn ang="0">
                    <a:pos x="18" y="2"/>
                  </a:cxn>
                  <a:cxn ang="0">
                    <a:pos x="16" y="0"/>
                  </a:cxn>
                  <a:cxn ang="0">
                    <a:pos x="16" y="0"/>
                  </a:cxn>
                  <a:cxn ang="0">
                    <a:pos x="12" y="4"/>
                  </a:cxn>
                  <a:cxn ang="0">
                    <a:pos x="10" y="6"/>
                  </a:cxn>
                  <a:cxn ang="0">
                    <a:pos x="10" y="8"/>
                  </a:cxn>
                  <a:cxn ang="0">
                    <a:pos x="10" y="8"/>
                  </a:cxn>
                  <a:cxn ang="0">
                    <a:pos x="8" y="10"/>
                  </a:cxn>
                  <a:cxn ang="0">
                    <a:pos x="6" y="14"/>
                  </a:cxn>
                  <a:cxn ang="0">
                    <a:pos x="4" y="22"/>
                  </a:cxn>
                  <a:cxn ang="0">
                    <a:pos x="2" y="32"/>
                  </a:cxn>
                  <a:cxn ang="0">
                    <a:pos x="0" y="36"/>
                  </a:cxn>
                  <a:cxn ang="0">
                    <a:pos x="0" y="40"/>
                  </a:cxn>
                  <a:cxn ang="0">
                    <a:pos x="0" y="44"/>
                  </a:cxn>
                  <a:cxn ang="0">
                    <a:pos x="6" y="48"/>
                  </a:cxn>
                  <a:cxn ang="0">
                    <a:pos x="8" y="52"/>
                  </a:cxn>
                  <a:cxn ang="0">
                    <a:pos x="8" y="52"/>
                  </a:cxn>
                  <a:cxn ang="0">
                    <a:pos x="8" y="54"/>
                  </a:cxn>
                  <a:cxn ang="0">
                    <a:pos x="10" y="56"/>
                  </a:cxn>
                  <a:cxn ang="0">
                    <a:pos x="12" y="62"/>
                  </a:cxn>
                  <a:cxn ang="0">
                    <a:pos x="16" y="64"/>
                  </a:cxn>
                  <a:cxn ang="0">
                    <a:pos x="18" y="66"/>
                  </a:cxn>
                </a:cxnLst>
                <a:rect l="0" t="0" r="r" b="b"/>
                <a:pathLst>
                  <a:path w="28" h="66">
                    <a:moveTo>
                      <a:pt x="18" y="66"/>
                    </a:moveTo>
                    <a:lnTo>
                      <a:pt x="18" y="62"/>
                    </a:lnTo>
                    <a:lnTo>
                      <a:pt x="18" y="60"/>
                    </a:lnTo>
                    <a:lnTo>
                      <a:pt x="18" y="58"/>
                    </a:lnTo>
                    <a:lnTo>
                      <a:pt x="18" y="56"/>
                    </a:lnTo>
                    <a:lnTo>
                      <a:pt x="18" y="54"/>
                    </a:lnTo>
                    <a:lnTo>
                      <a:pt x="18" y="52"/>
                    </a:lnTo>
                    <a:lnTo>
                      <a:pt x="20" y="52"/>
                    </a:lnTo>
                    <a:lnTo>
                      <a:pt x="20" y="50"/>
                    </a:lnTo>
                    <a:lnTo>
                      <a:pt x="22" y="48"/>
                    </a:lnTo>
                    <a:lnTo>
                      <a:pt x="22" y="46"/>
                    </a:lnTo>
                    <a:lnTo>
                      <a:pt x="24" y="46"/>
                    </a:lnTo>
                    <a:lnTo>
                      <a:pt x="24" y="42"/>
                    </a:lnTo>
                    <a:lnTo>
                      <a:pt x="24" y="40"/>
                    </a:lnTo>
                    <a:lnTo>
                      <a:pt x="24" y="36"/>
                    </a:lnTo>
                    <a:lnTo>
                      <a:pt x="24" y="34"/>
                    </a:lnTo>
                    <a:lnTo>
                      <a:pt x="24" y="30"/>
                    </a:lnTo>
                    <a:lnTo>
                      <a:pt x="24" y="28"/>
                    </a:lnTo>
                    <a:lnTo>
                      <a:pt x="24" y="26"/>
                    </a:lnTo>
                    <a:lnTo>
                      <a:pt x="24" y="24"/>
                    </a:lnTo>
                    <a:lnTo>
                      <a:pt x="24" y="22"/>
                    </a:lnTo>
                    <a:lnTo>
                      <a:pt x="26" y="22"/>
                    </a:lnTo>
                    <a:lnTo>
                      <a:pt x="26" y="20"/>
                    </a:lnTo>
                    <a:lnTo>
                      <a:pt x="26" y="18"/>
                    </a:lnTo>
                    <a:lnTo>
                      <a:pt x="26" y="16"/>
                    </a:lnTo>
                    <a:lnTo>
                      <a:pt x="26" y="12"/>
                    </a:lnTo>
                    <a:lnTo>
                      <a:pt x="26" y="10"/>
                    </a:lnTo>
                    <a:lnTo>
                      <a:pt x="26" y="8"/>
                    </a:lnTo>
                    <a:lnTo>
                      <a:pt x="26" y="6"/>
                    </a:lnTo>
                    <a:lnTo>
                      <a:pt x="28" y="6"/>
                    </a:lnTo>
                    <a:lnTo>
                      <a:pt x="26" y="6"/>
                    </a:lnTo>
                    <a:lnTo>
                      <a:pt x="24" y="4"/>
                    </a:lnTo>
                    <a:lnTo>
                      <a:pt x="20" y="2"/>
                    </a:lnTo>
                    <a:lnTo>
                      <a:pt x="18" y="2"/>
                    </a:lnTo>
                    <a:lnTo>
                      <a:pt x="16" y="0"/>
                    </a:lnTo>
                    <a:lnTo>
                      <a:pt x="14" y="2"/>
                    </a:lnTo>
                    <a:lnTo>
                      <a:pt x="12" y="4"/>
                    </a:lnTo>
                    <a:lnTo>
                      <a:pt x="12" y="6"/>
                    </a:lnTo>
                    <a:lnTo>
                      <a:pt x="10" y="6"/>
                    </a:lnTo>
                    <a:lnTo>
                      <a:pt x="10" y="8"/>
                    </a:lnTo>
                    <a:lnTo>
                      <a:pt x="8" y="10"/>
                    </a:lnTo>
                    <a:lnTo>
                      <a:pt x="8" y="12"/>
                    </a:lnTo>
                    <a:lnTo>
                      <a:pt x="6" y="14"/>
                    </a:lnTo>
                    <a:lnTo>
                      <a:pt x="6" y="18"/>
                    </a:lnTo>
                    <a:lnTo>
                      <a:pt x="4" y="22"/>
                    </a:lnTo>
                    <a:lnTo>
                      <a:pt x="2" y="28"/>
                    </a:lnTo>
                    <a:lnTo>
                      <a:pt x="2" y="32"/>
                    </a:lnTo>
                    <a:lnTo>
                      <a:pt x="0" y="34"/>
                    </a:lnTo>
                    <a:lnTo>
                      <a:pt x="0" y="36"/>
                    </a:lnTo>
                    <a:lnTo>
                      <a:pt x="0" y="38"/>
                    </a:lnTo>
                    <a:lnTo>
                      <a:pt x="0" y="40"/>
                    </a:lnTo>
                    <a:lnTo>
                      <a:pt x="0" y="42"/>
                    </a:lnTo>
                    <a:lnTo>
                      <a:pt x="0" y="44"/>
                    </a:lnTo>
                    <a:lnTo>
                      <a:pt x="2" y="46"/>
                    </a:lnTo>
                    <a:lnTo>
                      <a:pt x="6" y="48"/>
                    </a:lnTo>
                    <a:lnTo>
                      <a:pt x="6" y="50"/>
                    </a:lnTo>
                    <a:lnTo>
                      <a:pt x="8" y="52"/>
                    </a:lnTo>
                    <a:lnTo>
                      <a:pt x="8" y="54"/>
                    </a:lnTo>
                    <a:lnTo>
                      <a:pt x="10" y="54"/>
                    </a:lnTo>
                    <a:lnTo>
                      <a:pt x="10" y="56"/>
                    </a:lnTo>
                    <a:lnTo>
                      <a:pt x="12" y="58"/>
                    </a:lnTo>
                    <a:lnTo>
                      <a:pt x="12" y="62"/>
                    </a:lnTo>
                    <a:lnTo>
                      <a:pt x="14" y="64"/>
                    </a:lnTo>
                    <a:lnTo>
                      <a:pt x="16" y="64"/>
                    </a:lnTo>
                    <a:lnTo>
                      <a:pt x="18" y="64"/>
                    </a:lnTo>
                    <a:lnTo>
                      <a:pt x="18" y="6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4" name="Freeform 203">
                <a:extLst>
                  <a:ext uri="{FF2B5EF4-FFF2-40B4-BE49-F238E27FC236}">
                    <a16:creationId xmlns:a16="http://schemas.microsoft.com/office/drawing/2014/main" id="{8F851D01-2CA9-456C-A867-F783A1122190}"/>
                  </a:ext>
                </a:extLst>
              </p:cNvPr>
              <p:cNvSpPr>
                <a:spLocks noChangeAspect="1"/>
              </p:cNvSpPr>
              <p:nvPr/>
            </p:nvSpPr>
            <p:spPr bwMode="auto">
              <a:xfrm>
                <a:off x="7193306" y="4027127"/>
                <a:ext cx="121683" cy="184860"/>
              </a:xfrm>
              <a:custGeom>
                <a:avLst/>
                <a:gdLst/>
                <a:ahLst/>
                <a:cxnLst>
                  <a:cxn ang="0">
                    <a:pos x="2" y="22"/>
                  </a:cxn>
                  <a:cxn ang="0">
                    <a:pos x="2" y="28"/>
                  </a:cxn>
                  <a:cxn ang="0">
                    <a:pos x="2" y="32"/>
                  </a:cxn>
                  <a:cxn ang="0">
                    <a:pos x="4" y="32"/>
                  </a:cxn>
                  <a:cxn ang="0">
                    <a:pos x="10" y="32"/>
                  </a:cxn>
                  <a:cxn ang="0">
                    <a:pos x="14" y="36"/>
                  </a:cxn>
                  <a:cxn ang="0">
                    <a:pos x="12" y="48"/>
                  </a:cxn>
                  <a:cxn ang="0">
                    <a:pos x="16" y="56"/>
                  </a:cxn>
                  <a:cxn ang="0">
                    <a:pos x="20" y="56"/>
                  </a:cxn>
                  <a:cxn ang="0">
                    <a:pos x="22" y="56"/>
                  </a:cxn>
                  <a:cxn ang="0">
                    <a:pos x="22" y="60"/>
                  </a:cxn>
                  <a:cxn ang="0">
                    <a:pos x="22" y="72"/>
                  </a:cxn>
                  <a:cxn ang="0">
                    <a:pos x="26" y="74"/>
                  </a:cxn>
                  <a:cxn ang="0">
                    <a:pos x="36" y="82"/>
                  </a:cxn>
                  <a:cxn ang="0">
                    <a:pos x="42" y="86"/>
                  </a:cxn>
                  <a:cxn ang="0">
                    <a:pos x="42" y="88"/>
                  </a:cxn>
                  <a:cxn ang="0">
                    <a:pos x="42" y="92"/>
                  </a:cxn>
                  <a:cxn ang="0">
                    <a:pos x="48" y="94"/>
                  </a:cxn>
                  <a:cxn ang="0">
                    <a:pos x="54" y="98"/>
                  </a:cxn>
                  <a:cxn ang="0">
                    <a:pos x="60" y="104"/>
                  </a:cxn>
                  <a:cxn ang="0">
                    <a:pos x="62" y="106"/>
                  </a:cxn>
                  <a:cxn ang="0">
                    <a:pos x="68" y="104"/>
                  </a:cxn>
                  <a:cxn ang="0">
                    <a:pos x="72" y="104"/>
                  </a:cxn>
                  <a:cxn ang="0">
                    <a:pos x="72" y="102"/>
                  </a:cxn>
                  <a:cxn ang="0">
                    <a:pos x="74" y="96"/>
                  </a:cxn>
                  <a:cxn ang="0">
                    <a:pos x="72" y="86"/>
                  </a:cxn>
                  <a:cxn ang="0">
                    <a:pos x="64" y="78"/>
                  </a:cxn>
                  <a:cxn ang="0">
                    <a:pos x="62" y="74"/>
                  </a:cxn>
                  <a:cxn ang="0">
                    <a:pos x="62" y="70"/>
                  </a:cxn>
                  <a:cxn ang="0">
                    <a:pos x="60" y="64"/>
                  </a:cxn>
                  <a:cxn ang="0">
                    <a:pos x="60" y="60"/>
                  </a:cxn>
                  <a:cxn ang="0">
                    <a:pos x="62" y="50"/>
                  </a:cxn>
                  <a:cxn ang="0">
                    <a:pos x="60" y="32"/>
                  </a:cxn>
                  <a:cxn ang="0">
                    <a:pos x="54" y="24"/>
                  </a:cxn>
                  <a:cxn ang="0">
                    <a:pos x="42" y="16"/>
                  </a:cxn>
                  <a:cxn ang="0">
                    <a:pos x="40" y="14"/>
                  </a:cxn>
                  <a:cxn ang="0">
                    <a:pos x="34" y="18"/>
                  </a:cxn>
                  <a:cxn ang="0">
                    <a:pos x="32" y="20"/>
                  </a:cxn>
                  <a:cxn ang="0">
                    <a:pos x="26" y="18"/>
                  </a:cxn>
                  <a:cxn ang="0">
                    <a:pos x="22" y="20"/>
                  </a:cxn>
                  <a:cxn ang="0">
                    <a:pos x="18" y="20"/>
                  </a:cxn>
                  <a:cxn ang="0">
                    <a:pos x="18" y="16"/>
                  </a:cxn>
                  <a:cxn ang="0">
                    <a:pos x="18" y="12"/>
                  </a:cxn>
                  <a:cxn ang="0">
                    <a:pos x="18" y="10"/>
                  </a:cxn>
                  <a:cxn ang="0">
                    <a:pos x="16" y="8"/>
                  </a:cxn>
                  <a:cxn ang="0">
                    <a:pos x="12" y="6"/>
                  </a:cxn>
                  <a:cxn ang="0">
                    <a:pos x="8" y="4"/>
                  </a:cxn>
                  <a:cxn ang="0">
                    <a:pos x="8" y="2"/>
                  </a:cxn>
                  <a:cxn ang="0">
                    <a:pos x="4" y="0"/>
                  </a:cxn>
                  <a:cxn ang="0">
                    <a:pos x="4" y="6"/>
                  </a:cxn>
                  <a:cxn ang="0">
                    <a:pos x="0" y="12"/>
                  </a:cxn>
                </a:cxnLst>
                <a:rect l="0" t="0" r="r" b="b"/>
                <a:pathLst>
                  <a:path w="74" h="106">
                    <a:moveTo>
                      <a:pt x="0" y="12"/>
                    </a:moveTo>
                    <a:lnTo>
                      <a:pt x="2" y="16"/>
                    </a:lnTo>
                    <a:lnTo>
                      <a:pt x="2" y="18"/>
                    </a:lnTo>
                    <a:lnTo>
                      <a:pt x="2" y="22"/>
                    </a:lnTo>
                    <a:lnTo>
                      <a:pt x="2" y="24"/>
                    </a:lnTo>
                    <a:lnTo>
                      <a:pt x="2" y="26"/>
                    </a:lnTo>
                    <a:lnTo>
                      <a:pt x="2" y="28"/>
                    </a:lnTo>
                    <a:lnTo>
                      <a:pt x="2" y="30"/>
                    </a:lnTo>
                    <a:lnTo>
                      <a:pt x="2" y="32"/>
                    </a:lnTo>
                    <a:lnTo>
                      <a:pt x="2" y="34"/>
                    </a:lnTo>
                    <a:lnTo>
                      <a:pt x="2" y="32"/>
                    </a:lnTo>
                    <a:lnTo>
                      <a:pt x="4" y="32"/>
                    </a:lnTo>
                    <a:lnTo>
                      <a:pt x="6" y="32"/>
                    </a:lnTo>
                    <a:lnTo>
                      <a:pt x="8" y="32"/>
                    </a:lnTo>
                    <a:lnTo>
                      <a:pt x="10" y="32"/>
                    </a:lnTo>
                    <a:lnTo>
                      <a:pt x="12" y="32"/>
                    </a:lnTo>
                    <a:lnTo>
                      <a:pt x="14" y="34"/>
                    </a:lnTo>
                    <a:lnTo>
                      <a:pt x="14" y="36"/>
                    </a:lnTo>
                    <a:lnTo>
                      <a:pt x="14" y="38"/>
                    </a:lnTo>
                    <a:lnTo>
                      <a:pt x="14" y="42"/>
                    </a:lnTo>
                    <a:lnTo>
                      <a:pt x="14" y="46"/>
                    </a:lnTo>
                    <a:lnTo>
                      <a:pt x="12" y="48"/>
                    </a:lnTo>
                    <a:lnTo>
                      <a:pt x="14" y="52"/>
                    </a:lnTo>
                    <a:lnTo>
                      <a:pt x="14" y="54"/>
                    </a:lnTo>
                    <a:lnTo>
                      <a:pt x="16" y="56"/>
                    </a:lnTo>
                    <a:lnTo>
                      <a:pt x="18" y="58"/>
                    </a:lnTo>
                    <a:lnTo>
                      <a:pt x="20" y="58"/>
                    </a:lnTo>
                    <a:lnTo>
                      <a:pt x="20" y="56"/>
                    </a:lnTo>
                    <a:lnTo>
                      <a:pt x="22" y="56"/>
                    </a:lnTo>
                    <a:lnTo>
                      <a:pt x="22" y="58"/>
                    </a:lnTo>
                    <a:lnTo>
                      <a:pt x="22" y="60"/>
                    </a:lnTo>
                    <a:lnTo>
                      <a:pt x="22" y="64"/>
                    </a:lnTo>
                    <a:lnTo>
                      <a:pt x="22" y="66"/>
                    </a:lnTo>
                    <a:lnTo>
                      <a:pt x="22" y="70"/>
                    </a:lnTo>
                    <a:lnTo>
                      <a:pt x="22" y="72"/>
                    </a:lnTo>
                    <a:lnTo>
                      <a:pt x="24" y="72"/>
                    </a:lnTo>
                    <a:lnTo>
                      <a:pt x="24" y="74"/>
                    </a:lnTo>
                    <a:lnTo>
                      <a:pt x="26" y="74"/>
                    </a:lnTo>
                    <a:lnTo>
                      <a:pt x="28" y="76"/>
                    </a:lnTo>
                    <a:lnTo>
                      <a:pt x="30" y="78"/>
                    </a:lnTo>
                    <a:lnTo>
                      <a:pt x="34" y="80"/>
                    </a:lnTo>
                    <a:lnTo>
                      <a:pt x="36" y="82"/>
                    </a:lnTo>
                    <a:lnTo>
                      <a:pt x="40" y="84"/>
                    </a:lnTo>
                    <a:lnTo>
                      <a:pt x="42" y="84"/>
                    </a:lnTo>
                    <a:lnTo>
                      <a:pt x="42" y="86"/>
                    </a:lnTo>
                    <a:lnTo>
                      <a:pt x="42" y="88"/>
                    </a:lnTo>
                    <a:lnTo>
                      <a:pt x="42" y="90"/>
                    </a:lnTo>
                    <a:lnTo>
                      <a:pt x="42" y="92"/>
                    </a:lnTo>
                    <a:lnTo>
                      <a:pt x="44" y="94"/>
                    </a:lnTo>
                    <a:lnTo>
                      <a:pt x="46" y="94"/>
                    </a:lnTo>
                    <a:lnTo>
                      <a:pt x="48" y="94"/>
                    </a:lnTo>
                    <a:lnTo>
                      <a:pt x="50" y="94"/>
                    </a:lnTo>
                    <a:lnTo>
                      <a:pt x="52" y="96"/>
                    </a:lnTo>
                    <a:lnTo>
                      <a:pt x="54" y="96"/>
                    </a:lnTo>
                    <a:lnTo>
                      <a:pt x="54" y="98"/>
                    </a:lnTo>
                    <a:lnTo>
                      <a:pt x="56" y="98"/>
                    </a:lnTo>
                    <a:lnTo>
                      <a:pt x="58" y="100"/>
                    </a:lnTo>
                    <a:lnTo>
                      <a:pt x="58" y="102"/>
                    </a:lnTo>
                    <a:lnTo>
                      <a:pt x="60" y="104"/>
                    </a:lnTo>
                    <a:lnTo>
                      <a:pt x="60" y="106"/>
                    </a:lnTo>
                    <a:lnTo>
                      <a:pt x="62" y="106"/>
                    </a:lnTo>
                    <a:lnTo>
                      <a:pt x="64" y="106"/>
                    </a:lnTo>
                    <a:lnTo>
                      <a:pt x="66" y="106"/>
                    </a:lnTo>
                    <a:lnTo>
                      <a:pt x="66" y="104"/>
                    </a:lnTo>
                    <a:lnTo>
                      <a:pt x="68" y="104"/>
                    </a:lnTo>
                    <a:lnTo>
                      <a:pt x="70" y="104"/>
                    </a:lnTo>
                    <a:lnTo>
                      <a:pt x="72" y="104"/>
                    </a:lnTo>
                    <a:lnTo>
                      <a:pt x="72" y="102"/>
                    </a:lnTo>
                    <a:lnTo>
                      <a:pt x="74" y="102"/>
                    </a:lnTo>
                    <a:lnTo>
                      <a:pt x="74" y="100"/>
                    </a:lnTo>
                    <a:lnTo>
                      <a:pt x="74" y="98"/>
                    </a:lnTo>
                    <a:lnTo>
                      <a:pt x="74" y="96"/>
                    </a:lnTo>
                    <a:lnTo>
                      <a:pt x="74" y="94"/>
                    </a:lnTo>
                    <a:lnTo>
                      <a:pt x="74" y="92"/>
                    </a:lnTo>
                    <a:lnTo>
                      <a:pt x="74" y="88"/>
                    </a:lnTo>
                    <a:lnTo>
                      <a:pt x="72" y="86"/>
                    </a:lnTo>
                    <a:lnTo>
                      <a:pt x="70" y="84"/>
                    </a:lnTo>
                    <a:lnTo>
                      <a:pt x="68" y="82"/>
                    </a:lnTo>
                    <a:lnTo>
                      <a:pt x="66" y="80"/>
                    </a:lnTo>
                    <a:lnTo>
                      <a:pt x="64" y="78"/>
                    </a:lnTo>
                    <a:lnTo>
                      <a:pt x="64" y="76"/>
                    </a:lnTo>
                    <a:lnTo>
                      <a:pt x="62" y="76"/>
                    </a:lnTo>
                    <a:lnTo>
                      <a:pt x="62" y="74"/>
                    </a:lnTo>
                    <a:lnTo>
                      <a:pt x="62" y="72"/>
                    </a:lnTo>
                    <a:lnTo>
                      <a:pt x="62" y="70"/>
                    </a:lnTo>
                    <a:lnTo>
                      <a:pt x="62" y="68"/>
                    </a:lnTo>
                    <a:lnTo>
                      <a:pt x="62" y="66"/>
                    </a:lnTo>
                    <a:lnTo>
                      <a:pt x="60" y="66"/>
                    </a:lnTo>
                    <a:lnTo>
                      <a:pt x="60" y="64"/>
                    </a:lnTo>
                    <a:lnTo>
                      <a:pt x="60" y="62"/>
                    </a:lnTo>
                    <a:lnTo>
                      <a:pt x="60" y="60"/>
                    </a:lnTo>
                    <a:lnTo>
                      <a:pt x="62" y="58"/>
                    </a:lnTo>
                    <a:lnTo>
                      <a:pt x="62" y="56"/>
                    </a:lnTo>
                    <a:lnTo>
                      <a:pt x="62" y="52"/>
                    </a:lnTo>
                    <a:lnTo>
                      <a:pt x="62" y="50"/>
                    </a:lnTo>
                    <a:lnTo>
                      <a:pt x="62" y="46"/>
                    </a:lnTo>
                    <a:lnTo>
                      <a:pt x="62" y="38"/>
                    </a:lnTo>
                    <a:lnTo>
                      <a:pt x="62" y="34"/>
                    </a:lnTo>
                    <a:lnTo>
                      <a:pt x="60" y="32"/>
                    </a:lnTo>
                    <a:lnTo>
                      <a:pt x="60" y="30"/>
                    </a:lnTo>
                    <a:lnTo>
                      <a:pt x="60" y="28"/>
                    </a:lnTo>
                    <a:lnTo>
                      <a:pt x="58" y="26"/>
                    </a:lnTo>
                    <a:lnTo>
                      <a:pt x="54" y="24"/>
                    </a:lnTo>
                    <a:lnTo>
                      <a:pt x="52" y="22"/>
                    </a:lnTo>
                    <a:lnTo>
                      <a:pt x="48" y="20"/>
                    </a:lnTo>
                    <a:lnTo>
                      <a:pt x="46" y="18"/>
                    </a:lnTo>
                    <a:lnTo>
                      <a:pt x="42" y="16"/>
                    </a:lnTo>
                    <a:lnTo>
                      <a:pt x="42" y="14"/>
                    </a:lnTo>
                    <a:lnTo>
                      <a:pt x="40" y="14"/>
                    </a:lnTo>
                    <a:lnTo>
                      <a:pt x="38" y="12"/>
                    </a:lnTo>
                    <a:lnTo>
                      <a:pt x="36" y="14"/>
                    </a:lnTo>
                    <a:lnTo>
                      <a:pt x="36" y="16"/>
                    </a:lnTo>
                    <a:lnTo>
                      <a:pt x="34" y="18"/>
                    </a:lnTo>
                    <a:lnTo>
                      <a:pt x="34" y="20"/>
                    </a:lnTo>
                    <a:lnTo>
                      <a:pt x="32" y="22"/>
                    </a:lnTo>
                    <a:lnTo>
                      <a:pt x="32" y="20"/>
                    </a:lnTo>
                    <a:lnTo>
                      <a:pt x="30" y="20"/>
                    </a:lnTo>
                    <a:lnTo>
                      <a:pt x="28" y="18"/>
                    </a:lnTo>
                    <a:lnTo>
                      <a:pt x="26" y="18"/>
                    </a:lnTo>
                    <a:lnTo>
                      <a:pt x="24" y="18"/>
                    </a:lnTo>
                    <a:lnTo>
                      <a:pt x="22" y="20"/>
                    </a:lnTo>
                    <a:lnTo>
                      <a:pt x="20" y="20"/>
                    </a:lnTo>
                    <a:lnTo>
                      <a:pt x="18" y="20"/>
                    </a:lnTo>
                    <a:lnTo>
                      <a:pt x="16" y="18"/>
                    </a:lnTo>
                    <a:lnTo>
                      <a:pt x="18" y="16"/>
                    </a:lnTo>
                    <a:lnTo>
                      <a:pt x="18" y="14"/>
                    </a:lnTo>
                    <a:lnTo>
                      <a:pt x="18" y="12"/>
                    </a:lnTo>
                    <a:lnTo>
                      <a:pt x="18" y="10"/>
                    </a:lnTo>
                    <a:lnTo>
                      <a:pt x="16" y="8"/>
                    </a:lnTo>
                    <a:lnTo>
                      <a:pt x="16" y="6"/>
                    </a:lnTo>
                    <a:lnTo>
                      <a:pt x="12" y="6"/>
                    </a:lnTo>
                    <a:lnTo>
                      <a:pt x="10" y="4"/>
                    </a:lnTo>
                    <a:lnTo>
                      <a:pt x="8" y="4"/>
                    </a:lnTo>
                    <a:lnTo>
                      <a:pt x="8" y="2"/>
                    </a:lnTo>
                    <a:lnTo>
                      <a:pt x="6" y="0"/>
                    </a:lnTo>
                    <a:lnTo>
                      <a:pt x="4" y="0"/>
                    </a:lnTo>
                    <a:lnTo>
                      <a:pt x="4" y="2"/>
                    </a:lnTo>
                    <a:lnTo>
                      <a:pt x="2" y="2"/>
                    </a:lnTo>
                    <a:lnTo>
                      <a:pt x="2" y="4"/>
                    </a:lnTo>
                    <a:lnTo>
                      <a:pt x="4" y="6"/>
                    </a:lnTo>
                    <a:lnTo>
                      <a:pt x="2" y="8"/>
                    </a:lnTo>
                    <a:lnTo>
                      <a:pt x="2" y="10"/>
                    </a:lnTo>
                    <a:lnTo>
                      <a:pt x="0" y="12"/>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95" name="Freeform 204">
                <a:extLst>
                  <a:ext uri="{FF2B5EF4-FFF2-40B4-BE49-F238E27FC236}">
                    <a16:creationId xmlns:a16="http://schemas.microsoft.com/office/drawing/2014/main" id="{A42C71DD-BBD7-4110-B618-C16BAACB06EB}"/>
                  </a:ext>
                </a:extLst>
              </p:cNvPr>
              <p:cNvSpPr>
                <a:spLocks noChangeAspect="1"/>
              </p:cNvSpPr>
              <p:nvPr/>
            </p:nvSpPr>
            <p:spPr bwMode="auto">
              <a:xfrm>
                <a:off x="7245926" y="3765532"/>
                <a:ext cx="151281" cy="143005"/>
              </a:xfrm>
              <a:custGeom>
                <a:avLst/>
                <a:gdLst/>
                <a:ahLst/>
                <a:cxnLst>
                  <a:cxn ang="0">
                    <a:pos x="76" y="4"/>
                  </a:cxn>
                  <a:cxn ang="0">
                    <a:pos x="68" y="2"/>
                  </a:cxn>
                  <a:cxn ang="0">
                    <a:pos x="64" y="2"/>
                  </a:cxn>
                  <a:cxn ang="0">
                    <a:pos x="62" y="6"/>
                  </a:cxn>
                  <a:cxn ang="0">
                    <a:pos x="60" y="6"/>
                  </a:cxn>
                  <a:cxn ang="0">
                    <a:pos x="62" y="10"/>
                  </a:cxn>
                  <a:cxn ang="0">
                    <a:pos x="58" y="14"/>
                  </a:cxn>
                  <a:cxn ang="0">
                    <a:pos x="56" y="10"/>
                  </a:cxn>
                  <a:cxn ang="0">
                    <a:pos x="52" y="8"/>
                  </a:cxn>
                  <a:cxn ang="0">
                    <a:pos x="46" y="6"/>
                  </a:cxn>
                  <a:cxn ang="0">
                    <a:pos x="46" y="6"/>
                  </a:cxn>
                  <a:cxn ang="0">
                    <a:pos x="38" y="4"/>
                  </a:cxn>
                  <a:cxn ang="0">
                    <a:pos x="32" y="6"/>
                  </a:cxn>
                  <a:cxn ang="0">
                    <a:pos x="28" y="6"/>
                  </a:cxn>
                  <a:cxn ang="0">
                    <a:pos x="22" y="4"/>
                  </a:cxn>
                  <a:cxn ang="0">
                    <a:pos x="10" y="8"/>
                  </a:cxn>
                  <a:cxn ang="0">
                    <a:pos x="8" y="12"/>
                  </a:cxn>
                  <a:cxn ang="0">
                    <a:pos x="2" y="20"/>
                  </a:cxn>
                  <a:cxn ang="0">
                    <a:pos x="2" y="28"/>
                  </a:cxn>
                  <a:cxn ang="0">
                    <a:pos x="2" y="30"/>
                  </a:cxn>
                  <a:cxn ang="0">
                    <a:pos x="4" y="34"/>
                  </a:cxn>
                  <a:cxn ang="0">
                    <a:pos x="4" y="38"/>
                  </a:cxn>
                  <a:cxn ang="0">
                    <a:pos x="8" y="42"/>
                  </a:cxn>
                  <a:cxn ang="0">
                    <a:pos x="8" y="48"/>
                  </a:cxn>
                  <a:cxn ang="0">
                    <a:pos x="10" y="52"/>
                  </a:cxn>
                  <a:cxn ang="0">
                    <a:pos x="12" y="58"/>
                  </a:cxn>
                  <a:cxn ang="0">
                    <a:pos x="10" y="62"/>
                  </a:cxn>
                  <a:cxn ang="0">
                    <a:pos x="14" y="68"/>
                  </a:cxn>
                  <a:cxn ang="0">
                    <a:pos x="20" y="68"/>
                  </a:cxn>
                  <a:cxn ang="0">
                    <a:pos x="22" y="66"/>
                  </a:cxn>
                  <a:cxn ang="0">
                    <a:pos x="24" y="74"/>
                  </a:cxn>
                  <a:cxn ang="0">
                    <a:pos x="32" y="74"/>
                  </a:cxn>
                  <a:cxn ang="0">
                    <a:pos x="34" y="78"/>
                  </a:cxn>
                  <a:cxn ang="0">
                    <a:pos x="40" y="82"/>
                  </a:cxn>
                  <a:cxn ang="0">
                    <a:pos x="42" y="80"/>
                  </a:cxn>
                  <a:cxn ang="0">
                    <a:pos x="54" y="76"/>
                  </a:cxn>
                  <a:cxn ang="0">
                    <a:pos x="52" y="74"/>
                  </a:cxn>
                  <a:cxn ang="0">
                    <a:pos x="50" y="72"/>
                  </a:cxn>
                  <a:cxn ang="0">
                    <a:pos x="56" y="72"/>
                  </a:cxn>
                  <a:cxn ang="0">
                    <a:pos x="62" y="70"/>
                  </a:cxn>
                  <a:cxn ang="0">
                    <a:pos x="68" y="74"/>
                  </a:cxn>
                  <a:cxn ang="0">
                    <a:pos x="72" y="74"/>
                  </a:cxn>
                  <a:cxn ang="0">
                    <a:pos x="66" y="68"/>
                  </a:cxn>
                  <a:cxn ang="0">
                    <a:pos x="64" y="58"/>
                  </a:cxn>
                  <a:cxn ang="0">
                    <a:pos x="68" y="54"/>
                  </a:cxn>
                  <a:cxn ang="0">
                    <a:pos x="74" y="56"/>
                  </a:cxn>
                  <a:cxn ang="0">
                    <a:pos x="74" y="50"/>
                  </a:cxn>
                  <a:cxn ang="0">
                    <a:pos x="80" y="50"/>
                  </a:cxn>
                  <a:cxn ang="0">
                    <a:pos x="82" y="50"/>
                  </a:cxn>
                  <a:cxn ang="0">
                    <a:pos x="84" y="44"/>
                  </a:cxn>
                  <a:cxn ang="0">
                    <a:pos x="88" y="46"/>
                  </a:cxn>
                  <a:cxn ang="0">
                    <a:pos x="90" y="42"/>
                  </a:cxn>
                  <a:cxn ang="0">
                    <a:pos x="90" y="38"/>
                  </a:cxn>
                  <a:cxn ang="0">
                    <a:pos x="86" y="28"/>
                  </a:cxn>
                  <a:cxn ang="0">
                    <a:pos x="88" y="26"/>
                  </a:cxn>
                  <a:cxn ang="0">
                    <a:pos x="92" y="22"/>
                  </a:cxn>
                  <a:cxn ang="0">
                    <a:pos x="86" y="14"/>
                  </a:cxn>
                  <a:cxn ang="0">
                    <a:pos x="84" y="8"/>
                  </a:cxn>
                  <a:cxn ang="0">
                    <a:pos x="84" y="2"/>
                  </a:cxn>
                  <a:cxn ang="0">
                    <a:pos x="78" y="0"/>
                  </a:cxn>
                </a:cxnLst>
                <a:rect l="0" t="0" r="r" b="b"/>
                <a:pathLst>
                  <a:path w="92" h="82">
                    <a:moveTo>
                      <a:pt x="78" y="0"/>
                    </a:moveTo>
                    <a:lnTo>
                      <a:pt x="78" y="2"/>
                    </a:lnTo>
                    <a:lnTo>
                      <a:pt x="76" y="2"/>
                    </a:lnTo>
                    <a:lnTo>
                      <a:pt x="76" y="4"/>
                    </a:lnTo>
                    <a:lnTo>
                      <a:pt x="72" y="4"/>
                    </a:lnTo>
                    <a:lnTo>
                      <a:pt x="70" y="2"/>
                    </a:lnTo>
                    <a:lnTo>
                      <a:pt x="68" y="2"/>
                    </a:lnTo>
                    <a:lnTo>
                      <a:pt x="68" y="0"/>
                    </a:lnTo>
                    <a:lnTo>
                      <a:pt x="66" y="2"/>
                    </a:lnTo>
                    <a:lnTo>
                      <a:pt x="64" y="2"/>
                    </a:lnTo>
                    <a:lnTo>
                      <a:pt x="64" y="4"/>
                    </a:lnTo>
                    <a:lnTo>
                      <a:pt x="62" y="4"/>
                    </a:lnTo>
                    <a:lnTo>
                      <a:pt x="62" y="6"/>
                    </a:lnTo>
                    <a:lnTo>
                      <a:pt x="60" y="6"/>
                    </a:lnTo>
                    <a:lnTo>
                      <a:pt x="60" y="8"/>
                    </a:lnTo>
                    <a:lnTo>
                      <a:pt x="62" y="8"/>
                    </a:lnTo>
                    <a:lnTo>
                      <a:pt x="62" y="10"/>
                    </a:lnTo>
                    <a:lnTo>
                      <a:pt x="62" y="12"/>
                    </a:lnTo>
                    <a:lnTo>
                      <a:pt x="62" y="14"/>
                    </a:lnTo>
                    <a:lnTo>
                      <a:pt x="60" y="14"/>
                    </a:lnTo>
                    <a:lnTo>
                      <a:pt x="58" y="14"/>
                    </a:lnTo>
                    <a:lnTo>
                      <a:pt x="58" y="12"/>
                    </a:lnTo>
                    <a:lnTo>
                      <a:pt x="56" y="12"/>
                    </a:lnTo>
                    <a:lnTo>
                      <a:pt x="56" y="10"/>
                    </a:lnTo>
                    <a:lnTo>
                      <a:pt x="56" y="8"/>
                    </a:lnTo>
                    <a:lnTo>
                      <a:pt x="54" y="8"/>
                    </a:lnTo>
                    <a:lnTo>
                      <a:pt x="52" y="8"/>
                    </a:lnTo>
                    <a:lnTo>
                      <a:pt x="50" y="8"/>
                    </a:lnTo>
                    <a:lnTo>
                      <a:pt x="48" y="8"/>
                    </a:lnTo>
                    <a:lnTo>
                      <a:pt x="46" y="6"/>
                    </a:lnTo>
                    <a:lnTo>
                      <a:pt x="44" y="6"/>
                    </a:lnTo>
                    <a:lnTo>
                      <a:pt x="42" y="6"/>
                    </a:lnTo>
                    <a:lnTo>
                      <a:pt x="38" y="4"/>
                    </a:lnTo>
                    <a:lnTo>
                      <a:pt x="36" y="4"/>
                    </a:lnTo>
                    <a:lnTo>
                      <a:pt x="34" y="4"/>
                    </a:lnTo>
                    <a:lnTo>
                      <a:pt x="32" y="6"/>
                    </a:lnTo>
                    <a:lnTo>
                      <a:pt x="30" y="6"/>
                    </a:lnTo>
                    <a:lnTo>
                      <a:pt x="28" y="6"/>
                    </a:lnTo>
                    <a:lnTo>
                      <a:pt x="26" y="6"/>
                    </a:lnTo>
                    <a:lnTo>
                      <a:pt x="26" y="4"/>
                    </a:lnTo>
                    <a:lnTo>
                      <a:pt x="24" y="4"/>
                    </a:lnTo>
                    <a:lnTo>
                      <a:pt x="22" y="4"/>
                    </a:lnTo>
                    <a:lnTo>
                      <a:pt x="20" y="4"/>
                    </a:lnTo>
                    <a:lnTo>
                      <a:pt x="18" y="4"/>
                    </a:lnTo>
                    <a:lnTo>
                      <a:pt x="14" y="6"/>
                    </a:lnTo>
                    <a:lnTo>
                      <a:pt x="12" y="6"/>
                    </a:lnTo>
                    <a:lnTo>
                      <a:pt x="10" y="8"/>
                    </a:lnTo>
                    <a:lnTo>
                      <a:pt x="8" y="10"/>
                    </a:lnTo>
                    <a:lnTo>
                      <a:pt x="8" y="12"/>
                    </a:lnTo>
                    <a:lnTo>
                      <a:pt x="6" y="16"/>
                    </a:lnTo>
                    <a:lnTo>
                      <a:pt x="4" y="18"/>
                    </a:lnTo>
                    <a:lnTo>
                      <a:pt x="2" y="18"/>
                    </a:lnTo>
                    <a:lnTo>
                      <a:pt x="2" y="20"/>
                    </a:lnTo>
                    <a:lnTo>
                      <a:pt x="0" y="20"/>
                    </a:lnTo>
                    <a:lnTo>
                      <a:pt x="2" y="24"/>
                    </a:lnTo>
                    <a:lnTo>
                      <a:pt x="2" y="26"/>
                    </a:lnTo>
                    <a:lnTo>
                      <a:pt x="2" y="28"/>
                    </a:lnTo>
                    <a:lnTo>
                      <a:pt x="2" y="30"/>
                    </a:lnTo>
                    <a:lnTo>
                      <a:pt x="4" y="30"/>
                    </a:lnTo>
                    <a:lnTo>
                      <a:pt x="4" y="34"/>
                    </a:lnTo>
                    <a:lnTo>
                      <a:pt x="4" y="36"/>
                    </a:lnTo>
                    <a:lnTo>
                      <a:pt x="4" y="38"/>
                    </a:lnTo>
                    <a:lnTo>
                      <a:pt x="6" y="40"/>
                    </a:lnTo>
                    <a:lnTo>
                      <a:pt x="8" y="40"/>
                    </a:lnTo>
                    <a:lnTo>
                      <a:pt x="8" y="42"/>
                    </a:lnTo>
                    <a:lnTo>
                      <a:pt x="8" y="44"/>
                    </a:lnTo>
                    <a:lnTo>
                      <a:pt x="8" y="46"/>
                    </a:lnTo>
                    <a:lnTo>
                      <a:pt x="8" y="48"/>
                    </a:lnTo>
                    <a:lnTo>
                      <a:pt x="8" y="50"/>
                    </a:lnTo>
                    <a:lnTo>
                      <a:pt x="10" y="52"/>
                    </a:lnTo>
                    <a:lnTo>
                      <a:pt x="12" y="54"/>
                    </a:lnTo>
                    <a:lnTo>
                      <a:pt x="12" y="56"/>
                    </a:lnTo>
                    <a:lnTo>
                      <a:pt x="12" y="58"/>
                    </a:lnTo>
                    <a:lnTo>
                      <a:pt x="12" y="60"/>
                    </a:lnTo>
                    <a:lnTo>
                      <a:pt x="10" y="60"/>
                    </a:lnTo>
                    <a:lnTo>
                      <a:pt x="10" y="62"/>
                    </a:lnTo>
                    <a:lnTo>
                      <a:pt x="12" y="64"/>
                    </a:lnTo>
                    <a:lnTo>
                      <a:pt x="12" y="66"/>
                    </a:lnTo>
                    <a:lnTo>
                      <a:pt x="14" y="66"/>
                    </a:lnTo>
                    <a:lnTo>
                      <a:pt x="14" y="68"/>
                    </a:lnTo>
                    <a:lnTo>
                      <a:pt x="16" y="70"/>
                    </a:lnTo>
                    <a:lnTo>
                      <a:pt x="18" y="70"/>
                    </a:lnTo>
                    <a:lnTo>
                      <a:pt x="20" y="68"/>
                    </a:lnTo>
                    <a:lnTo>
                      <a:pt x="22" y="66"/>
                    </a:lnTo>
                    <a:lnTo>
                      <a:pt x="22" y="64"/>
                    </a:lnTo>
                    <a:lnTo>
                      <a:pt x="22" y="66"/>
                    </a:lnTo>
                    <a:lnTo>
                      <a:pt x="22" y="68"/>
                    </a:lnTo>
                    <a:lnTo>
                      <a:pt x="22" y="70"/>
                    </a:lnTo>
                    <a:lnTo>
                      <a:pt x="22" y="72"/>
                    </a:lnTo>
                    <a:lnTo>
                      <a:pt x="24" y="72"/>
                    </a:lnTo>
                    <a:lnTo>
                      <a:pt x="24" y="74"/>
                    </a:lnTo>
                    <a:lnTo>
                      <a:pt x="26" y="74"/>
                    </a:lnTo>
                    <a:lnTo>
                      <a:pt x="28" y="74"/>
                    </a:lnTo>
                    <a:lnTo>
                      <a:pt x="30" y="74"/>
                    </a:lnTo>
                    <a:lnTo>
                      <a:pt x="32" y="74"/>
                    </a:lnTo>
                    <a:lnTo>
                      <a:pt x="34" y="76"/>
                    </a:lnTo>
                    <a:lnTo>
                      <a:pt x="34" y="78"/>
                    </a:lnTo>
                    <a:lnTo>
                      <a:pt x="36" y="80"/>
                    </a:lnTo>
                    <a:lnTo>
                      <a:pt x="38" y="82"/>
                    </a:lnTo>
                    <a:lnTo>
                      <a:pt x="40" y="82"/>
                    </a:lnTo>
                    <a:lnTo>
                      <a:pt x="40" y="80"/>
                    </a:lnTo>
                    <a:lnTo>
                      <a:pt x="42" y="80"/>
                    </a:lnTo>
                    <a:lnTo>
                      <a:pt x="44" y="78"/>
                    </a:lnTo>
                    <a:lnTo>
                      <a:pt x="46" y="78"/>
                    </a:lnTo>
                    <a:lnTo>
                      <a:pt x="52" y="78"/>
                    </a:lnTo>
                    <a:lnTo>
                      <a:pt x="52" y="76"/>
                    </a:lnTo>
                    <a:lnTo>
                      <a:pt x="54" y="76"/>
                    </a:lnTo>
                    <a:lnTo>
                      <a:pt x="54" y="74"/>
                    </a:lnTo>
                    <a:lnTo>
                      <a:pt x="52" y="74"/>
                    </a:lnTo>
                    <a:lnTo>
                      <a:pt x="50" y="72"/>
                    </a:lnTo>
                    <a:lnTo>
                      <a:pt x="52" y="72"/>
                    </a:lnTo>
                    <a:lnTo>
                      <a:pt x="54" y="72"/>
                    </a:lnTo>
                    <a:lnTo>
                      <a:pt x="56" y="72"/>
                    </a:lnTo>
                    <a:lnTo>
                      <a:pt x="58" y="72"/>
                    </a:lnTo>
                    <a:lnTo>
                      <a:pt x="58" y="70"/>
                    </a:lnTo>
                    <a:lnTo>
                      <a:pt x="60" y="70"/>
                    </a:lnTo>
                    <a:lnTo>
                      <a:pt x="62" y="70"/>
                    </a:lnTo>
                    <a:lnTo>
                      <a:pt x="64" y="70"/>
                    </a:lnTo>
                    <a:lnTo>
                      <a:pt x="66" y="72"/>
                    </a:lnTo>
                    <a:lnTo>
                      <a:pt x="68" y="74"/>
                    </a:lnTo>
                    <a:lnTo>
                      <a:pt x="70" y="74"/>
                    </a:lnTo>
                    <a:lnTo>
                      <a:pt x="70" y="76"/>
                    </a:lnTo>
                    <a:lnTo>
                      <a:pt x="72" y="74"/>
                    </a:lnTo>
                    <a:lnTo>
                      <a:pt x="70" y="72"/>
                    </a:lnTo>
                    <a:lnTo>
                      <a:pt x="70" y="70"/>
                    </a:lnTo>
                    <a:lnTo>
                      <a:pt x="66" y="68"/>
                    </a:lnTo>
                    <a:lnTo>
                      <a:pt x="66" y="66"/>
                    </a:lnTo>
                    <a:lnTo>
                      <a:pt x="64" y="66"/>
                    </a:lnTo>
                    <a:lnTo>
                      <a:pt x="64" y="64"/>
                    </a:lnTo>
                    <a:lnTo>
                      <a:pt x="64" y="62"/>
                    </a:lnTo>
                    <a:lnTo>
                      <a:pt x="64" y="58"/>
                    </a:lnTo>
                    <a:lnTo>
                      <a:pt x="64" y="56"/>
                    </a:lnTo>
                    <a:lnTo>
                      <a:pt x="66" y="54"/>
                    </a:lnTo>
                    <a:lnTo>
                      <a:pt x="68" y="54"/>
                    </a:lnTo>
                    <a:lnTo>
                      <a:pt x="70" y="54"/>
                    </a:lnTo>
                    <a:lnTo>
                      <a:pt x="72" y="54"/>
                    </a:lnTo>
                    <a:lnTo>
                      <a:pt x="74" y="54"/>
                    </a:lnTo>
                    <a:lnTo>
                      <a:pt x="74" y="56"/>
                    </a:lnTo>
                    <a:lnTo>
                      <a:pt x="74" y="54"/>
                    </a:lnTo>
                    <a:lnTo>
                      <a:pt x="74" y="52"/>
                    </a:lnTo>
                    <a:lnTo>
                      <a:pt x="74" y="50"/>
                    </a:lnTo>
                    <a:lnTo>
                      <a:pt x="76" y="50"/>
                    </a:lnTo>
                    <a:lnTo>
                      <a:pt x="78" y="50"/>
                    </a:lnTo>
                    <a:lnTo>
                      <a:pt x="80" y="50"/>
                    </a:lnTo>
                    <a:lnTo>
                      <a:pt x="82" y="50"/>
                    </a:lnTo>
                    <a:lnTo>
                      <a:pt x="82" y="48"/>
                    </a:lnTo>
                    <a:lnTo>
                      <a:pt x="82" y="46"/>
                    </a:lnTo>
                    <a:lnTo>
                      <a:pt x="84" y="44"/>
                    </a:lnTo>
                    <a:lnTo>
                      <a:pt x="86" y="46"/>
                    </a:lnTo>
                    <a:lnTo>
                      <a:pt x="88" y="46"/>
                    </a:lnTo>
                    <a:lnTo>
                      <a:pt x="90" y="44"/>
                    </a:lnTo>
                    <a:lnTo>
                      <a:pt x="90" y="42"/>
                    </a:lnTo>
                    <a:lnTo>
                      <a:pt x="90" y="40"/>
                    </a:lnTo>
                    <a:lnTo>
                      <a:pt x="90" y="38"/>
                    </a:lnTo>
                    <a:lnTo>
                      <a:pt x="88" y="36"/>
                    </a:lnTo>
                    <a:lnTo>
                      <a:pt x="88" y="34"/>
                    </a:lnTo>
                    <a:lnTo>
                      <a:pt x="88" y="32"/>
                    </a:lnTo>
                    <a:lnTo>
                      <a:pt x="86" y="30"/>
                    </a:lnTo>
                    <a:lnTo>
                      <a:pt x="86" y="28"/>
                    </a:lnTo>
                    <a:lnTo>
                      <a:pt x="86" y="26"/>
                    </a:lnTo>
                    <a:lnTo>
                      <a:pt x="88" y="26"/>
                    </a:lnTo>
                    <a:lnTo>
                      <a:pt x="90" y="24"/>
                    </a:lnTo>
                    <a:lnTo>
                      <a:pt x="92" y="22"/>
                    </a:lnTo>
                    <a:lnTo>
                      <a:pt x="92" y="20"/>
                    </a:lnTo>
                    <a:lnTo>
                      <a:pt x="90" y="18"/>
                    </a:lnTo>
                    <a:lnTo>
                      <a:pt x="88" y="16"/>
                    </a:lnTo>
                    <a:lnTo>
                      <a:pt x="88" y="14"/>
                    </a:lnTo>
                    <a:lnTo>
                      <a:pt x="86" y="14"/>
                    </a:lnTo>
                    <a:lnTo>
                      <a:pt x="84" y="12"/>
                    </a:lnTo>
                    <a:lnTo>
                      <a:pt x="84" y="10"/>
                    </a:lnTo>
                    <a:lnTo>
                      <a:pt x="84" y="8"/>
                    </a:lnTo>
                    <a:lnTo>
                      <a:pt x="84" y="6"/>
                    </a:lnTo>
                    <a:lnTo>
                      <a:pt x="84" y="4"/>
                    </a:lnTo>
                    <a:lnTo>
                      <a:pt x="84" y="2"/>
                    </a:lnTo>
                    <a:lnTo>
                      <a:pt x="78"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6" name="Freeform 205">
                <a:extLst>
                  <a:ext uri="{FF2B5EF4-FFF2-40B4-BE49-F238E27FC236}">
                    <a16:creationId xmlns:a16="http://schemas.microsoft.com/office/drawing/2014/main" id="{5502335F-2205-47CF-8919-6C00EF8FC16D}"/>
                  </a:ext>
                </a:extLst>
              </p:cNvPr>
              <p:cNvSpPr>
                <a:spLocks noChangeAspect="1"/>
              </p:cNvSpPr>
              <p:nvPr/>
            </p:nvSpPr>
            <p:spPr bwMode="auto">
              <a:xfrm>
                <a:off x="6976250" y="3793437"/>
                <a:ext cx="13155" cy="80222"/>
              </a:xfrm>
              <a:custGeom>
                <a:avLst/>
                <a:gdLst/>
                <a:ahLst/>
                <a:cxnLst>
                  <a:cxn ang="0">
                    <a:pos x="6" y="0"/>
                  </a:cxn>
                  <a:cxn ang="0">
                    <a:pos x="6" y="0"/>
                  </a:cxn>
                  <a:cxn ang="0">
                    <a:pos x="4" y="0"/>
                  </a:cxn>
                  <a:cxn ang="0">
                    <a:pos x="4" y="2"/>
                  </a:cxn>
                  <a:cxn ang="0">
                    <a:pos x="2" y="4"/>
                  </a:cxn>
                  <a:cxn ang="0">
                    <a:pos x="2" y="6"/>
                  </a:cxn>
                  <a:cxn ang="0">
                    <a:pos x="2" y="8"/>
                  </a:cxn>
                  <a:cxn ang="0">
                    <a:pos x="0" y="12"/>
                  </a:cxn>
                  <a:cxn ang="0">
                    <a:pos x="0" y="16"/>
                  </a:cxn>
                  <a:cxn ang="0">
                    <a:pos x="0" y="16"/>
                  </a:cxn>
                  <a:cxn ang="0">
                    <a:pos x="0" y="18"/>
                  </a:cxn>
                  <a:cxn ang="0">
                    <a:pos x="0" y="20"/>
                  </a:cxn>
                  <a:cxn ang="0">
                    <a:pos x="0" y="22"/>
                  </a:cxn>
                  <a:cxn ang="0">
                    <a:pos x="0" y="22"/>
                  </a:cxn>
                  <a:cxn ang="0">
                    <a:pos x="0" y="22"/>
                  </a:cxn>
                  <a:cxn ang="0">
                    <a:pos x="0" y="26"/>
                  </a:cxn>
                  <a:cxn ang="0">
                    <a:pos x="0" y="30"/>
                  </a:cxn>
                  <a:cxn ang="0">
                    <a:pos x="0" y="34"/>
                  </a:cxn>
                  <a:cxn ang="0">
                    <a:pos x="2" y="36"/>
                  </a:cxn>
                  <a:cxn ang="0">
                    <a:pos x="2" y="38"/>
                  </a:cxn>
                  <a:cxn ang="0">
                    <a:pos x="2" y="40"/>
                  </a:cxn>
                  <a:cxn ang="0">
                    <a:pos x="2" y="42"/>
                  </a:cxn>
                  <a:cxn ang="0">
                    <a:pos x="2" y="42"/>
                  </a:cxn>
                  <a:cxn ang="0">
                    <a:pos x="2" y="44"/>
                  </a:cxn>
                  <a:cxn ang="0">
                    <a:pos x="2" y="44"/>
                  </a:cxn>
                  <a:cxn ang="0">
                    <a:pos x="2" y="46"/>
                  </a:cxn>
                  <a:cxn ang="0">
                    <a:pos x="2" y="46"/>
                  </a:cxn>
                  <a:cxn ang="0">
                    <a:pos x="2" y="46"/>
                  </a:cxn>
                  <a:cxn ang="0">
                    <a:pos x="2" y="44"/>
                  </a:cxn>
                  <a:cxn ang="0">
                    <a:pos x="4" y="42"/>
                  </a:cxn>
                  <a:cxn ang="0">
                    <a:pos x="4" y="40"/>
                  </a:cxn>
                  <a:cxn ang="0">
                    <a:pos x="6" y="40"/>
                  </a:cxn>
                  <a:cxn ang="0">
                    <a:pos x="6" y="38"/>
                  </a:cxn>
                  <a:cxn ang="0">
                    <a:pos x="6" y="38"/>
                  </a:cxn>
                  <a:cxn ang="0">
                    <a:pos x="6" y="38"/>
                  </a:cxn>
                  <a:cxn ang="0">
                    <a:pos x="6" y="36"/>
                  </a:cxn>
                  <a:cxn ang="0">
                    <a:pos x="6" y="32"/>
                  </a:cxn>
                  <a:cxn ang="0">
                    <a:pos x="6" y="28"/>
                  </a:cxn>
                  <a:cxn ang="0">
                    <a:pos x="6" y="24"/>
                  </a:cxn>
                  <a:cxn ang="0">
                    <a:pos x="6" y="22"/>
                  </a:cxn>
                  <a:cxn ang="0">
                    <a:pos x="6" y="20"/>
                  </a:cxn>
                  <a:cxn ang="0">
                    <a:pos x="6" y="18"/>
                  </a:cxn>
                  <a:cxn ang="0">
                    <a:pos x="6" y="18"/>
                  </a:cxn>
                  <a:cxn ang="0">
                    <a:pos x="6" y="16"/>
                  </a:cxn>
                  <a:cxn ang="0">
                    <a:pos x="6" y="16"/>
                  </a:cxn>
                  <a:cxn ang="0">
                    <a:pos x="6" y="14"/>
                  </a:cxn>
                  <a:cxn ang="0">
                    <a:pos x="6" y="14"/>
                  </a:cxn>
                  <a:cxn ang="0">
                    <a:pos x="6" y="14"/>
                  </a:cxn>
                  <a:cxn ang="0">
                    <a:pos x="6" y="14"/>
                  </a:cxn>
                  <a:cxn ang="0">
                    <a:pos x="6" y="14"/>
                  </a:cxn>
                  <a:cxn ang="0">
                    <a:pos x="6" y="14"/>
                  </a:cxn>
                  <a:cxn ang="0">
                    <a:pos x="6" y="12"/>
                  </a:cxn>
                  <a:cxn ang="0">
                    <a:pos x="6" y="10"/>
                  </a:cxn>
                  <a:cxn ang="0">
                    <a:pos x="8" y="8"/>
                  </a:cxn>
                  <a:cxn ang="0">
                    <a:pos x="8" y="4"/>
                  </a:cxn>
                  <a:cxn ang="0">
                    <a:pos x="8" y="2"/>
                  </a:cxn>
                  <a:cxn ang="0">
                    <a:pos x="8" y="0"/>
                  </a:cxn>
                  <a:cxn ang="0">
                    <a:pos x="6" y="0"/>
                  </a:cxn>
                  <a:cxn ang="0">
                    <a:pos x="6" y="0"/>
                  </a:cxn>
                  <a:cxn ang="0">
                    <a:pos x="6" y="0"/>
                  </a:cxn>
                  <a:cxn ang="0">
                    <a:pos x="6" y="0"/>
                  </a:cxn>
                  <a:cxn ang="0">
                    <a:pos x="6" y="0"/>
                  </a:cxn>
                </a:cxnLst>
                <a:rect l="0" t="0" r="r" b="b"/>
                <a:pathLst>
                  <a:path w="8" h="46">
                    <a:moveTo>
                      <a:pt x="6" y="0"/>
                    </a:moveTo>
                    <a:lnTo>
                      <a:pt x="6" y="0"/>
                    </a:lnTo>
                    <a:lnTo>
                      <a:pt x="4" y="0"/>
                    </a:lnTo>
                    <a:lnTo>
                      <a:pt x="4" y="2"/>
                    </a:lnTo>
                    <a:lnTo>
                      <a:pt x="2" y="4"/>
                    </a:lnTo>
                    <a:lnTo>
                      <a:pt x="2" y="6"/>
                    </a:lnTo>
                    <a:lnTo>
                      <a:pt x="2" y="8"/>
                    </a:lnTo>
                    <a:lnTo>
                      <a:pt x="0" y="12"/>
                    </a:lnTo>
                    <a:lnTo>
                      <a:pt x="0" y="16"/>
                    </a:lnTo>
                    <a:lnTo>
                      <a:pt x="0" y="18"/>
                    </a:lnTo>
                    <a:lnTo>
                      <a:pt x="0" y="20"/>
                    </a:lnTo>
                    <a:lnTo>
                      <a:pt x="0" y="22"/>
                    </a:lnTo>
                    <a:lnTo>
                      <a:pt x="0" y="26"/>
                    </a:lnTo>
                    <a:lnTo>
                      <a:pt x="0" y="30"/>
                    </a:lnTo>
                    <a:lnTo>
                      <a:pt x="0" y="34"/>
                    </a:lnTo>
                    <a:lnTo>
                      <a:pt x="2" y="36"/>
                    </a:lnTo>
                    <a:lnTo>
                      <a:pt x="2" y="38"/>
                    </a:lnTo>
                    <a:lnTo>
                      <a:pt x="2" y="40"/>
                    </a:lnTo>
                    <a:lnTo>
                      <a:pt x="2" y="42"/>
                    </a:lnTo>
                    <a:lnTo>
                      <a:pt x="2" y="44"/>
                    </a:lnTo>
                    <a:lnTo>
                      <a:pt x="2" y="46"/>
                    </a:lnTo>
                    <a:lnTo>
                      <a:pt x="2" y="44"/>
                    </a:lnTo>
                    <a:lnTo>
                      <a:pt x="4" y="42"/>
                    </a:lnTo>
                    <a:lnTo>
                      <a:pt x="4" y="40"/>
                    </a:lnTo>
                    <a:lnTo>
                      <a:pt x="6" y="40"/>
                    </a:lnTo>
                    <a:lnTo>
                      <a:pt x="6" y="38"/>
                    </a:lnTo>
                    <a:lnTo>
                      <a:pt x="6" y="36"/>
                    </a:lnTo>
                    <a:lnTo>
                      <a:pt x="6" y="32"/>
                    </a:lnTo>
                    <a:lnTo>
                      <a:pt x="6" y="28"/>
                    </a:lnTo>
                    <a:lnTo>
                      <a:pt x="6" y="24"/>
                    </a:lnTo>
                    <a:lnTo>
                      <a:pt x="6" y="22"/>
                    </a:lnTo>
                    <a:lnTo>
                      <a:pt x="6" y="20"/>
                    </a:lnTo>
                    <a:lnTo>
                      <a:pt x="6" y="18"/>
                    </a:lnTo>
                    <a:lnTo>
                      <a:pt x="6" y="16"/>
                    </a:lnTo>
                    <a:lnTo>
                      <a:pt x="6" y="14"/>
                    </a:lnTo>
                    <a:lnTo>
                      <a:pt x="6" y="12"/>
                    </a:lnTo>
                    <a:lnTo>
                      <a:pt x="6" y="10"/>
                    </a:lnTo>
                    <a:lnTo>
                      <a:pt x="8" y="8"/>
                    </a:lnTo>
                    <a:lnTo>
                      <a:pt x="8" y="4"/>
                    </a:lnTo>
                    <a:lnTo>
                      <a:pt x="8" y="2"/>
                    </a:lnTo>
                    <a:lnTo>
                      <a:pt x="8" y="0"/>
                    </a:lnTo>
                    <a:lnTo>
                      <a:pt x="6"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7" name="Freeform 206">
                <a:extLst>
                  <a:ext uri="{FF2B5EF4-FFF2-40B4-BE49-F238E27FC236}">
                    <a16:creationId xmlns:a16="http://schemas.microsoft.com/office/drawing/2014/main" id="{E72F0861-7EC1-4D02-9784-892E94EFD1ED}"/>
                  </a:ext>
                </a:extLst>
              </p:cNvPr>
              <p:cNvSpPr>
                <a:spLocks noChangeAspect="1"/>
              </p:cNvSpPr>
              <p:nvPr/>
            </p:nvSpPr>
            <p:spPr bwMode="auto">
              <a:xfrm>
                <a:off x="7397207" y="3580673"/>
                <a:ext cx="62485" cy="59295"/>
              </a:xfrm>
              <a:custGeom>
                <a:avLst/>
                <a:gdLst/>
                <a:ahLst/>
                <a:cxnLst>
                  <a:cxn ang="0">
                    <a:pos x="34" y="2"/>
                  </a:cxn>
                  <a:cxn ang="0">
                    <a:pos x="30" y="0"/>
                  </a:cxn>
                  <a:cxn ang="0">
                    <a:pos x="22" y="0"/>
                  </a:cxn>
                  <a:cxn ang="0">
                    <a:pos x="16" y="0"/>
                  </a:cxn>
                  <a:cxn ang="0">
                    <a:pos x="14" y="2"/>
                  </a:cxn>
                  <a:cxn ang="0">
                    <a:pos x="14" y="2"/>
                  </a:cxn>
                  <a:cxn ang="0">
                    <a:pos x="12" y="4"/>
                  </a:cxn>
                  <a:cxn ang="0">
                    <a:pos x="12" y="6"/>
                  </a:cxn>
                  <a:cxn ang="0">
                    <a:pos x="12" y="6"/>
                  </a:cxn>
                  <a:cxn ang="0">
                    <a:pos x="10" y="4"/>
                  </a:cxn>
                  <a:cxn ang="0">
                    <a:pos x="8" y="4"/>
                  </a:cxn>
                  <a:cxn ang="0">
                    <a:pos x="8" y="4"/>
                  </a:cxn>
                  <a:cxn ang="0">
                    <a:pos x="6" y="8"/>
                  </a:cxn>
                  <a:cxn ang="0">
                    <a:pos x="6" y="8"/>
                  </a:cxn>
                  <a:cxn ang="0">
                    <a:pos x="6" y="10"/>
                  </a:cxn>
                  <a:cxn ang="0">
                    <a:pos x="6" y="10"/>
                  </a:cxn>
                  <a:cxn ang="0">
                    <a:pos x="4" y="12"/>
                  </a:cxn>
                  <a:cxn ang="0">
                    <a:pos x="2" y="16"/>
                  </a:cxn>
                  <a:cxn ang="0">
                    <a:pos x="0" y="18"/>
                  </a:cxn>
                  <a:cxn ang="0">
                    <a:pos x="0" y="22"/>
                  </a:cxn>
                  <a:cxn ang="0">
                    <a:pos x="0" y="24"/>
                  </a:cxn>
                  <a:cxn ang="0">
                    <a:pos x="4" y="30"/>
                  </a:cxn>
                  <a:cxn ang="0">
                    <a:pos x="8" y="32"/>
                  </a:cxn>
                  <a:cxn ang="0">
                    <a:pos x="12" y="34"/>
                  </a:cxn>
                  <a:cxn ang="0">
                    <a:pos x="14" y="34"/>
                  </a:cxn>
                  <a:cxn ang="0">
                    <a:pos x="16" y="34"/>
                  </a:cxn>
                  <a:cxn ang="0">
                    <a:pos x="22" y="34"/>
                  </a:cxn>
                  <a:cxn ang="0">
                    <a:pos x="26" y="34"/>
                  </a:cxn>
                  <a:cxn ang="0">
                    <a:pos x="30" y="32"/>
                  </a:cxn>
                  <a:cxn ang="0">
                    <a:pos x="32" y="30"/>
                  </a:cxn>
                  <a:cxn ang="0">
                    <a:pos x="34" y="26"/>
                  </a:cxn>
                  <a:cxn ang="0">
                    <a:pos x="34" y="24"/>
                  </a:cxn>
                  <a:cxn ang="0">
                    <a:pos x="32" y="20"/>
                  </a:cxn>
                  <a:cxn ang="0">
                    <a:pos x="32" y="18"/>
                  </a:cxn>
                  <a:cxn ang="0">
                    <a:pos x="32" y="18"/>
                  </a:cxn>
                  <a:cxn ang="0">
                    <a:pos x="32" y="18"/>
                  </a:cxn>
                  <a:cxn ang="0">
                    <a:pos x="34" y="14"/>
                  </a:cxn>
                  <a:cxn ang="0">
                    <a:pos x="38" y="10"/>
                  </a:cxn>
                  <a:cxn ang="0">
                    <a:pos x="38" y="6"/>
                  </a:cxn>
                  <a:cxn ang="0">
                    <a:pos x="36" y="4"/>
                  </a:cxn>
                  <a:cxn ang="0">
                    <a:pos x="36" y="2"/>
                  </a:cxn>
                </a:cxnLst>
                <a:rect l="0" t="0" r="r" b="b"/>
                <a:pathLst>
                  <a:path w="38" h="34">
                    <a:moveTo>
                      <a:pt x="36" y="2"/>
                    </a:moveTo>
                    <a:lnTo>
                      <a:pt x="34" y="2"/>
                    </a:lnTo>
                    <a:lnTo>
                      <a:pt x="30" y="0"/>
                    </a:lnTo>
                    <a:lnTo>
                      <a:pt x="26" y="0"/>
                    </a:lnTo>
                    <a:lnTo>
                      <a:pt x="22" y="0"/>
                    </a:lnTo>
                    <a:lnTo>
                      <a:pt x="18" y="0"/>
                    </a:lnTo>
                    <a:lnTo>
                      <a:pt x="16" y="0"/>
                    </a:lnTo>
                    <a:lnTo>
                      <a:pt x="14" y="2"/>
                    </a:lnTo>
                    <a:lnTo>
                      <a:pt x="12" y="4"/>
                    </a:lnTo>
                    <a:lnTo>
                      <a:pt x="12" y="6"/>
                    </a:lnTo>
                    <a:lnTo>
                      <a:pt x="10" y="6"/>
                    </a:lnTo>
                    <a:lnTo>
                      <a:pt x="10" y="4"/>
                    </a:lnTo>
                    <a:lnTo>
                      <a:pt x="8" y="4"/>
                    </a:lnTo>
                    <a:lnTo>
                      <a:pt x="8" y="6"/>
                    </a:lnTo>
                    <a:lnTo>
                      <a:pt x="6" y="8"/>
                    </a:lnTo>
                    <a:lnTo>
                      <a:pt x="6" y="10"/>
                    </a:lnTo>
                    <a:lnTo>
                      <a:pt x="4" y="12"/>
                    </a:lnTo>
                    <a:lnTo>
                      <a:pt x="2" y="12"/>
                    </a:lnTo>
                    <a:lnTo>
                      <a:pt x="2" y="16"/>
                    </a:lnTo>
                    <a:lnTo>
                      <a:pt x="0" y="16"/>
                    </a:lnTo>
                    <a:lnTo>
                      <a:pt x="0" y="18"/>
                    </a:lnTo>
                    <a:lnTo>
                      <a:pt x="0" y="20"/>
                    </a:lnTo>
                    <a:lnTo>
                      <a:pt x="0" y="22"/>
                    </a:lnTo>
                    <a:lnTo>
                      <a:pt x="0" y="24"/>
                    </a:lnTo>
                    <a:lnTo>
                      <a:pt x="2" y="26"/>
                    </a:lnTo>
                    <a:lnTo>
                      <a:pt x="4" y="30"/>
                    </a:lnTo>
                    <a:lnTo>
                      <a:pt x="6" y="32"/>
                    </a:lnTo>
                    <a:lnTo>
                      <a:pt x="8" y="32"/>
                    </a:lnTo>
                    <a:lnTo>
                      <a:pt x="10" y="34"/>
                    </a:lnTo>
                    <a:lnTo>
                      <a:pt x="12" y="34"/>
                    </a:lnTo>
                    <a:lnTo>
                      <a:pt x="14" y="34"/>
                    </a:lnTo>
                    <a:lnTo>
                      <a:pt x="16" y="34"/>
                    </a:lnTo>
                    <a:lnTo>
                      <a:pt x="20" y="34"/>
                    </a:lnTo>
                    <a:lnTo>
                      <a:pt x="22" y="34"/>
                    </a:lnTo>
                    <a:lnTo>
                      <a:pt x="24" y="34"/>
                    </a:lnTo>
                    <a:lnTo>
                      <a:pt x="26" y="34"/>
                    </a:lnTo>
                    <a:lnTo>
                      <a:pt x="28" y="32"/>
                    </a:lnTo>
                    <a:lnTo>
                      <a:pt x="30" y="32"/>
                    </a:lnTo>
                    <a:lnTo>
                      <a:pt x="32" y="30"/>
                    </a:lnTo>
                    <a:lnTo>
                      <a:pt x="32" y="28"/>
                    </a:lnTo>
                    <a:lnTo>
                      <a:pt x="34" y="26"/>
                    </a:lnTo>
                    <a:lnTo>
                      <a:pt x="34" y="24"/>
                    </a:lnTo>
                    <a:lnTo>
                      <a:pt x="32" y="20"/>
                    </a:lnTo>
                    <a:lnTo>
                      <a:pt x="32" y="18"/>
                    </a:lnTo>
                    <a:lnTo>
                      <a:pt x="34" y="16"/>
                    </a:lnTo>
                    <a:lnTo>
                      <a:pt x="34" y="14"/>
                    </a:lnTo>
                    <a:lnTo>
                      <a:pt x="36" y="12"/>
                    </a:lnTo>
                    <a:lnTo>
                      <a:pt x="38" y="10"/>
                    </a:lnTo>
                    <a:lnTo>
                      <a:pt x="38" y="6"/>
                    </a:lnTo>
                    <a:lnTo>
                      <a:pt x="38" y="4"/>
                    </a:lnTo>
                    <a:lnTo>
                      <a:pt x="36" y="4"/>
                    </a:lnTo>
                    <a:lnTo>
                      <a:pt x="36"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8" name="Freeform 207">
                <a:extLst>
                  <a:ext uri="{FF2B5EF4-FFF2-40B4-BE49-F238E27FC236}">
                    <a16:creationId xmlns:a16="http://schemas.microsoft.com/office/drawing/2014/main" id="{22CD90F3-F5AF-4695-B06E-EF0CD56B8543}"/>
                  </a:ext>
                </a:extLst>
              </p:cNvPr>
              <p:cNvSpPr>
                <a:spLocks noChangeAspect="1"/>
              </p:cNvSpPr>
              <p:nvPr/>
            </p:nvSpPr>
            <p:spPr bwMode="auto">
              <a:xfrm>
                <a:off x="6170514" y="2883087"/>
                <a:ext cx="217056" cy="146493"/>
              </a:xfrm>
              <a:custGeom>
                <a:avLst/>
                <a:gdLst/>
                <a:ahLst/>
                <a:cxnLst>
                  <a:cxn ang="0">
                    <a:pos x="124" y="50"/>
                  </a:cxn>
                  <a:cxn ang="0">
                    <a:pos x="114" y="44"/>
                  </a:cxn>
                  <a:cxn ang="0">
                    <a:pos x="106" y="46"/>
                  </a:cxn>
                  <a:cxn ang="0">
                    <a:pos x="104" y="36"/>
                  </a:cxn>
                  <a:cxn ang="0">
                    <a:pos x="98" y="34"/>
                  </a:cxn>
                  <a:cxn ang="0">
                    <a:pos x="98" y="28"/>
                  </a:cxn>
                  <a:cxn ang="0">
                    <a:pos x="94" y="28"/>
                  </a:cxn>
                  <a:cxn ang="0">
                    <a:pos x="84" y="30"/>
                  </a:cxn>
                  <a:cxn ang="0">
                    <a:pos x="78" y="32"/>
                  </a:cxn>
                  <a:cxn ang="0">
                    <a:pos x="74" y="32"/>
                  </a:cxn>
                  <a:cxn ang="0">
                    <a:pos x="68" y="32"/>
                  </a:cxn>
                  <a:cxn ang="0">
                    <a:pos x="62" y="26"/>
                  </a:cxn>
                  <a:cxn ang="0">
                    <a:pos x="52" y="26"/>
                  </a:cxn>
                  <a:cxn ang="0">
                    <a:pos x="46" y="26"/>
                  </a:cxn>
                  <a:cxn ang="0">
                    <a:pos x="38" y="26"/>
                  </a:cxn>
                  <a:cxn ang="0">
                    <a:pos x="30" y="28"/>
                  </a:cxn>
                  <a:cxn ang="0">
                    <a:pos x="26" y="20"/>
                  </a:cxn>
                  <a:cxn ang="0">
                    <a:pos x="30" y="18"/>
                  </a:cxn>
                  <a:cxn ang="0">
                    <a:pos x="38" y="14"/>
                  </a:cxn>
                  <a:cxn ang="0">
                    <a:pos x="48" y="18"/>
                  </a:cxn>
                  <a:cxn ang="0">
                    <a:pos x="46" y="12"/>
                  </a:cxn>
                  <a:cxn ang="0">
                    <a:pos x="46" y="6"/>
                  </a:cxn>
                  <a:cxn ang="0">
                    <a:pos x="46" y="2"/>
                  </a:cxn>
                  <a:cxn ang="0">
                    <a:pos x="40" y="0"/>
                  </a:cxn>
                  <a:cxn ang="0">
                    <a:pos x="30" y="6"/>
                  </a:cxn>
                  <a:cxn ang="0">
                    <a:pos x="24" y="6"/>
                  </a:cxn>
                  <a:cxn ang="0">
                    <a:pos x="26" y="12"/>
                  </a:cxn>
                  <a:cxn ang="0">
                    <a:pos x="16" y="14"/>
                  </a:cxn>
                  <a:cxn ang="0">
                    <a:pos x="20" y="18"/>
                  </a:cxn>
                  <a:cxn ang="0">
                    <a:pos x="18" y="22"/>
                  </a:cxn>
                  <a:cxn ang="0">
                    <a:pos x="16" y="28"/>
                  </a:cxn>
                  <a:cxn ang="0">
                    <a:pos x="2" y="28"/>
                  </a:cxn>
                  <a:cxn ang="0">
                    <a:pos x="2" y="34"/>
                  </a:cxn>
                  <a:cxn ang="0">
                    <a:pos x="6" y="36"/>
                  </a:cxn>
                  <a:cxn ang="0">
                    <a:pos x="10" y="38"/>
                  </a:cxn>
                  <a:cxn ang="0">
                    <a:pos x="16" y="42"/>
                  </a:cxn>
                  <a:cxn ang="0">
                    <a:pos x="18" y="52"/>
                  </a:cxn>
                  <a:cxn ang="0">
                    <a:pos x="20" y="60"/>
                  </a:cxn>
                  <a:cxn ang="0">
                    <a:pos x="16" y="74"/>
                  </a:cxn>
                  <a:cxn ang="0">
                    <a:pos x="26" y="74"/>
                  </a:cxn>
                  <a:cxn ang="0">
                    <a:pos x="34" y="72"/>
                  </a:cxn>
                  <a:cxn ang="0">
                    <a:pos x="40" y="74"/>
                  </a:cxn>
                  <a:cxn ang="0">
                    <a:pos x="42" y="64"/>
                  </a:cxn>
                  <a:cxn ang="0">
                    <a:pos x="50" y="64"/>
                  </a:cxn>
                  <a:cxn ang="0">
                    <a:pos x="54" y="62"/>
                  </a:cxn>
                  <a:cxn ang="0">
                    <a:pos x="50" y="60"/>
                  </a:cxn>
                  <a:cxn ang="0">
                    <a:pos x="56" y="54"/>
                  </a:cxn>
                  <a:cxn ang="0">
                    <a:pos x="58" y="46"/>
                  </a:cxn>
                  <a:cxn ang="0">
                    <a:pos x="66" y="52"/>
                  </a:cxn>
                  <a:cxn ang="0">
                    <a:pos x="66" y="60"/>
                  </a:cxn>
                  <a:cxn ang="0">
                    <a:pos x="72" y="60"/>
                  </a:cxn>
                  <a:cxn ang="0">
                    <a:pos x="74" y="72"/>
                  </a:cxn>
                  <a:cxn ang="0">
                    <a:pos x="76" y="78"/>
                  </a:cxn>
                  <a:cxn ang="0">
                    <a:pos x="84" y="82"/>
                  </a:cxn>
                  <a:cxn ang="0">
                    <a:pos x="90" y="76"/>
                  </a:cxn>
                  <a:cxn ang="0">
                    <a:pos x="94" y="74"/>
                  </a:cxn>
                  <a:cxn ang="0">
                    <a:pos x="104" y="66"/>
                  </a:cxn>
                  <a:cxn ang="0">
                    <a:pos x="110" y="70"/>
                  </a:cxn>
                  <a:cxn ang="0">
                    <a:pos x="118" y="68"/>
                  </a:cxn>
                  <a:cxn ang="0">
                    <a:pos x="122" y="68"/>
                  </a:cxn>
                  <a:cxn ang="0">
                    <a:pos x="128" y="70"/>
                  </a:cxn>
                  <a:cxn ang="0">
                    <a:pos x="130" y="66"/>
                  </a:cxn>
                </a:cxnLst>
                <a:rect l="0" t="0" r="r" b="b"/>
                <a:pathLst>
                  <a:path w="132" h="84">
                    <a:moveTo>
                      <a:pt x="126" y="62"/>
                    </a:moveTo>
                    <a:lnTo>
                      <a:pt x="126" y="62"/>
                    </a:lnTo>
                    <a:lnTo>
                      <a:pt x="126" y="60"/>
                    </a:lnTo>
                    <a:lnTo>
                      <a:pt x="124" y="60"/>
                    </a:lnTo>
                    <a:lnTo>
                      <a:pt x="124" y="58"/>
                    </a:lnTo>
                    <a:lnTo>
                      <a:pt x="124" y="52"/>
                    </a:lnTo>
                    <a:lnTo>
                      <a:pt x="124" y="50"/>
                    </a:lnTo>
                    <a:lnTo>
                      <a:pt x="124" y="48"/>
                    </a:lnTo>
                    <a:lnTo>
                      <a:pt x="122" y="48"/>
                    </a:lnTo>
                    <a:lnTo>
                      <a:pt x="122" y="46"/>
                    </a:lnTo>
                    <a:lnTo>
                      <a:pt x="120" y="46"/>
                    </a:lnTo>
                    <a:lnTo>
                      <a:pt x="118" y="44"/>
                    </a:lnTo>
                    <a:lnTo>
                      <a:pt x="114" y="44"/>
                    </a:lnTo>
                    <a:lnTo>
                      <a:pt x="114" y="42"/>
                    </a:lnTo>
                    <a:lnTo>
                      <a:pt x="112" y="44"/>
                    </a:lnTo>
                    <a:lnTo>
                      <a:pt x="110" y="44"/>
                    </a:lnTo>
                    <a:lnTo>
                      <a:pt x="108" y="46"/>
                    </a:lnTo>
                    <a:lnTo>
                      <a:pt x="106" y="46"/>
                    </a:lnTo>
                    <a:lnTo>
                      <a:pt x="104" y="46"/>
                    </a:lnTo>
                    <a:lnTo>
                      <a:pt x="104" y="44"/>
                    </a:lnTo>
                    <a:lnTo>
                      <a:pt x="102" y="44"/>
                    </a:lnTo>
                    <a:lnTo>
                      <a:pt x="102" y="42"/>
                    </a:lnTo>
                    <a:lnTo>
                      <a:pt x="102" y="40"/>
                    </a:lnTo>
                    <a:lnTo>
                      <a:pt x="104" y="38"/>
                    </a:lnTo>
                    <a:lnTo>
                      <a:pt x="104" y="36"/>
                    </a:lnTo>
                    <a:lnTo>
                      <a:pt x="102" y="34"/>
                    </a:lnTo>
                    <a:lnTo>
                      <a:pt x="100" y="34"/>
                    </a:lnTo>
                    <a:lnTo>
                      <a:pt x="98" y="34"/>
                    </a:lnTo>
                    <a:lnTo>
                      <a:pt x="98" y="32"/>
                    </a:lnTo>
                    <a:lnTo>
                      <a:pt x="98" y="30"/>
                    </a:lnTo>
                    <a:lnTo>
                      <a:pt x="98" y="28"/>
                    </a:lnTo>
                    <a:lnTo>
                      <a:pt x="96" y="28"/>
                    </a:lnTo>
                    <a:lnTo>
                      <a:pt x="94" y="28"/>
                    </a:lnTo>
                    <a:lnTo>
                      <a:pt x="92" y="30"/>
                    </a:lnTo>
                    <a:lnTo>
                      <a:pt x="90" y="30"/>
                    </a:lnTo>
                    <a:lnTo>
                      <a:pt x="88" y="30"/>
                    </a:lnTo>
                    <a:lnTo>
                      <a:pt x="86" y="30"/>
                    </a:lnTo>
                    <a:lnTo>
                      <a:pt x="84" y="30"/>
                    </a:lnTo>
                    <a:lnTo>
                      <a:pt x="82" y="30"/>
                    </a:lnTo>
                    <a:lnTo>
                      <a:pt x="80" y="32"/>
                    </a:lnTo>
                    <a:lnTo>
                      <a:pt x="78" y="32"/>
                    </a:lnTo>
                    <a:lnTo>
                      <a:pt x="76" y="32"/>
                    </a:lnTo>
                    <a:lnTo>
                      <a:pt x="74" y="32"/>
                    </a:lnTo>
                    <a:lnTo>
                      <a:pt x="76" y="32"/>
                    </a:lnTo>
                    <a:lnTo>
                      <a:pt x="74" y="32"/>
                    </a:lnTo>
                    <a:lnTo>
                      <a:pt x="72" y="32"/>
                    </a:lnTo>
                    <a:lnTo>
                      <a:pt x="70" y="32"/>
                    </a:lnTo>
                    <a:lnTo>
                      <a:pt x="68" y="32"/>
                    </a:lnTo>
                    <a:lnTo>
                      <a:pt x="68" y="30"/>
                    </a:lnTo>
                    <a:lnTo>
                      <a:pt x="66" y="28"/>
                    </a:lnTo>
                    <a:lnTo>
                      <a:pt x="66" y="26"/>
                    </a:lnTo>
                    <a:lnTo>
                      <a:pt x="64" y="26"/>
                    </a:lnTo>
                    <a:lnTo>
                      <a:pt x="62" y="26"/>
                    </a:lnTo>
                    <a:lnTo>
                      <a:pt x="60" y="28"/>
                    </a:lnTo>
                    <a:lnTo>
                      <a:pt x="58" y="28"/>
                    </a:lnTo>
                    <a:lnTo>
                      <a:pt x="56" y="30"/>
                    </a:lnTo>
                    <a:lnTo>
                      <a:pt x="54" y="30"/>
                    </a:lnTo>
                    <a:lnTo>
                      <a:pt x="52" y="28"/>
                    </a:lnTo>
                    <a:lnTo>
                      <a:pt x="52" y="26"/>
                    </a:lnTo>
                    <a:lnTo>
                      <a:pt x="50" y="26"/>
                    </a:lnTo>
                    <a:lnTo>
                      <a:pt x="48" y="26"/>
                    </a:lnTo>
                    <a:lnTo>
                      <a:pt x="46" y="26"/>
                    </a:lnTo>
                    <a:lnTo>
                      <a:pt x="44" y="26"/>
                    </a:lnTo>
                    <a:lnTo>
                      <a:pt x="42" y="26"/>
                    </a:lnTo>
                    <a:lnTo>
                      <a:pt x="40" y="26"/>
                    </a:lnTo>
                    <a:lnTo>
                      <a:pt x="38" y="26"/>
                    </a:lnTo>
                    <a:lnTo>
                      <a:pt x="36" y="26"/>
                    </a:lnTo>
                    <a:lnTo>
                      <a:pt x="34" y="28"/>
                    </a:lnTo>
                    <a:lnTo>
                      <a:pt x="32" y="28"/>
                    </a:lnTo>
                    <a:lnTo>
                      <a:pt x="30" y="28"/>
                    </a:lnTo>
                    <a:lnTo>
                      <a:pt x="28" y="26"/>
                    </a:lnTo>
                    <a:lnTo>
                      <a:pt x="28" y="24"/>
                    </a:lnTo>
                    <a:lnTo>
                      <a:pt x="28" y="22"/>
                    </a:lnTo>
                    <a:lnTo>
                      <a:pt x="26" y="20"/>
                    </a:lnTo>
                    <a:lnTo>
                      <a:pt x="28" y="20"/>
                    </a:lnTo>
                    <a:lnTo>
                      <a:pt x="30" y="20"/>
                    </a:lnTo>
                    <a:lnTo>
                      <a:pt x="30" y="18"/>
                    </a:lnTo>
                    <a:lnTo>
                      <a:pt x="32" y="16"/>
                    </a:lnTo>
                    <a:lnTo>
                      <a:pt x="34" y="14"/>
                    </a:lnTo>
                    <a:lnTo>
                      <a:pt x="36" y="14"/>
                    </a:lnTo>
                    <a:lnTo>
                      <a:pt x="38" y="14"/>
                    </a:lnTo>
                    <a:lnTo>
                      <a:pt x="40" y="14"/>
                    </a:lnTo>
                    <a:lnTo>
                      <a:pt x="42" y="16"/>
                    </a:lnTo>
                    <a:lnTo>
                      <a:pt x="44" y="18"/>
                    </a:lnTo>
                    <a:lnTo>
                      <a:pt x="46" y="18"/>
                    </a:lnTo>
                    <a:lnTo>
                      <a:pt x="48" y="18"/>
                    </a:lnTo>
                    <a:lnTo>
                      <a:pt x="50" y="18"/>
                    </a:lnTo>
                    <a:lnTo>
                      <a:pt x="50" y="16"/>
                    </a:lnTo>
                    <a:lnTo>
                      <a:pt x="50" y="14"/>
                    </a:lnTo>
                    <a:lnTo>
                      <a:pt x="48" y="12"/>
                    </a:lnTo>
                    <a:lnTo>
                      <a:pt x="46" y="12"/>
                    </a:lnTo>
                    <a:lnTo>
                      <a:pt x="44" y="12"/>
                    </a:lnTo>
                    <a:lnTo>
                      <a:pt x="42" y="12"/>
                    </a:lnTo>
                    <a:lnTo>
                      <a:pt x="42" y="10"/>
                    </a:lnTo>
                    <a:lnTo>
                      <a:pt x="44" y="8"/>
                    </a:lnTo>
                    <a:lnTo>
                      <a:pt x="44" y="6"/>
                    </a:lnTo>
                    <a:lnTo>
                      <a:pt x="46" y="6"/>
                    </a:lnTo>
                    <a:lnTo>
                      <a:pt x="46" y="4"/>
                    </a:lnTo>
                    <a:lnTo>
                      <a:pt x="48" y="4"/>
                    </a:lnTo>
                    <a:lnTo>
                      <a:pt x="48" y="2"/>
                    </a:lnTo>
                    <a:lnTo>
                      <a:pt x="46" y="2"/>
                    </a:lnTo>
                    <a:lnTo>
                      <a:pt x="44" y="0"/>
                    </a:lnTo>
                    <a:lnTo>
                      <a:pt x="42" y="0"/>
                    </a:lnTo>
                    <a:lnTo>
                      <a:pt x="40" y="0"/>
                    </a:lnTo>
                    <a:lnTo>
                      <a:pt x="38" y="2"/>
                    </a:lnTo>
                    <a:lnTo>
                      <a:pt x="34" y="4"/>
                    </a:lnTo>
                    <a:lnTo>
                      <a:pt x="32" y="6"/>
                    </a:lnTo>
                    <a:lnTo>
                      <a:pt x="30" y="6"/>
                    </a:lnTo>
                    <a:lnTo>
                      <a:pt x="28" y="4"/>
                    </a:lnTo>
                    <a:lnTo>
                      <a:pt x="26" y="4"/>
                    </a:lnTo>
                    <a:lnTo>
                      <a:pt x="24" y="4"/>
                    </a:lnTo>
                    <a:lnTo>
                      <a:pt x="24" y="6"/>
                    </a:lnTo>
                    <a:lnTo>
                      <a:pt x="22" y="8"/>
                    </a:lnTo>
                    <a:lnTo>
                      <a:pt x="24" y="10"/>
                    </a:lnTo>
                    <a:lnTo>
                      <a:pt x="26" y="12"/>
                    </a:lnTo>
                    <a:lnTo>
                      <a:pt x="26" y="14"/>
                    </a:lnTo>
                    <a:lnTo>
                      <a:pt x="24" y="14"/>
                    </a:lnTo>
                    <a:lnTo>
                      <a:pt x="22" y="14"/>
                    </a:lnTo>
                    <a:lnTo>
                      <a:pt x="20" y="14"/>
                    </a:lnTo>
                    <a:lnTo>
                      <a:pt x="18" y="14"/>
                    </a:lnTo>
                    <a:lnTo>
                      <a:pt x="16" y="14"/>
                    </a:lnTo>
                    <a:lnTo>
                      <a:pt x="18" y="16"/>
                    </a:lnTo>
                    <a:lnTo>
                      <a:pt x="20" y="18"/>
                    </a:lnTo>
                    <a:lnTo>
                      <a:pt x="20" y="20"/>
                    </a:lnTo>
                    <a:lnTo>
                      <a:pt x="18" y="20"/>
                    </a:lnTo>
                    <a:lnTo>
                      <a:pt x="18" y="22"/>
                    </a:lnTo>
                    <a:lnTo>
                      <a:pt x="18" y="24"/>
                    </a:lnTo>
                    <a:lnTo>
                      <a:pt x="18" y="26"/>
                    </a:lnTo>
                    <a:lnTo>
                      <a:pt x="16" y="28"/>
                    </a:lnTo>
                    <a:lnTo>
                      <a:pt x="14" y="28"/>
                    </a:lnTo>
                    <a:lnTo>
                      <a:pt x="12" y="28"/>
                    </a:lnTo>
                    <a:lnTo>
                      <a:pt x="10" y="28"/>
                    </a:lnTo>
                    <a:lnTo>
                      <a:pt x="8" y="28"/>
                    </a:lnTo>
                    <a:lnTo>
                      <a:pt x="6" y="28"/>
                    </a:lnTo>
                    <a:lnTo>
                      <a:pt x="4" y="28"/>
                    </a:lnTo>
                    <a:lnTo>
                      <a:pt x="2" y="28"/>
                    </a:lnTo>
                    <a:lnTo>
                      <a:pt x="0" y="30"/>
                    </a:lnTo>
                    <a:lnTo>
                      <a:pt x="0" y="32"/>
                    </a:lnTo>
                    <a:lnTo>
                      <a:pt x="0" y="34"/>
                    </a:lnTo>
                    <a:lnTo>
                      <a:pt x="2" y="34"/>
                    </a:lnTo>
                    <a:lnTo>
                      <a:pt x="4" y="34"/>
                    </a:lnTo>
                    <a:lnTo>
                      <a:pt x="6" y="36"/>
                    </a:lnTo>
                    <a:lnTo>
                      <a:pt x="8" y="36"/>
                    </a:lnTo>
                    <a:lnTo>
                      <a:pt x="10" y="36"/>
                    </a:lnTo>
                    <a:lnTo>
                      <a:pt x="10" y="38"/>
                    </a:lnTo>
                    <a:lnTo>
                      <a:pt x="14" y="38"/>
                    </a:lnTo>
                    <a:lnTo>
                      <a:pt x="16" y="40"/>
                    </a:lnTo>
                    <a:lnTo>
                      <a:pt x="16" y="42"/>
                    </a:lnTo>
                    <a:lnTo>
                      <a:pt x="14" y="44"/>
                    </a:lnTo>
                    <a:lnTo>
                      <a:pt x="14" y="46"/>
                    </a:lnTo>
                    <a:lnTo>
                      <a:pt x="16" y="48"/>
                    </a:lnTo>
                    <a:lnTo>
                      <a:pt x="16" y="50"/>
                    </a:lnTo>
                    <a:lnTo>
                      <a:pt x="18" y="50"/>
                    </a:lnTo>
                    <a:lnTo>
                      <a:pt x="18" y="52"/>
                    </a:lnTo>
                    <a:lnTo>
                      <a:pt x="20" y="52"/>
                    </a:lnTo>
                    <a:lnTo>
                      <a:pt x="20" y="54"/>
                    </a:lnTo>
                    <a:lnTo>
                      <a:pt x="22" y="54"/>
                    </a:lnTo>
                    <a:lnTo>
                      <a:pt x="22" y="56"/>
                    </a:lnTo>
                    <a:lnTo>
                      <a:pt x="20" y="58"/>
                    </a:lnTo>
                    <a:lnTo>
                      <a:pt x="20" y="60"/>
                    </a:lnTo>
                    <a:lnTo>
                      <a:pt x="18" y="62"/>
                    </a:lnTo>
                    <a:lnTo>
                      <a:pt x="16" y="66"/>
                    </a:lnTo>
                    <a:lnTo>
                      <a:pt x="14" y="68"/>
                    </a:lnTo>
                    <a:lnTo>
                      <a:pt x="14" y="70"/>
                    </a:lnTo>
                    <a:lnTo>
                      <a:pt x="16" y="72"/>
                    </a:lnTo>
                    <a:lnTo>
                      <a:pt x="16" y="74"/>
                    </a:lnTo>
                    <a:lnTo>
                      <a:pt x="18" y="76"/>
                    </a:lnTo>
                    <a:lnTo>
                      <a:pt x="20" y="76"/>
                    </a:lnTo>
                    <a:lnTo>
                      <a:pt x="22" y="76"/>
                    </a:lnTo>
                    <a:lnTo>
                      <a:pt x="24" y="74"/>
                    </a:lnTo>
                    <a:lnTo>
                      <a:pt x="26" y="74"/>
                    </a:lnTo>
                    <a:lnTo>
                      <a:pt x="28" y="72"/>
                    </a:lnTo>
                    <a:lnTo>
                      <a:pt x="30" y="70"/>
                    </a:lnTo>
                    <a:lnTo>
                      <a:pt x="32" y="70"/>
                    </a:lnTo>
                    <a:lnTo>
                      <a:pt x="34" y="70"/>
                    </a:lnTo>
                    <a:lnTo>
                      <a:pt x="34" y="72"/>
                    </a:lnTo>
                    <a:lnTo>
                      <a:pt x="36" y="72"/>
                    </a:lnTo>
                    <a:lnTo>
                      <a:pt x="36" y="74"/>
                    </a:lnTo>
                    <a:lnTo>
                      <a:pt x="38" y="76"/>
                    </a:lnTo>
                    <a:lnTo>
                      <a:pt x="38" y="74"/>
                    </a:lnTo>
                    <a:lnTo>
                      <a:pt x="40" y="74"/>
                    </a:lnTo>
                    <a:lnTo>
                      <a:pt x="40" y="72"/>
                    </a:lnTo>
                    <a:lnTo>
                      <a:pt x="40" y="68"/>
                    </a:lnTo>
                    <a:lnTo>
                      <a:pt x="40" y="66"/>
                    </a:lnTo>
                    <a:lnTo>
                      <a:pt x="42" y="64"/>
                    </a:lnTo>
                    <a:lnTo>
                      <a:pt x="44" y="64"/>
                    </a:lnTo>
                    <a:lnTo>
                      <a:pt x="46" y="64"/>
                    </a:lnTo>
                    <a:lnTo>
                      <a:pt x="48" y="64"/>
                    </a:lnTo>
                    <a:lnTo>
                      <a:pt x="50" y="64"/>
                    </a:lnTo>
                    <a:lnTo>
                      <a:pt x="52" y="66"/>
                    </a:lnTo>
                    <a:lnTo>
                      <a:pt x="52" y="64"/>
                    </a:lnTo>
                    <a:lnTo>
                      <a:pt x="52" y="62"/>
                    </a:lnTo>
                    <a:lnTo>
                      <a:pt x="54" y="62"/>
                    </a:lnTo>
                    <a:lnTo>
                      <a:pt x="54" y="60"/>
                    </a:lnTo>
                    <a:lnTo>
                      <a:pt x="52" y="60"/>
                    </a:lnTo>
                    <a:lnTo>
                      <a:pt x="50" y="60"/>
                    </a:lnTo>
                    <a:lnTo>
                      <a:pt x="50" y="58"/>
                    </a:lnTo>
                    <a:lnTo>
                      <a:pt x="52" y="58"/>
                    </a:lnTo>
                    <a:lnTo>
                      <a:pt x="54" y="56"/>
                    </a:lnTo>
                    <a:lnTo>
                      <a:pt x="56" y="54"/>
                    </a:lnTo>
                    <a:lnTo>
                      <a:pt x="56" y="52"/>
                    </a:lnTo>
                    <a:lnTo>
                      <a:pt x="56" y="50"/>
                    </a:lnTo>
                    <a:lnTo>
                      <a:pt x="56" y="48"/>
                    </a:lnTo>
                    <a:lnTo>
                      <a:pt x="58" y="48"/>
                    </a:lnTo>
                    <a:lnTo>
                      <a:pt x="58" y="46"/>
                    </a:lnTo>
                    <a:lnTo>
                      <a:pt x="60" y="48"/>
                    </a:lnTo>
                    <a:lnTo>
                      <a:pt x="62" y="48"/>
                    </a:lnTo>
                    <a:lnTo>
                      <a:pt x="64" y="48"/>
                    </a:lnTo>
                    <a:lnTo>
                      <a:pt x="64" y="50"/>
                    </a:lnTo>
                    <a:lnTo>
                      <a:pt x="66" y="50"/>
                    </a:lnTo>
                    <a:lnTo>
                      <a:pt x="66" y="52"/>
                    </a:lnTo>
                    <a:lnTo>
                      <a:pt x="66" y="54"/>
                    </a:lnTo>
                    <a:lnTo>
                      <a:pt x="66" y="56"/>
                    </a:lnTo>
                    <a:lnTo>
                      <a:pt x="66" y="58"/>
                    </a:lnTo>
                    <a:lnTo>
                      <a:pt x="66" y="60"/>
                    </a:lnTo>
                    <a:lnTo>
                      <a:pt x="68" y="60"/>
                    </a:lnTo>
                    <a:lnTo>
                      <a:pt x="70" y="60"/>
                    </a:lnTo>
                    <a:lnTo>
                      <a:pt x="72" y="60"/>
                    </a:lnTo>
                    <a:lnTo>
                      <a:pt x="72" y="64"/>
                    </a:lnTo>
                    <a:lnTo>
                      <a:pt x="72" y="66"/>
                    </a:lnTo>
                    <a:lnTo>
                      <a:pt x="72" y="68"/>
                    </a:lnTo>
                    <a:lnTo>
                      <a:pt x="72" y="70"/>
                    </a:lnTo>
                    <a:lnTo>
                      <a:pt x="72" y="72"/>
                    </a:lnTo>
                    <a:lnTo>
                      <a:pt x="74" y="72"/>
                    </a:lnTo>
                    <a:lnTo>
                      <a:pt x="74" y="74"/>
                    </a:lnTo>
                    <a:lnTo>
                      <a:pt x="74" y="76"/>
                    </a:lnTo>
                    <a:lnTo>
                      <a:pt x="76" y="76"/>
                    </a:lnTo>
                    <a:lnTo>
                      <a:pt x="76" y="78"/>
                    </a:lnTo>
                    <a:lnTo>
                      <a:pt x="78" y="80"/>
                    </a:lnTo>
                    <a:lnTo>
                      <a:pt x="80" y="82"/>
                    </a:lnTo>
                    <a:lnTo>
                      <a:pt x="82" y="84"/>
                    </a:lnTo>
                    <a:lnTo>
                      <a:pt x="82" y="82"/>
                    </a:lnTo>
                    <a:lnTo>
                      <a:pt x="84" y="82"/>
                    </a:lnTo>
                    <a:lnTo>
                      <a:pt x="86" y="80"/>
                    </a:lnTo>
                    <a:lnTo>
                      <a:pt x="88" y="78"/>
                    </a:lnTo>
                    <a:lnTo>
                      <a:pt x="88" y="76"/>
                    </a:lnTo>
                    <a:lnTo>
                      <a:pt x="90" y="76"/>
                    </a:lnTo>
                    <a:lnTo>
                      <a:pt x="92" y="76"/>
                    </a:lnTo>
                    <a:lnTo>
                      <a:pt x="94" y="74"/>
                    </a:lnTo>
                    <a:lnTo>
                      <a:pt x="96" y="72"/>
                    </a:lnTo>
                    <a:lnTo>
                      <a:pt x="98" y="68"/>
                    </a:lnTo>
                    <a:lnTo>
                      <a:pt x="100" y="68"/>
                    </a:lnTo>
                    <a:lnTo>
                      <a:pt x="102" y="66"/>
                    </a:lnTo>
                    <a:lnTo>
                      <a:pt x="104" y="66"/>
                    </a:lnTo>
                    <a:lnTo>
                      <a:pt x="106" y="66"/>
                    </a:lnTo>
                    <a:lnTo>
                      <a:pt x="108" y="66"/>
                    </a:lnTo>
                    <a:lnTo>
                      <a:pt x="110" y="66"/>
                    </a:lnTo>
                    <a:lnTo>
                      <a:pt x="110" y="68"/>
                    </a:lnTo>
                    <a:lnTo>
                      <a:pt x="110" y="70"/>
                    </a:lnTo>
                    <a:lnTo>
                      <a:pt x="114" y="70"/>
                    </a:lnTo>
                    <a:lnTo>
                      <a:pt x="116" y="68"/>
                    </a:lnTo>
                    <a:lnTo>
                      <a:pt x="118" y="68"/>
                    </a:lnTo>
                    <a:lnTo>
                      <a:pt x="120" y="68"/>
                    </a:lnTo>
                    <a:lnTo>
                      <a:pt x="122" y="68"/>
                    </a:lnTo>
                    <a:lnTo>
                      <a:pt x="124" y="68"/>
                    </a:lnTo>
                    <a:lnTo>
                      <a:pt x="126" y="70"/>
                    </a:lnTo>
                    <a:lnTo>
                      <a:pt x="128" y="70"/>
                    </a:lnTo>
                    <a:lnTo>
                      <a:pt x="130" y="70"/>
                    </a:lnTo>
                    <a:lnTo>
                      <a:pt x="130" y="68"/>
                    </a:lnTo>
                    <a:lnTo>
                      <a:pt x="132" y="68"/>
                    </a:lnTo>
                    <a:lnTo>
                      <a:pt x="132" y="66"/>
                    </a:lnTo>
                    <a:lnTo>
                      <a:pt x="130" y="66"/>
                    </a:lnTo>
                    <a:lnTo>
                      <a:pt x="128" y="64"/>
                    </a:lnTo>
                    <a:lnTo>
                      <a:pt x="126" y="6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99" name="Freeform 208">
                <a:extLst>
                  <a:ext uri="{FF2B5EF4-FFF2-40B4-BE49-F238E27FC236}">
                    <a16:creationId xmlns:a16="http://schemas.microsoft.com/office/drawing/2014/main" id="{5F5F6964-A7BA-48EC-85DF-827EE287D7BF}"/>
                  </a:ext>
                </a:extLst>
              </p:cNvPr>
              <p:cNvSpPr>
                <a:spLocks noChangeAspect="1"/>
              </p:cNvSpPr>
              <p:nvPr/>
            </p:nvSpPr>
            <p:spPr bwMode="auto">
              <a:xfrm>
                <a:off x="6216556" y="2809841"/>
                <a:ext cx="259809" cy="129053"/>
              </a:xfrm>
              <a:custGeom>
                <a:avLst/>
                <a:gdLst/>
                <a:ahLst/>
                <a:cxnLst>
                  <a:cxn ang="0">
                    <a:pos x="16" y="34"/>
                  </a:cxn>
                  <a:cxn ang="0">
                    <a:pos x="24" y="38"/>
                  </a:cxn>
                  <a:cxn ang="0">
                    <a:pos x="26" y="34"/>
                  </a:cxn>
                  <a:cxn ang="0">
                    <a:pos x="30" y="32"/>
                  </a:cxn>
                  <a:cxn ang="0">
                    <a:pos x="34" y="36"/>
                  </a:cxn>
                  <a:cxn ang="0">
                    <a:pos x="38" y="38"/>
                  </a:cxn>
                  <a:cxn ang="0">
                    <a:pos x="42" y="42"/>
                  </a:cxn>
                  <a:cxn ang="0">
                    <a:pos x="46" y="44"/>
                  </a:cxn>
                  <a:cxn ang="0">
                    <a:pos x="54" y="44"/>
                  </a:cxn>
                  <a:cxn ang="0">
                    <a:pos x="48" y="50"/>
                  </a:cxn>
                  <a:cxn ang="0">
                    <a:pos x="44" y="52"/>
                  </a:cxn>
                  <a:cxn ang="0">
                    <a:pos x="40" y="54"/>
                  </a:cxn>
                  <a:cxn ang="0">
                    <a:pos x="32" y="54"/>
                  </a:cxn>
                  <a:cxn ang="0">
                    <a:pos x="22" y="58"/>
                  </a:cxn>
                  <a:cxn ang="0">
                    <a:pos x="12" y="56"/>
                  </a:cxn>
                  <a:cxn ang="0">
                    <a:pos x="4" y="60"/>
                  </a:cxn>
                  <a:cxn ang="0">
                    <a:pos x="0" y="62"/>
                  </a:cxn>
                  <a:cxn ang="0">
                    <a:pos x="4" y="70"/>
                  </a:cxn>
                  <a:cxn ang="0">
                    <a:pos x="12" y="68"/>
                  </a:cxn>
                  <a:cxn ang="0">
                    <a:pos x="22" y="68"/>
                  </a:cxn>
                  <a:cxn ang="0">
                    <a:pos x="28" y="72"/>
                  </a:cxn>
                  <a:cxn ang="0">
                    <a:pos x="38" y="70"/>
                  </a:cxn>
                  <a:cxn ang="0">
                    <a:pos x="44" y="74"/>
                  </a:cxn>
                  <a:cxn ang="0">
                    <a:pos x="48" y="74"/>
                  </a:cxn>
                  <a:cxn ang="0">
                    <a:pos x="62" y="72"/>
                  </a:cxn>
                  <a:cxn ang="0">
                    <a:pos x="66" y="68"/>
                  </a:cxn>
                  <a:cxn ang="0">
                    <a:pos x="72" y="70"/>
                  </a:cxn>
                  <a:cxn ang="0">
                    <a:pos x="72" y="64"/>
                  </a:cxn>
                  <a:cxn ang="0">
                    <a:pos x="78" y="56"/>
                  </a:cxn>
                  <a:cxn ang="0">
                    <a:pos x="82" y="52"/>
                  </a:cxn>
                  <a:cxn ang="0">
                    <a:pos x="88" y="52"/>
                  </a:cxn>
                  <a:cxn ang="0">
                    <a:pos x="94" y="50"/>
                  </a:cxn>
                  <a:cxn ang="0">
                    <a:pos x="100" y="54"/>
                  </a:cxn>
                  <a:cxn ang="0">
                    <a:pos x="108" y="54"/>
                  </a:cxn>
                  <a:cxn ang="0">
                    <a:pos x="110" y="46"/>
                  </a:cxn>
                  <a:cxn ang="0">
                    <a:pos x="122" y="40"/>
                  </a:cxn>
                  <a:cxn ang="0">
                    <a:pos x="134" y="36"/>
                  </a:cxn>
                  <a:cxn ang="0">
                    <a:pos x="140" y="28"/>
                  </a:cxn>
                  <a:cxn ang="0">
                    <a:pos x="152" y="24"/>
                  </a:cxn>
                  <a:cxn ang="0">
                    <a:pos x="158" y="22"/>
                  </a:cxn>
                  <a:cxn ang="0">
                    <a:pos x="158" y="16"/>
                  </a:cxn>
                  <a:cxn ang="0">
                    <a:pos x="146" y="14"/>
                  </a:cxn>
                  <a:cxn ang="0">
                    <a:pos x="138" y="10"/>
                  </a:cxn>
                  <a:cxn ang="0">
                    <a:pos x="134" y="8"/>
                  </a:cxn>
                  <a:cxn ang="0">
                    <a:pos x="128" y="6"/>
                  </a:cxn>
                  <a:cxn ang="0">
                    <a:pos x="118" y="6"/>
                  </a:cxn>
                  <a:cxn ang="0">
                    <a:pos x="106" y="4"/>
                  </a:cxn>
                  <a:cxn ang="0">
                    <a:pos x="90" y="6"/>
                  </a:cxn>
                  <a:cxn ang="0">
                    <a:pos x="82" y="6"/>
                  </a:cxn>
                  <a:cxn ang="0">
                    <a:pos x="72" y="6"/>
                  </a:cxn>
                  <a:cxn ang="0">
                    <a:pos x="62" y="0"/>
                  </a:cxn>
                  <a:cxn ang="0">
                    <a:pos x="50" y="2"/>
                  </a:cxn>
                  <a:cxn ang="0">
                    <a:pos x="54" y="14"/>
                  </a:cxn>
                  <a:cxn ang="0">
                    <a:pos x="44" y="12"/>
                  </a:cxn>
                  <a:cxn ang="0">
                    <a:pos x="38" y="12"/>
                  </a:cxn>
                  <a:cxn ang="0">
                    <a:pos x="16" y="8"/>
                  </a:cxn>
                  <a:cxn ang="0">
                    <a:pos x="14" y="16"/>
                  </a:cxn>
                  <a:cxn ang="0">
                    <a:pos x="20" y="20"/>
                  </a:cxn>
                  <a:cxn ang="0">
                    <a:pos x="8" y="30"/>
                  </a:cxn>
                </a:cxnLst>
                <a:rect l="0" t="0" r="r" b="b"/>
                <a:pathLst>
                  <a:path w="158" h="74">
                    <a:moveTo>
                      <a:pt x="8" y="30"/>
                    </a:moveTo>
                    <a:lnTo>
                      <a:pt x="10" y="32"/>
                    </a:lnTo>
                    <a:lnTo>
                      <a:pt x="14" y="32"/>
                    </a:lnTo>
                    <a:lnTo>
                      <a:pt x="14" y="34"/>
                    </a:lnTo>
                    <a:lnTo>
                      <a:pt x="16" y="34"/>
                    </a:lnTo>
                    <a:lnTo>
                      <a:pt x="16" y="36"/>
                    </a:lnTo>
                    <a:lnTo>
                      <a:pt x="18" y="36"/>
                    </a:lnTo>
                    <a:lnTo>
                      <a:pt x="18" y="38"/>
                    </a:lnTo>
                    <a:lnTo>
                      <a:pt x="20" y="38"/>
                    </a:lnTo>
                    <a:lnTo>
                      <a:pt x="24" y="38"/>
                    </a:lnTo>
                    <a:lnTo>
                      <a:pt x="26" y="38"/>
                    </a:lnTo>
                    <a:lnTo>
                      <a:pt x="26" y="36"/>
                    </a:lnTo>
                    <a:lnTo>
                      <a:pt x="26" y="34"/>
                    </a:lnTo>
                    <a:lnTo>
                      <a:pt x="28" y="34"/>
                    </a:lnTo>
                    <a:lnTo>
                      <a:pt x="30" y="34"/>
                    </a:lnTo>
                    <a:lnTo>
                      <a:pt x="30" y="32"/>
                    </a:lnTo>
                    <a:lnTo>
                      <a:pt x="30" y="30"/>
                    </a:lnTo>
                    <a:lnTo>
                      <a:pt x="32" y="32"/>
                    </a:lnTo>
                    <a:lnTo>
                      <a:pt x="32" y="34"/>
                    </a:lnTo>
                    <a:lnTo>
                      <a:pt x="32" y="36"/>
                    </a:lnTo>
                    <a:lnTo>
                      <a:pt x="34" y="36"/>
                    </a:lnTo>
                    <a:lnTo>
                      <a:pt x="34" y="38"/>
                    </a:lnTo>
                    <a:lnTo>
                      <a:pt x="36" y="38"/>
                    </a:lnTo>
                    <a:lnTo>
                      <a:pt x="38" y="38"/>
                    </a:lnTo>
                    <a:lnTo>
                      <a:pt x="40" y="40"/>
                    </a:lnTo>
                    <a:lnTo>
                      <a:pt x="40" y="42"/>
                    </a:lnTo>
                    <a:lnTo>
                      <a:pt x="42" y="42"/>
                    </a:lnTo>
                    <a:lnTo>
                      <a:pt x="44" y="42"/>
                    </a:lnTo>
                    <a:lnTo>
                      <a:pt x="46" y="44"/>
                    </a:lnTo>
                    <a:lnTo>
                      <a:pt x="48" y="44"/>
                    </a:lnTo>
                    <a:lnTo>
                      <a:pt x="50" y="44"/>
                    </a:lnTo>
                    <a:lnTo>
                      <a:pt x="52" y="44"/>
                    </a:lnTo>
                    <a:lnTo>
                      <a:pt x="54" y="44"/>
                    </a:lnTo>
                    <a:lnTo>
                      <a:pt x="54" y="46"/>
                    </a:lnTo>
                    <a:lnTo>
                      <a:pt x="52" y="48"/>
                    </a:lnTo>
                    <a:lnTo>
                      <a:pt x="50" y="48"/>
                    </a:lnTo>
                    <a:lnTo>
                      <a:pt x="50" y="50"/>
                    </a:lnTo>
                    <a:lnTo>
                      <a:pt x="48" y="50"/>
                    </a:lnTo>
                    <a:lnTo>
                      <a:pt x="46" y="50"/>
                    </a:lnTo>
                    <a:lnTo>
                      <a:pt x="46" y="52"/>
                    </a:lnTo>
                    <a:lnTo>
                      <a:pt x="44" y="52"/>
                    </a:lnTo>
                    <a:lnTo>
                      <a:pt x="42" y="52"/>
                    </a:lnTo>
                    <a:lnTo>
                      <a:pt x="40" y="52"/>
                    </a:lnTo>
                    <a:lnTo>
                      <a:pt x="40" y="54"/>
                    </a:lnTo>
                    <a:lnTo>
                      <a:pt x="38" y="56"/>
                    </a:lnTo>
                    <a:lnTo>
                      <a:pt x="38" y="58"/>
                    </a:lnTo>
                    <a:lnTo>
                      <a:pt x="36" y="58"/>
                    </a:lnTo>
                    <a:lnTo>
                      <a:pt x="34" y="56"/>
                    </a:lnTo>
                    <a:lnTo>
                      <a:pt x="32" y="54"/>
                    </a:lnTo>
                    <a:lnTo>
                      <a:pt x="30" y="54"/>
                    </a:lnTo>
                    <a:lnTo>
                      <a:pt x="28" y="54"/>
                    </a:lnTo>
                    <a:lnTo>
                      <a:pt x="26" y="54"/>
                    </a:lnTo>
                    <a:lnTo>
                      <a:pt x="22" y="56"/>
                    </a:lnTo>
                    <a:lnTo>
                      <a:pt x="22" y="58"/>
                    </a:lnTo>
                    <a:lnTo>
                      <a:pt x="22" y="60"/>
                    </a:lnTo>
                    <a:lnTo>
                      <a:pt x="20" y="60"/>
                    </a:lnTo>
                    <a:lnTo>
                      <a:pt x="16" y="58"/>
                    </a:lnTo>
                    <a:lnTo>
                      <a:pt x="14" y="58"/>
                    </a:lnTo>
                    <a:lnTo>
                      <a:pt x="12" y="56"/>
                    </a:lnTo>
                    <a:lnTo>
                      <a:pt x="10" y="56"/>
                    </a:lnTo>
                    <a:lnTo>
                      <a:pt x="8" y="56"/>
                    </a:lnTo>
                    <a:lnTo>
                      <a:pt x="6" y="56"/>
                    </a:lnTo>
                    <a:lnTo>
                      <a:pt x="4" y="58"/>
                    </a:lnTo>
                    <a:lnTo>
                      <a:pt x="4" y="60"/>
                    </a:lnTo>
                    <a:lnTo>
                      <a:pt x="4" y="62"/>
                    </a:lnTo>
                    <a:lnTo>
                      <a:pt x="2" y="62"/>
                    </a:lnTo>
                    <a:lnTo>
                      <a:pt x="0" y="62"/>
                    </a:lnTo>
                    <a:lnTo>
                      <a:pt x="0" y="64"/>
                    </a:lnTo>
                    <a:lnTo>
                      <a:pt x="0" y="66"/>
                    </a:lnTo>
                    <a:lnTo>
                      <a:pt x="0" y="68"/>
                    </a:lnTo>
                    <a:lnTo>
                      <a:pt x="2" y="68"/>
                    </a:lnTo>
                    <a:lnTo>
                      <a:pt x="2" y="70"/>
                    </a:lnTo>
                    <a:lnTo>
                      <a:pt x="4" y="70"/>
                    </a:lnTo>
                    <a:lnTo>
                      <a:pt x="6" y="70"/>
                    </a:lnTo>
                    <a:lnTo>
                      <a:pt x="8" y="68"/>
                    </a:lnTo>
                    <a:lnTo>
                      <a:pt x="10" y="68"/>
                    </a:lnTo>
                    <a:lnTo>
                      <a:pt x="12" y="68"/>
                    </a:lnTo>
                    <a:lnTo>
                      <a:pt x="14" y="68"/>
                    </a:lnTo>
                    <a:lnTo>
                      <a:pt x="16" y="68"/>
                    </a:lnTo>
                    <a:lnTo>
                      <a:pt x="18" y="68"/>
                    </a:lnTo>
                    <a:lnTo>
                      <a:pt x="20" y="68"/>
                    </a:lnTo>
                    <a:lnTo>
                      <a:pt x="22" y="68"/>
                    </a:lnTo>
                    <a:lnTo>
                      <a:pt x="24" y="68"/>
                    </a:lnTo>
                    <a:lnTo>
                      <a:pt x="24" y="70"/>
                    </a:lnTo>
                    <a:lnTo>
                      <a:pt x="26" y="70"/>
                    </a:lnTo>
                    <a:lnTo>
                      <a:pt x="26" y="72"/>
                    </a:lnTo>
                    <a:lnTo>
                      <a:pt x="28" y="72"/>
                    </a:lnTo>
                    <a:lnTo>
                      <a:pt x="30" y="70"/>
                    </a:lnTo>
                    <a:lnTo>
                      <a:pt x="32" y="70"/>
                    </a:lnTo>
                    <a:lnTo>
                      <a:pt x="34" y="68"/>
                    </a:lnTo>
                    <a:lnTo>
                      <a:pt x="36" y="68"/>
                    </a:lnTo>
                    <a:lnTo>
                      <a:pt x="38" y="68"/>
                    </a:lnTo>
                    <a:lnTo>
                      <a:pt x="38" y="70"/>
                    </a:lnTo>
                    <a:lnTo>
                      <a:pt x="40" y="72"/>
                    </a:lnTo>
                    <a:lnTo>
                      <a:pt x="42" y="74"/>
                    </a:lnTo>
                    <a:lnTo>
                      <a:pt x="44" y="74"/>
                    </a:lnTo>
                    <a:lnTo>
                      <a:pt x="46" y="72"/>
                    </a:lnTo>
                    <a:lnTo>
                      <a:pt x="48" y="72"/>
                    </a:lnTo>
                    <a:lnTo>
                      <a:pt x="48" y="74"/>
                    </a:lnTo>
                    <a:lnTo>
                      <a:pt x="46" y="74"/>
                    </a:lnTo>
                    <a:lnTo>
                      <a:pt x="48" y="74"/>
                    </a:lnTo>
                    <a:lnTo>
                      <a:pt x="50" y="74"/>
                    </a:lnTo>
                    <a:lnTo>
                      <a:pt x="52" y="74"/>
                    </a:lnTo>
                    <a:lnTo>
                      <a:pt x="54" y="72"/>
                    </a:lnTo>
                    <a:lnTo>
                      <a:pt x="58" y="72"/>
                    </a:lnTo>
                    <a:lnTo>
                      <a:pt x="60" y="72"/>
                    </a:lnTo>
                    <a:lnTo>
                      <a:pt x="62" y="72"/>
                    </a:lnTo>
                    <a:lnTo>
                      <a:pt x="64" y="72"/>
                    </a:lnTo>
                    <a:lnTo>
                      <a:pt x="66" y="70"/>
                    </a:lnTo>
                    <a:lnTo>
                      <a:pt x="66" y="68"/>
                    </a:lnTo>
                    <a:lnTo>
                      <a:pt x="68" y="68"/>
                    </a:lnTo>
                    <a:lnTo>
                      <a:pt x="68" y="70"/>
                    </a:lnTo>
                    <a:lnTo>
                      <a:pt x="70" y="70"/>
                    </a:lnTo>
                    <a:lnTo>
                      <a:pt x="72" y="70"/>
                    </a:lnTo>
                    <a:lnTo>
                      <a:pt x="74" y="70"/>
                    </a:lnTo>
                    <a:lnTo>
                      <a:pt x="76" y="70"/>
                    </a:lnTo>
                    <a:lnTo>
                      <a:pt x="74" y="68"/>
                    </a:lnTo>
                    <a:lnTo>
                      <a:pt x="72" y="66"/>
                    </a:lnTo>
                    <a:lnTo>
                      <a:pt x="72" y="64"/>
                    </a:lnTo>
                    <a:lnTo>
                      <a:pt x="70" y="62"/>
                    </a:lnTo>
                    <a:lnTo>
                      <a:pt x="72" y="60"/>
                    </a:lnTo>
                    <a:lnTo>
                      <a:pt x="74" y="60"/>
                    </a:lnTo>
                    <a:lnTo>
                      <a:pt x="76" y="58"/>
                    </a:lnTo>
                    <a:lnTo>
                      <a:pt x="78" y="56"/>
                    </a:lnTo>
                    <a:lnTo>
                      <a:pt x="80" y="56"/>
                    </a:lnTo>
                    <a:lnTo>
                      <a:pt x="82" y="56"/>
                    </a:lnTo>
                    <a:lnTo>
                      <a:pt x="82" y="54"/>
                    </a:lnTo>
                    <a:lnTo>
                      <a:pt x="82" y="52"/>
                    </a:lnTo>
                    <a:lnTo>
                      <a:pt x="84" y="52"/>
                    </a:lnTo>
                    <a:lnTo>
                      <a:pt x="86" y="52"/>
                    </a:lnTo>
                    <a:lnTo>
                      <a:pt x="88" y="52"/>
                    </a:lnTo>
                    <a:lnTo>
                      <a:pt x="90" y="50"/>
                    </a:lnTo>
                    <a:lnTo>
                      <a:pt x="90" y="48"/>
                    </a:lnTo>
                    <a:lnTo>
                      <a:pt x="92" y="48"/>
                    </a:lnTo>
                    <a:lnTo>
                      <a:pt x="94" y="48"/>
                    </a:lnTo>
                    <a:lnTo>
                      <a:pt x="94" y="50"/>
                    </a:lnTo>
                    <a:lnTo>
                      <a:pt x="96" y="50"/>
                    </a:lnTo>
                    <a:lnTo>
                      <a:pt x="96" y="52"/>
                    </a:lnTo>
                    <a:lnTo>
                      <a:pt x="98" y="54"/>
                    </a:lnTo>
                    <a:lnTo>
                      <a:pt x="100" y="54"/>
                    </a:lnTo>
                    <a:lnTo>
                      <a:pt x="102" y="52"/>
                    </a:lnTo>
                    <a:lnTo>
                      <a:pt x="104" y="54"/>
                    </a:lnTo>
                    <a:lnTo>
                      <a:pt x="106" y="54"/>
                    </a:lnTo>
                    <a:lnTo>
                      <a:pt x="108" y="54"/>
                    </a:lnTo>
                    <a:lnTo>
                      <a:pt x="110" y="52"/>
                    </a:lnTo>
                    <a:lnTo>
                      <a:pt x="110" y="50"/>
                    </a:lnTo>
                    <a:lnTo>
                      <a:pt x="110" y="48"/>
                    </a:lnTo>
                    <a:lnTo>
                      <a:pt x="110" y="46"/>
                    </a:lnTo>
                    <a:lnTo>
                      <a:pt x="112" y="42"/>
                    </a:lnTo>
                    <a:lnTo>
                      <a:pt x="114" y="40"/>
                    </a:lnTo>
                    <a:lnTo>
                      <a:pt x="116" y="40"/>
                    </a:lnTo>
                    <a:lnTo>
                      <a:pt x="118" y="40"/>
                    </a:lnTo>
                    <a:lnTo>
                      <a:pt x="122" y="40"/>
                    </a:lnTo>
                    <a:lnTo>
                      <a:pt x="126" y="42"/>
                    </a:lnTo>
                    <a:lnTo>
                      <a:pt x="128" y="42"/>
                    </a:lnTo>
                    <a:lnTo>
                      <a:pt x="130" y="42"/>
                    </a:lnTo>
                    <a:lnTo>
                      <a:pt x="132" y="42"/>
                    </a:lnTo>
                    <a:lnTo>
                      <a:pt x="134" y="40"/>
                    </a:lnTo>
                    <a:lnTo>
                      <a:pt x="134" y="38"/>
                    </a:lnTo>
                    <a:lnTo>
                      <a:pt x="134" y="36"/>
                    </a:lnTo>
                    <a:lnTo>
                      <a:pt x="134" y="34"/>
                    </a:lnTo>
                    <a:lnTo>
                      <a:pt x="136" y="32"/>
                    </a:lnTo>
                    <a:lnTo>
                      <a:pt x="138" y="30"/>
                    </a:lnTo>
                    <a:lnTo>
                      <a:pt x="140" y="28"/>
                    </a:lnTo>
                    <a:lnTo>
                      <a:pt x="142" y="28"/>
                    </a:lnTo>
                    <a:lnTo>
                      <a:pt x="144" y="26"/>
                    </a:lnTo>
                    <a:lnTo>
                      <a:pt x="148" y="26"/>
                    </a:lnTo>
                    <a:lnTo>
                      <a:pt x="150" y="24"/>
                    </a:lnTo>
                    <a:lnTo>
                      <a:pt x="152" y="24"/>
                    </a:lnTo>
                    <a:lnTo>
                      <a:pt x="154" y="24"/>
                    </a:lnTo>
                    <a:lnTo>
                      <a:pt x="156" y="22"/>
                    </a:lnTo>
                    <a:lnTo>
                      <a:pt x="158" y="22"/>
                    </a:lnTo>
                    <a:lnTo>
                      <a:pt x="158" y="20"/>
                    </a:lnTo>
                    <a:lnTo>
                      <a:pt x="158" y="18"/>
                    </a:lnTo>
                    <a:lnTo>
                      <a:pt x="158" y="16"/>
                    </a:lnTo>
                    <a:lnTo>
                      <a:pt x="156" y="16"/>
                    </a:lnTo>
                    <a:lnTo>
                      <a:pt x="154" y="16"/>
                    </a:lnTo>
                    <a:lnTo>
                      <a:pt x="154" y="14"/>
                    </a:lnTo>
                    <a:lnTo>
                      <a:pt x="152" y="14"/>
                    </a:lnTo>
                    <a:lnTo>
                      <a:pt x="150" y="14"/>
                    </a:lnTo>
                    <a:lnTo>
                      <a:pt x="146" y="14"/>
                    </a:lnTo>
                    <a:lnTo>
                      <a:pt x="144" y="14"/>
                    </a:lnTo>
                    <a:lnTo>
                      <a:pt x="142" y="14"/>
                    </a:lnTo>
                    <a:lnTo>
                      <a:pt x="140" y="12"/>
                    </a:lnTo>
                    <a:lnTo>
                      <a:pt x="138" y="10"/>
                    </a:lnTo>
                    <a:lnTo>
                      <a:pt x="136" y="8"/>
                    </a:lnTo>
                    <a:lnTo>
                      <a:pt x="134" y="8"/>
                    </a:lnTo>
                    <a:lnTo>
                      <a:pt x="132" y="8"/>
                    </a:lnTo>
                    <a:lnTo>
                      <a:pt x="132" y="6"/>
                    </a:lnTo>
                    <a:lnTo>
                      <a:pt x="130" y="6"/>
                    </a:lnTo>
                    <a:lnTo>
                      <a:pt x="128" y="6"/>
                    </a:lnTo>
                    <a:lnTo>
                      <a:pt x="126" y="6"/>
                    </a:lnTo>
                    <a:lnTo>
                      <a:pt x="122" y="6"/>
                    </a:lnTo>
                    <a:lnTo>
                      <a:pt x="120" y="6"/>
                    </a:lnTo>
                    <a:lnTo>
                      <a:pt x="118" y="6"/>
                    </a:lnTo>
                    <a:lnTo>
                      <a:pt x="116" y="6"/>
                    </a:lnTo>
                    <a:lnTo>
                      <a:pt x="114" y="6"/>
                    </a:lnTo>
                    <a:lnTo>
                      <a:pt x="112" y="6"/>
                    </a:lnTo>
                    <a:lnTo>
                      <a:pt x="110" y="4"/>
                    </a:lnTo>
                    <a:lnTo>
                      <a:pt x="108" y="4"/>
                    </a:lnTo>
                    <a:lnTo>
                      <a:pt x="106" y="4"/>
                    </a:lnTo>
                    <a:lnTo>
                      <a:pt x="104" y="4"/>
                    </a:lnTo>
                    <a:lnTo>
                      <a:pt x="102" y="6"/>
                    </a:lnTo>
                    <a:lnTo>
                      <a:pt x="100" y="6"/>
                    </a:lnTo>
                    <a:lnTo>
                      <a:pt x="96" y="6"/>
                    </a:lnTo>
                    <a:lnTo>
                      <a:pt x="94" y="6"/>
                    </a:lnTo>
                    <a:lnTo>
                      <a:pt x="90" y="6"/>
                    </a:lnTo>
                    <a:lnTo>
                      <a:pt x="86" y="6"/>
                    </a:lnTo>
                    <a:lnTo>
                      <a:pt x="84" y="6"/>
                    </a:lnTo>
                    <a:lnTo>
                      <a:pt x="82" y="6"/>
                    </a:lnTo>
                    <a:lnTo>
                      <a:pt x="80" y="6"/>
                    </a:lnTo>
                    <a:lnTo>
                      <a:pt x="78" y="6"/>
                    </a:lnTo>
                    <a:lnTo>
                      <a:pt x="76" y="6"/>
                    </a:lnTo>
                    <a:lnTo>
                      <a:pt x="72" y="6"/>
                    </a:lnTo>
                    <a:lnTo>
                      <a:pt x="72" y="4"/>
                    </a:lnTo>
                    <a:lnTo>
                      <a:pt x="70" y="4"/>
                    </a:lnTo>
                    <a:lnTo>
                      <a:pt x="68" y="4"/>
                    </a:lnTo>
                    <a:lnTo>
                      <a:pt x="64" y="2"/>
                    </a:lnTo>
                    <a:lnTo>
                      <a:pt x="62" y="0"/>
                    </a:lnTo>
                    <a:lnTo>
                      <a:pt x="60" y="0"/>
                    </a:lnTo>
                    <a:lnTo>
                      <a:pt x="58" y="0"/>
                    </a:lnTo>
                    <a:lnTo>
                      <a:pt x="54" y="0"/>
                    </a:lnTo>
                    <a:lnTo>
                      <a:pt x="52" y="2"/>
                    </a:lnTo>
                    <a:lnTo>
                      <a:pt x="50" y="2"/>
                    </a:lnTo>
                    <a:lnTo>
                      <a:pt x="50" y="4"/>
                    </a:lnTo>
                    <a:lnTo>
                      <a:pt x="52" y="6"/>
                    </a:lnTo>
                    <a:lnTo>
                      <a:pt x="52" y="8"/>
                    </a:lnTo>
                    <a:lnTo>
                      <a:pt x="52" y="10"/>
                    </a:lnTo>
                    <a:lnTo>
                      <a:pt x="52" y="12"/>
                    </a:lnTo>
                    <a:lnTo>
                      <a:pt x="52" y="14"/>
                    </a:lnTo>
                    <a:lnTo>
                      <a:pt x="54" y="14"/>
                    </a:lnTo>
                    <a:lnTo>
                      <a:pt x="52" y="14"/>
                    </a:lnTo>
                    <a:lnTo>
                      <a:pt x="50" y="14"/>
                    </a:lnTo>
                    <a:lnTo>
                      <a:pt x="48" y="12"/>
                    </a:lnTo>
                    <a:lnTo>
                      <a:pt x="46" y="12"/>
                    </a:lnTo>
                    <a:lnTo>
                      <a:pt x="44" y="12"/>
                    </a:lnTo>
                    <a:lnTo>
                      <a:pt x="42" y="12"/>
                    </a:lnTo>
                    <a:lnTo>
                      <a:pt x="40" y="12"/>
                    </a:lnTo>
                    <a:lnTo>
                      <a:pt x="38" y="12"/>
                    </a:lnTo>
                    <a:lnTo>
                      <a:pt x="38" y="10"/>
                    </a:lnTo>
                    <a:lnTo>
                      <a:pt x="34" y="10"/>
                    </a:lnTo>
                    <a:lnTo>
                      <a:pt x="32" y="8"/>
                    </a:lnTo>
                    <a:lnTo>
                      <a:pt x="28" y="6"/>
                    </a:lnTo>
                    <a:lnTo>
                      <a:pt x="24" y="6"/>
                    </a:lnTo>
                    <a:lnTo>
                      <a:pt x="22" y="6"/>
                    </a:lnTo>
                    <a:lnTo>
                      <a:pt x="18" y="6"/>
                    </a:lnTo>
                    <a:lnTo>
                      <a:pt x="16" y="8"/>
                    </a:lnTo>
                    <a:lnTo>
                      <a:pt x="14" y="10"/>
                    </a:lnTo>
                    <a:lnTo>
                      <a:pt x="14" y="12"/>
                    </a:lnTo>
                    <a:lnTo>
                      <a:pt x="14" y="14"/>
                    </a:lnTo>
                    <a:lnTo>
                      <a:pt x="14" y="16"/>
                    </a:lnTo>
                    <a:lnTo>
                      <a:pt x="16" y="18"/>
                    </a:lnTo>
                    <a:lnTo>
                      <a:pt x="18" y="18"/>
                    </a:lnTo>
                    <a:lnTo>
                      <a:pt x="20" y="18"/>
                    </a:lnTo>
                    <a:lnTo>
                      <a:pt x="20" y="20"/>
                    </a:lnTo>
                    <a:lnTo>
                      <a:pt x="18" y="20"/>
                    </a:lnTo>
                    <a:lnTo>
                      <a:pt x="18" y="22"/>
                    </a:lnTo>
                    <a:lnTo>
                      <a:pt x="16" y="24"/>
                    </a:lnTo>
                    <a:lnTo>
                      <a:pt x="14" y="26"/>
                    </a:lnTo>
                    <a:lnTo>
                      <a:pt x="12" y="28"/>
                    </a:lnTo>
                    <a:lnTo>
                      <a:pt x="10" y="30"/>
                    </a:lnTo>
                    <a:lnTo>
                      <a:pt x="8" y="3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0" name="Freeform 209">
                <a:extLst>
                  <a:ext uri="{FF2B5EF4-FFF2-40B4-BE49-F238E27FC236}">
                    <a16:creationId xmlns:a16="http://schemas.microsoft.com/office/drawing/2014/main" id="{1E1D3E0E-8A90-49B9-9A45-714250D8B3E0}"/>
                  </a:ext>
                </a:extLst>
              </p:cNvPr>
              <p:cNvSpPr>
                <a:spLocks noChangeAspect="1"/>
              </p:cNvSpPr>
              <p:nvPr/>
            </p:nvSpPr>
            <p:spPr bwMode="auto">
              <a:xfrm>
                <a:off x="7472848" y="4006200"/>
                <a:ext cx="272964" cy="219740"/>
              </a:xfrm>
              <a:custGeom>
                <a:avLst/>
                <a:gdLst/>
                <a:ahLst/>
                <a:cxnLst>
                  <a:cxn ang="0">
                    <a:pos x="14" y="126"/>
                  </a:cxn>
                  <a:cxn ang="0">
                    <a:pos x="20" y="124"/>
                  </a:cxn>
                  <a:cxn ang="0">
                    <a:pos x="32" y="124"/>
                  </a:cxn>
                  <a:cxn ang="0">
                    <a:pos x="40" y="118"/>
                  </a:cxn>
                  <a:cxn ang="0">
                    <a:pos x="46" y="114"/>
                  </a:cxn>
                  <a:cxn ang="0">
                    <a:pos x="54" y="114"/>
                  </a:cxn>
                  <a:cxn ang="0">
                    <a:pos x="64" y="120"/>
                  </a:cxn>
                  <a:cxn ang="0">
                    <a:pos x="72" y="118"/>
                  </a:cxn>
                  <a:cxn ang="0">
                    <a:pos x="78" y="116"/>
                  </a:cxn>
                  <a:cxn ang="0">
                    <a:pos x="84" y="110"/>
                  </a:cxn>
                  <a:cxn ang="0">
                    <a:pos x="86" y="106"/>
                  </a:cxn>
                  <a:cxn ang="0">
                    <a:pos x="88" y="102"/>
                  </a:cxn>
                  <a:cxn ang="0">
                    <a:pos x="92" y="96"/>
                  </a:cxn>
                  <a:cxn ang="0">
                    <a:pos x="90" y="90"/>
                  </a:cxn>
                  <a:cxn ang="0">
                    <a:pos x="94" y="84"/>
                  </a:cxn>
                  <a:cxn ang="0">
                    <a:pos x="98" y="82"/>
                  </a:cxn>
                  <a:cxn ang="0">
                    <a:pos x="100" y="68"/>
                  </a:cxn>
                  <a:cxn ang="0">
                    <a:pos x="106" y="58"/>
                  </a:cxn>
                  <a:cxn ang="0">
                    <a:pos x="122" y="60"/>
                  </a:cxn>
                  <a:cxn ang="0">
                    <a:pos x="128" y="62"/>
                  </a:cxn>
                  <a:cxn ang="0">
                    <a:pos x="136" y="68"/>
                  </a:cxn>
                  <a:cxn ang="0">
                    <a:pos x="140" y="68"/>
                  </a:cxn>
                  <a:cxn ang="0">
                    <a:pos x="138" y="56"/>
                  </a:cxn>
                  <a:cxn ang="0">
                    <a:pos x="136" y="52"/>
                  </a:cxn>
                  <a:cxn ang="0">
                    <a:pos x="146" y="58"/>
                  </a:cxn>
                  <a:cxn ang="0">
                    <a:pos x="154" y="58"/>
                  </a:cxn>
                  <a:cxn ang="0">
                    <a:pos x="148" y="50"/>
                  </a:cxn>
                  <a:cxn ang="0">
                    <a:pos x="152" y="44"/>
                  </a:cxn>
                  <a:cxn ang="0">
                    <a:pos x="160" y="48"/>
                  </a:cxn>
                  <a:cxn ang="0">
                    <a:pos x="166" y="40"/>
                  </a:cxn>
                  <a:cxn ang="0">
                    <a:pos x="160" y="38"/>
                  </a:cxn>
                  <a:cxn ang="0">
                    <a:pos x="160" y="36"/>
                  </a:cxn>
                  <a:cxn ang="0">
                    <a:pos x="148" y="30"/>
                  </a:cxn>
                  <a:cxn ang="0">
                    <a:pos x="142" y="28"/>
                  </a:cxn>
                  <a:cxn ang="0">
                    <a:pos x="138" y="18"/>
                  </a:cxn>
                  <a:cxn ang="0">
                    <a:pos x="130" y="14"/>
                  </a:cxn>
                  <a:cxn ang="0">
                    <a:pos x="126" y="10"/>
                  </a:cxn>
                  <a:cxn ang="0">
                    <a:pos x="124" y="2"/>
                  </a:cxn>
                  <a:cxn ang="0">
                    <a:pos x="122" y="6"/>
                  </a:cxn>
                  <a:cxn ang="0">
                    <a:pos x="120" y="2"/>
                  </a:cxn>
                  <a:cxn ang="0">
                    <a:pos x="118" y="10"/>
                  </a:cxn>
                  <a:cxn ang="0">
                    <a:pos x="116" y="14"/>
                  </a:cxn>
                  <a:cxn ang="0">
                    <a:pos x="112" y="16"/>
                  </a:cxn>
                  <a:cxn ang="0">
                    <a:pos x="106" y="24"/>
                  </a:cxn>
                  <a:cxn ang="0">
                    <a:pos x="102" y="30"/>
                  </a:cxn>
                  <a:cxn ang="0">
                    <a:pos x="100" y="34"/>
                  </a:cxn>
                  <a:cxn ang="0">
                    <a:pos x="102" y="38"/>
                  </a:cxn>
                  <a:cxn ang="0">
                    <a:pos x="92" y="38"/>
                  </a:cxn>
                  <a:cxn ang="0">
                    <a:pos x="86" y="38"/>
                  </a:cxn>
                  <a:cxn ang="0">
                    <a:pos x="82" y="48"/>
                  </a:cxn>
                  <a:cxn ang="0">
                    <a:pos x="74" y="58"/>
                  </a:cxn>
                  <a:cxn ang="0">
                    <a:pos x="72" y="60"/>
                  </a:cxn>
                  <a:cxn ang="0">
                    <a:pos x="68" y="72"/>
                  </a:cxn>
                  <a:cxn ang="0">
                    <a:pos x="52" y="82"/>
                  </a:cxn>
                  <a:cxn ang="0">
                    <a:pos x="40" y="84"/>
                  </a:cxn>
                  <a:cxn ang="0">
                    <a:pos x="26" y="94"/>
                  </a:cxn>
                  <a:cxn ang="0">
                    <a:pos x="22" y="102"/>
                  </a:cxn>
                  <a:cxn ang="0">
                    <a:pos x="24" y="106"/>
                  </a:cxn>
                  <a:cxn ang="0">
                    <a:pos x="24" y="112"/>
                  </a:cxn>
                  <a:cxn ang="0">
                    <a:pos x="16" y="114"/>
                  </a:cxn>
                  <a:cxn ang="0">
                    <a:pos x="8" y="110"/>
                  </a:cxn>
                  <a:cxn ang="0">
                    <a:pos x="0" y="116"/>
                  </a:cxn>
                  <a:cxn ang="0">
                    <a:pos x="4" y="122"/>
                  </a:cxn>
                </a:cxnLst>
                <a:rect l="0" t="0" r="r" b="b"/>
                <a:pathLst>
                  <a:path w="166" h="126">
                    <a:moveTo>
                      <a:pt x="4" y="122"/>
                    </a:moveTo>
                    <a:lnTo>
                      <a:pt x="6" y="122"/>
                    </a:lnTo>
                    <a:lnTo>
                      <a:pt x="6" y="124"/>
                    </a:lnTo>
                    <a:lnTo>
                      <a:pt x="10" y="126"/>
                    </a:lnTo>
                    <a:lnTo>
                      <a:pt x="12" y="126"/>
                    </a:lnTo>
                    <a:lnTo>
                      <a:pt x="14" y="126"/>
                    </a:lnTo>
                    <a:lnTo>
                      <a:pt x="16" y="126"/>
                    </a:lnTo>
                    <a:lnTo>
                      <a:pt x="18" y="124"/>
                    </a:lnTo>
                    <a:lnTo>
                      <a:pt x="20" y="124"/>
                    </a:lnTo>
                    <a:lnTo>
                      <a:pt x="22" y="124"/>
                    </a:lnTo>
                    <a:lnTo>
                      <a:pt x="24" y="124"/>
                    </a:lnTo>
                    <a:lnTo>
                      <a:pt x="26" y="124"/>
                    </a:lnTo>
                    <a:lnTo>
                      <a:pt x="30" y="124"/>
                    </a:lnTo>
                    <a:lnTo>
                      <a:pt x="32" y="124"/>
                    </a:lnTo>
                    <a:lnTo>
                      <a:pt x="34" y="126"/>
                    </a:lnTo>
                    <a:lnTo>
                      <a:pt x="34" y="124"/>
                    </a:lnTo>
                    <a:lnTo>
                      <a:pt x="36" y="124"/>
                    </a:lnTo>
                    <a:lnTo>
                      <a:pt x="38" y="124"/>
                    </a:lnTo>
                    <a:lnTo>
                      <a:pt x="40" y="122"/>
                    </a:lnTo>
                    <a:lnTo>
                      <a:pt x="40" y="118"/>
                    </a:lnTo>
                    <a:lnTo>
                      <a:pt x="42" y="116"/>
                    </a:lnTo>
                    <a:lnTo>
                      <a:pt x="44" y="114"/>
                    </a:lnTo>
                    <a:lnTo>
                      <a:pt x="46" y="114"/>
                    </a:lnTo>
                    <a:lnTo>
                      <a:pt x="48" y="114"/>
                    </a:lnTo>
                    <a:lnTo>
                      <a:pt x="50" y="114"/>
                    </a:lnTo>
                    <a:lnTo>
                      <a:pt x="52" y="114"/>
                    </a:lnTo>
                    <a:lnTo>
                      <a:pt x="54" y="114"/>
                    </a:lnTo>
                    <a:lnTo>
                      <a:pt x="56" y="114"/>
                    </a:lnTo>
                    <a:lnTo>
                      <a:pt x="58" y="116"/>
                    </a:lnTo>
                    <a:lnTo>
                      <a:pt x="60" y="118"/>
                    </a:lnTo>
                    <a:lnTo>
                      <a:pt x="62" y="118"/>
                    </a:lnTo>
                    <a:lnTo>
                      <a:pt x="64" y="120"/>
                    </a:lnTo>
                    <a:lnTo>
                      <a:pt x="66" y="120"/>
                    </a:lnTo>
                    <a:lnTo>
                      <a:pt x="68" y="120"/>
                    </a:lnTo>
                    <a:lnTo>
                      <a:pt x="70" y="118"/>
                    </a:lnTo>
                    <a:lnTo>
                      <a:pt x="72" y="118"/>
                    </a:lnTo>
                    <a:lnTo>
                      <a:pt x="72" y="116"/>
                    </a:lnTo>
                    <a:lnTo>
                      <a:pt x="74" y="116"/>
                    </a:lnTo>
                    <a:lnTo>
                      <a:pt x="76" y="116"/>
                    </a:lnTo>
                    <a:lnTo>
                      <a:pt x="78" y="116"/>
                    </a:lnTo>
                    <a:lnTo>
                      <a:pt x="80" y="116"/>
                    </a:lnTo>
                    <a:lnTo>
                      <a:pt x="82" y="112"/>
                    </a:lnTo>
                    <a:lnTo>
                      <a:pt x="84" y="110"/>
                    </a:lnTo>
                    <a:lnTo>
                      <a:pt x="86" y="108"/>
                    </a:lnTo>
                    <a:lnTo>
                      <a:pt x="86" y="106"/>
                    </a:lnTo>
                    <a:lnTo>
                      <a:pt x="86" y="104"/>
                    </a:lnTo>
                    <a:lnTo>
                      <a:pt x="88" y="102"/>
                    </a:lnTo>
                    <a:lnTo>
                      <a:pt x="90" y="100"/>
                    </a:lnTo>
                    <a:lnTo>
                      <a:pt x="90" y="98"/>
                    </a:lnTo>
                    <a:lnTo>
                      <a:pt x="92" y="98"/>
                    </a:lnTo>
                    <a:lnTo>
                      <a:pt x="92" y="96"/>
                    </a:lnTo>
                    <a:lnTo>
                      <a:pt x="92" y="94"/>
                    </a:lnTo>
                    <a:lnTo>
                      <a:pt x="90" y="94"/>
                    </a:lnTo>
                    <a:lnTo>
                      <a:pt x="90" y="92"/>
                    </a:lnTo>
                    <a:lnTo>
                      <a:pt x="90" y="90"/>
                    </a:lnTo>
                    <a:lnTo>
                      <a:pt x="90" y="88"/>
                    </a:lnTo>
                    <a:lnTo>
                      <a:pt x="92" y="88"/>
                    </a:lnTo>
                    <a:lnTo>
                      <a:pt x="92" y="86"/>
                    </a:lnTo>
                    <a:lnTo>
                      <a:pt x="94" y="84"/>
                    </a:lnTo>
                    <a:lnTo>
                      <a:pt x="96" y="84"/>
                    </a:lnTo>
                    <a:lnTo>
                      <a:pt x="96" y="82"/>
                    </a:lnTo>
                    <a:lnTo>
                      <a:pt x="98" y="82"/>
                    </a:lnTo>
                    <a:lnTo>
                      <a:pt x="98" y="80"/>
                    </a:lnTo>
                    <a:lnTo>
                      <a:pt x="98" y="78"/>
                    </a:lnTo>
                    <a:lnTo>
                      <a:pt x="100" y="76"/>
                    </a:lnTo>
                    <a:lnTo>
                      <a:pt x="100" y="74"/>
                    </a:lnTo>
                    <a:lnTo>
                      <a:pt x="100" y="72"/>
                    </a:lnTo>
                    <a:lnTo>
                      <a:pt x="100" y="68"/>
                    </a:lnTo>
                    <a:lnTo>
                      <a:pt x="100" y="64"/>
                    </a:lnTo>
                    <a:lnTo>
                      <a:pt x="100" y="62"/>
                    </a:lnTo>
                    <a:lnTo>
                      <a:pt x="100" y="60"/>
                    </a:lnTo>
                    <a:lnTo>
                      <a:pt x="102" y="60"/>
                    </a:lnTo>
                    <a:lnTo>
                      <a:pt x="104" y="60"/>
                    </a:lnTo>
                    <a:lnTo>
                      <a:pt x="106" y="58"/>
                    </a:lnTo>
                    <a:lnTo>
                      <a:pt x="108" y="58"/>
                    </a:lnTo>
                    <a:lnTo>
                      <a:pt x="112" y="58"/>
                    </a:lnTo>
                    <a:lnTo>
                      <a:pt x="114" y="58"/>
                    </a:lnTo>
                    <a:lnTo>
                      <a:pt x="118" y="60"/>
                    </a:lnTo>
                    <a:lnTo>
                      <a:pt x="122" y="60"/>
                    </a:lnTo>
                    <a:lnTo>
                      <a:pt x="124" y="60"/>
                    </a:lnTo>
                    <a:lnTo>
                      <a:pt x="126" y="60"/>
                    </a:lnTo>
                    <a:lnTo>
                      <a:pt x="128" y="62"/>
                    </a:lnTo>
                    <a:lnTo>
                      <a:pt x="130" y="62"/>
                    </a:lnTo>
                    <a:lnTo>
                      <a:pt x="134" y="66"/>
                    </a:lnTo>
                    <a:lnTo>
                      <a:pt x="134" y="68"/>
                    </a:lnTo>
                    <a:lnTo>
                      <a:pt x="136" y="68"/>
                    </a:lnTo>
                    <a:lnTo>
                      <a:pt x="138" y="68"/>
                    </a:lnTo>
                    <a:lnTo>
                      <a:pt x="140" y="68"/>
                    </a:lnTo>
                    <a:lnTo>
                      <a:pt x="138" y="64"/>
                    </a:lnTo>
                    <a:lnTo>
                      <a:pt x="138" y="62"/>
                    </a:lnTo>
                    <a:lnTo>
                      <a:pt x="138" y="60"/>
                    </a:lnTo>
                    <a:lnTo>
                      <a:pt x="138" y="58"/>
                    </a:lnTo>
                    <a:lnTo>
                      <a:pt x="138" y="56"/>
                    </a:lnTo>
                    <a:lnTo>
                      <a:pt x="136" y="54"/>
                    </a:lnTo>
                    <a:lnTo>
                      <a:pt x="136" y="52"/>
                    </a:lnTo>
                    <a:lnTo>
                      <a:pt x="138" y="54"/>
                    </a:lnTo>
                    <a:lnTo>
                      <a:pt x="140" y="56"/>
                    </a:lnTo>
                    <a:lnTo>
                      <a:pt x="142" y="58"/>
                    </a:lnTo>
                    <a:lnTo>
                      <a:pt x="144" y="58"/>
                    </a:lnTo>
                    <a:lnTo>
                      <a:pt x="146" y="58"/>
                    </a:lnTo>
                    <a:lnTo>
                      <a:pt x="148" y="58"/>
                    </a:lnTo>
                    <a:lnTo>
                      <a:pt x="152" y="58"/>
                    </a:lnTo>
                    <a:lnTo>
                      <a:pt x="154" y="58"/>
                    </a:lnTo>
                    <a:lnTo>
                      <a:pt x="154" y="56"/>
                    </a:lnTo>
                    <a:lnTo>
                      <a:pt x="152" y="56"/>
                    </a:lnTo>
                    <a:lnTo>
                      <a:pt x="150" y="54"/>
                    </a:lnTo>
                    <a:lnTo>
                      <a:pt x="148" y="52"/>
                    </a:lnTo>
                    <a:lnTo>
                      <a:pt x="148" y="50"/>
                    </a:lnTo>
                    <a:lnTo>
                      <a:pt x="148" y="48"/>
                    </a:lnTo>
                    <a:lnTo>
                      <a:pt x="148" y="46"/>
                    </a:lnTo>
                    <a:lnTo>
                      <a:pt x="148" y="44"/>
                    </a:lnTo>
                    <a:lnTo>
                      <a:pt x="150" y="44"/>
                    </a:lnTo>
                    <a:lnTo>
                      <a:pt x="152" y="44"/>
                    </a:lnTo>
                    <a:lnTo>
                      <a:pt x="154" y="46"/>
                    </a:lnTo>
                    <a:lnTo>
                      <a:pt x="158" y="46"/>
                    </a:lnTo>
                    <a:lnTo>
                      <a:pt x="160" y="46"/>
                    </a:lnTo>
                    <a:lnTo>
                      <a:pt x="160" y="48"/>
                    </a:lnTo>
                    <a:lnTo>
                      <a:pt x="162" y="46"/>
                    </a:lnTo>
                    <a:lnTo>
                      <a:pt x="164" y="44"/>
                    </a:lnTo>
                    <a:lnTo>
                      <a:pt x="164" y="42"/>
                    </a:lnTo>
                    <a:lnTo>
                      <a:pt x="166" y="40"/>
                    </a:lnTo>
                    <a:lnTo>
                      <a:pt x="164" y="40"/>
                    </a:lnTo>
                    <a:lnTo>
                      <a:pt x="162" y="38"/>
                    </a:lnTo>
                    <a:lnTo>
                      <a:pt x="160" y="38"/>
                    </a:lnTo>
                    <a:lnTo>
                      <a:pt x="160" y="36"/>
                    </a:lnTo>
                    <a:lnTo>
                      <a:pt x="158" y="34"/>
                    </a:lnTo>
                    <a:lnTo>
                      <a:pt x="156" y="32"/>
                    </a:lnTo>
                    <a:lnTo>
                      <a:pt x="154" y="30"/>
                    </a:lnTo>
                    <a:lnTo>
                      <a:pt x="150" y="30"/>
                    </a:lnTo>
                    <a:lnTo>
                      <a:pt x="148" y="30"/>
                    </a:lnTo>
                    <a:lnTo>
                      <a:pt x="146" y="30"/>
                    </a:lnTo>
                    <a:lnTo>
                      <a:pt x="144" y="28"/>
                    </a:lnTo>
                    <a:lnTo>
                      <a:pt x="142" y="28"/>
                    </a:lnTo>
                    <a:lnTo>
                      <a:pt x="142" y="26"/>
                    </a:lnTo>
                    <a:lnTo>
                      <a:pt x="142" y="24"/>
                    </a:lnTo>
                    <a:lnTo>
                      <a:pt x="140" y="22"/>
                    </a:lnTo>
                    <a:lnTo>
                      <a:pt x="140" y="20"/>
                    </a:lnTo>
                    <a:lnTo>
                      <a:pt x="138" y="18"/>
                    </a:lnTo>
                    <a:lnTo>
                      <a:pt x="138" y="16"/>
                    </a:lnTo>
                    <a:lnTo>
                      <a:pt x="136" y="16"/>
                    </a:lnTo>
                    <a:lnTo>
                      <a:pt x="134" y="14"/>
                    </a:lnTo>
                    <a:lnTo>
                      <a:pt x="132" y="14"/>
                    </a:lnTo>
                    <a:lnTo>
                      <a:pt x="130" y="14"/>
                    </a:lnTo>
                    <a:lnTo>
                      <a:pt x="128" y="16"/>
                    </a:lnTo>
                    <a:lnTo>
                      <a:pt x="128" y="12"/>
                    </a:lnTo>
                    <a:lnTo>
                      <a:pt x="126" y="10"/>
                    </a:lnTo>
                    <a:lnTo>
                      <a:pt x="126" y="8"/>
                    </a:lnTo>
                    <a:lnTo>
                      <a:pt x="126" y="6"/>
                    </a:lnTo>
                    <a:lnTo>
                      <a:pt x="126" y="4"/>
                    </a:lnTo>
                    <a:lnTo>
                      <a:pt x="124" y="2"/>
                    </a:lnTo>
                    <a:lnTo>
                      <a:pt x="124" y="4"/>
                    </a:lnTo>
                    <a:lnTo>
                      <a:pt x="122" y="4"/>
                    </a:lnTo>
                    <a:lnTo>
                      <a:pt x="122" y="6"/>
                    </a:lnTo>
                    <a:lnTo>
                      <a:pt x="122" y="4"/>
                    </a:lnTo>
                    <a:lnTo>
                      <a:pt x="120" y="2"/>
                    </a:lnTo>
                    <a:lnTo>
                      <a:pt x="118" y="0"/>
                    </a:lnTo>
                    <a:lnTo>
                      <a:pt x="118" y="4"/>
                    </a:lnTo>
                    <a:lnTo>
                      <a:pt x="118" y="6"/>
                    </a:lnTo>
                    <a:lnTo>
                      <a:pt x="118" y="8"/>
                    </a:lnTo>
                    <a:lnTo>
                      <a:pt x="118" y="10"/>
                    </a:lnTo>
                    <a:lnTo>
                      <a:pt x="118" y="12"/>
                    </a:lnTo>
                    <a:lnTo>
                      <a:pt x="116" y="12"/>
                    </a:lnTo>
                    <a:lnTo>
                      <a:pt x="116" y="14"/>
                    </a:lnTo>
                    <a:lnTo>
                      <a:pt x="116" y="16"/>
                    </a:lnTo>
                    <a:lnTo>
                      <a:pt x="114" y="16"/>
                    </a:lnTo>
                    <a:lnTo>
                      <a:pt x="112" y="16"/>
                    </a:lnTo>
                    <a:lnTo>
                      <a:pt x="110" y="18"/>
                    </a:lnTo>
                    <a:lnTo>
                      <a:pt x="108" y="20"/>
                    </a:lnTo>
                    <a:lnTo>
                      <a:pt x="108" y="22"/>
                    </a:lnTo>
                    <a:lnTo>
                      <a:pt x="106" y="24"/>
                    </a:lnTo>
                    <a:lnTo>
                      <a:pt x="106" y="26"/>
                    </a:lnTo>
                    <a:lnTo>
                      <a:pt x="106" y="28"/>
                    </a:lnTo>
                    <a:lnTo>
                      <a:pt x="104" y="30"/>
                    </a:lnTo>
                    <a:lnTo>
                      <a:pt x="102" y="30"/>
                    </a:lnTo>
                    <a:lnTo>
                      <a:pt x="100" y="30"/>
                    </a:lnTo>
                    <a:lnTo>
                      <a:pt x="100" y="34"/>
                    </a:lnTo>
                    <a:lnTo>
                      <a:pt x="102" y="34"/>
                    </a:lnTo>
                    <a:lnTo>
                      <a:pt x="102" y="36"/>
                    </a:lnTo>
                    <a:lnTo>
                      <a:pt x="102" y="38"/>
                    </a:lnTo>
                    <a:lnTo>
                      <a:pt x="100" y="38"/>
                    </a:lnTo>
                    <a:lnTo>
                      <a:pt x="98" y="38"/>
                    </a:lnTo>
                    <a:lnTo>
                      <a:pt x="94" y="38"/>
                    </a:lnTo>
                    <a:lnTo>
                      <a:pt x="92" y="38"/>
                    </a:lnTo>
                    <a:lnTo>
                      <a:pt x="90" y="36"/>
                    </a:lnTo>
                    <a:lnTo>
                      <a:pt x="88" y="36"/>
                    </a:lnTo>
                    <a:lnTo>
                      <a:pt x="86" y="36"/>
                    </a:lnTo>
                    <a:lnTo>
                      <a:pt x="86" y="38"/>
                    </a:lnTo>
                    <a:lnTo>
                      <a:pt x="84" y="40"/>
                    </a:lnTo>
                    <a:lnTo>
                      <a:pt x="84" y="42"/>
                    </a:lnTo>
                    <a:lnTo>
                      <a:pt x="82" y="44"/>
                    </a:lnTo>
                    <a:lnTo>
                      <a:pt x="82" y="48"/>
                    </a:lnTo>
                    <a:lnTo>
                      <a:pt x="82" y="50"/>
                    </a:lnTo>
                    <a:lnTo>
                      <a:pt x="80" y="52"/>
                    </a:lnTo>
                    <a:lnTo>
                      <a:pt x="76" y="56"/>
                    </a:lnTo>
                    <a:lnTo>
                      <a:pt x="74" y="58"/>
                    </a:lnTo>
                    <a:lnTo>
                      <a:pt x="72" y="60"/>
                    </a:lnTo>
                    <a:lnTo>
                      <a:pt x="72" y="62"/>
                    </a:lnTo>
                    <a:lnTo>
                      <a:pt x="72" y="64"/>
                    </a:lnTo>
                    <a:lnTo>
                      <a:pt x="70" y="66"/>
                    </a:lnTo>
                    <a:lnTo>
                      <a:pt x="70" y="70"/>
                    </a:lnTo>
                    <a:lnTo>
                      <a:pt x="68" y="72"/>
                    </a:lnTo>
                    <a:lnTo>
                      <a:pt x="66" y="74"/>
                    </a:lnTo>
                    <a:lnTo>
                      <a:pt x="64" y="78"/>
                    </a:lnTo>
                    <a:lnTo>
                      <a:pt x="62" y="78"/>
                    </a:lnTo>
                    <a:lnTo>
                      <a:pt x="58" y="80"/>
                    </a:lnTo>
                    <a:lnTo>
                      <a:pt x="54" y="82"/>
                    </a:lnTo>
                    <a:lnTo>
                      <a:pt x="52" y="82"/>
                    </a:lnTo>
                    <a:lnTo>
                      <a:pt x="48" y="82"/>
                    </a:lnTo>
                    <a:lnTo>
                      <a:pt x="44" y="84"/>
                    </a:lnTo>
                    <a:lnTo>
                      <a:pt x="42" y="84"/>
                    </a:lnTo>
                    <a:lnTo>
                      <a:pt x="40" y="84"/>
                    </a:lnTo>
                    <a:lnTo>
                      <a:pt x="36" y="86"/>
                    </a:lnTo>
                    <a:lnTo>
                      <a:pt x="34" y="88"/>
                    </a:lnTo>
                    <a:lnTo>
                      <a:pt x="32" y="90"/>
                    </a:lnTo>
                    <a:lnTo>
                      <a:pt x="30" y="92"/>
                    </a:lnTo>
                    <a:lnTo>
                      <a:pt x="28" y="92"/>
                    </a:lnTo>
                    <a:lnTo>
                      <a:pt x="26" y="94"/>
                    </a:lnTo>
                    <a:lnTo>
                      <a:pt x="24" y="98"/>
                    </a:lnTo>
                    <a:lnTo>
                      <a:pt x="24" y="100"/>
                    </a:lnTo>
                    <a:lnTo>
                      <a:pt x="22" y="100"/>
                    </a:lnTo>
                    <a:lnTo>
                      <a:pt x="22" y="102"/>
                    </a:lnTo>
                    <a:lnTo>
                      <a:pt x="22" y="104"/>
                    </a:lnTo>
                    <a:lnTo>
                      <a:pt x="24" y="104"/>
                    </a:lnTo>
                    <a:lnTo>
                      <a:pt x="24" y="106"/>
                    </a:lnTo>
                    <a:lnTo>
                      <a:pt x="26" y="106"/>
                    </a:lnTo>
                    <a:lnTo>
                      <a:pt x="26" y="108"/>
                    </a:lnTo>
                    <a:lnTo>
                      <a:pt x="26" y="110"/>
                    </a:lnTo>
                    <a:lnTo>
                      <a:pt x="26" y="112"/>
                    </a:lnTo>
                    <a:lnTo>
                      <a:pt x="24" y="112"/>
                    </a:lnTo>
                    <a:lnTo>
                      <a:pt x="24" y="114"/>
                    </a:lnTo>
                    <a:lnTo>
                      <a:pt x="22" y="114"/>
                    </a:lnTo>
                    <a:lnTo>
                      <a:pt x="22" y="116"/>
                    </a:lnTo>
                    <a:lnTo>
                      <a:pt x="20" y="116"/>
                    </a:lnTo>
                    <a:lnTo>
                      <a:pt x="16" y="114"/>
                    </a:lnTo>
                    <a:lnTo>
                      <a:pt x="14" y="112"/>
                    </a:lnTo>
                    <a:lnTo>
                      <a:pt x="12" y="112"/>
                    </a:lnTo>
                    <a:lnTo>
                      <a:pt x="10" y="110"/>
                    </a:lnTo>
                    <a:lnTo>
                      <a:pt x="8" y="110"/>
                    </a:lnTo>
                    <a:lnTo>
                      <a:pt x="6" y="110"/>
                    </a:lnTo>
                    <a:lnTo>
                      <a:pt x="4" y="110"/>
                    </a:lnTo>
                    <a:lnTo>
                      <a:pt x="4" y="112"/>
                    </a:lnTo>
                    <a:lnTo>
                      <a:pt x="2" y="114"/>
                    </a:lnTo>
                    <a:lnTo>
                      <a:pt x="0" y="116"/>
                    </a:lnTo>
                    <a:lnTo>
                      <a:pt x="2" y="118"/>
                    </a:lnTo>
                    <a:lnTo>
                      <a:pt x="2" y="120"/>
                    </a:lnTo>
                    <a:lnTo>
                      <a:pt x="4" y="12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1" name="Freeform 210">
                <a:extLst>
                  <a:ext uri="{FF2B5EF4-FFF2-40B4-BE49-F238E27FC236}">
                    <a16:creationId xmlns:a16="http://schemas.microsoft.com/office/drawing/2014/main" id="{1553D292-193A-4870-8566-996B90E6B67A}"/>
                  </a:ext>
                </a:extLst>
              </p:cNvPr>
              <p:cNvSpPr>
                <a:spLocks noChangeAspect="1"/>
              </p:cNvSpPr>
              <p:nvPr/>
            </p:nvSpPr>
            <p:spPr bwMode="auto">
              <a:xfrm>
                <a:off x="8056596" y="4267793"/>
                <a:ext cx="286119" cy="296474"/>
              </a:xfrm>
              <a:custGeom>
                <a:avLst/>
                <a:gdLst/>
                <a:ahLst/>
                <a:cxnLst>
                  <a:cxn ang="0">
                    <a:pos x="164" y="38"/>
                  </a:cxn>
                  <a:cxn ang="0">
                    <a:pos x="152" y="38"/>
                  </a:cxn>
                  <a:cxn ang="0">
                    <a:pos x="126" y="24"/>
                  </a:cxn>
                  <a:cxn ang="0">
                    <a:pos x="112" y="26"/>
                  </a:cxn>
                  <a:cxn ang="0">
                    <a:pos x="112" y="34"/>
                  </a:cxn>
                  <a:cxn ang="0">
                    <a:pos x="98" y="36"/>
                  </a:cxn>
                  <a:cxn ang="0">
                    <a:pos x="94" y="40"/>
                  </a:cxn>
                  <a:cxn ang="0">
                    <a:pos x="94" y="44"/>
                  </a:cxn>
                  <a:cxn ang="0">
                    <a:pos x="74" y="56"/>
                  </a:cxn>
                  <a:cxn ang="0">
                    <a:pos x="68" y="42"/>
                  </a:cxn>
                  <a:cxn ang="0">
                    <a:pos x="64" y="46"/>
                  </a:cxn>
                  <a:cxn ang="0">
                    <a:pos x="60" y="42"/>
                  </a:cxn>
                  <a:cxn ang="0">
                    <a:pos x="60" y="24"/>
                  </a:cxn>
                  <a:cxn ang="0">
                    <a:pos x="54" y="8"/>
                  </a:cxn>
                  <a:cxn ang="0">
                    <a:pos x="44" y="8"/>
                  </a:cxn>
                  <a:cxn ang="0">
                    <a:pos x="32" y="0"/>
                  </a:cxn>
                  <a:cxn ang="0">
                    <a:pos x="18" y="8"/>
                  </a:cxn>
                  <a:cxn ang="0">
                    <a:pos x="12" y="12"/>
                  </a:cxn>
                  <a:cxn ang="0">
                    <a:pos x="8" y="16"/>
                  </a:cxn>
                  <a:cxn ang="0">
                    <a:pos x="6" y="12"/>
                  </a:cxn>
                  <a:cxn ang="0">
                    <a:pos x="0" y="10"/>
                  </a:cxn>
                  <a:cxn ang="0">
                    <a:pos x="6" y="22"/>
                  </a:cxn>
                  <a:cxn ang="0">
                    <a:pos x="22" y="26"/>
                  </a:cxn>
                  <a:cxn ang="0">
                    <a:pos x="28" y="36"/>
                  </a:cxn>
                  <a:cxn ang="0">
                    <a:pos x="50" y="34"/>
                  </a:cxn>
                  <a:cxn ang="0">
                    <a:pos x="50" y="42"/>
                  </a:cxn>
                  <a:cxn ang="0">
                    <a:pos x="36" y="44"/>
                  </a:cxn>
                  <a:cxn ang="0">
                    <a:pos x="26" y="46"/>
                  </a:cxn>
                  <a:cxn ang="0">
                    <a:pos x="22" y="50"/>
                  </a:cxn>
                  <a:cxn ang="0">
                    <a:pos x="36" y="58"/>
                  </a:cxn>
                  <a:cxn ang="0">
                    <a:pos x="34" y="64"/>
                  </a:cxn>
                  <a:cxn ang="0">
                    <a:pos x="38" y="74"/>
                  </a:cxn>
                  <a:cxn ang="0">
                    <a:pos x="44" y="62"/>
                  </a:cxn>
                  <a:cxn ang="0">
                    <a:pos x="52" y="50"/>
                  </a:cxn>
                  <a:cxn ang="0">
                    <a:pos x="50" y="60"/>
                  </a:cxn>
                  <a:cxn ang="0">
                    <a:pos x="64" y="70"/>
                  </a:cxn>
                  <a:cxn ang="0">
                    <a:pos x="68" y="72"/>
                  </a:cxn>
                  <a:cxn ang="0">
                    <a:pos x="74" y="78"/>
                  </a:cxn>
                  <a:cxn ang="0">
                    <a:pos x="88" y="80"/>
                  </a:cxn>
                  <a:cxn ang="0">
                    <a:pos x="96" y="86"/>
                  </a:cxn>
                  <a:cxn ang="0">
                    <a:pos x="106" y="88"/>
                  </a:cxn>
                  <a:cxn ang="0">
                    <a:pos x="126" y="104"/>
                  </a:cxn>
                  <a:cxn ang="0">
                    <a:pos x="132" y="120"/>
                  </a:cxn>
                  <a:cxn ang="0">
                    <a:pos x="132" y="122"/>
                  </a:cxn>
                  <a:cxn ang="0">
                    <a:pos x="134" y="130"/>
                  </a:cxn>
                  <a:cxn ang="0">
                    <a:pos x="134" y="132"/>
                  </a:cxn>
                  <a:cxn ang="0">
                    <a:pos x="134" y="136"/>
                  </a:cxn>
                  <a:cxn ang="0">
                    <a:pos x="138" y="144"/>
                  </a:cxn>
                  <a:cxn ang="0">
                    <a:pos x="134" y="150"/>
                  </a:cxn>
                  <a:cxn ang="0">
                    <a:pos x="144" y="150"/>
                  </a:cxn>
                  <a:cxn ang="0">
                    <a:pos x="152" y="150"/>
                  </a:cxn>
                  <a:cxn ang="0">
                    <a:pos x="154" y="154"/>
                  </a:cxn>
                  <a:cxn ang="0">
                    <a:pos x="168" y="170"/>
                  </a:cxn>
                  <a:cxn ang="0">
                    <a:pos x="168" y="158"/>
                  </a:cxn>
                  <a:cxn ang="0">
                    <a:pos x="168" y="152"/>
                  </a:cxn>
                  <a:cxn ang="0">
                    <a:pos x="170" y="142"/>
                  </a:cxn>
                  <a:cxn ang="0">
                    <a:pos x="172" y="126"/>
                  </a:cxn>
                  <a:cxn ang="0">
                    <a:pos x="164" y="124"/>
                  </a:cxn>
                  <a:cxn ang="0">
                    <a:pos x="172" y="116"/>
                  </a:cxn>
                  <a:cxn ang="0">
                    <a:pos x="170" y="104"/>
                  </a:cxn>
                  <a:cxn ang="0">
                    <a:pos x="172" y="80"/>
                  </a:cxn>
                  <a:cxn ang="0">
                    <a:pos x="174" y="50"/>
                  </a:cxn>
                </a:cxnLst>
                <a:rect l="0" t="0" r="r" b="b"/>
                <a:pathLst>
                  <a:path w="174" h="170">
                    <a:moveTo>
                      <a:pt x="174" y="46"/>
                    </a:moveTo>
                    <a:lnTo>
                      <a:pt x="170" y="44"/>
                    </a:lnTo>
                    <a:lnTo>
                      <a:pt x="168" y="42"/>
                    </a:lnTo>
                    <a:lnTo>
                      <a:pt x="166" y="40"/>
                    </a:lnTo>
                    <a:lnTo>
                      <a:pt x="164" y="40"/>
                    </a:lnTo>
                    <a:lnTo>
                      <a:pt x="164" y="38"/>
                    </a:lnTo>
                    <a:lnTo>
                      <a:pt x="162" y="38"/>
                    </a:lnTo>
                    <a:lnTo>
                      <a:pt x="160" y="38"/>
                    </a:lnTo>
                    <a:lnTo>
                      <a:pt x="158" y="38"/>
                    </a:lnTo>
                    <a:lnTo>
                      <a:pt x="156" y="38"/>
                    </a:lnTo>
                    <a:lnTo>
                      <a:pt x="154" y="40"/>
                    </a:lnTo>
                    <a:lnTo>
                      <a:pt x="152" y="38"/>
                    </a:lnTo>
                    <a:lnTo>
                      <a:pt x="150" y="38"/>
                    </a:lnTo>
                    <a:lnTo>
                      <a:pt x="148" y="36"/>
                    </a:lnTo>
                    <a:lnTo>
                      <a:pt x="142" y="34"/>
                    </a:lnTo>
                    <a:lnTo>
                      <a:pt x="138" y="30"/>
                    </a:lnTo>
                    <a:lnTo>
                      <a:pt x="132" y="28"/>
                    </a:lnTo>
                    <a:lnTo>
                      <a:pt x="128" y="26"/>
                    </a:lnTo>
                    <a:lnTo>
                      <a:pt x="126" y="24"/>
                    </a:lnTo>
                    <a:lnTo>
                      <a:pt x="124" y="24"/>
                    </a:lnTo>
                    <a:lnTo>
                      <a:pt x="122" y="22"/>
                    </a:lnTo>
                    <a:lnTo>
                      <a:pt x="120" y="22"/>
                    </a:lnTo>
                    <a:lnTo>
                      <a:pt x="118" y="22"/>
                    </a:lnTo>
                    <a:lnTo>
                      <a:pt x="116" y="22"/>
                    </a:lnTo>
                    <a:lnTo>
                      <a:pt x="116" y="24"/>
                    </a:lnTo>
                    <a:lnTo>
                      <a:pt x="114" y="24"/>
                    </a:lnTo>
                    <a:lnTo>
                      <a:pt x="112" y="26"/>
                    </a:lnTo>
                    <a:lnTo>
                      <a:pt x="110" y="26"/>
                    </a:lnTo>
                    <a:lnTo>
                      <a:pt x="110" y="28"/>
                    </a:lnTo>
                    <a:lnTo>
                      <a:pt x="110" y="30"/>
                    </a:lnTo>
                    <a:lnTo>
                      <a:pt x="112" y="32"/>
                    </a:lnTo>
                    <a:lnTo>
                      <a:pt x="112" y="34"/>
                    </a:lnTo>
                    <a:lnTo>
                      <a:pt x="108" y="34"/>
                    </a:lnTo>
                    <a:lnTo>
                      <a:pt x="106" y="34"/>
                    </a:lnTo>
                    <a:lnTo>
                      <a:pt x="104" y="34"/>
                    </a:lnTo>
                    <a:lnTo>
                      <a:pt x="102" y="34"/>
                    </a:lnTo>
                    <a:lnTo>
                      <a:pt x="100" y="36"/>
                    </a:lnTo>
                    <a:lnTo>
                      <a:pt x="98" y="36"/>
                    </a:lnTo>
                    <a:lnTo>
                      <a:pt x="96" y="36"/>
                    </a:lnTo>
                    <a:lnTo>
                      <a:pt x="94" y="36"/>
                    </a:lnTo>
                    <a:lnTo>
                      <a:pt x="94" y="38"/>
                    </a:lnTo>
                    <a:lnTo>
                      <a:pt x="94" y="40"/>
                    </a:lnTo>
                    <a:lnTo>
                      <a:pt x="94" y="42"/>
                    </a:lnTo>
                    <a:lnTo>
                      <a:pt x="94" y="44"/>
                    </a:lnTo>
                    <a:lnTo>
                      <a:pt x="92" y="46"/>
                    </a:lnTo>
                    <a:lnTo>
                      <a:pt x="92" y="48"/>
                    </a:lnTo>
                    <a:lnTo>
                      <a:pt x="90" y="50"/>
                    </a:lnTo>
                    <a:lnTo>
                      <a:pt x="86" y="52"/>
                    </a:lnTo>
                    <a:lnTo>
                      <a:pt x="84" y="54"/>
                    </a:lnTo>
                    <a:lnTo>
                      <a:pt x="78" y="56"/>
                    </a:lnTo>
                    <a:lnTo>
                      <a:pt x="76" y="56"/>
                    </a:lnTo>
                    <a:lnTo>
                      <a:pt x="74" y="56"/>
                    </a:lnTo>
                    <a:lnTo>
                      <a:pt x="72" y="56"/>
                    </a:lnTo>
                    <a:lnTo>
                      <a:pt x="70" y="54"/>
                    </a:lnTo>
                    <a:lnTo>
                      <a:pt x="68" y="52"/>
                    </a:lnTo>
                    <a:lnTo>
                      <a:pt x="68" y="50"/>
                    </a:lnTo>
                    <a:lnTo>
                      <a:pt x="68" y="46"/>
                    </a:lnTo>
                    <a:lnTo>
                      <a:pt x="68" y="44"/>
                    </a:lnTo>
                    <a:lnTo>
                      <a:pt x="68" y="42"/>
                    </a:lnTo>
                    <a:lnTo>
                      <a:pt x="66" y="42"/>
                    </a:lnTo>
                    <a:lnTo>
                      <a:pt x="64" y="44"/>
                    </a:lnTo>
                    <a:lnTo>
                      <a:pt x="64" y="46"/>
                    </a:lnTo>
                    <a:lnTo>
                      <a:pt x="64" y="48"/>
                    </a:lnTo>
                    <a:lnTo>
                      <a:pt x="64" y="50"/>
                    </a:lnTo>
                    <a:lnTo>
                      <a:pt x="62" y="50"/>
                    </a:lnTo>
                    <a:lnTo>
                      <a:pt x="62" y="48"/>
                    </a:lnTo>
                    <a:lnTo>
                      <a:pt x="62" y="46"/>
                    </a:lnTo>
                    <a:lnTo>
                      <a:pt x="60" y="42"/>
                    </a:lnTo>
                    <a:lnTo>
                      <a:pt x="60" y="40"/>
                    </a:lnTo>
                    <a:lnTo>
                      <a:pt x="60" y="38"/>
                    </a:lnTo>
                    <a:lnTo>
                      <a:pt x="60" y="36"/>
                    </a:lnTo>
                    <a:lnTo>
                      <a:pt x="60" y="34"/>
                    </a:lnTo>
                    <a:lnTo>
                      <a:pt x="60" y="30"/>
                    </a:lnTo>
                    <a:lnTo>
                      <a:pt x="60" y="26"/>
                    </a:lnTo>
                    <a:lnTo>
                      <a:pt x="60" y="24"/>
                    </a:lnTo>
                    <a:lnTo>
                      <a:pt x="60" y="20"/>
                    </a:lnTo>
                    <a:lnTo>
                      <a:pt x="58" y="18"/>
                    </a:lnTo>
                    <a:lnTo>
                      <a:pt x="58" y="16"/>
                    </a:lnTo>
                    <a:lnTo>
                      <a:pt x="58" y="14"/>
                    </a:lnTo>
                    <a:lnTo>
                      <a:pt x="56" y="12"/>
                    </a:lnTo>
                    <a:lnTo>
                      <a:pt x="56" y="10"/>
                    </a:lnTo>
                    <a:lnTo>
                      <a:pt x="56" y="8"/>
                    </a:lnTo>
                    <a:lnTo>
                      <a:pt x="54" y="8"/>
                    </a:lnTo>
                    <a:lnTo>
                      <a:pt x="52" y="8"/>
                    </a:lnTo>
                    <a:lnTo>
                      <a:pt x="48" y="8"/>
                    </a:lnTo>
                    <a:lnTo>
                      <a:pt x="46" y="8"/>
                    </a:lnTo>
                    <a:lnTo>
                      <a:pt x="44" y="8"/>
                    </a:lnTo>
                    <a:lnTo>
                      <a:pt x="44" y="6"/>
                    </a:lnTo>
                    <a:lnTo>
                      <a:pt x="42" y="4"/>
                    </a:lnTo>
                    <a:lnTo>
                      <a:pt x="38" y="2"/>
                    </a:lnTo>
                    <a:lnTo>
                      <a:pt x="36" y="0"/>
                    </a:lnTo>
                    <a:lnTo>
                      <a:pt x="34" y="0"/>
                    </a:lnTo>
                    <a:lnTo>
                      <a:pt x="32" y="0"/>
                    </a:lnTo>
                    <a:lnTo>
                      <a:pt x="28" y="0"/>
                    </a:lnTo>
                    <a:lnTo>
                      <a:pt x="26" y="2"/>
                    </a:lnTo>
                    <a:lnTo>
                      <a:pt x="24" y="2"/>
                    </a:lnTo>
                    <a:lnTo>
                      <a:pt x="22" y="4"/>
                    </a:lnTo>
                    <a:lnTo>
                      <a:pt x="20" y="6"/>
                    </a:lnTo>
                    <a:lnTo>
                      <a:pt x="18" y="8"/>
                    </a:lnTo>
                    <a:lnTo>
                      <a:pt x="16" y="8"/>
                    </a:lnTo>
                    <a:lnTo>
                      <a:pt x="14" y="10"/>
                    </a:lnTo>
                    <a:lnTo>
                      <a:pt x="12" y="10"/>
                    </a:lnTo>
                    <a:lnTo>
                      <a:pt x="12" y="12"/>
                    </a:lnTo>
                    <a:lnTo>
                      <a:pt x="10" y="14"/>
                    </a:lnTo>
                    <a:lnTo>
                      <a:pt x="8" y="16"/>
                    </a:lnTo>
                    <a:lnTo>
                      <a:pt x="6" y="16"/>
                    </a:lnTo>
                    <a:lnTo>
                      <a:pt x="6" y="14"/>
                    </a:lnTo>
                    <a:lnTo>
                      <a:pt x="6" y="12"/>
                    </a:lnTo>
                    <a:lnTo>
                      <a:pt x="4" y="10"/>
                    </a:lnTo>
                    <a:lnTo>
                      <a:pt x="2" y="10"/>
                    </a:lnTo>
                    <a:lnTo>
                      <a:pt x="0" y="10"/>
                    </a:lnTo>
                    <a:lnTo>
                      <a:pt x="0" y="12"/>
                    </a:lnTo>
                    <a:lnTo>
                      <a:pt x="0" y="16"/>
                    </a:lnTo>
                    <a:lnTo>
                      <a:pt x="2" y="18"/>
                    </a:lnTo>
                    <a:lnTo>
                      <a:pt x="2" y="20"/>
                    </a:lnTo>
                    <a:lnTo>
                      <a:pt x="4" y="20"/>
                    </a:lnTo>
                    <a:lnTo>
                      <a:pt x="6" y="22"/>
                    </a:lnTo>
                    <a:lnTo>
                      <a:pt x="8" y="22"/>
                    </a:lnTo>
                    <a:lnTo>
                      <a:pt x="10" y="22"/>
                    </a:lnTo>
                    <a:lnTo>
                      <a:pt x="16" y="22"/>
                    </a:lnTo>
                    <a:lnTo>
                      <a:pt x="18" y="24"/>
                    </a:lnTo>
                    <a:lnTo>
                      <a:pt x="20" y="24"/>
                    </a:lnTo>
                    <a:lnTo>
                      <a:pt x="22" y="24"/>
                    </a:lnTo>
                    <a:lnTo>
                      <a:pt x="22" y="26"/>
                    </a:lnTo>
                    <a:lnTo>
                      <a:pt x="22" y="28"/>
                    </a:lnTo>
                    <a:lnTo>
                      <a:pt x="22" y="30"/>
                    </a:lnTo>
                    <a:lnTo>
                      <a:pt x="22" y="32"/>
                    </a:lnTo>
                    <a:lnTo>
                      <a:pt x="24" y="34"/>
                    </a:lnTo>
                    <a:lnTo>
                      <a:pt x="24" y="36"/>
                    </a:lnTo>
                    <a:lnTo>
                      <a:pt x="28" y="36"/>
                    </a:lnTo>
                    <a:lnTo>
                      <a:pt x="30" y="36"/>
                    </a:lnTo>
                    <a:lnTo>
                      <a:pt x="32" y="36"/>
                    </a:lnTo>
                    <a:lnTo>
                      <a:pt x="36" y="36"/>
                    </a:lnTo>
                    <a:lnTo>
                      <a:pt x="40" y="34"/>
                    </a:lnTo>
                    <a:lnTo>
                      <a:pt x="42" y="34"/>
                    </a:lnTo>
                    <a:lnTo>
                      <a:pt x="46" y="34"/>
                    </a:lnTo>
                    <a:lnTo>
                      <a:pt x="48" y="34"/>
                    </a:lnTo>
                    <a:lnTo>
                      <a:pt x="50" y="34"/>
                    </a:lnTo>
                    <a:lnTo>
                      <a:pt x="52" y="36"/>
                    </a:lnTo>
                    <a:lnTo>
                      <a:pt x="54" y="36"/>
                    </a:lnTo>
                    <a:lnTo>
                      <a:pt x="54" y="38"/>
                    </a:lnTo>
                    <a:lnTo>
                      <a:pt x="54" y="40"/>
                    </a:lnTo>
                    <a:lnTo>
                      <a:pt x="54" y="42"/>
                    </a:lnTo>
                    <a:lnTo>
                      <a:pt x="52" y="42"/>
                    </a:lnTo>
                    <a:lnTo>
                      <a:pt x="50" y="42"/>
                    </a:lnTo>
                    <a:lnTo>
                      <a:pt x="48" y="42"/>
                    </a:lnTo>
                    <a:lnTo>
                      <a:pt x="44" y="40"/>
                    </a:lnTo>
                    <a:lnTo>
                      <a:pt x="42" y="40"/>
                    </a:lnTo>
                    <a:lnTo>
                      <a:pt x="40" y="42"/>
                    </a:lnTo>
                    <a:lnTo>
                      <a:pt x="36" y="44"/>
                    </a:lnTo>
                    <a:lnTo>
                      <a:pt x="34" y="44"/>
                    </a:lnTo>
                    <a:lnTo>
                      <a:pt x="34" y="46"/>
                    </a:lnTo>
                    <a:lnTo>
                      <a:pt x="32" y="46"/>
                    </a:lnTo>
                    <a:lnTo>
                      <a:pt x="30" y="46"/>
                    </a:lnTo>
                    <a:lnTo>
                      <a:pt x="28" y="46"/>
                    </a:lnTo>
                    <a:lnTo>
                      <a:pt x="26" y="46"/>
                    </a:lnTo>
                    <a:lnTo>
                      <a:pt x="22" y="46"/>
                    </a:lnTo>
                    <a:lnTo>
                      <a:pt x="22" y="48"/>
                    </a:lnTo>
                    <a:lnTo>
                      <a:pt x="20" y="48"/>
                    </a:lnTo>
                    <a:lnTo>
                      <a:pt x="20" y="50"/>
                    </a:lnTo>
                    <a:lnTo>
                      <a:pt x="22" y="50"/>
                    </a:lnTo>
                    <a:lnTo>
                      <a:pt x="24" y="50"/>
                    </a:lnTo>
                    <a:lnTo>
                      <a:pt x="26" y="52"/>
                    </a:lnTo>
                    <a:lnTo>
                      <a:pt x="28" y="52"/>
                    </a:lnTo>
                    <a:lnTo>
                      <a:pt x="30" y="52"/>
                    </a:lnTo>
                    <a:lnTo>
                      <a:pt x="32" y="54"/>
                    </a:lnTo>
                    <a:lnTo>
                      <a:pt x="34" y="56"/>
                    </a:lnTo>
                    <a:lnTo>
                      <a:pt x="36" y="58"/>
                    </a:lnTo>
                    <a:lnTo>
                      <a:pt x="36" y="60"/>
                    </a:lnTo>
                    <a:lnTo>
                      <a:pt x="38" y="60"/>
                    </a:lnTo>
                    <a:lnTo>
                      <a:pt x="38" y="62"/>
                    </a:lnTo>
                    <a:lnTo>
                      <a:pt x="36" y="62"/>
                    </a:lnTo>
                    <a:lnTo>
                      <a:pt x="36" y="64"/>
                    </a:lnTo>
                    <a:lnTo>
                      <a:pt x="34" y="64"/>
                    </a:lnTo>
                    <a:lnTo>
                      <a:pt x="34" y="66"/>
                    </a:lnTo>
                    <a:lnTo>
                      <a:pt x="34" y="68"/>
                    </a:lnTo>
                    <a:lnTo>
                      <a:pt x="34" y="70"/>
                    </a:lnTo>
                    <a:lnTo>
                      <a:pt x="34" y="72"/>
                    </a:lnTo>
                    <a:lnTo>
                      <a:pt x="36" y="74"/>
                    </a:lnTo>
                    <a:lnTo>
                      <a:pt x="38" y="74"/>
                    </a:lnTo>
                    <a:lnTo>
                      <a:pt x="40" y="72"/>
                    </a:lnTo>
                    <a:lnTo>
                      <a:pt x="42" y="70"/>
                    </a:lnTo>
                    <a:lnTo>
                      <a:pt x="42" y="68"/>
                    </a:lnTo>
                    <a:lnTo>
                      <a:pt x="44" y="66"/>
                    </a:lnTo>
                    <a:lnTo>
                      <a:pt x="44" y="64"/>
                    </a:lnTo>
                    <a:lnTo>
                      <a:pt x="44" y="62"/>
                    </a:lnTo>
                    <a:lnTo>
                      <a:pt x="46" y="60"/>
                    </a:lnTo>
                    <a:lnTo>
                      <a:pt x="46" y="58"/>
                    </a:lnTo>
                    <a:lnTo>
                      <a:pt x="48" y="56"/>
                    </a:lnTo>
                    <a:lnTo>
                      <a:pt x="50" y="54"/>
                    </a:lnTo>
                    <a:lnTo>
                      <a:pt x="50" y="52"/>
                    </a:lnTo>
                    <a:lnTo>
                      <a:pt x="52" y="52"/>
                    </a:lnTo>
                    <a:lnTo>
                      <a:pt x="52" y="50"/>
                    </a:lnTo>
                    <a:lnTo>
                      <a:pt x="52" y="54"/>
                    </a:lnTo>
                    <a:lnTo>
                      <a:pt x="52" y="56"/>
                    </a:lnTo>
                    <a:lnTo>
                      <a:pt x="50" y="58"/>
                    </a:lnTo>
                    <a:lnTo>
                      <a:pt x="50" y="60"/>
                    </a:lnTo>
                    <a:lnTo>
                      <a:pt x="52" y="60"/>
                    </a:lnTo>
                    <a:lnTo>
                      <a:pt x="52" y="62"/>
                    </a:lnTo>
                    <a:lnTo>
                      <a:pt x="54" y="62"/>
                    </a:lnTo>
                    <a:lnTo>
                      <a:pt x="56" y="66"/>
                    </a:lnTo>
                    <a:lnTo>
                      <a:pt x="60" y="68"/>
                    </a:lnTo>
                    <a:lnTo>
                      <a:pt x="60" y="70"/>
                    </a:lnTo>
                    <a:lnTo>
                      <a:pt x="62" y="70"/>
                    </a:lnTo>
                    <a:lnTo>
                      <a:pt x="64" y="70"/>
                    </a:lnTo>
                    <a:lnTo>
                      <a:pt x="66" y="70"/>
                    </a:lnTo>
                    <a:lnTo>
                      <a:pt x="68" y="70"/>
                    </a:lnTo>
                    <a:lnTo>
                      <a:pt x="70" y="70"/>
                    </a:lnTo>
                    <a:lnTo>
                      <a:pt x="68" y="72"/>
                    </a:lnTo>
                    <a:lnTo>
                      <a:pt x="70" y="74"/>
                    </a:lnTo>
                    <a:lnTo>
                      <a:pt x="72" y="76"/>
                    </a:lnTo>
                    <a:lnTo>
                      <a:pt x="72" y="78"/>
                    </a:lnTo>
                    <a:lnTo>
                      <a:pt x="74" y="78"/>
                    </a:lnTo>
                    <a:lnTo>
                      <a:pt x="78" y="78"/>
                    </a:lnTo>
                    <a:lnTo>
                      <a:pt x="80" y="78"/>
                    </a:lnTo>
                    <a:lnTo>
                      <a:pt x="82" y="80"/>
                    </a:lnTo>
                    <a:lnTo>
                      <a:pt x="86" y="80"/>
                    </a:lnTo>
                    <a:lnTo>
                      <a:pt x="88" y="80"/>
                    </a:lnTo>
                    <a:lnTo>
                      <a:pt x="92" y="82"/>
                    </a:lnTo>
                    <a:lnTo>
                      <a:pt x="94" y="84"/>
                    </a:lnTo>
                    <a:lnTo>
                      <a:pt x="96" y="84"/>
                    </a:lnTo>
                    <a:lnTo>
                      <a:pt x="96" y="86"/>
                    </a:lnTo>
                    <a:lnTo>
                      <a:pt x="98" y="86"/>
                    </a:lnTo>
                    <a:lnTo>
                      <a:pt x="102" y="88"/>
                    </a:lnTo>
                    <a:lnTo>
                      <a:pt x="106" y="88"/>
                    </a:lnTo>
                    <a:lnTo>
                      <a:pt x="110" y="90"/>
                    </a:lnTo>
                    <a:lnTo>
                      <a:pt x="114" y="92"/>
                    </a:lnTo>
                    <a:lnTo>
                      <a:pt x="116" y="94"/>
                    </a:lnTo>
                    <a:lnTo>
                      <a:pt x="120" y="98"/>
                    </a:lnTo>
                    <a:lnTo>
                      <a:pt x="122" y="98"/>
                    </a:lnTo>
                    <a:lnTo>
                      <a:pt x="124" y="100"/>
                    </a:lnTo>
                    <a:lnTo>
                      <a:pt x="126" y="102"/>
                    </a:lnTo>
                    <a:lnTo>
                      <a:pt x="126" y="104"/>
                    </a:lnTo>
                    <a:lnTo>
                      <a:pt x="126" y="106"/>
                    </a:lnTo>
                    <a:lnTo>
                      <a:pt x="126" y="108"/>
                    </a:lnTo>
                    <a:lnTo>
                      <a:pt x="126" y="110"/>
                    </a:lnTo>
                    <a:lnTo>
                      <a:pt x="128" y="112"/>
                    </a:lnTo>
                    <a:lnTo>
                      <a:pt x="128" y="114"/>
                    </a:lnTo>
                    <a:lnTo>
                      <a:pt x="128" y="116"/>
                    </a:lnTo>
                    <a:lnTo>
                      <a:pt x="130" y="118"/>
                    </a:lnTo>
                    <a:lnTo>
                      <a:pt x="132" y="120"/>
                    </a:lnTo>
                    <a:lnTo>
                      <a:pt x="134" y="122"/>
                    </a:lnTo>
                    <a:lnTo>
                      <a:pt x="136" y="122"/>
                    </a:lnTo>
                    <a:lnTo>
                      <a:pt x="134" y="122"/>
                    </a:lnTo>
                    <a:lnTo>
                      <a:pt x="132" y="122"/>
                    </a:lnTo>
                    <a:lnTo>
                      <a:pt x="132" y="124"/>
                    </a:lnTo>
                    <a:lnTo>
                      <a:pt x="130" y="124"/>
                    </a:lnTo>
                    <a:lnTo>
                      <a:pt x="130" y="126"/>
                    </a:lnTo>
                    <a:lnTo>
                      <a:pt x="130" y="128"/>
                    </a:lnTo>
                    <a:lnTo>
                      <a:pt x="132" y="128"/>
                    </a:lnTo>
                    <a:lnTo>
                      <a:pt x="134" y="130"/>
                    </a:lnTo>
                    <a:lnTo>
                      <a:pt x="136" y="130"/>
                    </a:lnTo>
                    <a:lnTo>
                      <a:pt x="138" y="130"/>
                    </a:lnTo>
                    <a:lnTo>
                      <a:pt x="140" y="130"/>
                    </a:lnTo>
                    <a:lnTo>
                      <a:pt x="138" y="130"/>
                    </a:lnTo>
                    <a:lnTo>
                      <a:pt x="136" y="132"/>
                    </a:lnTo>
                    <a:lnTo>
                      <a:pt x="134" y="132"/>
                    </a:lnTo>
                    <a:lnTo>
                      <a:pt x="134" y="134"/>
                    </a:lnTo>
                    <a:lnTo>
                      <a:pt x="134" y="136"/>
                    </a:lnTo>
                    <a:lnTo>
                      <a:pt x="136" y="136"/>
                    </a:lnTo>
                    <a:lnTo>
                      <a:pt x="136" y="138"/>
                    </a:lnTo>
                    <a:lnTo>
                      <a:pt x="136" y="140"/>
                    </a:lnTo>
                    <a:lnTo>
                      <a:pt x="138" y="142"/>
                    </a:lnTo>
                    <a:lnTo>
                      <a:pt x="138" y="144"/>
                    </a:lnTo>
                    <a:lnTo>
                      <a:pt x="136" y="146"/>
                    </a:lnTo>
                    <a:lnTo>
                      <a:pt x="136" y="148"/>
                    </a:lnTo>
                    <a:lnTo>
                      <a:pt x="134" y="150"/>
                    </a:lnTo>
                    <a:lnTo>
                      <a:pt x="134" y="152"/>
                    </a:lnTo>
                    <a:lnTo>
                      <a:pt x="136" y="150"/>
                    </a:lnTo>
                    <a:lnTo>
                      <a:pt x="140" y="150"/>
                    </a:lnTo>
                    <a:lnTo>
                      <a:pt x="142" y="150"/>
                    </a:lnTo>
                    <a:lnTo>
                      <a:pt x="144" y="150"/>
                    </a:lnTo>
                    <a:lnTo>
                      <a:pt x="146" y="148"/>
                    </a:lnTo>
                    <a:lnTo>
                      <a:pt x="148" y="148"/>
                    </a:lnTo>
                    <a:lnTo>
                      <a:pt x="150" y="146"/>
                    </a:lnTo>
                    <a:lnTo>
                      <a:pt x="152" y="146"/>
                    </a:lnTo>
                    <a:lnTo>
                      <a:pt x="152" y="148"/>
                    </a:lnTo>
                    <a:lnTo>
                      <a:pt x="152" y="150"/>
                    </a:lnTo>
                    <a:lnTo>
                      <a:pt x="152" y="152"/>
                    </a:lnTo>
                    <a:lnTo>
                      <a:pt x="152" y="154"/>
                    </a:lnTo>
                    <a:lnTo>
                      <a:pt x="154" y="154"/>
                    </a:lnTo>
                    <a:lnTo>
                      <a:pt x="156" y="156"/>
                    </a:lnTo>
                    <a:lnTo>
                      <a:pt x="158" y="160"/>
                    </a:lnTo>
                    <a:lnTo>
                      <a:pt x="160" y="162"/>
                    </a:lnTo>
                    <a:lnTo>
                      <a:pt x="162" y="164"/>
                    </a:lnTo>
                    <a:lnTo>
                      <a:pt x="164" y="166"/>
                    </a:lnTo>
                    <a:lnTo>
                      <a:pt x="166" y="168"/>
                    </a:lnTo>
                    <a:lnTo>
                      <a:pt x="166" y="170"/>
                    </a:lnTo>
                    <a:lnTo>
                      <a:pt x="168" y="170"/>
                    </a:lnTo>
                    <a:lnTo>
                      <a:pt x="168" y="168"/>
                    </a:lnTo>
                    <a:lnTo>
                      <a:pt x="168" y="166"/>
                    </a:lnTo>
                    <a:lnTo>
                      <a:pt x="168" y="162"/>
                    </a:lnTo>
                    <a:lnTo>
                      <a:pt x="168" y="160"/>
                    </a:lnTo>
                    <a:lnTo>
                      <a:pt x="168" y="158"/>
                    </a:lnTo>
                    <a:lnTo>
                      <a:pt x="168" y="156"/>
                    </a:lnTo>
                    <a:lnTo>
                      <a:pt x="168" y="154"/>
                    </a:lnTo>
                    <a:lnTo>
                      <a:pt x="168" y="152"/>
                    </a:lnTo>
                    <a:lnTo>
                      <a:pt x="168" y="150"/>
                    </a:lnTo>
                    <a:lnTo>
                      <a:pt x="168" y="148"/>
                    </a:lnTo>
                    <a:lnTo>
                      <a:pt x="168" y="146"/>
                    </a:lnTo>
                    <a:lnTo>
                      <a:pt x="168" y="144"/>
                    </a:lnTo>
                    <a:lnTo>
                      <a:pt x="170" y="144"/>
                    </a:lnTo>
                    <a:lnTo>
                      <a:pt x="170" y="142"/>
                    </a:lnTo>
                    <a:lnTo>
                      <a:pt x="170" y="140"/>
                    </a:lnTo>
                    <a:lnTo>
                      <a:pt x="170" y="136"/>
                    </a:lnTo>
                    <a:lnTo>
                      <a:pt x="170" y="134"/>
                    </a:lnTo>
                    <a:lnTo>
                      <a:pt x="170" y="130"/>
                    </a:lnTo>
                    <a:lnTo>
                      <a:pt x="172" y="128"/>
                    </a:lnTo>
                    <a:lnTo>
                      <a:pt x="172" y="126"/>
                    </a:lnTo>
                    <a:lnTo>
                      <a:pt x="170" y="126"/>
                    </a:lnTo>
                    <a:lnTo>
                      <a:pt x="168" y="126"/>
                    </a:lnTo>
                    <a:lnTo>
                      <a:pt x="166" y="126"/>
                    </a:lnTo>
                    <a:lnTo>
                      <a:pt x="166" y="124"/>
                    </a:lnTo>
                    <a:lnTo>
                      <a:pt x="164" y="124"/>
                    </a:lnTo>
                    <a:lnTo>
                      <a:pt x="164" y="122"/>
                    </a:lnTo>
                    <a:lnTo>
                      <a:pt x="166" y="122"/>
                    </a:lnTo>
                    <a:lnTo>
                      <a:pt x="168" y="120"/>
                    </a:lnTo>
                    <a:lnTo>
                      <a:pt x="168" y="118"/>
                    </a:lnTo>
                    <a:lnTo>
                      <a:pt x="170" y="118"/>
                    </a:lnTo>
                    <a:lnTo>
                      <a:pt x="172" y="116"/>
                    </a:lnTo>
                    <a:lnTo>
                      <a:pt x="172" y="114"/>
                    </a:lnTo>
                    <a:lnTo>
                      <a:pt x="172" y="112"/>
                    </a:lnTo>
                    <a:lnTo>
                      <a:pt x="172" y="110"/>
                    </a:lnTo>
                    <a:lnTo>
                      <a:pt x="172" y="108"/>
                    </a:lnTo>
                    <a:lnTo>
                      <a:pt x="170" y="106"/>
                    </a:lnTo>
                    <a:lnTo>
                      <a:pt x="170" y="104"/>
                    </a:lnTo>
                    <a:lnTo>
                      <a:pt x="170" y="102"/>
                    </a:lnTo>
                    <a:lnTo>
                      <a:pt x="170" y="98"/>
                    </a:lnTo>
                    <a:lnTo>
                      <a:pt x="172" y="92"/>
                    </a:lnTo>
                    <a:lnTo>
                      <a:pt x="172" y="86"/>
                    </a:lnTo>
                    <a:lnTo>
                      <a:pt x="172" y="84"/>
                    </a:lnTo>
                    <a:lnTo>
                      <a:pt x="172" y="80"/>
                    </a:lnTo>
                    <a:lnTo>
                      <a:pt x="172" y="78"/>
                    </a:lnTo>
                    <a:lnTo>
                      <a:pt x="172" y="76"/>
                    </a:lnTo>
                    <a:lnTo>
                      <a:pt x="172" y="74"/>
                    </a:lnTo>
                    <a:lnTo>
                      <a:pt x="174" y="70"/>
                    </a:lnTo>
                    <a:lnTo>
                      <a:pt x="174" y="64"/>
                    </a:lnTo>
                    <a:lnTo>
                      <a:pt x="174" y="58"/>
                    </a:lnTo>
                    <a:lnTo>
                      <a:pt x="174" y="52"/>
                    </a:lnTo>
                    <a:lnTo>
                      <a:pt x="174" y="50"/>
                    </a:lnTo>
                    <a:lnTo>
                      <a:pt x="174" y="48"/>
                    </a:lnTo>
                    <a:lnTo>
                      <a:pt x="174" y="4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2" name="Freeform 211">
                <a:extLst>
                  <a:ext uri="{FF2B5EF4-FFF2-40B4-BE49-F238E27FC236}">
                    <a16:creationId xmlns:a16="http://schemas.microsoft.com/office/drawing/2014/main" id="{96A92CAE-77F9-4609-934E-C5036026B408}"/>
                  </a:ext>
                </a:extLst>
              </p:cNvPr>
              <p:cNvSpPr>
                <a:spLocks noChangeAspect="1"/>
              </p:cNvSpPr>
              <p:nvPr/>
            </p:nvSpPr>
            <p:spPr bwMode="auto">
              <a:xfrm>
                <a:off x="7443249" y="4107349"/>
                <a:ext cx="292697" cy="292986"/>
              </a:xfrm>
              <a:custGeom>
                <a:avLst/>
                <a:gdLst/>
                <a:ahLst/>
                <a:cxnLst>
                  <a:cxn ang="0">
                    <a:pos x="136" y="140"/>
                  </a:cxn>
                  <a:cxn ang="0">
                    <a:pos x="142" y="122"/>
                  </a:cxn>
                  <a:cxn ang="0">
                    <a:pos x="140" y="118"/>
                  </a:cxn>
                  <a:cxn ang="0">
                    <a:pos x="138" y="102"/>
                  </a:cxn>
                  <a:cxn ang="0">
                    <a:pos x="154" y="94"/>
                  </a:cxn>
                  <a:cxn ang="0">
                    <a:pos x="160" y="82"/>
                  </a:cxn>
                  <a:cxn ang="0">
                    <a:pos x="152" y="82"/>
                  </a:cxn>
                  <a:cxn ang="0">
                    <a:pos x="158" y="72"/>
                  </a:cxn>
                  <a:cxn ang="0">
                    <a:pos x="176" y="72"/>
                  </a:cxn>
                  <a:cxn ang="0">
                    <a:pos x="176" y="64"/>
                  </a:cxn>
                  <a:cxn ang="0">
                    <a:pos x="168" y="52"/>
                  </a:cxn>
                  <a:cxn ang="0">
                    <a:pos x="166" y="48"/>
                  </a:cxn>
                  <a:cxn ang="0">
                    <a:pos x="164" y="40"/>
                  </a:cxn>
                  <a:cxn ang="0">
                    <a:pos x="160" y="30"/>
                  </a:cxn>
                  <a:cxn ang="0">
                    <a:pos x="156" y="24"/>
                  </a:cxn>
                  <a:cxn ang="0">
                    <a:pos x="154" y="22"/>
                  </a:cxn>
                  <a:cxn ang="0">
                    <a:pos x="154" y="14"/>
                  </a:cxn>
                  <a:cxn ang="0">
                    <a:pos x="152" y="8"/>
                  </a:cxn>
                  <a:cxn ang="0">
                    <a:pos x="140" y="0"/>
                  </a:cxn>
                  <a:cxn ang="0">
                    <a:pos x="120" y="0"/>
                  </a:cxn>
                  <a:cxn ang="0">
                    <a:pos x="116" y="16"/>
                  </a:cxn>
                  <a:cxn ang="0">
                    <a:pos x="112" y="26"/>
                  </a:cxn>
                  <a:cxn ang="0">
                    <a:pos x="106" y="30"/>
                  </a:cxn>
                  <a:cxn ang="0">
                    <a:pos x="106" y="40"/>
                  </a:cxn>
                  <a:cxn ang="0">
                    <a:pos x="102" y="48"/>
                  </a:cxn>
                  <a:cxn ang="0">
                    <a:pos x="98" y="56"/>
                  </a:cxn>
                  <a:cxn ang="0">
                    <a:pos x="90" y="58"/>
                  </a:cxn>
                  <a:cxn ang="0">
                    <a:pos x="84" y="62"/>
                  </a:cxn>
                  <a:cxn ang="0">
                    <a:pos x="72" y="56"/>
                  </a:cxn>
                  <a:cxn ang="0">
                    <a:pos x="62" y="56"/>
                  </a:cxn>
                  <a:cxn ang="0">
                    <a:pos x="54" y="66"/>
                  </a:cxn>
                  <a:cxn ang="0">
                    <a:pos x="38" y="64"/>
                  </a:cxn>
                  <a:cxn ang="0">
                    <a:pos x="30" y="68"/>
                  </a:cxn>
                  <a:cxn ang="0">
                    <a:pos x="18" y="58"/>
                  </a:cxn>
                  <a:cxn ang="0">
                    <a:pos x="8" y="54"/>
                  </a:cxn>
                  <a:cxn ang="0">
                    <a:pos x="0" y="72"/>
                  </a:cxn>
                  <a:cxn ang="0">
                    <a:pos x="4" y="82"/>
                  </a:cxn>
                  <a:cxn ang="0">
                    <a:pos x="8" y="94"/>
                  </a:cxn>
                  <a:cxn ang="0">
                    <a:pos x="16" y="100"/>
                  </a:cxn>
                  <a:cxn ang="0">
                    <a:pos x="16" y="108"/>
                  </a:cxn>
                  <a:cxn ang="0">
                    <a:pos x="22" y="114"/>
                  </a:cxn>
                  <a:cxn ang="0">
                    <a:pos x="18" y="120"/>
                  </a:cxn>
                  <a:cxn ang="0">
                    <a:pos x="24" y="126"/>
                  </a:cxn>
                  <a:cxn ang="0">
                    <a:pos x="20" y="132"/>
                  </a:cxn>
                  <a:cxn ang="0">
                    <a:pos x="24" y="142"/>
                  </a:cxn>
                  <a:cxn ang="0">
                    <a:pos x="34" y="142"/>
                  </a:cxn>
                  <a:cxn ang="0">
                    <a:pos x="40" y="144"/>
                  </a:cxn>
                  <a:cxn ang="0">
                    <a:pos x="50" y="136"/>
                  </a:cxn>
                  <a:cxn ang="0">
                    <a:pos x="54" y="152"/>
                  </a:cxn>
                  <a:cxn ang="0">
                    <a:pos x="60" y="144"/>
                  </a:cxn>
                  <a:cxn ang="0">
                    <a:pos x="66" y="148"/>
                  </a:cxn>
                  <a:cxn ang="0">
                    <a:pos x="74" y="142"/>
                  </a:cxn>
                  <a:cxn ang="0">
                    <a:pos x="80" y="152"/>
                  </a:cxn>
                  <a:cxn ang="0">
                    <a:pos x="98" y="150"/>
                  </a:cxn>
                  <a:cxn ang="0">
                    <a:pos x="102" y="164"/>
                  </a:cxn>
                  <a:cxn ang="0">
                    <a:pos x="104" y="168"/>
                  </a:cxn>
                  <a:cxn ang="0">
                    <a:pos x="118" y="158"/>
                  </a:cxn>
                  <a:cxn ang="0">
                    <a:pos x="126" y="148"/>
                  </a:cxn>
                </a:cxnLst>
                <a:rect l="0" t="0" r="r" b="b"/>
                <a:pathLst>
                  <a:path w="178" h="168">
                    <a:moveTo>
                      <a:pt x="126" y="148"/>
                    </a:moveTo>
                    <a:lnTo>
                      <a:pt x="126" y="148"/>
                    </a:lnTo>
                    <a:lnTo>
                      <a:pt x="128" y="146"/>
                    </a:lnTo>
                    <a:lnTo>
                      <a:pt x="130" y="144"/>
                    </a:lnTo>
                    <a:lnTo>
                      <a:pt x="132" y="142"/>
                    </a:lnTo>
                    <a:lnTo>
                      <a:pt x="134" y="140"/>
                    </a:lnTo>
                    <a:lnTo>
                      <a:pt x="136" y="140"/>
                    </a:lnTo>
                    <a:lnTo>
                      <a:pt x="136" y="138"/>
                    </a:lnTo>
                    <a:lnTo>
                      <a:pt x="136" y="136"/>
                    </a:lnTo>
                    <a:lnTo>
                      <a:pt x="138" y="136"/>
                    </a:lnTo>
                    <a:lnTo>
                      <a:pt x="138" y="132"/>
                    </a:lnTo>
                    <a:lnTo>
                      <a:pt x="140" y="128"/>
                    </a:lnTo>
                    <a:lnTo>
                      <a:pt x="142" y="124"/>
                    </a:lnTo>
                    <a:lnTo>
                      <a:pt x="142" y="122"/>
                    </a:lnTo>
                    <a:lnTo>
                      <a:pt x="144" y="120"/>
                    </a:lnTo>
                    <a:lnTo>
                      <a:pt x="144" y="118"/>
                    </a:lnTo>
                    <a:lnTo>
                      <a:pt x="142" y="118"/>
                    </a:lnTo>
                    <a:lnTo>
                      <a:pt x="140" y="118"/>
                    </a:lnTo>
                    <a:lnTo>
                      <a:pt x="138" y="116"/>
                    </a:lnTo>
                    <a:lnTo>
                      <a:pt x="136" y="116"/>
                    </a:lnTo>
                    <a:lnTo>
                      <a:pt x="136" y="114"/>
                    </a:lnTo>
                    <a:lnTo>
                      <a:pt x="136" y="112"/>
                    </a:lnTo>
                    <a:lnTo>
                      <a:pt x="136" y="110"/>
                    </a:lnTo>
                    <a:lnTo>
                      <a:pt x="136" y="106"/>
                    </a:lnTo>
                    <a:lnTo>
                      <a:pt x="138" y="102"/>
                    </a:lnTo>
                    <a:lnTo>
                      <a:pt x="140" y="98"/>
                    </a:lnTo>
                    <a:lnTo>
                      <a:pt x="142" y="96"/>
                    </a:lnTo>
                    <a:lnTo>
                      <a:pt x="144" y="96"/>
                    </a:lnTo>
                    <a:lnTo>
                      <a:pt x="146" y="94"/>
                    </a:lnTo>
                    <a:lnTo>
                      <a:pt x="150" y="94"/>
                    </a:lnTo>
                    <a:lnTo>
                      <a:pt x="152" y="94"/>
                    </a:lnTo>
                    <a:lnTo>
                      <a:pt x="154" y="94"/>
                    </a:lnTo>
                    <a:lnTo>
                      <a:pt x="156" y="92"/>
                    </a:lnTo>
                    <a:lnTo>
                      <a:pt x="158" y="92"/>
                    </a:lnTo>
                    <a:lnTo>
                      <a:pt x="158" y="90"/>
                    </a:lnTo>
                    <a:lnTo>
                      <a:pt x="160" y="86"/>
                    </a:lnTo>
                    <a:lnTo>
                      <a:pt x="160" y="84"/>
                    </a:lnTo>
                    <a:lnTo>
                      <a:pt x="160" y="82"/>
                    </a:lnTo>
                    <a:lnTo>
                      <a:pt x="158" y="82"/>
                    </a:lnTo>
                    <a:lnTo>
                      <a:pt x="158" y="80"/>
                    </a:lnTo>
                    <a:lnTo>
                      <a:pt x="156" y="82"/>
                    </a:lnTo>
                    <a:lnTo>
                      <a:pt x="154" y="82"/>
                    </a:lnTo>
                    <a:lnTo>
                      <a:pt x="152" y="82"/>
                    </a:lnTo>
                    <a:lnTo>
                      <a:pt x="152" y="80"/>
                    </a:lnTo>
                    <a:lnTo>
                      <a:pt x="154" y="78"/>
                    </a:lnTo>
                    <a:lnTo>
                      <a:pt x="154" y="76"/>
                    </a:lnTo>
                    <a:lnTo>
                      <a:pt x="154" y="74"/>
                    </a:lnTo>
                    <a:lnTo>
                      <a:pt x="156" y="72"/>
                    </a:lnTo>
                    <a:lnTo>
                      <a:pt x="158" y="72"/>
                    </a:lnTo>
                    <a:lnTo>
                      <a:pt x="160" y="72"/>
                    </a:lnTo>
                    <a:lnTo>
                      <a:pt x="162" y="72"/>
                    </a:lnTo>
                    <a:lnTo>
                      <a:pt x="164" y="70"/>
                    </a:lnTo>
                    <a:lnTo>
                      <a:pt x="168" y="72"/>
                    </a:lnTo>
                    <a:lnTo>
                      <a:pt x="170" y="72"/>
                    </a:lnTo>
                    <a:lnTo>
                      <a:pt x="172" y="72"/>
                    </a:lnTo>
                    <a:lnTo>
                      <a:pt x="174" y="72"/>
                    </a:lnTo>
                    <a:lnTo>
                      <a:pt x="176" y="72"/>
                    </a:lnTo>
                    <a:lnTo>
                      <a:pt x="178" y="70"/>
                    </a:lnTo>
                    <a:lnTo>
                      <a:pt x="178" y="68"/>
                    </a:lnTo>
                    <a:lnTo>
                      <a:pt x="178" y="66"/>
                    </a:lnTo>
                    <a:lnTo>
                      <a:pt x="176" y="64"/>
                    </a:lnTo>
                    <a:lnTo>
                      <a:pt x="172" y="62"/>
                    </a:lnTo>
                    <a:lnTo>
                      <a:pt x="170" y="60"/>
                    </a:lnTo>
                    <a:lnTo>
                      <a:pt x="168" y="58"/>
                    </a:lnTo>
                    <a:lnTo>
                      <a:pt x="168" y="56"/>
                    </a:lnTo>
                    <a:lnTo>
                      <a:pt x="168" y="52"/>
                    </a:lnTo>
                    <a:lnTo>
                      <a:pt x="168" y="50"/>
                    </a:lnTo>
                    <a:lnTo>
                      <a:pt x="168" y="48"/>
                    </a:lnTo>
                    <a:lnTo>
                      <a:pt x="166" y="48"/>
                    </a:lnTo>
                    <a:lnTo>
                      <a:pt x="164" y="48"/>
                    </a:lnTo>
                    <a:lnTo>
                      <a:pt x="162" y="48"/>
                    </a:lnTo>
                    <a:lnTo>
                      <a:pt x="162" y="46"/>
                    </a:lnTo>
                    <a:lnTo>
                      <a:pt x="162" y="44"/>
                    </a:lnTo>
                    <a:lnTo>
                      <a:pt x="164" y="40"/>
                    </a:lnTo>
                    <a:lnTo>
                      <a:pt x="166" y="38"/>
                    </a:lnTo>
                    <a:lnTo>
                      <a:pt x="166" y="36"/>
                    </a:lnTo>
                    <a:lnTo>
                      <a:pt x="166" y="34"/>
                    </a:lnTo>
                    <a:lnTo>
                      <a:pt x="164" y="34"/>
                    </a:lnTo>
                    <a:lnTo>
                      <a:pt x="164" y="32"/>
                    </a:lnTo>
                    <a:lnTo>
                      <a:pt x="162" y="30"/>
                    </a:lnTo>
                    <a:lnTo>
                      <a:pt x="160" y="30"/>
                    </a:lnTo>
                    <a:lnTo>
                      <a:pt x="156" y="30"/>
                    </a:lnTo>
                    <a:lnTo>
                      <a:pt x="154" y="30"/>
                    </a:lnTo>
                    <a:lnTo>
                      <a:pt x="154" y="26"/>
                    </a:lnTo>
                    <a:lnTo>
                      <a:pt x="156" y="26"/>
                    </a:lnTo>
                    <a:lnTo>
                      <a:pt x="156" y="24"/>
                    </a:lnTo>
                    <a:lnTo>
                      <a:pt x="158" y="24"/>
                    </a:lnTo>
                    <a:lnTo>
                      <a:pt x="156" y="22"/>
                    </a:lnTo>
                    <a:lnTo>
                      <a:pt x="154" y="22"/>
                    </a:lnTo>
                    <a:lnTo>
                      <a:pt x="154" y="20"/>
                    </a:lnTo>
                    <a:lnTo>
                      <a:pt x="154" y="18"/>
                    </a:lnTo>
                    <a:lnTo>
                      <a:pt x="154" y="16"/>
                    </a:lnTo>
                    <a:lnTo>
                      <a:pt x="154" y="14"/>
                    </a:lnTo>
                    <a:lnTo>
                      <a:pt x="154" y="12"/>
                    </a:lnTo>
                    <a:lnTo>
                      <a:pt x="154" y="10"/>
                    </a:lnTo>
                    <a:lnTo>
                      <a:pt x="152" y="10"/>
                    </a:lnTo>
                    <a:lnTo>
                      <a:pt x="152" y="8"/>
                    </a:lnTo>
                    <a:lnTo>
                      <a:pt x="150" y="8"/>
                    </a:lnTo>
                    <a:lnTo>
                      <a:pt x="146" y="4"/>
                    </a:lnTo>
                    <a:lnTo>
                      <a:pt x="144" y="4"/>
                    </a:lnTo>
                    <a:lnTo>
                      <a:pt x="142" y="2"/>
                    </a:lnTo>
                    <a:lnTo>
                      <a:pt x="140" y="2"/>
                    </a:lnTo>
                    <a:lnTo>
                      <a:pt x="140" y="0"/>
                    </a:lnTo>
                    <a:lnTo>
                      <a:pt x="138" y="0"/>
                    </a:lnTo>
                    <a:lnTo>
                      <a:pt x="134" y="0"/>
                    </a:lnTo>
                    <a:lnTo>
                      <a:pt x="132" y="0"/>
                    </a:lnTo>
                    <a:lnTo>
                      <a:pt x="128" y="0"/>
                    </a:lnTo>
                    <a:lnTo>
                      <a:pt x="126" y="0"/>
                    </a:lnTo>
                    <a:lnTo>
                      <a:pt x="122" y="0"/>
                    </a:lnTo>
                    <a:lnTo>
                      <a:pt x="120" y="0"/>
                    </a:lnTo>
                    <a:lnTo>
                      <a:pt x="118" y="2"/>
                    </a:lnTo>
                    <a:lnTo>
                      <a:pt x="116" y="2"/>
                    </a:lnTo>
                    <a:lnTo>
                      <a:pt x="116" y="4"/>
                    </a:lnTo>
                    <a:lnTo>
                      <a:pt x="116" y="6"/>
                    </a:lnTo>
                    <a:lnTo>
                      <a:pt x="116" y="8"/>
                    </a:lnTo>
                    <a:lnTo>
                      <a:pt x="116" y="10"/>
                    </a:lnTo>
                    <a:lnTo>
                      <a:pt x="116" y="12"/>
                    </a:lnTo>
                    <a:lnTo>
                      <a:pt x="116" y="16"/>
                    </a:lnTo>
                    <a:lnTo>
                      <a:pt x="116" y="18"/>
                    </a:lnTo>
                    <a:lnTo>
                      <a:pt x="116" y="20"/>
                    </a:lnTo>
                    <a:lnTo>
                      <a:pt x="114" y="22"/>
                    </a:lnTo>
                    <a:lnTo>
                      <a:pt x="114" y="24"/>
                    </a:lnTo>
                    <a:lnTo>
                      <a:pt x="112" y="26"/>
                    </a:lnTo>
                    <a:lnTo>
                      <a:pt x="110" y="26"/>
                    </a:lnTo>
                    <a:lnTo>
                      <a:pt x="108" y="28"/>
                    </a:lnTo>
                    <a:lnTo>
                      <a:pt x="106" y="30"/>
                    </a:lnTo>
                    <a:lnTo>
                      <a:pt x="106" y="32"/>
                    </a:lnTo>
                    <a:lnTo>
                      <a:pt x="108" y="34"/>
                    </a:lnTo>
                    <a:lnTo>
                      <a:pt x="108" y="36"/>
                    </a:lnTo>
                    <a:lnTo>
                      <a:pt x="108" y="38"/>
                    </a:lnTo>
                    <a:lnTo>
                      <a:pt x="110" y="38"/>
                    </a:lnTo>
                    <a:lnTo>
                      <a:pt x="106" y="40"/>
                    </a:lnTo>
                    <a:lnTo>
                      <a:pt x="106" y="42"/>
                    </a:lnTo>
                    <a:lnTo>
                      <a:pt x="104" y="44"/>
                    </a:lnTo>
                    <a:lnTo>
                      <a:pt x="102" y="44"/>
                    </a:lnTo>
                    <a:lnTo>
                      <a:pt x="102" y="46"/>
                    </a:lnTo>
                    <a:lnTo>
                      <a:pt x="102" y="48"/>
                    </a:lnTo>
                    <a:lnTo>
                      <a:pt x="100" y="52"/>
                    </a:lnTo>
                    <a:lnTo>
                      <a:pt x="100" y="54"/>
                    </a:lnTo>
                    <a:lnTo>
                      <a:pt x="98" y="56"/>
                    </a:lnTo>
                    <a:lnTo>
                      <a:pt x="96" y="56"/>
                    </a:lnTo>
                    <a:lnTo>
                      <a:pt x="96" y="58"/>
                    </a:lnTo>
                    <a:lnTo>
                      <a:pt x="94" y="58"/>
                    </a:lnTo>
                    <a:lnTo>
                      <a:pt x="92" y="58"/>
                    </a:lnTo>
                    <a:lnTo>
                      <a:pt x="90" y="58"/>
                    </a:lnTo>
                    <a:lnTo>
                      <a:pt x="88" y="58"/>
                    </a:lnTo>
                    <a:lnTo>
                      <a:pt x="86" y="60"/>
                    </a:lnTo>
                    <a:lnTo>
                      <a:pt x="84" y="62"/>
                    </a:lnTo>
                    <a:lnTo>
                      <a:pt x="82" y="62"/>
                    </a:lnTo>
                    <a:lnTo>
                      <a:pt x="80" y="60"/>
                    </a:lnTo>
                    <a:lnTo>
                      <a:pt x="78" y="60"/>
                    </a:lnTo>
                    <a:lnTo>
                      <a:pt x="76" y="58"/>
                    </a:lnTo>
                    <a:lnTo>
                      <a:pt x="74" y="58"/>
                    </a:lnTo>
                    <a:lnTo>
                      <a:pt x="72" y="56"/>
                    </a:lnTo>
                    <a:lnTo>
                      <a:pt x="70" y="56"/>
                    </a:lnTo>
                    <a:lnTo>
                      <a:pt x="68" y="56"/>
                    </a:lnTo>
                    <a:lnTo>
                      <a:pt x="66" y="56"/>
                    </a:lnTo>
                    <a:lnTo>
                      <a:pt x="64" y="56"/>
                    </a:lnTo>
                    <a:lnTo>
                      <a:pt x="62" y="56"/>
                    </a:lnTo>
                    <a:lnTo>
                      <a:pt x="60" y="56"/>
                    </a:lnTo>
                    <a:lnTo>
                      <a:pt x="60" y="58"/>
                    </a:lnTo>
                    <a:lnTo>
                      <a:pt x="58" y="60"/>
                    </a:lnTo>
                    <a:lnTo>
                      <a:pt x="56" y="64"/>
                    </a:lnTo>
                    <a:lnTo>
                      <a:pt x="54" y="64"/>
                    </a:lnTo>
                    <a:lnTo>
                      <a:pt x="54" y="66"/>
                    </a:lnTo>
                    <a:lnTo>
                      <a:pt x="52" y="66"/>
                    </a:lnTo>
                    <a:lnTo>
                      <a:pt x="50" y="66"/>
                    </a:lnTo>
                    <a:lnTo>
                      <a:pt x="48" y="66"/>
                    </a:lnTo>
                    <a:lnTo>
                      <a:pt x="46" y="66"/>
                    </a:lnTo>
                    <a:lnTo>
                      <a:pt x="44" y="66"/>
                    </a:lnTo>
                    <a:lnTo>
                      <a:pt x="42" y="64"/>
                    </a:lnTo>
                    <a:lnTo>
                      <a:pt x="40" y="64"/>
                    </a:lnTo>
                    <a:lnTo>
                      <a:pt x="38" y="64"/>
                    </a:lnTo>
                    <a:lnTo>
                      <a:pt x="36" y="66"/>
                    </a:lnTo>
                    <a:lnTo>
                      <a:pt x="34" y="66"/>
                    </a:lnTo>
                    <a:lnTo>
                      <a:pt x="34" y="68"/>
                    </a:lnTo>
                    <a:lnTo>
                      <a:pt x="32" y="68"/>
                    </a:lnTo>
                    <a:lnTo>
                      <a:pt x="30" y="68"/>
                    </a:lnTo>
                    <a:lnTo>
                      <a:pt x="28" y="68"/>
                    </a:lnTo>
                    <a:lnTo>
                      <a:pt x="24" y="66"/>
                    </a:lnTo>
                    <a:lnTo>
                      <a:pt x="22" y="64"/>
                    </a:lnTo>
                    <a:lnTo>
                      <a:pt x="20" y="62"/>
                    </a:lnTo>
                    <a:lnTo>
                      <a:pt x="20" y="60"/>
                    </a:lnTo>
                    <a:lnTo>
                      <a:pt x="18" y="58"/>
                    </a:lnTo>
                    <a:lnTo>
                      <a:pt x="18" y="56"/>
                    </a:lnTo>
                    <a:lnTo>
                      <a:pt x="16" y="56"/>
                    </a:lnTo>
                    <a:lnTo>
                      <a:pt x="14" y="54"/>
                    </a:lnTo>
                    <a:lnTo>
                      <a:pt x="12" y="54"/>
                    </a:lnTo>
                    <a:lnTo>
                      <a:pt x="10" y="54"/>
                    </a:lnTo>
                    <a:lnTo>
                      <a:pt x="8" y="54"/>
                    </a:lnTo>
                    <a:lnTo>
                      <a:pt x="6" y="56"/>
                    </a:lnTo>
                    <a:lnTo>
                      <a:pt x="4" y="58"/>
                    </a:lnTo>
                    <a:lnTo>
                      <a:pt x="4" y="62"/>
                    </a:lnTo>
                    <a:lnTo>
                      <a:pt x="2" y="64"/>
                    </a:lnTo>
                    <a:lnTo>
                      <a:pt x="0" y="68"/>
                    </a:lnTo>
                    <a:lnTo>
                      <a:pt x="0" y="70"/>
                    </a:lnTo>
                    <a:lnTo>
                      <a:pt x="0" y="72"/>
                    </a:lnTo>
                    <a:lnTo>
                      <a:pt x="0" y="74"/>
                    </a:lnTo>
                    <a:lnTo>
                      <a:pt x="2" y="76"/>
                    </a:lnTo>
                    <a:lnTo>
                      <a:pt x="2" y="78"/>
                    </a:lnTo>
                    <a:lnTo>
                      <a:pt x="4" y="80"/>
                    </a:lnTo>
                    <a:lnTo>
                      <a:pt x="4" y="82"/>
                    </a:lnTo>
                    <a:lnTo>
                      <a:pt x="6" y="82"/>
                    </a:lnTo>
                    <a:lnTo>
                      <a:pt x="6" y="84"/>
                    </a:lnTo>
                    <a:lnTo>
                      <a:pt x="6" y="86"/>
                    </a:lnTo>
                    <a:lnTo>
                      <a:pt x="6" y="88"/>
                    </a:lnTo>
                    <a:lnTo>
                      <a:pt x="6" y="90"/>
                    </a:lnTo>
                    <a:lnTo>
                      <a:pt x="6" y="92"/>
                    </a:lnTo>
                    <a:lnTo>
                      <a:pt x="8" y="94"/>
                    </a:lnTo>
                    <a:lnTo>
                      <a:pt x="10" y="96"/>
                    </a:lnTo>
                    <a:lnTo>
                      <a:pt x="14" y="98"/>
                    </a:lnTo>
                    <a:lnTo>
                      <a:pt x="16" y="100"/>
                    </a:lnTo>
                    <a:lnTo>
                      <a:pt x="18" y="100"/>
                    </a:lnTo>
                    <a:lnTo>
                      <a:pt x="18" y="104"/>
                    </a:lnTo>
                    <a:lnTo>
                      <a:pt x="18" y="106"/>
                    </a:lnTo>
                    <a:lnTo>
                      <a:pt x="16" y="108"/>
                    </a:lnTo>
                    <a:lnTo>
                      <a:pt x="16" y="110"/>
                    </a:lnTo>
                    <a:lnTo>
                      <a:pt x="18" y="112"/>
                    </a:lnTo>
                    <a:lnTo>
                      <a:pt x="20" y="112"/>
                    </a:lnTo>
                    <a:lnTo>
                      <a:pt x="22" y="114"/>
                    </a:lnTo>
                    <a:lnTo>
                      <a:pt x="22" y="116"/>
                    </a:lnTo>
                    <a:lnTo>
                      <a:pt x="20" y="118"/>
                    </a:lnTo>
                    <a:lnTo>
                      <a:pt x="18" y="120"/>
                    </a:lnTo>
                    <a:lnTo>
                      <a:pt x="20" y="122"/>
                    </a:lnTo>
                    <a:lnTo>
                      <a:pt x="22" y="124"/>
                    </a:lnTo>
                    <a:lnTo>
                      <a:pt x="22" y="126"/>
                    </a:lnTo>
                    <a:lnTo>
                      <a:pt x="24" y="126"/>
                    </a:lnTo>
                    <a:lnTo>
                      <a:pt x="22" y="128"/>
                    </a:lnTo>
                    <a:lnTo>
                      <a:pt x="20" y="128"/>
                    </a:lnTo>
                    <a:lnTo>
                      <a:pt x="20" y="130"/>
                    </a:lnTo>
                    <a:lnTo>
                      <a:pt x="20" y="132"/>
                    </a:lnTo>
                    <a:lnTo>
                      <a:pt x="20" y="134"/>
                    </a:lnTo>
                    <a:lnTo>
                      <a:pt x="22" y="136"/>
                    </a:lnTo>
                    <a:lnTo>
                      <a:pt x="22" y="138"/>
                    </a:lnTo>
                    <a:lnTo>
                      <a:pt x="22" y="140"/>
                    </a:lnTo>
                    <a:lnTo>
                      <a:pt x="22" y="142"/>
                    </a:lnTo>
                    <a:lnTo>
                      <a:pt x="24" y="142"/>
                    </a:lnTo>
                    <a:lnTo>
                      <a:pt x="26" y="142"/>
                    </a:lnTo>
                    <a:lnTo>
                      <a:pt x="30" y="142"/>
                    </a:lnTo>
                    <a:lnTo>
                      <a:pt x="32" y="142"/>
                    </a:lnTo>
                    <a:lnTo>
                      <a:pt x="34" y="142"/>
                    </a:lnTo>
                    <a:lnTo>
                      <a:pt x="36" y="142"/>
                    </a:lnTo>
                    <a:lnTo>
                      <a:pt x="38" y="142"/>
                    </a:lnTo>
                    <a:lnTo>
                      <a:pt x="38" y="144"/>
                    </a:lnTo>
                    <a:lnTo>
                      <a:pt x="40" y="144"/>
                    </a:lnTo>
                    <a:lnTo>
                      <a:pt x="40" y="142"/>
                    </a:lnTo>
                    <a:lnTo>
                      <a:pt x="42" y="142"/>
                    </a:lnTo>
                    <a:lnTo>
                      <a:pt x="42" y="140"/>
                    </a:lnTo>
                    <a:lnTo>
                      <a:pt x="44" y="138"/>
                    </a:lnTo>
                    <a:lnTo>
                      <a:pt x="46" y="138"/>
                    </a:lnTo>
                    <a:lnTo>
                      <a:pt x="48" y="136"/>
                    </a:lnTo>
                    <a:lnTo>
                      <a:pt x="50" y="136"/>
                    </a:lnTo>
                    <a:lnTo>
                      <a:pt x="50" y="138"/>
                    </a:lnTo>
                    <a:lnTo>
                      <a:pt x="50" y="140"/>
                    </a:lnTo>
                    <a:lnTo>
                      <a:pt x="52" y="142"/>
                    </a:lnTo>
                    <a:lnTo>
                      <a:pt x="52" y="144"/>
                    </a:lnTo>
                    <a:lnTo>
                      <a:pt x="52" y="146"/>
                    </a:lnTo>
                    <a:lnTo>
                      <a:pt x="52" y="150"/>
                    </a:lnTo>
                    <a:lnTo>
                      <a:pt x="54" y="152"/>
                    </a:lnTo>
                    <a:lnTo>
                      <a:pt x="56" y="152"/>
                    </a:lnTo>
                    <a:lnTo>
                      <a:pt x="58" y="150"/>
                    </a:lnTo>
                    <a:lnTo>
                      <a:pt x="58" y="148"/>
                    </a:lnTo>
                    <a:lnTo>
                      <a:pt x="58" y="146"/>
                    </a:lnTo>
                    <a:lnTo>
                      <a:pt x="60" y="144"/>
                    </a:lnTo>
                    <a:lnTo>
                      <a:pt x="62" y="144"/>
                    </a:lnTo>
                    <a:lnTo>
                      <a:pt x="64" y="146"/>
                    </a:lnTo>
                    <a:lnTo>
                      <a:pt x="66" y="146"/>
                    </a:lnTo>
                    <a:lnTo>
                      <a:pt x="66" y="148"/>
                    </a:lnTo>
                    <a:lnTo>
                      <a:pt x="68" y="148"/>
                    </a:lnTo>
                    <a:lnTo>
                      <a:pt x="68" y="146"/>
                    </a:lnTo>
                    <a:lnTo>
                      <a:pt x="70" y="144"/>
                    </a:lnTo>
                    <a:lnTo>
                      <a:pt x="74" y="144"/>
                    </a:lnTo>
                    <a:lnTo>
                      <a:pt x="74" y="142"/>
                    </a:lnTo>
                    <a:lnTo>
                      <a:pt x="76" y="142"/>
                    </a:lnTo>
                    <a:lnTo>
                      <a:pt x="78" y="142"/>
                    </a:lnTo>
                    <a:lnTo>
                      <a:pt x="78" y="144"/>
                    </a:lnTo>
                    <a:lnTo>
                      <a:pt x="78" y="146"/>
                    </a:lnTo>
                    <a:lnTo>
                      <a:pt x="78" y="148"/>
                    </a:lnTo>
                    <a:lnTo>
                      <a:pt x="80" y="150"/>
                    </a:lnTo>
                    <a:lnTo>
                      <a:pt x="80" y="152"/>
                    </a:lnTo>
                    <a:lnTo>
                      <a:pt x="82" y="152"/>
                    </a:lnTo>
                    <a:lnTo>
                      <a:pt x="82" y="154"/>
                    </a:lnTo>
                    <a:lnTo>
                      <a:pt x="84" y="152"/>
                    </a:lnTo>
                    <a:lnTo>
                      <a:pt x="86" y="152"/>
                    </a:lnTo>
                    <a:lnTo>
                      <a:pt x="90" y="152"/>
                    </a:lnTo>
                    <a:lnTo>
                      <a:pt x="92" y="150"/>
                    </a:lnTo>
                    <a:lnTo>
                      <a:pt x="96" y="150"/>
                    </a:lnTo>
                    <a:lnTo>
                      <a:pt x="98" y="150"/>
                    </a:lnTo>
                    <a:lnTo>
                      <a:pt x="102" y="150"/>
                    </a:lnTo>
                    <a:lnTo>
                      <a:pt x="104" y="152"/>
                    </a:lnTo>
                    <a:lnTo>
                      <a:pt x="104" y="154"/>
                    </a:lnTo>
                    <a:lnTo>
                      <a:pt x="104" y="156"/>
                    </a:lnTo>
                    <a:lnTo>
                      <a:pt x="104" y="160"/>
                    </a:lnTo>
                    <a:lnTo>
                      <a:pt x="102" y="164"/>
                    </a:lnTo>
                    <a:lnTo>
                      <a:pt x="102" y="166"/>
                    </a:lnTo>
                    <a:lnTo>
                      <a:pt x="102" y="168"/>
                    </a:lnTo>
                    <a:lnTo>
                      <a:pt x="104" y="168"/>
                    </a:lnTo>
                    <a:lnTo>
                      <a:pt x="106" y="166"/>
                    </a:lnTo>
                    <a:lnTo>
                      <a:pt x="108" y="166"/>
                    </a:lnTo>
                    <a:lnTo>
                      <a:pt x="112" y="166"/>
                    </a:lnTo>
                    <a:lnTo>
                      <a:pt x="112" y="164"/>
                    </a:lnTo>
                    <a:lnTo>
                      <a:pt x="114" y="164"/>
                    </a:lnTo>
                    <a:lnTo>
                      <a:pt x="116" y="162"/>
                    </a:lnTo>
                    <a:lnTo>
                      <a:pt x="118" y="158"/>
                    </a:lnTo>
                    <a:lnTo>
                      <a:pt x="122" y="156"/>
                    </a:lnTo>
                    <a:lnTo>
                      <a:pt x="122" y="152"/>
                    </a:lnTo>
                    <a:lnTo>
                      <a:pt x="124" y="150"/>
                    </a:lnTo>
                    <a:lnTo>
                      <a:pt x="124" y="148"/>
                    </a:lnTo>
                    <a:lnTo>
                      <a:pt x="126" y="14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3" name="Freeform 212">
                <a:extLst>
                  <a:ext uri="{FF2B5EF4-FFF2-40B4-BE49-F238E27FC236}">
                    <a16:creationId xmlns:a16="http://schemas.microsoft.com/office/drawing/2014/main" id="{4E8A408D-6842-4F9A-8C5A-2E6401BCD682}"/>
                  </a:ext>
                </a:extLst>
              </p:cNvPr>
              <p:cNvSpPr>
                <a:spLocks noChangeAspect="1"/>
              </p:cNvSpPr>
              <p:nvPr/>
            </p:nvSpPr>
            <p:spPr bwMode="auto">
              <a:xfrm>
                <a:off x="8122370" y="5615877"/>
                <a:ext cx="105239" cy="104638"/>
              </a:xfrm>
              <a:custGeom>
                <a:avLst/>
                <a:gdLst/>
                <a:ahLst/>
                <a:cxnLst>
                  <a:cxn ang="0">
                    <a:pos x="60" y="10"/>
                  </a:cxn>
                  <a:cxn ang="0">
                    <a:pos x="56" y="14"/>
                  </a:cxn>
                  <a:cxn ang="0">
                    <a:pos x="54" y="12"/>
                  </a:cxn>
                  <a:cxn ang="0">
                    <a:pos x="50" y="12"/>
                  </a:cxn>
                  <a:cxn ang="0">
                    <a:pos x="44" y="14"/>
                  </a:cxn>
                  <a:cxn ang="0">
                    <a:pos x="42" y="16"/>
                  </a:cxn>
                  <a:cxn ang="0">
                    <a:pos x="40" y="14"/>
                  </a:cxn>
                  <a:cxn ang="0">
                    <a:pos x="38" y="12"/>
                  </a:cxn>
                  <a:cxn ang="0">
                    <a:pos x="30" y="12"/>
                  </a:cxn>
                  <a:cxn ang="0">
                    <a:pos x="28" y="10"/>
                  </a:cxn>
                  <a:cxn ang="0">
                    <a:pos x="24" y="6"/>
                  </a:cxn>
                  <a:cxn ang="0">
                    <a:pos x="22" y="6"/>
                  </a:cxn>
                  <a:cxn ang="0">
                    <a:pos x="18" y="6"/>
                  </a:cxn>
                  <a:cxn ang="0">
                    <a:pos x="12" y="0"/>
                  </a:cxn>
                  <a:cxn ang="0">
                    <a:pos x="10" y="2"/>
                  </a:cxn>
                  <a:cxn ang="0">
                    <a:pos x="10" y="4"/>
                  </a:cxn>
                  <a:cxn ang="0">
                    <a:pos x="12" y="8"/>
                  </a:cxn>
                  <a:cxn ang="0">
                    <a:pos x="12" y="10"/>
                  </a:cxn>
                  <a:cxn ang="0">
                    <a:pos x="12" y="16"/>
                  </a:cxn>
                  <a:cxn ang="0">
                    <a:pos x="10" y="20"/>
                  </a:cxn>
                  <a:cxn ang="0">
                    <a:pos x="12" y="26"/>
                  </a:cxn>
                  <a:cxn ang="0">
                    <a:pos x="10" y="30"/>
                  </a:cxn>
                  <a:cxn ang="0">
                    <a:pos x="4" y="30"/>
                  </a:cxn>
                  <a:cxn ang="0">
                    <a:pos x="2" y="30"/>
                  </a:cxn>
                  <a:cxn ang="0">
                    <a:pos x="0" y="36"/>
                  </a:cxn>
                  <a:cxn ang="0">
                    <a:pos x="2" y="46"/>
                  </a:cxn>
                  <a:cxn ang="0">
                    <a:pos x="4" y="50"/>
                  </a:cxn>
                  <a:cxn ang="0">
                    <a:pos x="8" y="52"/>
                  </a:cxn>
                  <a:cxn ang="0">
                    <a:pos x="8" y="52"/>
                  </a:cxn>
                  <a:cxn ang="0">
                    <a:pos x="4" y="54"/>
                  </a:cxn>
                  <a:cxn ang="0">
                    <a:pos x="6" y="58"/>
                  </a:cxn>
                  <a:cxn ang="0">
                    <a:pos x="6" y="60"/>
                  </a:cxn>
                  <a:cxn ang="0">
                    <a:pos x="8" y="60"/>
                  </a:cxn>
                  <a:cxn ang="0">
                    <a:pos x="14" y="58"/>
                  </a:cxn>
                  <a:cxn ang="0">
                    <a:pos x="22" y="58"/>
                  </a:cxn>
                  <a:cxn ang="0">
                    <a:pos x="28" y="54"/>
                  </a:cxn>
                  <a:cxn ang="0">
                    <a:pos x="30" y="54"/>
                  </a:cxn>
                  <a:cxn ang="0">
                    <a:pos x="30" y="58"/>
                  </a:cxn>
                  <a:cxn ang="0">
                    <a:pos x="30" y="60"/>
                  </a:cxn>
                  <a:cxn ang="0">
                    <a:pos x="32" y="60"/>
                  </a:cxn>
                  <a:cxn ang="0">
                    <a:pos x="38" y="54"/>
                  </a:cxn>
                  <a:cxn ang="0">
                    <a:pos x="44" y="48"/>
                  </a:cxn>
                  <a:cxn ang="0">
                    <a:pos x="44" y="44"/>
                  </a:cxn>
                  <a:cxn ang="0">
                    <a:pos x="42" y="40"/>
                  </a:cxn>
                  <a:cxn ang="0">
                    <a:pos x="46" y="36"/>
                  </a:cxn>
                  <a:cxn ang="0">
                    <a:pos x="46" y="36"/>
                  </a:cxn>
                  <a:cxn ang="0">
                    <a:pos x="52" y="36"/>
                  </a:cxn>
                  <a:cxn ang="0">
                    <a:pos x="54" y="32"/>
                  </a:cxn>
                  <a:cxn ang="0">
                    <a:pos x="56" y="24"/>
                  </a:cxn>
                  <a:cxn ang="0">
                    <a:pos x="62" y="16"/>
                  </a:cxn>
                  <a:cxn ang="0">
                    <a:pos x="64" y="10"/>
                  </a:cxn>
                </a:cxnLst>
                <a:rect l="0" t="0" r="r" b="b"/>
                <a:pathLst>
                  <a:path w="64" h="60">
                    <a:moveTo>
                      <a:pt x="64" y="10"/>
                    </a:moveTo>
                    <a:lnTo>
                      <a:pt x="62" y="10"/>
                    </a:lnTo>
                    <a:lnTo>
                      <a:pt x="60" y="10"/>
                    </a:lnTo>
                    <a:lnTo>
                      <a:pt x="58" y="12"/>
                    </a:lnTo>
                    <a:lnTo>
                      <a:pt x="56" y="14"/>
                    </a:lnTo>
                    <a:lnTo>
                      <a:pt x="54" y="14"/>
                    </a:lnTo>
                    <a:lnTo>
                      <a:pt x="54" y="12"/>
                    </a:lnTo>
                    <a:lnTo>
                      <a:pt x="52" y="12"/>
                    </a:lnTo>
                    <a:lnTo>
                      <a:pt x="50" y="12"/>
                    </a:lnTo>
                    <a:lnTo>
                      <a:pt x="48" y="14"/>
                    </a:lnTo>
                    <a:lnTo>
                      <a:pt x="46" y="14"/>
                    </a:lnTo>
                    <a:lnTo>
                      <a:pt x="44" y="14"/>
                    </a:lnTo>
                    <a:lnTo>
                      <a:pt x="44" y="16"/>
                    </a:lnTo>
                    <a:lnTo>
                      <a:pt x="42" y="16"/>
                    </a:lnTo>
                    <a:lnTo>
                      <a:pt x="40" y="14"/>
                    </a:lnTo>
                    <a:lnTo>
                      <a:pt x="38" y="14"/>
                    </a:lnTo>
                    <a:lnTo>
                      <a:pt x="38" y="12"/>
                    </a:lnTo>
                    <a:lnTo>
                      <a:pt x="34" y="12"/>
                    </a:lnTo>
                    <a:lnTo>
                      <a:pt x="32" y="12"/>
                    </a:lnTo>
                    <a:lnTo>
                      <a:pt x="30" y="12"/>
                    </a:lnTo>
                    <a:lnTo>
                      <a:pt x="28" y="12"/>
                    </a:lnTo>
                    <a:lnTo>
                      <a:pt x="28" y="10"/>
                    </a:lnTo>
                    <a:lnTo>
                      <a:pt x="26" y="8"/>
                    </a:lnTo>
                    <a:lnTo>
                      <a:pt x="26" y="6"/>
                    </a:lnTo>
                    <a:lnTo>
                      <a:pt x="24" y="6"/>
                    </a:lnTo>
                    <a:lnTo>
                      <a:pt x="22" y="6"/>
                    </a:lnTo>
                    <a:lnTo>
                      <a:pt x="20" y="6"/>
                    </a:lnTo>
                    <a:lnTo>
                      <a:pt x="18" y="6"/>
                    </a:lnTo>
                    <a:lnTo>
                      <a:pt x="16" y="4"/>
                    </a:lnTo>
                    <a:lnTo>
                      <a:pt x="14" y="2"/>
                    </a:lnTo>
                    <a:lnTo>
                      <a:pt x="12" y="0"/>
                    </a:lnTo>
                    <a:lnTo>
                      <a:pt x="10" y="2"/>
                    </a:lnTo>
                    <a:lnTo>
                      <a:pt x="10" y="4"/>
                    </a:lnTo>
                    <a:lnTo>
                      <a:pt x="10" y="6"/>
                    </a:lnTo>
                    <a:lnTo>
                      <a:pt x="12" y="6"/>
                    </a:lnTo>
                    <a:lnTo>
                      <a:pt x="12" y="8"/>
                    </a:lnTo>
                    <a:lnTo>
                      <a:pt x="12" y="10"/>
                    </a:lnTo>
                    <a:lnTo>
                      <a:pt x="12" y="12"/>
                    </a:lnTo>
                    <a:lnTo>
                      <a:pt x="12" y="14"/>
                    </a:lnTo>
                    <a:lnTo>
                      <a:pt x="12" y="16"/>
                    </a:lnTo>
                    <a:lnTo>
                      <a:pt x="10" y="16"/>
                    </a:lnTo>
                    <a:lnTo>
                      <a:pt x="10" y="18"/>
                    </a:lnTo>
                    <a:lnTo>
                      <a:pt x="10" y="20"/>
                    </a:lnTo>
                    <a:lnTo>
                      <a:pt x="10" y="22"/>
                    </a:lnTo>
                    <a:lnTo>
                      <a:pt x="10" y="24"/>
                    </a:lnTo>
                    <a:lnTo>
                      <a:pt x="12" y="26"/>
                    </a:lnTo>
                    <a:lnTo>
                      <a:pt x="12" y="28"/>
                    </a:lnTo>
                    <a:lnTo>
                      <a:pt x="10" y="30"/>
                    </a:lnTo>
                    <a:lnTo>
                      <a:pt x="8" y="32"/>
                    </a:lnTo>
                    <a:lnTo>
                      <a:pt x="6" y="32"/>
                    </a:lnTo>
                    <a:lnTo>
                      <a:pt x="4" y="32"/>
                    </a:lnTo>
                    <a:lnTo>
                      <a:pt x="4" y="30"/>
                    </a:lnTo>
                    <a:lnTo>
                      <a:pt x="2" y="30"/>
                    </a:lnTo>
                    <a:lnTo>
                      <a:pt x="2" y="28"/>
                    </a:lnTo>
                    <a:lnTo>
                      <a:pt x="2" y="30"/>
                    </a:lnTo>
                    <a:lnTo>
                      <a:pt x="2" y="32"/>
                    </a:lnTo>
                    <a:lnTo>
                      <a:pt x="0" y="36"/>
                    </a:lnTo>
                    <a:lnTo>
                      <a:pt x="0" y="38"/>
                    </a:lnTo>
                    <a:lnTo>
                      <a:pt x="0" y="40"/>
                    </a:lnTo>
                    <a:lnTo>
                      <a:pt x="0" y="42"/>
                    </a:lnTo>
                    <a:lnTo>
                      <a:pt x="2" y="46"/>
                    </a:lnTo>
                    <a:lnTo>
                      <a:pt x="4" y="48"/>
                    </a:lnTo>
                    <a:lnTo>
                      <a:pt x="4" y="50"/>
                    </a:lnTo>
                    <a:lnTo>
                      <a:pt x="6" y="52"/>
                    </a:lnTo>
                    <a:lnTo>
                      <a:pt x="8" y="52"/>
                    </a:lnTo>
                    <a:lnTo>
                      <a:pt x="10" y="52"/>
                    </a:lnTo>
                    <a:lnTo>
                      <a:pt x="8" y="52"/>
                    </a:lnTo>
                    <a:lnTo>
                      <a:pt x="6" y="54"/>
                    </a:lnTo>
                    <a:lnTo>
                      <a:pt x="4" y="54"/>
                    </a:lnTo>
                    <a:lnTo>
                      <a:pt x="4" y="56"/>
                    </a:lnTo>
                    <a:lnTo>
                      <a:pt x="6" y="58"/>
                    </a:lnTo>
                    <a:lnTo>
                      <a:pt x="6" y="60"/>
                    </a:lnTo>
                    <a:lnTo>
                      <a:pt x="8" y="60"/>
                    </a:lnTo>
                    <a:lnTo>
                      <a:pt x="10" y="58"/>
                    </a:lnTo>
                    <a:lnTo>
                      <a:pt x="12" y="58"/>
                    </a:lnTo>
                    <a:lnTo>
                      <a:pt x="14" y="58"/>
                    </a:lnTo>
                    <a:lnTo>
                      <a:pt x="16" y="58"/>
                    </a:lnTo>
                    <a:lnTo>
                      <a:pt x="18" y="58"/>
                    </a:lnTo>
                    <a:lnTo>
                      <a:pt x="20" y="60"/>
                    </a:lnTo>
                    <a:lnTo>
                      <a:pt x="22" y="58"/>
                    </a:lnTo>
                    <a:lnTo>
                      <a:pt x="24" y="56"/>
                    </a:lnTo>
                    <a:lnTo>
                      <a:pt x="26" y="54"/>
                    </a:lnTo>
                    <a:lnTo>
                      <a:pt x="28" y="54"/>
                    </a:lnTo>
                    <a:lnTo>
                      <a:pt x="28" y="52"/>
                    </a:lnTo>
                    <a:lnTo>
                      <a:pt x="30" y="52"/>
                    </a:lnTo>
                    <a:lnTo>
                      <a:pt x="30" y="54"/>
                    </a:lnTo>
                    <a:lnTo>
                      <a:pt x="30" y="56"/>
                    </a:lnTo>
                    <a:lnTo>
                      <a:pt x="30" y="58"/>
                    </a:lnTo>
                    <a:lnTo>
                      <a:pt x="28" y="58"/>
                    </a:lnTo>
                    <a:lnTo>
                      <a:pt x="30" y="58"/>
                    </a:lnTo>
                    <a:lnTo>
                      <a:pt x="30" y="60"/>
                    </a:lnTo>
                    <a:lnTo>
                      <a:pt x="32" y="60"/>
                    </a:lnTo>
                    <a:lnTo>
                      <a:pt x="34" y="60"/>
                    </a:lnTo>
                    <a:lnTo>
                      <a:pt x="34" y="58"/>
                    </a:lnTo>
                    <a:lnTo>
                      <a:pt x="36" y="56"/>
                    </a:lnTo>
                    <a:lnTo>
                      <a:pt x="38" y="54"/>
                    </a:lnTo>
                    <a:lnTo>
                      <a:pt x="38" y="52"/>
                    </a:lnTo>
                    <a:lnTo>
                      <a:pt x="40" y="50"/>
                    </a:lnTo>
                    <a:lnTo>
                      <a:pt x="42" y="48"/>
                    </a:lnTo>
                    <a:lnTo>
                      <a:pt x="44" y="48"/>
                    </a:lnTo>
                    <a:lnTo>
                      <a:pt x="44" y="46"/>
                    </a:lnTo>
                    <a:lnTo>
                      <a:pt x="44" y="44"/>
                    </a:lnTo>
                    <a:lnTo>
                      <a:pt x="42" y="42"/>
                    </a:lnTo>
                    <a:lnTo>
                      <a:pt x="40" y="42"/>
                    </a:lnTo>
                    <a:lnTo>
                      <a:pt x="42" y="40"/>
                    </a:lnTo>
                    <a:lnTo>
                      <a:pt x="44" y="40"/>
                    </a:lnTo>
                    <a:lnTo>
                      <a:pt x="44" y="38"/>
                    </a:lnTo>
                    <a:lnTo>
                      <a:pt x="46" y="38"/>
                    </a:lnTo>
                    <a:lnTo>
                      <a:pt x="46" y="36"/>
                    </a:lnTo>
                    <a:lnTo>
                      <a:pt x="48" y="36"/>
                    </a:lnTo>
                    <a:lnTo>
                      <a:pt x="50" y="36"/>
                    </a:lnTo>
                    <a:lnTo>
                      <a:pt x="52" y="36"/>
                    </a:lnTo>
                    <a:lnTo>
                      <a:pt x="54" y="34"/>
                    </a:lnTo>
                    <a:lnTo>
                      <a:pt x="54" y="32"/>
                    </a:lnTo>
                    <a:lnTo>
                      <a:pt x="54" y="30"/>
                    </a:lnTo>
                    <a:lnTo>
                      <a:pt x="56" y="28"/>
                    </a:lnTo>
                    <a:lnTo>
                      <a:pt x="56" y="26"/>
                    </a:lnTo>
                    <a:lnTo>
                      <a:pt x="56" y="24"/>
                    </a:lnTo>
                    <a:lnTo>
                      <a:pt x="58" y="22"/>
                    </a:lnTo>
                    <a:lnTo>
                      <a:pt x="58" y="20"/>
                    </a:lnTo>
                    <a:lnTo>
                      <a:pt x="60" y="18"/>
                    </a:lnTo>
                    <a:lnTo>
                      <a:pt x="62" y="16"/>
                    </a:lnTo>
                    <a:lnTo>
                      <a:pt x="64" y="14"/>
                    </a:lnTo>
                    <a:lnTo>
                      <a:pt x="64" y="12"/>
                    </a:lnTo>
                    <a:lnTo>
                      <a:pt x="64" y="10"/>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04" name="Freeform 213">
                <a:extLst>
                  <a:ext uri="{FF2B5EF4-FFF2-40B4-BE49-F238E27FC236}">
                    <a16:creationId xmlns:a16="http://schemas.microsoft.com/office/drawing/2014/main" id="{F52E6B83-D304-4488-B0B7-C32300331099}"/>
                  </a:ext>
                </a:extLst>
              </p:cNvPr>
              <p:cNvSpPr>
                <a:spLocks noChangeAspect="1"/>
              </p:cNvSpPr>
              <p:nvPr/>
            </p:nvSpPr>
            <p:spPr bwMode="auto">
              <a:xfrm>
                <a:off x="5904127" y="2720898"/>
                <a:ext cx="23021" cy="24416"/>
              </a:xfrm>
              <a:custGeom>
                <a:avLst/>
                <a:gdLst/>
                <a:ahLst/>
                <a:cxnLst>
                  <a:cxn ang="0">
                    <a:pos x="8" y="4"/>
                  </a:cxn>
                  <a:cxn ang="0">
                    <a:pos x="6" y="2"/>
                  </a:cxn>
                  <a:cxn ang="0">
                    <a:pos x="6" y="2"/>
                  </a:cxn>
                  <a:cxn ang="0">
                    <a:pos x="6" y="0"/>
                  </a:cxn>
                  <a:cxn ang="0">
                    <a:pos x="6" y="0"/>
                  </a:cxn>
                  <a:cxn ang="0">
                    <a:pos x="4" y="2"/>
                  </a:cxn>
                  <a:cxn ang="0">
                    <a:pos x="2" y="4"/>
                  </a:cxn>
                  <a:cxn ang="0">
                    <a:pos x="2" y="4"/>
                  </a:cxn>
                  <a:cxn ang="0">
                    <a:pos x="2" y="6"/>
                  </a:cxn>
                  <a:cxn ang="0">
                    <a:pos x="2" y="6"/>
                  </a:cxn>
                  <a:cxn ang="0">
                    <a:pos x="2" y="6"/>
                  </a:cxn>
                  <a:cxn ang="0">
                    <a:pos x="0" y="8"/>
                  </a:cxn>
                  <a:cxn ang="0">
                    <a:pos x="0" y="8"/>
                  </a:cxn>
                  <a:cxn ang="0">
                    <a:pos x="0" y="8"/>
                  </a:cxn>
                  <a:cxn ang="0">
                    <a:pos x="0" y="8"/>
                  </a:cxn>
                  <a:cxn ang="0">
                    <a:pos x="2" y="10"/>
                  </a:cxn>
                  <a:cxn ang="0">
                    <a:pos x="4" y="10"/>
                  </a:cxn>
                  <a:cxn ang="0">
                    <a:pos x="6" y="10"/>
                  </a:cxn>
                  <a:cxn ang="0">
                    <a:pos x="8" y="10"/>
                  </a:cxn>
                  <a:cxn ang="0">
                    <a:pos x="10" y="12"/>
                  </a:cxn>
                  <a:cxn ang="0">
                    <a:pos x="12" y="12"/>
                  </a:cxn>
                  <a:cxn ang="0">
                    <a:pos x="12" y="12"/>
                  </a:cxn>
                  <a:cxn ang="0">
                    <a:pos x="12" y="14"/>
                  </a:cxn>
                  <a:cxn ang="0">
                    <a:pos x="12" y="14"/>
                  </a:cxn>
                  <a:cxn ang="0">
                    <a:pos x="12" y="14"/>
                  </a:cxn>
                  <a:cxn ang="0">
                    <a:pos x="14" y="12"/>
                  </a:cxn>
                  <a:cxn ang="0">
                    <a:pos x="14" y="12"/>
                  </a:cxn>
                  <a:cxn ang="0">
                    <a:pos x="14" y="10"/>
                  </a:cxn>
                  <a:cxn ang="0">
                    <a:pos x="14" y="10"/>
                  </a:cxn>
                  <a:cxn ang="0">
                    <a:pos x="14" y="10"/>
                  </a:cxn>
                  <a:cxn ang="0">
                    <a:pos x="14" y="10"/>
                  </a:cxn>
                  <a:cxn ang="0">
                    <a:pos x="14" y="10"/>
                  </a:cxn>
                  <a:cxn ang="0">
                    <a:pos x="12" y="10"/>
                  </a:cxn>
                  <a:cxn ang="0">
                    <a:pos x="12" y="8"/>
                  </a:cxn>
                  <a:cxn ang="0">
                    <a:pos x="10" y="6"/>
                  </a:cxn>
                  <a:cxn ang="0">
                    <a:pos x="8" y="4"/>
                  </a:cxn>
                  <a:cxn ang="0">
                    <a:pos x="8" y="4"/>
                  </a:cxn>
                  <a:cxn ang="0">
                    <a:pos x="8" y="4"/>
                  </a:cxn>
                  <a:cxn ang="0">
                    <a:pos x="8" y="4"/>
                  </a:cxn>
                </a:cxnLst>
                <a:rect l="0" t="0" r="r" b="b"/>
                <a:pathLst>
                  <a:path w="14" h="14">
                    <a:moveTo>
                      <a:pt x="8" y="4"/>
                    </a:moveTo>
                    <a:lnTo>
                      <a:pt x="6" y="2"/>
                    </a:lnTo>
                    <a:lnTo>
                      <a:pt x="6" y="0"/>
                    </a:lnTo>
                    <a:lnTo>
                      <a:pt x="4" y="2"/>
                    </a:lnTo>
                    <a:lnTo>
                      <a:pt x="2" y="4"/>
                    </a:lnTo>
                    <a:lnTo>
                      <a:pt x="2" y="6"/>
                    </a:lnTo>
                    <a:lnTo>
                      <a:pt x="0" y="8"/>
                    </a:lnTo>
                    <a:lnTo>
                      <a:pt x="2" y="10"/>
                    </a:lnTo>
                    <a:lnTo>
                      <a:pt x="4" y="10"/>
                    </a:lnTo>
                    <a:lnTo>
                      <a:pt x="6" y="10"/>
                    </a:lnTo>
                    <a:lnTo>
                      <a:pt x="8" y="10"/>
                    </a:lnTo>
                    <a:lnTo>
                      <a:pt x="10" y="12"/>
                    </a:lnTo>
                    <a:lnTo>
                      <a:pt x="12" y="12"/>
                    </a:lnTo>
                    <a:lnTo>
                      <a:pt x="12" y="14"/>
                    </a:lnTo>
                    <a:lnTo>
                      <a:pt x="14" y="12"/>
                    </a:lnTo>
                    <a:lnTo>
                      <a:pt x="14" y="10"/>
                    </a:lnTo>
                    <a:lnTo>
                      <a:pt x="12" y="10"/>
                    </a:lnTo>
                    <a:lnTo>
                      <a:pt x="12" y="8"/>
                    </a:lnTo>
                    <a:lnTo>
                      <a:pt x="10" y="6"/>
                    </a:lnTo>
                    <a:lnTo>
                      <a:pt x="8"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5" name="Freeform 214">
                <a:extLst>
                  <a:ext uri="{FF2B5EF4-FFF2-40B4-BE49-F238E27FC236}">
                    <a16:creationId xmlns:a16="http://schemas.microsoft.com/office/drawing/2014/main" id="{4666886A-7EEE-4B96-80F5-9A1C14B55375}"/>
                  </a:ext>
                </a:extLst>
              </p:cNvPr>
              <p:cNvSpPr>
                <a:spLocks noChangeAspect="1" noEditPoints="1"/>
              </p:cNvSpPr>
              <p:nvPr/>
            </p:nvSpPr>
            <p:spPr bwMode="auto">
              <a:xfrm>
                <a:off x="8497285" y="4320113"/>
                <a:ext cx="249943" cy="181372"/>
              </a:xfrm>
              <a:custGeom>
                <a:avLst/>
                <a:gdLst/>
                <a:ahLst/>
                <a:cxnLst>
                  <a:cxn ang="0">
                    <a:pos x="2" y="2"/>
                  </a:cxn>
                  <a:cxn ang="0">
                    <a:pos x="2" y="8"/>
                  </a:cxn>
                  <a:cxn ang="0">
                    <a:pos x="10" y="8"/>
                  </a:cxn>
                  <a:cxn ang="0">
                    <a:pos x="10" y="0"/>
                  </a:cxn>
                  <a:cxn ang="0">
                    <a:pos x="88" y="46"/>
                  </a:cxn>
                  <a:cxn ang="0">
                    <a:pos x="78" y="48"/>
                  </a:cxn>
                  <a:cxn ang="0">
                    <a:pos x="74" y="54"/>
                  </a:cxn>
                  <a:cxn ang="0">
                    <a:pos x="80" y="60"/>
                  </a:cxn>
                  <a:cxn ang="0">
                    <a:pos x="72" y="66"/>
                  </a:cxn>
                  <a:cxn ang="0">
                    <a:pos x="64" y="70"/>
                  </a:cxn>
                  <a:cxn ang="0">
                    <a:pos x="46" y="72"/>
                  </a:cxn>
                  <a:cxn ang="0">
                    <a:pos x="38" y="78"/>
                  </a:cxn>
                  <a:cxn ang="0">
                    <a:pos x="32" y="82"/>
                  </a:cxn>
                  <a:cxn ang="0">
                    <a:pos x="36" y="88"/>
                  </a:cxn>
                  <a:cxn ang="0">
                    <a:pos x="58" y="90"/>
                  </a:cxn>
                  <a:cxn ang="0">
                    <a:pos x="68" y="86"/>
                  </a:cxn>
                  <a:cxn ang="0">
                    <a:pos x="76" y="84"/>
                  </a:cxn>
                  <a:cxn ang="0">
                    <a:pos x="80" y="78"/>
                  </a:cxn>
                  <a:cxn ang="0">
                    <a:pos x="86" y="76"/>
                  </a:cxn>
                  <a:cxn ang="0">
                    <a:pos x="84" y="70"/>
                  </a:cxn>
                  <a:cxn ang="0">
                    <a:pos x="90" y="70"/>
                  </a:cxn>
                  <a:cxn ang="0">
                    <a:pos x="90" y="48"/>
                  </a:cxn>
                  <a:cxn ang="0">
                    <a:pos x="96" y="34"/>
                  </a:cxn>
                  <a:cxn ang="0">
                    <a:pos x="88" y="28"/>
                  </a:cxn>
                  <a:cxn ang="0">
                    <a:pos x="78" y="20"/>
                  </a:cxn>
                  <a:cxn ang="0">
                    <a:pos x="72" y="14"/>
                  </a:cxn>
                  <a:cxn ang="0">
                    <a:pos x="70" y="10"/>
                  </a:cxn>
                  <a:cxn ang="0">
                    <a:pos x="68" y="16"/>
                  </a:cxn>
                  <a:cxn ang="0">
                    <a:pos x="72" y="22"/>
                  </a:cxn>
                  <a:cxn ang="0">
                    <a:pos x="78" y="24"/>
                  </a:cxn>
                  <a:cxn ang="0">
                    <a:pos x="86" y="32"/>
                  </a:cxn>
                  <a:cxn ang="0">
                    <a:pos x="92" y="36"/>
                  </a:cxn>
                  <a:cxn ang="0">
                    <a:pos x="98" y="42"/>
                  </a:cxn>
                  <a:cxn ang="0">
                    <a:pos x="98" y="58"/>
                  </a:cxn>
                  <a:cxn ang="0">
                    <a:pos x="104" y="62"/>
                  </a:cxn>
                  <a:cxn ang="0">
                    <a:pos x="108" y="50"/>
                  </a:cxn>
                  <a:cxn ang="0">
                    <a:pos x="152" y="104"/>
                  </a:cxn>
                  <a:cxn ang="0">
                    <a:pos x="146" y="80"/>
                  </a:cxn>
                  <a:cxn ang="0">
                    <a:pos x="140" y="72"/>
                  </a:cxn>
                  <a:cxn ang="0">
                    <a:pos x="136" y="68"/>
                  </a:cxn>
                  <a:cxn ang="0">
                    <a:pos x="134" y="64"/>
                  </a:cxn>
                  <a:cxn ang="0">
                    <a:pos x="126" y="66"/>
                  </a:cxn>
                  <a:cxn ang="0">
                    <a:pos x="128" y="72"/>
                  </a:cxn>
                  <a:cxn ang="0">
                    <a:pos x="132" y="76"/>
                  </a:cxn>
                  <a:cxn ang="0">
                    <a:pos x="136" y="86"/>
                  </a:cxn>
                  <a:cxn ang="0">
                    <a:pos x="140" y="92"/>
                  </a:cxn>
                  <a:cxn ang="0">
                    <a:pos x="148" y="98"/>
                  </a:cxn>
                  <a:cxn ang="0">
                    <a:pos x="152" y="86"/>
                  </a:cxn>
                </a:cxnLst>
                <a:rect l="0" t="0" r="r" b="b"/>
                <a:pathLst>
                  <a:path w="152" h="104">
                    <a:moveTo>
                      <a:pt x="8" y="0"/>
                    </a:moveTo>
                    <a:lnTo>
                      <a:pt x="6" y="0"/>
                    </a:lnTo>
                    <a:lnTo>
                      <a:pt x="4" y="2"/>
                    </a:lnTo>
                    <a:lnTo>
                      <a:pt x="2" y="2"/>
                    </a:lnTo>
                    <a:lnTo>
                      <a:pt x="0" y="4"/>
                    </a:lnTo>
                    <a:lnTo>
                      <a:pt x="0" y="6"/>
                    </a:lnTo>
                    <a:lnTo>
                      <a:pt x="2" y="6"/>
                    </a:lnTo>
                    <a:lnTo>
                      <a:pt x="2" y="8"/>
                    </a:lnTo>
                    <a:lnTo>
                      <a:pt x="4" y="8"/>
                    </a:lnTo>
                    <a:lnTo>
                      <a:pt x="6" y="10"/>
                    </a:lnTo>
                    <a:lnTo>
                      <a:pt x="8" y="10"/>
                    </a:lnTo>
                    <a:lnTo>
                      <a:pt x="10" y="8"/>
                    </a:lnTo>
                    <a:lnTo>
                      <a:pt x="12" y="8"/>
                    </a:lnTo>
                    <a:lnTo>
                      <a:pt x="14" y="6"/>
                    </a:lnTo>
                    <a:lnTo>
                      <a:pt x="14" y="2"/>
                    </a:lnTo>
                    <a:lnTo>
                      <a:pt x="10" y="0"/>
                    </a:lnTo>
                    <a:lnTo>
                      <a:pt x="8" y="0"/>
                    </a:lnTo>
                    <a:close/>
                    <a:moveTo>
                      <a:pt x="90" y="48"/>
                    </a:moveTo>
                    <a:lnTo>
                      <a:pt x="90" y="46"/>
                    </a:lnTo>
                    <a:lnTo>
                      <a:pt x="88" y="46"/>
                    </a:lnTo>
                    <a:lnTo>
                      <a:pt x="88" y="44"/>
                    </a:lnTo>
                    <a:lnTo>
                      <a:pt x="82" y="44"/>
                    </a:lnTo>
                    <a:lnTo>
                      <a:pt x="80" y="46"/>
                    </a:lnTo>
                    <a:lnTo>
                      <a:pt x="78" y="48"/>
                    </a:lnTo>
                    <a:lnTo>
                      <a:pt x="76" y="48"/>
                    </a:lnTo>
                    <a:lnTo>
                      <a:pt x="74" y="50"/>
                    </a:lnTo>
                    <a:lnTo>
                      <a:pt x="74" y="54"/>
                    </a:lnTo>
                    <a:lnTo>
                      <a:pt x="76" y="56"/>
                    </a:lnTo>
                    <a:lnTo>
                      <a:pt x="78" y="58"/>
                    </a:lnTo>
                    <a:lnTo>
                      <a:pt x="78" y="60"/>
                    </a:lnTo>
                    <a:lnTo>
                      <a:pt x="80" y="60"/>
                    </a:lnTo>
                    <a:lnTo>
                      <a:pt x="80" y="62"/>
                    </a:lnTo>
                    <a:lnTo>
                      <a:pt x="76" y="64"/>
                    </a:lnTo>
                    <a:lnTo>
                      <a:pt x="74" y="66"/>
                    </a:lnTo>
                    <a:lnTo>
                      <a:pt x="72" y="66"/>
                    </a:lnTo>
                    <a:lnTo>
                      <a:pt x="70" y="68"/>
                    </a:lnTo>
                    <a:lnTo>
                      <a:pt x="68" y="68"/>
                    </a:lnTo>
                    <a:lnTo>
                      <a:pt x="66" y="70"/>
                    </a:lnTo>
                    <a:lnTo>
                      <a:pt x="64" y="70"/>
                    </a:lnTo>
                    <a:lnTo>
                      <a:pt x="50" y="70"/>
                    </a:lnTo>
                    <a:lnTo>
                      <a:pt x="48" y="72"/>
                    </a:lnTo>
                    <a:lnTo>
                      <a:pt x="46" y="72"/>
                    </a:lnTo>
                    <a:lnTo>
                      <a:pt x="44" y="72"/>
                    </a:lnTo>
                    <a:lnTo>
                      <a:pt x="42" y="74"/>
                    </a:lnTo>
                    <a:lnTo>
                      <a:pt x="40" y="76"/>
                    </a:lnTo>
                    <a:lnTo>
                      <a:pt x="38" y="78"/>
                    </a:lnTo>
                    <a:lnTo>
                      <a:pt x="36" y="78"/>
                    </a:lnTo>
                    <a:lnTo>
                      <a:pt x="30" y="78"/>
                    </a:lnTo>
                    <a:lnTo>
                      <a:pt x="30" y="80"/>
                    </a:lnTo>
                    <a:lnTo>
                      <a:pt x="32" y="82"/>
                    </a:lnTo>
                    <a:lnTo>
                      <a:pt x="32" y="84"/>
                    </a:lnTo>
                    <a:lnTo>
                      <a:pt x="34" y="86"/>
                    </a:lnTo>
                    <a:lnTo>
                      <a:pt x="34" y="88"/>
                    </a:lnTo>
                    <a:lnTo>
                      <a:pt x="36" y="88"/>
                    </a:lnTo>
                    <a:lnTo>
                      <a:pt x="48" y="88"/>
                    </a:lnTo>
                    <a:lnTo>
                      <a:pt x="50" y="90"/>
                    </a:lnTo>
                    <a:lnTo>
                      <a:pt x="58" y="90"/>
                    </a:lnTo>
                    <a:lnTo>
                      <a:pt x="60" y="88"/>
                    </a:lnTo>
                    <a:lnTo>
                      <a:pt x="62" y="88"/>
                    </a:lnTo>
                    <a:lnTo>
                      <a:pt x="62" y="86"/>
                    </a:lnTo>
                    <a:lnTo>
                      <a:pt x="68" y="86"/>
                    </a:lnTo>
                    <a:lnTo>
                      <a:pt x="70" y="86"/>
                    </a:lnTo>
                    <a:lnTo>
                      <a:pt x="72" y="86"/>
                    </a:lnTo>
                    <a:lnTo>
                      <a:pt x="74" y="84"/>
                    </a:lnTo>
                    <a:lnTo>
                      <a:pt x="76" y="84"/>
                    </a:lnTo>
                    <a:lnTo>
                      <a:pt x="76" y="82"/>
                    </a:lnTo>
                    <a:lnTo>
                      <a:pt x="78" y="80"/>
                    </a:lnTo>
                    <a:lnTo>
                      <a:pt x="78" y="78"/>
                    </a:lnTo>
                    <a:lnTo>
                      <a:pt x="80" y="78"/>
                    </a:lnTo>
                    <a:lnTo>
                      <a:pt x="82" y="78"/>
                    </a:lnTo>
                    <a:lnTo>
                      <a:pt x="84" y="76"/>
                    </a:lnTo>
                    <a:lnTo>
                      <a:pt x="86" y="76"/>
                    </a:lnTo>
                    <a:lnTo>
                      <a:pt x="86" y="74"/>
                    </a:lnTo>
                    <a:lnTo>
                      <a:pt x="86" y="72"/>
                    </a:lnTo>
                    <a:lnTo>
                      <a:pt x="84" y="72"/>
                    </a:lnTo>
                    <a:lnTo>
                      <a:pt x="84" y="70"/>
                    </a:lnTo>
                    <a:lnTo>
                      <a:pt x="86" y="70"/>
                    </a:lnTo>
                    <a:lnTo>
                      <a:pt x="90" y="70"/>
                    </a:lnTo>
                    <a:lnTo>
                      <a:pt x="90" y="66"/>
                    </a:lnTo>
                    <a:lnTo>
                      <a:pt x="92" y="62"/>
                    </a:lnTo>
                    <a:lnTo>
                      <a:pt x="92" y="50"/>
                    </a:lnTo>
                    <a:lnTo>
                      <a:pt x="90" y="48"/>
                    </a:lnTo>
                    <a:close/>
                    <a:moveTo>
                      <a:pt x="106" y="44"/>
                    </a:moveTo>
                    <a:lnTo>
                      <a:pt x="104" y="42"/>
                    </a:lnTo>
                    <a:lnTo>
                      <a:pt x="96" y="34"/>
                    </a:lnTo>
                    <a:lnTo>
                      <a:pt x="94" y="32"/>
                    </a:lnTo>
                    <a:lnTo>
                      <a:pt x="90" y="32"/>
                    </a:lnTo>
                    <a:lnTo>
                      <a:pt x="88" y="28"/>
                    </a:lnTo>
                    <a:lnTo>
                      <a:pt x="86" y="24"/>
                    </a:lnTo>
                    <a:lnTo>
                      <a:pt x="82" y="20"/>
                    </a:lnTo>
                    <a:lnTo>
                      <a:pt x="80" y="20"/>
                    </a:lnTo>
                    <a:lnTo>
                      <a:pt x="78" y="20"/>
                    </a:lnTo>
                    <a:lnTo>
                      <a:pt x="76" y="18"/>
                    </a:lnTo>
                    <a:lnTo>
                      <a:pt x="74" y="18"/>
                    </a:lnTo>
                    <a:lnTo>
                      <a:pt x="72" y="14"/>
                    </a:lnTo>
                    <a:lnTo>
                      <a:pt x="70" y="12"/>
                    </a:lnTo>
                    <a:lnTo>
                      <a:pt x="70" y="10"/>
                    </a:lnTo>
                    <a:lnTo>
                      <a:pt x="68" y="10"/>
                    </a:lnTo>
                    <a:lnTo>
                      <a:pt x="68" y="12"/>
                    </a:lnTo>
                    <a:lnTo>
                      <a:pt x="68" y="14"/>
                    </a:lnTo>
                    <a:lnTo>
                      <a:pt x="68" y="16"/>
                    </a:lnTo>
                    <a:lnTo>
                      <a:pt x="66" y="18"/>
                    </a:lnTo>
                    <a:lnTo>
                      <a:pt x="66" y="20"/>
                    </a:lnTo>
                    <a:lnTo>
                      <a:pt x="70" y="20"/>
                    </a:lnTo>
                    <a:lnTo>
                      <a:pt x="72" y="22"/>
                    </a:lnTo>
                    <a:lnTo>
                      <a:pt x="76" y="22"/>
                    </a:lnTo>
                    <a:lnTo>
                      <a:pt x="78" y="22"/>
                    </a:lnTo>
                    <a:lnTo>
                      <a:pt x="78" y="24"/>
                    </a:lnTo>
                    <a:lnTo>
                      <a:pt x="80" y="26"/>
                    </a:lnTo>
                    <a:lnTo>
                      <a:pt x="84" y="30"/>
                    </a:lnTo>
                    <a:lnTo>
                      <a:pt x="84" y="32"/>
                    </a:lnTo>
                    <a:lnTo>
                      <a:pt x="86" y="32"/>
                    </a:lnTo>
                    <a:lnTo>
                      <a:pt x="88" y="34"/>
                    </a:lnTo>
                    <a:lnTo>
                      <a:pt x="90" y="36"/>
                    </a:lnTo>
                    <a:lnTo>
                      <a:pt x="92" y="36"/>
                    </a:lnTo>
                    <a:lnTo>
                      <a:pt x="94" y="38"/>
                    </a:lnTo>
                    <a:lnTo>
                      <a:pt x="96" y="38"/>
                    </a:lnTo>
                    <a:lnTo>
                      <a:pt x="98" y="40"/>
                    </a:lnTo>
                    <a:lnTo>
                      <a:pt x="98" y="42"/>
                    </a:lnTo>
                    <a:lnTo>
                      <a:pt x="98" y="46"/>
                    </a:lnTo>
                    <a:lnTo>
                      <a:pt x="98" y="48"/>
                    </a:lnTo>
                    <a:lnTo>
                      <a:pt x="98" y="56"/>
                    </a:lnTo>
                    <a:lnTo>
                      <a:pt x="98" y="58"/>
                    </a:lnTo>
                    <a:lnTo>
                      <a:pt x="98" y="60"/>
                    </a:lnTo>
                    <a:lnTo>
                      <a:pt x="100" y="60"/>
                    </a:lnTo>
                    <a:lnTo>
                      <a:pt x="102" y="62"/>
                    </a:lnTo>
                    <a:lnTo>
                      <a:pt x="104" y="62"/>
                    </a:lnTo>
                    <a:lnTo>
                      <a:pt x="106" y="60"/>
                    </a:lnTo>
                    <a:lnTo>
                      <a:pt x="108" y="58"/>
                    </a:lnTo>
                    <a:lnTo>
                      <a:pt x="108" y="56"/>
                    </a:lnTo>
                    <a:lnTo>
                      <a:pt x="108" y="50"/>
                    </a:lnTo>
                    <a:lnTo>
                      <a:pt x="108" y="46"/>
                    </a:lnTo>
                    <a:lnTo>
                      <a:pt x="106" y="44"/>
                    </a:lnTo>
                    <a:close/>
                    <a:moveTo>
                      <a:pt x="152" y="102"/>
                    </a:moveTo>
                    <a:lnTo>
                      <a:pt x="152" y="104"/>
                    </a:lnTo>
                    <a:lnTo>
                      <a:pt x="152" y="102"/>
                    </a:lnTo>
                    <a:close/>
                    <a:moveTo>
                      <a:pt x="150" y="82"/>
                    </a:moveTo>
                    <a:lnTo>
                      <a:pt x="146" y="80"/>
                    </a:lnTo>
                    <a:lnTo>
                      <a:pt x="144" y="78"/>
                    </a:lnTo>
                    <a:lnTo>
                      <a:pt x="144" y="76"/>
                    </a:lnTo>
                    <a:lnTo>
                      <a:pt x="142" y="74"/>
                    </a:lnTo>
                    <a:lnTo>
                      <a:pt x="140" y="72"/>
                    </a:lnTo>
                    <a:lnTo>
                      <a:pt x="138" y="70"/>
                    </a:lnTo>
                    <a:lnTo>
                      <a:pt x="138" y="68"/>
                    </a:lnTo>
                    <a:lnTo>
                      <a:pt x="136" y="68"/>
                    </a:lnTo>
                    <a:lnTo>
                      <a:pt x="136" y="66"/>
                    </a:lnTo>
                    <a:lnTo>
                      <a:pt x="134" y="64"/>
                    </a:lnTo>
                    <a:lnTo>
                      <a:pt x="134" y="62"/>
                    </a:lnTo>
                    <a:lnTo>
                      <a:pt x="130" y="62"/>
                    </a:lnTo>
                    <a:lnTo>
                      <a:pt x="128" y="66"/>
                    </a:lnTo>
                    <a:lnTo>
                      <a:pt x="126" y="66"/>
                    </a:lnTo>
                    <a:lnTo>
                      <a:pt x="126" y="68"/>
                    </a:lnTo>
                    <a:lnTo>
                      <a:pt x="128" y="68"/>
                    </a:lnTo>
                    <a:lnTo>
                      <a:pt x="128" y="70"/>
                    </a:lnTo>
                    <a:lnTo>
                      <a:pt x="128" y="72"/>
                    </a:lnTo>
                    <a:lnTo>
                      <a:pt x="130" y="74"/>
                    </a:lnTo>
                    <a:lnTo>
                      <a:pt x="130" y="76"/>
                    </a:lnTo>
                    <a:lnTo>
                      <a:pt x="132" y="76"/>
                    </a:lnTo>
                    <a:lnTo>
                      <a:pt x="132" y="78"/>
                    </a:lnTo>
                    <a:lnTo>
                      <a:pt x="134" y="80"/>
                    </a:lnTo>
                    <a:lnTo>
                      <a:pt x="134" y="84"/>
                    </a:lnTo>
                    <a:lnTo>
                      <a:pt x="136" y="86"/>
                    </a:lnTo>
                    <a:lnTo>
                      <a:pt x="136" y="88"/>
                    </a:lnTo>
                    <a:lnTo>
                      <a:pt x="140" y="92"/>
                    </a:lnTo>
                    <a:lnTo>
                      <a:pt x="142" y="92"/>
                    </a:lnTo>
                    <a:lnTo>
                      <a:pt x="144" y="94"/>
                    </a:lnTo>
                    <a:lnTo>
                      <a:pt x="146" y="96"/>
                    </a:lnTo>
                    <a:lnTo>
                      <a:pt x="148" y="98"/>
                    </a:lnTo>
                    <a:lnTo>
                      <a:pt x="148" y="100"/>
                    </a:lnTo>
                    <a:lnTo>
                      <a:pt x="152" y="102"/>
                    </a:lnTo>
                    <a:lnTo>
                      <a:pt x="152" y="86"/>
                    </a:lnTo>
                    <a:lnTo>
                      <a:pt x="150" y="8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6" name="Freeform 215">
                <a:extLst>
                  <a:ext uri="{FF2B5EF4-FFF2-40B4-BE49-F238E27FC236}">
                    <a16:creationId xmlns:a16="http://schemas.microsoft.com/office/drawing/2014/main" id="{B0896FCD-61DE-4989-AADB-2BE78056110D}"/>
                  </a:ext>
                </a:extLst>
              </p:cNvPr>
              <p:cNvSpPr>
                <a:spLocks noChangeAspect="1" noEditPoints="1"/>
              </p:cNvSpPr>
              <p:nvPr/>
            </p:nvSpPr>
            <p:spPr bwMode="auto">
              <a:xfrm>
                <a:off x="7670171" y="3629504"/>
                <a:ext cx="266386" cy="446455"/>
              </a:xfrm>
              <a:custGeom>
                <a:avLst/>
                <a:gdLst/>
                <a:ahLst/>
                <a:cxnLst>
                  <a:cxn ang="0">
                    <a:pos x="130" y="136"/>
                  </a:cxn>
                  <a:cxn ang="0">
                    <a:pos x="132" y="148"/>
                  </a:cxn>
                  <a:cxn ang="0">
                    <a:pos x="142" y="148"/>
                  </a:cxn>
                  <a:cxn ang="0">
                    <a:pos x="136" y="136"/>
                  </a:cxn>
                  <a:cxn ang="0">
                    <a:pos x="114" y="118"/>
                  </a:cxn>
                  <a:cxn ang="0">
                    <a:pos x="110" y="164"/>
                  </a:cxn>
                  <a:cxn ang="0">
                    <a:pos x="116" y="160"/>
                  </a:cxn>
                  <a:cxn ang="0">
                    <a:pos x="126" y="160"/>
                  </a:cxn>
                  <a:cxn ang="0">
                    <a:pos x="134" y="156"/>
                  </a:cxn>
                  <a:cxn ang="0">
                    <a:pos x="122" y="146"/>
                  </a:cxn>
                  <a:cxn ang="0">
                    <a:pos x="124" y="156"/>
                  </a:cxn>
                  <a:cxn ang="0">
                    <a:pos x="36" y="140"/>
                  </a:cxn>
                  <a:cxn ang="0">
                    <a:pos x="28" y="152"/>
                  </a:cxn>
                  <a:cxn ang="0">
                    <a:pos x="28" y="166"/>
                  </a:cxn>
                  <a:cxn ang="0">
                    <a:pos x="18" y="176"/>
                  </a:cxn>
                  <a:cxn ang="0">
                    <a:pos x="6" y="188"/>
                  </a:cxn>
                  <a:cxn ang="0">
                    <a:pos x="2" y="202"/>
                  </a:cxn>
                  <a:cxn ang="0">
                    <a:pos x="16" y="192"/>
                  </a:cxn>
                  <a:cxn ang="0">
                    <a:pos x="26" y="176"/>
                  </a:cxn>
                  <a:cxn ang="0">
                    <a:pos x="162" y="222"/>
                  </a:cxn>
                  <a:cxn ang="0">
                    <a:pos x="156" y="186"/>
                  </a:cxn>
                  <a:cxn ang="0">
                    <a:pos x="138" y="174"/>
                  </a:cxn>
                  <a:cxn ang="0">
                    <a:pos x="144" y="188"/>
                  </a:cxn>
                  <a:cxn ang="0">
                    <a:pos x="122" y="202"/>
                  </a:cxn>
                  <a:cxn ang="0">
                    <a:pos x="104" y="206"/>
                  </a:cxn>
                  <a:cxn ang="0">
                    <a:pos x="94" y="210"/>
                  </a:cxn>
                  <a:cxn ang="0">
                    <a:pos x="88" y="226"/>
                  </a:cxn>
                  <a:cxn ang="0">
                    <a:pos x="102" y="226"/>
                  </a:cxn>
                  <a:cxn ang="0">
                    <a:pos x="120" y="226"/>
                  </a:cxn>
                  <a:cxn ang="0">
                    <a:pos x="126" y="250"/>
                  </a:cxn>
                  <a:cxn ang="0">
                    <a:pos x="142" y="252"/>
                  </a:cxn>
                  <a:cxn ang="0">
                    <a:pos x="152" y="248"/>
                  </a:cxn>
                  <a:cxn ang="0">
                    <a:pos x="148" y="230"/>
                  </a:cxn>
                  <a:cxn ang="0">
                    <a:pos x="158" y="240"/>
                  </a:cxn>
                  <a:cxn ang="0">
                    <a:pos x="80" y="100"/>
                  </a:cxn>
                  <a:cxn ang="0">
                    <a:pos x="90" y="100"/>
                  </a:cxn>
                  <a:cxn ang="0">
                    <a:pos x="106" y="108"/>
                  </a:cxn>
                  <a:cxn ang="0">
                    <a:pos x="98" y="92"/>
                  </a:cxn>
                  <a:cxn ang="0">
                    <a:pos x="88" y="86"/>
                  </a:cxn>
                  <a:cxn ang="0">
                    <a:pos x="70" y="86"/>
                  </a:cxn>
                  <a:cxn ang="0">
                    <a:pos x="62" y="70"/>
                  </a:cxn>
                  <a:cxn ang="0">
                    <a:pos x="66" y="38"/>
                  </a:cxn>
                  <a:cxn ang="0">
                    <a:pos x="64" y="12"/>
                  </a:cxn>
                  <a:cxn ang="0">
                    <a:pos x="58" y="0"/>
                  </a:cxn>
                  <a:cxn ang="0">
                    <a:pos x="40" y="4"/>
                  </a:cxn>
                  <a:cxn ang="0">
                    <a:pos x="30" y="20"/>
                  </a:cxn>
                  <a:cxn ang="0">
                    <a:pos x="38" y="36"/>
                  </a:cxn>
                  <a:cxn ang="0">
                    <a:pos x="36" y="52"/>
                  </a:cxn>
                  <a:cxn ang="0">
                    <a:pos x="28" y="58"/>
                  </a:cxn>
                  <a:cxn ang="0">
                    <a:pos x="46" y="84"/>
                  </a:cxn>
                  <a:cxn ang="0">
                    <a:pos x="70" y="92"/>
                  </a:cxn>
                  <a:cxn ang="0">
                    <a:pos x="64" y="110"/>
                  </a:cxn>
                  <a:cxn ang="0">
                    <a:pos x="54" y="108"/>
                  </a:cxn>
                  <a:cxn ang="0">
                    <a:pos x="60" y="126"/>
                  </a:cxn>
                  <a:cxn ang="0">
                    <a:pos x="68" y="116"/>
                  </a:cxn>
                  <a:cxn ang="0">
                    <a:pos x="96" y="166"/>
                  </a:cxn>
                  <a:cxn ang="0">
                    <a:pos x="90" y="190"/>
                  </a:cxn>
                  <a:cxn ang="0">
                    <a:pos x="104" y="178"/>
                  </a:cxn>
                  <a:cxn ang="0">
                    <a:pos x="100" y="154"/>
                  </a:cxn>
                  <a:cxn ang="0">
                    <a:pos x="96" y="140"/>
                  </a:cxn>
                  <a:cxn ang="0">
                    <a:pos x="78" y="136"/>
                  </a:cxn>
                  <a:cxn ang="0">
                    <a:pos x="82" y="146"/>
                  </a:cxn>
                  <a:cxn ang="0">
                    <a:pos x="86" y="162"/>
                  </a:cxn>
                </a:cxnLst>
                <a:rect l="0" t="0" r="r" b="b"/>
                <a:pathLst>
                  <a:path w="162" h="256">
                    <a:moveTo>
                      <a:pt x="112" y="128"/>
                    </a:moveTo>
                    <a:lnTo>
                      <a:pt x="114" y="130"/>
                    </a:lnTo>
                    <a:lnTo>
                      <a:pt x="116" y="130"/>
                    </a:lnTo>
                    <a:lnTo>
                      <a:pt x="118" y="132"/>
                    </a:lnTo>
                    <a:lnTo>
                      <a:pt x="120" y="132"/>
                    </a:lnTo>
                    <a:lnTo>
                      <a:pt x="124" y="134"/>
                    </a:lnTo>
                    <a:lnTo>
                      <a:pt x="128" y="136"/>
                    </a:lnTo>
                    <a:lnTo>
                      <a:pt x="130" y="136"/>
                    </a:lnTo>
                    <a:lnTo>
                      <a:pt x="130" y="138"/>
                    </a:lnTo>
                    <a:lnTo>
                      <a:pt x="128" y="140"/>
                    </a:lnTo>
                    <a:lnTo>
                      <a:pt x="126" y="140"/>
                    </a:lnTo>
                    <a:lnTo>
                      <a:pt x="122" y="140"/>
                    </a:lnTo>
                    <a:lnTo>
                      <a:pt x="120" y="140"/>
                    </a:lnTo>
                    <a:lnTo>
                      <a:pt x="124" y="142"/>
                    </a:lnTo>
                    <a:lnTo>
                      <a:pt x="126" y="144"/>
                    </a:lnTo>
                    <a:lnTo>
                      <a:pt x="128" y="146"/>
                    </a:lnTo>
                    <a:lnTo>
                      <a:pt x="130" y="148"/>
                    </a:lnTo>
                    <a:lnTo>
                      <a:pt x="132" y="148"/>
                    </a:lnTo>
                    <a:lnTo>
                      <a:pt x="132" y="150"/>
                    </a:lnTo>
                    <a:lnTo>
                      <a:pt x="134" y="150"/>
                    </a:lnTo>
                    <a:lnTo>
                      <a:pt x="134" y="152"/>
                    </a:lnTo>
                    <a:lnTo>
                      <a:pt x="136" y="152"/>
                    </a:lnTo>
                    <a:lnTo>
                      <a:pt x="136" y="150"/>
                    </a:lnTo>
                    <a:lnTo>
                      <a:pt x="136" y="148"/>
                    </a:lnTo>
                    <a:lnTo>
                      <a:pt x="138" y="148"/>
                    </a:lnTo>
                    <a:lnTo>
                      <a:pt x="140" y="148"/>
                    </a:lnTo>
                    <a:lnTo>
                      <a:pt x="142" y="148"/>
                    </a:lnTo>
                    <a:lnTo>
                      <a:pt x="142" y="150"/>
                    </a:lnTo>
                    <a:lnTo>
                      <a:pt x="142" y="146"/>
                    </a:lnTo>
                    <a:lnTo>
                      <a:pt x="140" y="144"/>
                    </a:lnTo>
                    <a:lnTo>
                      <a:pt x="138" y="142"/>
                    </a:lnTo>
                    <a:lnTo>
                      <a:pt x="138" y="140"/>
                    </a:lnTo>
                    <a:lnTo>
                      <a:pt x="136" y="138"/>
                    </a:lnTo>
                    <a:lnTo>
                      <a:pt x="136" y="136"/>
                    </a:lnTo>
                    <a:lnTo>
                      <a:pt x="136" y="134"/>
                    </a:lnTo>
                    <a:lnTo>
                      <a:pt x="134" y="132"/>
                    </a:lnTo>
                    <a:lnTo>
                      <a:pt x="134" y="130"/>
                    </a:lnTo>
                    <a:lnTo>
                      <a:pt x="130" y="126"/>
                    </a:lnTo>
                    <a:lnTo>
                      <a:pt x="128" y="124"/>
                    </a:lnTo>
                    <a:lnTo>
                      <a:pt x="124" y="122"/>
                    </a:lnTo>
                    <a:lnTo>
                      <a:pt x="122" y="120"/>
                    </a:lnTo>
                    <a:lnTo>
                      <a:pt x="118" y="118"/>
                    </a:lnTo>
                    <a:lnTo>
                      <a:pt x="116" y="118"/>
                    </a:lnTo>
                    <a:lnTo>
                      <a:pt x="114" y="118"/>
                    </a:lnTo>
                    <a:lnTo>
                      <a:pt x="112" y="118"/>
                    </a:lnTo>
                    <a:lnTo>
                      <a:pt x="112" y="120"/>
                    </a:lnTo>
                    <a:lnTo>
                      <a:pt x="110" y="122"/>
                    </a:lnTo>
                    <a:lnTo>
                      <a:pt x="110" y="124"/>
                    </a:lnTo>
                    <a:lnTo>
                      <a:pt x="112" y="126"/>
                    </a:lnTo>
                    <a:lnTo>
                      <a:pt x="112" y="128"/>
                    </a:lnTo>
                    <a:close/>
                    <a:moveTo>
                      <a:pt x="104" y="148"/>
                    </a:moveTo>
                    <a:lnTo>
                      <a:pt x="110" y="158"/>
                    </a:lnTo>
                    <a:lnTo>
                      <a:pt x="110" y="164"/>
                    </a:lnTo>
                    <a:lnTo>
                      <a:pt x="112" y="168"/>
                    </a:lnTo>
                    <a:lnTo>
                      <a:pt x="112" y="172"/>
                    </a:lnTo>
                    <a:lnTo>
                      <a:pt x="112" y="174"/>
                    </a:lnTo>
                    <a:lnTo>
                      <a:pt x="112" y="178"/>
                    </a:lnTo>
                    <a:lnTo>
                      <a:pt x="114" y="176"/>
                    </a:lnTo>
                    <a:lnTo>
                      <a:pt x="114" y="172"/>
                    </a:lnTo>
                    <a:lnTo>
                      <a:pt x="114" y="170"/>
                    </a:lnTo>
                    <a:lnTo>
                      <a:pt x="114" y="166"/>
                    </a:lnTo>
                    <a:lnTo>
                      <a:pt x="116" y="164"/>
                    </a:lnTo>
                    <a:lnTo>
                      <a:pt x="116" y="160"/>
                    </a:lnTo>
                    <a:lnTo>
                      <a:pt x="114" y="158"/>
                    </a:lnTo>
                    <a:lnTo>
                      <a:pt x="114" y="156"/>
                    </a:lnTo>
                    <a:lnTo>
                      <a:pt x="112" y="154"/>
                    </a:lnTo>
                    <a:lnTo>
                      <a:pt x="110" y="150"/>
                    </a:lnTo>
                    <a:lnTo>
                      <a:pt x="110" y="148"/>
                    </a:lnTo>
                    <a:lnTo>
                      <a:pt x="104" y="148"/>
                    </a:lnTo>
                    <a:close/>
                    <a:moveTo>
                      <a:pt x="126" y="160"/>
                    </a:moveTo>
                    <a:lnTo>
                      <a:pt x="128" y="162"/>
                    </a:lnTo>
                    <a:lnTo>
                      <a:pt x="130" y="164"/>
                    </a:lnTo>
                    <a:lnTo>
                      <a:pt x="130" y="166"/>
                    </a:lnTo>
                    <a:lnTo>
                      <a:pt x="132" y="166"/>
                    </a:lnTo>
                    <a:lnTo>
                      <a:pt x="134" y="168"/>
                    </a:lnTo>
                    <a:lnTo>
                      <a:pt x="134" y="170"/>
                    </a:lnTo>
                    <a:lnTo>
                      <a:pt x="136" y="170"/>
                    </a:lnTo>
                    <a:lnTo>
                      <a:pt x="136" y="156"/>
                    </a:lnTo>
                    <a:lnTo>
                      <a:pt x="134" y="156"/>
                    </a:lnTo>
                    <a:lnTo>
                      <a:pt x="132" y="154"/>
                    </a:lnTo>
                    <a:lnTo>
                      <a:pt x="130" y="154"/>
                    </a:lnTo>
                    <a:lnTo>
                      <a:pt x="128" y="154"/>
                    </a:lnTo>
                    <a:lnTo>
                      <a:pt x="128" y="150"/>
                    </a:lnTo>
                    <a:lnTo>
                      <a:pt x="126" y="148"/>
                    </a:lnTo>
                    <a:lnTo>
                      <a:pt x="124" y="148"/>
                    </a:lnTo>
                    <a:lnTo>
                      <a:pt x="122" y="146"/>
                    </a:lnTo>
                    <a:lnTo>
                      <a:pt x="118" y="146"/>
                    </a:lnTo>
                    <a:lnTo>
                      <a:pt x="118" y="148"/>
                    </a:lnTo>
                    <a:lnTo>
                      <a:pt x="116" y="148"/>
                    </a:lnTo>
                    <a:lnTo>
                      <a:pt x="116" y="150"/>
                    </a:lnTo>
                    <a:lnTo>
                      <a:pt x="116" y="158"/>
                    </a:lnTo>
                    <a:lnTo>
                      <a:pt x="120" y="156"/>
                    </a:lnTo>
                    <a:lnTo>
                      <a:pt x="122" y="156"/>
                    </a:lnTo>
                    <a:lnTo>
                      <a:pt x="122" y="154"/>
                    </a:lnTo>
                    <a:lnTo>
                      <a:pt x="124" y="156"/>
                    </a:lnTo>
                    <a:lnTo>
                      <a:pt x="124" y="158"/>
                    </a:lnTo>
                    <a:lnTo>
                      <a:pt x="124" y="160"/>
                    </a:lnTo>
                    <a:lnTo>
                      <a:pt x="126" y="160"/>
                    </a:lnTo>
                    <a:close/>
                    <a:moveTo>
                      <a:pt x="40" y="158"/>
                    </a:moveTo>
                    <a:lnTo>
                      <a:pt x="38" y="156"/>
                    </a:lnTo>
                    <a:lnTo>
                      <a:pt x="38" y="144"/>
                    </a:lnTo>
                    <a:lnTo>
                      <a:pt x="40" y="144"/>
                    </a:lnTo>
                    <a:lnTo>
                      <a:pt x="38" y="142"/>
                    </a:lnTo>
                    <a:lnTo>
                      <a:pt x="36" y="140"/>
                    </a:lnTo>
                    <a:lnTo>
                      <a:pt x="36" y="138"/>
                    </a:lnTo>
                    <a:lnTo>
                      <a:pt x="34" y="140"/>
                    </a:lnTo>
                    <a:lnTo>
                      <a:pt x="34" y="142"/>
                    </a:lnTo>
                    <a:lnTo>
                      <a:pt x="34" y="144"/>
                    </a:lnTo>
                    <a:lnTo>
                      <a:pt x="32" y="146"/>
                    </a:lnTo>
                    <a:lnTo>
                      <a:pt x="30" y="148"/>
                    </a:lnTo>
                    <a:lnTo>
                      <a:pt x="30" y="150"/>
                    </a:lnTo>
                    <a:lnTo>
                      <a:pt x="28" y="152"/>
                    </a:lnTo>
                    <a:lnTo>
                      <a:pt x="28" y="154"/>
                    </a:lnTo>
                    <a:lnTo>
                      <a:pt x="30" y="154"/>
                    </a:lnTo>
                    <a:lnTo>
                      <a:pt x="30" y="156"/>
                    </a:lnTo>
                    <a:lnTo>
                      <a:pt x="32" y="158"/>
                    </a:lnTo>
                    <a:lnTo>
                      <a:pt x="34" y="158"/>
                    </a:lnTo>
                    <a:lnTo>
                      <a:pt x="36" y="160"/>
                    </a:lnTo>
                    <a:lnTo>
                      <a:pt x="36" y="162"/>
                    </a:lnTo>
                    <a:lnTo>
                      <a:pt x="34" y="162"/>
                    </a:lnTo>
                    <a:lnTo>
                      <a:pt x="32" y="164"/>
                    </a:lnTo>
                    <a:lnTo>
                      <a:pt x="28" y="166"/>
                    </a:lnTo>
                    <a:lnTo>
                      <a:pt x="26" y="168"/>
                    </a:lnTo>
                    <a:lnTo>
                      <a:pt x="24" y="168"/>
                    </a:lnTo>
                    <a:lnTo>
                      <a:pt x="24" y="170"/>
                    </a:lnTo>
                    <a:lnTo>
                      <a:pt x="24" y="172"/>
                    </a:lnTo>
                    <a:lnTo>
                      <a:pt x="22" y="174"/>
                    </a:lnTo>
                    <a:lnTo>
                      <a:pt x="22" y="176"/>
                    </a:lnTo>
                    <a:lnTo>
                      <a:pt x="20" y="176"/>
                    </a:lnTo>
                    <a:lnTo>
                      <a:pt x="18" y="176"/>
                    </a:lnTo>
                    <a:lnTo>
                      <a:pt x="18" y="178"/>
                    </a:lnTo>
                    <a:lnTo>
                      <a:pt x="16" y="178"/>
                    </a:lnTo>
                    <a:lnTo>
                      <a:pt x="18" y="180"/>
                    </a:lnTo>
                    <a:lnTo>
                      <a:pt x="18" y="182"/>
                    </a:lnTo>
                    <a:lnTo>
                      <a:pt x="16" y="184"/>
                    </a:lnTo>
                    <a:lnTo>
                      <a:pt x="12" y="186"/>
                    </a:lnTo>
                    <a:lnTo>
                      <a:pt x="10" y="188"/>
                    </a:lnTo>
                    <a:lnTo>
                      <a:pt x="8" y="188"/>
                    </a:lnTo>
                    <a:lnTo>
                      <a:pt x="6" y="188"/>
                    </a:lnTo>
                    <a:lnTo>
                      <a:pt x="6" y="190"/>
                    </a:lnTo>
                    <a:lnTo>
                      <a:pt x="4" y="190"/>
                    </a:lnTo>
                    <a:lnTo>
                      <a:pt x="4" y="192"/>
                    </a:lnTo>
                    <a:lnTo>
                      <a:pt x="2" y="194"/>
                    </a:lnTo>
                    <a:lnTo>
                      <a:pt x="2" y="196"/>
                    </a:lnTo>
                    <a:lnTo>
                      <a:pt x="0" y="200"/>
                    </a:lnTo>
                    <a:lnTo>
                      <a:pt x="0" y="204"/>
                    </a:lnTo>
                    <a:lnTo>
                      <a:pt x="0" y="206"/>
                    </a:lnTo>
                    <a:lnTo>
                      <a:pt x="2" y="202"/>
                    </a:lnTo>
                    <a:lnTo>
                      <a:pt x="4" y="202"/>
                    </a:lnTo>
                    <a:lnTo>
                      <a:pt x="6" y="200"/>
                    </a:lnTo>
                    <a:lnTo>
                      <a:pt x="8" y="200"/>
                    </a:lnTo>
                    <a:lnTo>
                      <a:pt x="8" y="196"/>
                    </a:lnTo>
                    <a:lnTo>
                      <a:pt x="8" y="194"/>
                    </a:lnTo>
                    <a:lnTo>
                      <a:pt x="12" y="194"/>
                    </a:lnTo>
                    <a:lnTo>
                      <a:pt x="14" y="192"/>
                    </a:lnTo>
                    <a:lnTo>
                      <a:pt x="16" y="192"/>
                    </a:lnTo>
                    <a:lnTo>
                      <a:pt x="18" y="190"/>
                    </a:lnTo>
                    <a:lnTo>
                      <a:pt x="20" y="190"/>
                    </a:lnTo>
                    <a:lnTo>
                      <a:pt x="20" y="184"/>
                    </a:lnTo>
                    <a:lnTo>
                      <a:pt x="20" y="182"/>
                    </a:lnTo>
                    <a:lnTo>
                      <a:pt x="20" y="180"/>
                    </a:lnTo>
                    <a:lnTo>
                      <a:pt x="22" y="178"/>
                    </a:lnTo>
                    <a:lnTo>
                      <a:pt x="24" y="178"/>
                    </a:lnTo>
                    <a:lnTo>
                      <a:pt x="26" y="176"/>
                    </a:lnTo>
                    <a:lnTo>
                      <a:pt x="30" y="174"/>
                    </a:lnTo>
                    <a:lnTo>
                      <a:pt x="34" y="174"/>
                    </a:lnTo>
                    <a:lnTo>
                      <a:pt x="36" y="172"/>
                    </a:lnTo>
                    <a:lnTo>
                      <a:pt x="40" y="170"/>
                    </a:lnTo>
                    <a:lnTo>
                      <a:pt x="40" y="168"/>
                    </a:lnTo>
                    <a:lnTo>
                      <a:pt x="42" y="168"/>
                    </a:lnTo>
                    <a:lnTo>
                      <a:pt x="42" y="164"/>
                    </a:lnTo>
                    <a:lnTo>
                      <a:pt x="40" y="160"/>
                    </a:lnTo>
                    <a:lnTo>
                      <a:pt x="40" y="158"/>
                    </a:lnTo>
                    <a:close/>
                    <a:moveTo>
                      <a:pt x="162" y="222"/>
                    </a:moveTo>
                    <a:lnTo>
                      <a:pt x="160" y="220"/>
                    </a:lnTo>
                    <a:lnTo>
                      <a:pt x="160" y="218"/>
                    </a:lnTo>
                    <a:lnTo>
                      <a:pt x="160" y="216"/>
                    </a:lnTo>
                    <a:lnTo>
                      <a:pt x="158" y="214"/>
                    </a:lnTo>
                    <a:lnTo>
                      <a:pt x="158" y="194"/>
                    </a:lnTo>
                    <a:lnTo>
                      <a:pt x="158" y="192"/>
                    </a:lnTo>
                    <a:lnTo>
                      <a:pt x="158" y="190"/>
                    </a:lnTo>
                    <a:lnTo>
                      <a:pt x="156" y="188"/>
                    </a:lnTo>
                    <a:lnTo>
                      <a:pt x="156" y="186"/>
                    </a:lnTo>
                    <a:lnTo>
                      <a:pt x="154" y="186"/>
                    </a:lnTo>
                    <a:lnTo>
                      <a:pt x="152" y="184"/>
                    </a:lnTo>
                    <a:lnTo>
                      <a:pt x="148" y="182"/>
                    </a:lnTo>
                    <a:lnTo>
                      <a:pt x="146" y="178"/>
                    </a:lnTo>
                    <a:lnTo>
                      <a:pt x="144" y="178"/>
                    </a:lnTo>
                    <a:lnTo>
                      <a:pt x="142" y="176"/>
                    </a:lnTo>
                    <a:lnTo>
                      <a:pt x="140" y="176"/>
                    </a:lnTo>
                    <a:lnTo>
                      <a:pt x="140" y="174"/>
                    </a:lnTo>
                    <a:lnTo>
                      <a:pt x="138" y="174"/>
                    </a:lnTo>
                    <a:lnTo>
                      <a:pt x="138" y="176"/>
                    </a:lnTo>
                    <a:lnTo>
                      <a:pt x="138" y="178"/>
                    </a:lnTo>
                    <a:lnTo>
                      <a:pt x="140" y="180"/>
                    </a:lnTo>
                    <a:lnTo>
                      <a:pt x="142" y="182"/>
                    </a:lnTo>
                    <a:lnTo>
                      <a:pt x="142" y="184"/>
                    </a:lnTo>
                    <a:lnTo>
                      <a:pt x="144" y="186"/>
                    </a:lnTo>
                    <a:lnTo>
                      <a:pt x="144" y="188"/>
                    </a:lnTo>
                    <a:lnTo>
                      <a:pt x="142" y="188"/>
                    </a:lnTo>
                    <a:lnTo>
                      <a:pt x="136" y="188"/>
                    </a:lnTo>
                    <a:lnTo>
                      <a:pt x="134" y="190"/>
                    </a:lnTo>
                    <a:lnTo>
                      <a:pt x="132" y="190"/>
                    </a:lnTo>
                    <a:lnTo>
                      <a:pt x="132" y="198"/>
                    </a:lnTo>
                    <a:lnTo>
                      <a:pt x="126" y="198"/>
                    </a:lnTo>
                    <a:lnTo>
                      <a:pt x="126" y="200"/>
                    </a:lnTo>
                    <a:lnTo>
                      <a:pt x="126" y="202"/>
                    </a:lnTo>
                    <a:lnTo>
                      <a:pt x="122" y="202"/>
                    </a:lnTo>
                    <a:lnTo>
                      <a:pt x="122" y="204"/>
                    </a:lnTo>
                    <a:lnTo>
                      <a:pt x="120" y="204"/>
                    </a:lnTo>
                    <a:lnTo>
                      <a:pt x="118" y="204"/>
                    </a:lnTo>
                    <a:lnTo>
                      <a:pt x="116" y="204"/>
                    </a:lnTo>
                    <a:lnTo>
                      <a:pt x="114" y="202"/>
                    </a:lnTo>
                    <a:lnTo>
                      <a:pt x="112" y="202"/>
                    </a:lnTo>
                    <a:lnTo>
                      <a:pt x="108" y="202"/>
                    </a:lnTo>
                    <a:lnTo>
                      <a:pt x="106" y="204"/>
                    </a:lnTo>
                    <a:lnTo>
                      <a:pt x="104" y="206"/>
                    </a:lnTo>
                    <a:lnTo>
                      <a:pt x="102" y="208"/>
                    </a:lnTo>
                    <a:lnTo>
                      <a:pt x="102" y="210"/>
                    </a:lnTo>
                    <a:lnTo>
                      <a:pt x="100" y="212"/>
                    </a:lnTo>
                    <a:lnTo>
                      <a:pt x="100" y="214"/>
                    </a:lnTo>
                    <a:lnTo>
                      <a:pt x="98" y="216"/>
                    </a:lnTo>
                    <a:lnTo>
                      <a:pt x="98" y="214"/>
                    </a:lnTo>
                    <a:lnTo>
                      <a:pt x="96" y="214"/>
                    </a:lnTo>
                    <a:lnTo>
                      <a:pt x="94" y="212"/>
                    </a:lnTo>
                    <a:lnTo>
                      <a:pt x="94" y="210"/>
                    </a:lnTo>
                    <a:lnTo>
                      <a:pt x="92" y="212"/>
                    </a:lnTo>
                    <a:lnTo>
                      <a:pt x="92" y="214"/>
                    </a:lnTo>
                    <a:lnTo>
                      <a:pt x="90" y="216"/>
                    </a:lnTo>
                    <a:lnTo>
                      <a:pt x="88" y="220"/>
                    </a:lnTo>
                    <a:lnTo>
                      <a:pt x="88" y="222"/>
                    </a:lnTo>
                    <a:lnTo>
                      <a:pt x="88" y="224"/>
                    </a:lnTo>
                    <a:lnTo>
                      <a:pt x="88" y="226"/>
                    </a:lnTo>
                    <a:lnTo>
                      <a:pt x="90" y="228"/>
                    </a:lnTo>
                    <a:lnTo>
                      <a:pt x="92" y="228"/>
                    </a:lnTo>
                    <a:lnTo>
                      <a:pt x="96" y="224"/>
                    </a:lnTo>
                    <a:lnTo>
                      <a:pt x="98" y="226"/>
                    </a:lnTo>
                    <a:lnTo>
                      <a:pt x="98" y="228"/>
                    </a:lnTo>
                    <a:lnTo>
                      <a:pt x="100" y="228"/>
                    </a:lnTo>
                    <a:lnTo>
                      <a:pt x="102" y="228"/>
                    </a:lnTo>
                    <a:lnTo>
                      <a:pt x="102" y="226"/>
                    </a:lnTo>
                    <a:lnTo>
                      <a:pt x="104" y="226"/>
                    </a:lnTo>
                    <a:lnTo>
                      <a:pt x="108" y="224"/>
                    </a:lnTo>
                    <a:lnTo>
                      <a:pt x="110" y="224"/>
                    </a:lnTo>
                    <a:lnTo>
                      <a:pt x="110" y="222"/>
                    </a:lnTo>
                    <a:lnTo>
                      <a:pt x="112" y="222"/>
                    </a:lnTo>
                    <a:lnTo>
                      <a:pt x="114" y="222"/>
                    </a:lnTo>
                    <a:lnTo>
                      <a:pt x="116" y="224"/>
                    </a:lnTo>
                    <a:lnTo>
                      <a:pt x="118" y="226"/>
                    </a:lnTo>
                    <a:lnTo>
                      <a:pt x="120" y="226"/>
                    </a:lnTo>
                    <a:lnTo>
                      <a:pt x="122" y="228"/>
                    </a:lnTo>
                    <a:lnTo>
                      <a:pt x="120" y="230"/>
                    </a:lnTo>
                    <a:lnTo>
                      <a:pt x="118" y="232"/>
                    </a:lnTo>
                    <a:lnTo>
                      <a:pt x="118" y="236"/>
                    </a:lnTo>
                    <a:lnTo>
                      <a:pt x="120" y="238"/>
                    </a:lnTo>
                    <a:lnTo>
                      <a:pt x="120" y="240"/>
                    </a:lnTo>
                    <a:lnTo>
                      <a:pt x="122" y="244"/>
                    </a:lnTo>
                    <a:lnTo>
                      <a:pt x="124" y="246"/>
                    </a:lnTo>
                    <a:lnTo>
                      <a:pt x="126" y="248"/>
                    </a:lnTo>
                    <a:lnTo>
                      <a:pt x="126" y="250"/>
                    </a:lnTo>
                    <a:lnTo>
                      <a:pt x="128" y="250"/>
                    </a:lnTo>
                    <a:lnTo>
                      <a:pt x="130" y="252"/>
                    </a:lnTo>
                    <a:lnTo>
                      <a:pt x="132" y="252"/>
                    </a:lnTo>
                    <a:lnTo>
                      <a:pt x="134" y="254"/>
                    </a:lnTo>
                    <a:lnTo>
                      <a:pt x="136" y="254"/>
                    </a:lnTo>
                    <a:lnTo>
                      <a:pt x="138" y="254"/>
                    </a:lnTo>
                    <a:lnTo>
                      <a:pt x="140" y="254"/>
                    </a:lnTo>
                    <a:lnTo>
                      <a:pt x="142" y="252"/>
                    </a:lnTo>
                    <a:lnTo>
                      <a:pt x="144" y="250"/>
                    </a:lnTo>
                    <a:lnTo>
                      <a:pt x="144" y="252"/>
                    </a:lnTo>
                    <a:lnTo>
                      <a:pt x="146" y="254"/>
                    </a:lnTo>
                    <a:lnTo>
                      <a:pt x="146" y="256"/>
                    </a:lnTo>
                    <a:lnTo>
                      <a:pt x="148" y="256"/>
                    </a:lnTo>
                    <a:lnTo>
                      <a:pt x="150" y="256"/>
                    </a:lnTo>
                    <a:lnTo>
                      <a:pt x="150" y="248"/>
                    </a:lnTo>
                    <a:lnTo>
                      <a:pt x="152" y="248"/>
                    </a:lnTo>
                    <a:lnTo>
                      <a:pt x="150" y="248"/>
                    </a:lnTo>
                    <a:lnTo>
                      <a:pt x="150" y="246"/>
                    </a:lnTo>
                    <a:lnTo>
                      <a:pt x="148" y="242"/>
                    </a:lnTo>
                    <a:lnTo>
                      <a:pt x="146" y="240"/>
                    </a:lnTo>
                    <a:lnTo>
                      <a:pt x="146" y="238"/>
                    </a:lnTo>
                    <a:lnTo>
                      <a:pt x="146" y="234"/>
                    </a:lnTo>
                    <a:lnTo>
                      <a:pt x="146" y="232"/>
                    </a:lnTo>
                    <a:lnTo>
                      <a:pt x="148" y="230"/>
                    </a:lnTo>
                    <a:lnTo>
                      <a:pt x="150" y="228"/>
                    </a:lnTo>
                    <a:lnTo>
                      <a:pt x="150" y="230"/>
                    </a:lnTo>
                    <a:lnTo>
                      <a:pt x="152" y="234"/>
                    </a:lnTo>
                    <a:lnTo>
                      <a:pt x="154" y="236"/>
                    </a:lnTo>
                    <a:lnTo>
                      <a:pt x="154" y="238"/>
                    </a:lnTo>
                    <a:lnTo>
                      <a:pt x="156" y="240"/>
                    </a:lnTo>
                    <a:lnTo>
                      <a:pt x="156" y="242"/>
                    </a:lnTo>
                    <a:lnTo>
                      <a:pt x="156" y="240"/>
                    </a:lnTo>
                    <a:lnTo>
                      <a:pt x="158" y="240"/>
                    </a:lnTo>
                    <a:lnTo>
                      <a:pt x="158" y="238"/>
                    </a:lnTo>
                    <a:lnTo>
                      <a:pt x="158" y="236"/>
                    </a:lnTo>
                    <a:lnTo>
                      <a:pt x="160" y="234"/>
                    </a:lnTo>
                    <a:lnTo>
                      <a:pt x="162" y="230"/>
                    </a:lnTo>
                    <a:lnTo>
                      <a:pt x="162" y="228"/>
                    </a:lnTo>
                    <a:lnTo>
                      <a:pt x="162" y="226"/>
                    </a:lnTo>
                    <a:lnTo>
                      <a:pt x="162" y="224"/>
                    </a:lnTo>
                    <a:lnTo>
                      <a:pt x="162" y="222"/>
                    </a:lnTo>
                    <a:close/>
                    <a:moveTo>
                      <a:pt x="78" y="100"/>
                    </a:moveTo>
                    <a:lnTo>
                      <a:pt x="80" y="100"/>
                    </a:lnTo>
                    <a:lnTo>
                      <a:pt x="82" y="100"/>
                    </a:lnTo>
                    <a:lnTo>
                      <a:pt x="82" y="96"/>
                    </a:lnTo>
                    <a:lnTo>
                      <a:pt x="80" y="94"/>
                    </a:lnTo>
                    <a:lnTo>
                      <a:pt x="80" y="92"/>
                    </a:lnTo>
                    <a:lnTo>
                      <a:pt x="84" y="92"/>
                    </a:lnTo>
                    <a:lnTo>
                      <a:pt x="86" y="92"/>
                    </a:lnTo>
                    <a:lnTo>
                      <a:pt x="86" y="94"/>
                    </a:lnTo>
                    <a:lnTo>
                      <a:pt x="88" y="94"/>
                    </a:lnTo>
                    <a:lnTo>
                      <a:pt x="88" y="96"/>
                    </a:lnTo>
                    <a:lnTo>
                      <a:pt x="90" y="100"/>
                    </a:lnTo>
                    <a:lnTo>
                      <a:pt x="90" y="102"/>
                    </a:lnTo>
                    <a:lnTo>
                      <a:pt x="92" y="106"/>
                    </a:lnTo>
                    <a:lnTo>
                      <a:pt x="96" y="108"/>
                    </a:lnTo>
                    <a:lnTo>
                      <a:pt x="100" y="110"/>
                    </a:lnTo>
                    <a:lnTo>
                      <a:pt x="102" y="110"/>
                    </a:lnTo>
                    <a:lnTo>
                      <a:pt x="104" y="110"/>
                    </a:lnTo>
                    <a:lnTo>
                      <a:pt x="104" y="108"/>
                    </a:lnTo>
                    <a:lnTo>
                      <a:pt x="106" y="108"/>
                    </a:lnTo>
                    <a:lnTo>
                      <a:pt x="106" y="104"/>
                    </a:lnTo>
                    <a:lnTo>
                      <a:pt x="106" y="102"/>
                    </a:lnTo>
                    <a:lnTo>
                      <a:pt x="106" y="100"/>
                    </a:lnTo>
                    <a:lnTo>
                      <a:pt x="104" y="98"/>
                    </a:lnTo>
                    <a:lnTo>
                      <a:pt x="104" y="96"/>
                    </a:lnTo>
                    <a:lnTo>
                      <a:pt x="102" y="96"/>
                    </a:lnTo>
                    <a:lnTo>
                      <a:pt x="102" y="94"/>
                    </a:lnTo>
                    <a:lnTo>
                      <a:pt x="100" y="94"/>
                    </a:lnTo>
                    <a:lnTo>
                      <a:pt x="98" y="94"/>
                    </a:lnTo>
                    <a:lnTo>
                      <a:pt x="98" y="92"/>
                    </a:lnTo>
                    <a:lnTo>
                      <a:pt x="100" y="90"/>
                    </a:lnTo>
                    <a:lnTo>
                      <a:pt x="98" y="88"/>
                    </a:lnTo>
                    <a:lnTo>
                      <a:pt x="96" y="88"/>
                    </a:lnTo>
                    <a:lnTo>
                      <a:pt x="94" y="86"/>
                    </a:lnTo>
                    <a:lnTo>
                      <a:pt x="92" y="84"/>
                    </a:lnTo>
                    <a:lnTo>
                      <a:pt x="90" y="84"/>
                    </a:lnTo>
                    <a:lnTo>
                      <a:pt x="88" y="86"/>
                    </a:lnTo>
                    <a:lnTo>
                      <a:pt x="88" y="88"/>
                    </a:lnTo>
                    <a:lnTo>
                      <a:pt x="86" y="88"/>
                    </a:lnTo>
                    <a:lnTo>
                      <a:pt x="84" y="86"/>
                    </a:lnTo>
                    <a:lnTo>
                      <a:pt x="82" y="86"/>
                    </a:lnTo>
                    <a:lnTo>
                      <a:pt x="80" y="84"/>
                    </a:lnTo>
                    <a:lnTo>
                      <a:pt x="78" y="84"/>
                    </a:lnTo>
                    <a:lnTo>
                      <a:pt x="74" y="84"/>
                    </a:lnTo>
                    <a:lnTo>
                      <a:pt x="72" y="86"/>
                    </a:lnTo>
                    <a:lnTo>
                      <a:pt x="70" y="86"/>
                    </a:lnTo>
                    <a:lnTo>
                      <a:pt x="68" y="88"/>
                    </a:lnTo>
                    <a:lnTo>
                      <a:pt x="66" y="88"/>
                    </a:lnTo>
                    <a:lnTo>
                      <a:pt x="66" y="86"/>
                    </a:lnTo>
                    <a:lnTo>
                      <a:pt x="64" y="84"/>
                    </a:lnTo>
                    <a:lnTo>
                      <a:pt x="64" y="82"/>
                    </a:lnTo>
                    <a:lnTo>
                      <a:pt x="62" y="78"/>
                    </a:lnTo>
                    <a:lnTo>
                      <a:pt x="62" y="74"/>
                    </a:lnTo>
                    <a:lnTo>
                      <a:pt x="64" y="72"/>
                    </a:lnTo>
                    <a:lnTo>
                      <a:pt x="62" y="70"/>
                    </a:lnTo>
                    <a:lnTo>
                      <a:pt x="62" y="58"/>
                    </a:lnTo>
                    <a:lnTo>
                      <a:pt x="64" y="56"/>
                    </a:lnTo>
                    <a:lnTo>
                      <a:pt x="64" y="54"/>
                    </a:lnTo>
                    <a:lnTo>
                      <a:pt x="66" y="52"/>
                    </a:lnTo>
                    <a:lnTo>
                      <a:pt x="68" y="50"/>
                    </a:lnTo>
                    <a:lnTo>
                      <a:pt x="68" y="42"/>
                    </a:lnTo>
                    <a:lnTo>
                      <a:pt x="66" y="38"/>
                    </a:lnTo>
                    <a:lnTo>
                      <a:pt x="66" y="36"/>
                    </a:lnTo>
                    <a:lnTo>
                      <a:pt x="66" y="34"/>
                    </a:lnTo>
                    <a:lnTo>
                      <a:pt x="66" y="30"/>
                    </a:lnTo>
                    <a:lnTo>
                      <a:pt x="68" y="26"/>
                    </a:lnTo>
                    <a:lnTo>
                      <a:pt x="68" y="18"/>
                    </a:lnTo>
                    <a:lnTo>
                      <a:pt x="66" y="16"/>
                    </a:lnTo>
                    <a:lnTo>
                      <a:pt x="64" y="14"/>
                    </a:lnTo>
                    <a:lnTo>
                      <a:pt x="64" y="12"/>
                    </a:lnTo>
                    <a:lnTo>
                      <a:pt x="62" y="10"/>
                    </a:lnTo>
                    <a:lnTo>
                      <a:pt x="64" y="8"/>
                    </a:lnTo>
                    <a:lnTo>
                      <a:pt x="64" y="6"/>
                    </a:lnTo>
                    <a:lnTo>
                      <a:pt x="62" y="4"/>
                    </a:lnTo>
                    <a:lnTo>
                      <a:pt x="62" y="2"/>
                    </a:lnTo>
                    <a:lnTo>
                      <a:pt x="60" y="0"/>
                    </a:lnTo>
                    <a:lnTo>
                      <a:pt x="58" y="0"/>
                    </a:lnTo>
                    <a:lnTo>
                      <a:pt x="56" y="2"/>
                    </a:lnTo>
                    <a:lnTo>
                      <a:pt x="54" y="4"/>
                    </a:lnTo>
                    <a:lnTo>
                      <a:pt x="52" y="6"/>
                    </a:lnTo>
                    <a:lnTo>
                      <a:pt x="50" y="6"/>
                    </a:lnTo>
                    <a:lnTo>
                      <a:pt x="44" y="4"/>
                    </a:lnTo>
                    <a:lnTo>
                      <a:pt x="40" y="4"/>
                    </a:lnTo>
                    <a:lnTo>
                      <a:pt x="38" y="6"/>
                    </a:lnTo>
                    <a:lnTo>
                      <a:pt x="38" y="12"/>
                    </a:lnTo>
                    <a:lnTo>
                      <a:pt x="38" y="14"/>
                    </a:lnTo>
                    <a:lnTo>
                      <a:pt x="36" y="14"/>
                    </a:lnTo>
                    <a:lnTo>
                      <a:pt x="34" y="16"/>
                    </a:lnTo>
                    <a:lnTo>
                      <a:pt x="32" y="18"/>
                    </a:lnTo>
                    <a:lnTo>
                      <a:pt x="32" y="20"/>
                    </a:lnTo>
                    <a:lnTo>
                      <a:pt x="30" y="20"/>
                    </a:lnTo>
                    <a:lnTo>
                      <a:pt x="30" y="22"/>
                    </a:lnTo>
                    <a:lnTo>
                      <a:pt x="32" y="22"/>
                    </a:lnTo>
                    <a:lnTo>
                      <a:pt x="34" y="24"/>
                    </a:lnTo>
                    <a:lnTo>
                      <a:pt x="34" y="26"/>
                    </a:lnTo>
                    <a:lnTo>
                      <a:pt x="34" y="28"/>
                    </a:lnTo>
                    <a:lnTo>
                      <a:pt x="36" y="30"/>
                    </a:lnTo>
                    <a:lnTo>
                      <a:pt x="36" y="32"/>
                    </a:lnTo>
                    <a:lnTo>
                      <a:pt x="38" y="36"/>
                    </a:lnTo>
                    <a:lnTo>
                      <a:pt x="38" y="38"/>
                    </a:lnTo>
                    <a:lnTo>
                      <a:pt x="36" y="40"/>
                    </a:lnTo>
                    <a:lnTo>
                      <a:pt x="36" y="42"/>
                    </a:lnTo>
                    <a:lnTo>
                      <a:pt x="34" y="44"/>
                    </a:lnTo>
                    <a:lnTo>
                      <a:pt x="34" y="46"/>
                    </a:lnTo>
                    <a:lnTo>
                      <a:pt x="36" y="48"/>
                    </a:lnTo>
                    <a:lnTo>
                      <a:pt x="36" y="52"/>
                    </a:lnTo>
                    <a:lnTo>
                      <a:pt x="34" y="54"/>
                    </a:lnTo>
                    <a:lnTo>
                      <a:pt x="32" y="54"/>
                    </a:lnTo>
                    <a:lnTo>
                      <a:pt x="30" y="54"/>
                    </a:lnTo>
                    <a:lnTo>
                      <a:pt x="30" y="52"/>
                    </a:lnTo>
                    <a:lnTo>
                      <a:pt x="28" y="50"/>
                    </a:lnTo>
                    <a:lnTo>
                      <a:pt x="26" y="52"/>
                    </a:lnTo>
                    <a:lnTo>
                      <a:pt x="28" y="54"/>
                    </a:lnTo>
                    <a:lnTo>
                      <a:pt x="28" y="58"/>
                    </a:lnTo>
                    <a:lnTo>
                      <a:pt x="28" y="60"/>
                    </a:lnTo>
                    <a:lnTo>
                      <a:pt x="28" y="62"/>
                    </a:lnTo>
                    <a:lnTo>
                      <a:pt x="30" y="64"/>
                    </a:lnTo>
                    <a:lnTo>
                      <a:pt x="32" y="66"/>
                    </a:lnTo>
                    <a:lnTo>
                      <a:pt x="34" y="68"/>
                    </a:lnTo>
                    <a:lnTo>
                      <a:pt x="38" y="72"/>
                    </a:lnTo>
                    <a:lnTo>
                      <a:pt x="40" y="76"/>
                    </a:lnTo>
                    <a:lnTo>
                      <a:pt x="42" y="80"/>
                    </a:lnTo>
                    <a:lnTo>
                      <a:pt x="44" y="84"/>
                    </a:lnTo>
                    <a:lnTo>
                      <a:pt x="46" y="84"/>
                    </a:lnTo>
                    <a:lnTo>
                      <a:pt x="46" y="86"/>
                    </a:lnTo>
                    <a:lnTo>
                      <a:pt x="48" y="90"/>
                    </a:lnTo>
                    <a:lnTo>
                      <a:pt x="50" y="92"/>
                    </a:lnTo>
                    <a:lnTo>
                      <a:pt x="52" y="94"/>
                    </a:lnTo>
                    <a:lnTo>
                      <a:pt x="54" y="96"/>
                    </a:lnTo>
                    <a:lnTo>
                      <a:pt x="56" y="98"/>
                    </a:lnTo>
                    <a:lnTo>
                      <a:pt x="60" y="98"/>
                    </a:lnTo>
                    <a:lnTo>
                      <a:pt x="60" y="96"/>
                    </a:lnTo>
                    <a:lnTo>
                      <a:pt x="64" y="92"/>
                    </a:lnTo>
                    <a:lnTo>
                      <a:pt x="70" y="92"/>
                    </a:lnTo>
                    <a:lnTo>
                      <a:pt x="72" y="94"/>
                    </a:lnTo>
                    <a:lnTo>
                      <a:pt x="74" y="96"/>
                    </a:lnTo>
                    <a:lnTo>
                      <a:pt x="76" y="98"/>
                    </a:lnTo>
                    <a:lnTo>
                      <a:pt x="78" y="100"/>
                    </a:lnTo>
                    <a:close/>
                    <a:moveTo>
                      <a:pt x="66" y="114"/>
                    </a:moveTo>
                    <a:lnTo>
                      <a:pt x="66" y="112"/>
                    </a:lnTo>
                    <a:lnTo>
                      <a:pt x="64" y="112"/>
                    </a:lnTo>
                    <a:lnTo>
                      <a:pt x="64" y="110"/>
                    </a:lnTo>
                    <a:lnTo>
                      <a:pt x="64" y="108"/>
                    </a:lnTo>
                    <a:lnTo>
                      <a:pt x="64" y="106"/>
                    </a:lnTo>
                    <a:lnTo>
                      <a:pt x="64" y="104"/>
                    </a:lnTo>
                    <a:lnTo>
                      <a:pt x="62" y="102"/>
                    </a:lnTo>
                    <a:lnTo>
                      <a:pt x="60" y="102"/>
                    </a:lnTo>
                    <a:lnTo>
                      <a:pt x="48" y="102"/>
                    </a:lnTo>
                    <a:lnTo>
                      <a:pt x="52" y="106"/>
                    </a:lnTo>
                    <a:lnTo>
                      <a:pt x="54" y="108"/>
                    </a:lnTo>
                    <a:lnTo>
                      <a:pt x="56" y="110"/>
                    </a:lnTo>
                    <a:lnTo>
                      <a:pt x="56" y="112"/>
                    </a:lnTo>
                    <a:lnTo>
                      <a:pt x="58" y="114"/>
                    </a:lnTo>
                    <a:lnTo>
                      <a:pt x="58" y="116"/>
                    </a:lnTo>
                    <a:lnTo>
                      <a:pt x="58" y="118"/>
                    </a:lnTo>
                    <a:lnTo>
                      <a:pt x="60" y="120"/>
                    </a:lnTo>
                    <a:lnTo>
                      <a:pt x="60" y="122"/>
                    </a:lnTo>
                    <a:lnTo>
                      <a:pt x="60" y="124"/>
                    </a:lnTo>
                    <a:lnTo>
                      <a:pt x="60" y="126"/>
                    </a:lnTo>
                    <a:lnTo>
                      <a:pt x="62" y="126"/>
                    </a:lnTo>
                    <a:lnTo>
                      <a:pt x="62" y="128"/>
                    </a:lnTo>
                    <a:lnTo>
                      <a:pt x="62" y="126"/>
                    </a:lnTo>
                    <a:lnTo>
                      <a:pt x="64" y="126"/>
                    </a:lnTo>
                    <a:lnTo>
                      <a:pt x="66" y="124"/>
                    </a:lnTo>
                    <a:lnTo>
                      <a:pt x="66" y="122"/>
                    </a:lnTo>
                    <a:lnTo>
                      <a:pt x="66" y="120"/>
                    </a:lnTo>
                    <a:lnTo>
                      <a:pt x="68" y="120"/>
                    </a:lnTo>
                    <a:lnTo>
                      <a:pt x="68" y="116"/>
                    </a:lnTo>
                    <a:lnTo>
                      <a:pt x="66" y="116"/>
                    </a:lnTo>
                    <a:lnTo>
                      <a:pt x="66" y="114"/>
                    </a:lnTo>
                    <a:close/>
                    <a:moveTo>
                      <a:pt x="90" y="156"/>
                    </a:moveTo>
                    <a:lnTo>
                      <a:pt x="92" y="156"/>
                    </a:lnTo>
                    <a:lnTo>
                      <a:pt x="92" y="158"/>
                    </a:lnTo>
                    <a:lnTo>
                      <a:pt x="94" y="160"/>
                    </a:lnTo>
                    <a:lnTo>
                      <a:pt x="94" y="166"/>
                    </a:lnTo>
                    <a:lnTo>
                      <a:pt x="96" y="166"/>
                    </a:lnTo>
                    <a:lnTo>
                      <a:pt x="96" y="168"/>
                    </a:lnTo>
                    <a:lnTo>
                      <a:pt x="94" y="172"/>
                    </a:lnTo>
                    <a:lnTo>
                      <a:pt x="92" y="174"/>
                    </a:lnTo>
                    <a:lnTo>
                      <a:pt x="90" y="178"/>
                    </a:lnTo>
                    <a:lnTo>
                      <a:pt x="90" y="180"/>
                    </a:lnTo>
                    <a:lnTo>
                      <a:pt x="88" y="182"/>
                    </a:lnTo>
                    <a:lnTo>
                      <a:pt x="88" y="186"/>
                    </a:lnTo>
                    <a:lnTo>
                      <a:pt x="90" y="188"/>
                    </a:lnTo>
                    <a:lnTo>
                      <a:pt x="90" y="190"/>
                    </a:lnTo>
                    <a:lnTo>
                      <a:pt x="96" y="190"/>
                    </a:lnTo>
                    <a:lnTo>
                      <a:pt x="98" y="190"/>
                    </a:lnTo>
                    <a:lnTo>
                      <a:pt x="102" y="188"/>
                    </a:lnTo>
                    <a:lnTo>
                      <a:pt x="104" y="188"/>
                    </a:lnTo>
                    <a:lnTo>
                      <a:pt x="106" y="186"/>
                    </a:lnTo>
                    <a:lnTo>
                      <a:pt x="106" y="182"/>
                    </a:lnTo>
                    <a:lnTo>
                      <a:pt x="104" y="180"/>
                    </a:lnTo>
                    <a:lnTo>
                      <a:pt x="104" y="178"/>
                    </a:lnTo>
                    <a:lnTo>
                      <a:pt x="102" y="178"/>
                    </a:lnTo>
                    <a:lnTo>
                      <a:pt x="102" y="170"/>
                    </a:lnTo>
                    <a:lnTo>
                      <a:pt x="104" y="168"/>
                    </a:lnTo>
                    <a:lnTo>
                      <a:pt x="104" y="166"/>
                    </a:lnTo>
                    <a:lnTo>
                      <a:pt x="106" y="162"/>
                    </a:lnTo>
                    <a:lnTo>
                      <a:pt x="106" y="154"/>
                    </a:lnTo>
                    <a:lnTo>
                      <a:pt x="104" y="154"/>
                    </a:lnTo>
                    <a:lnTo>
                      <a:pt x="102" y="154"/>
                    </a:lnTo>
                    <a:lnTo>
                      <a:pt x="100" y="154"/>
                    </a:lnTo>
                    <a:lnTo>
                      <a:pt x="98" y="156"/>
                    </a:lnTo>
                    <a:lnTo>
                      <a:pt x="96" y="156"/>
                    </a:lnTo>
                    <a:lnTo>
                      <a:pt x="96" y="154"/>
                    </a:lnTo>
                    <a:lnTo>
                      <a:pt x="96" y="152"/>
                    </a:lnTo>
                    <a:lnTo>
                      <a:pt x="98" y="150"/>
                    </a:lnTo>
                    <a:lnTo>
                      <a:pt x="98" y="148"/>
                    </a:lnTo>
                    <a:lnTo>
                      <a:pt x="100" y="146"/>
                    </a:lnTo>
                    <a:lnTo>
                      <a:pt x="100" y="142"/>
                    </a:lnTo>
                    <a:lnTo>
                      <a:pt x="98" y="140"/>
                    </a:lnTo>
                    <a:lnTo>
                      <a:pt x="96" y="140"/>
                    </a:lnTo>
                    <a:lnTo>
                      <a:pt x="94" y="138"/>
                    </a:lnTo>
                    <a:lnTo>
                      <a:pt x="90" y="136"/>
                    </a:lnTo>
                    <a:lnTo>
                      <a:pt x="88" y="136"/>
                    </a:lnTo>
                    <a:lnTo>
                      <a:pt x="86" y="134"/>
                    </a:lnTo>
                    <a:lnTo>
                      <a:pt x="84" y="134"/>
                    </a:lnTo>
                    <a:lnTo>
                      <a:pt x="80" y="134"/>
                    </a:lnTo>
                    <a:lnTo>
                      <a:pt x="78" y="134"/>
                    </a:lnTo>
                    <a:lnTo>
                      <a:pt x="78" y="136"/>
                    </a:lnTo>
                    <a:lnTo>
                      <a:pt x="78" y="138"/>
                    </a:lnTo>
                    <a:lnTo>
                      <a:pt x="80" y="138"/>
                    </a:lnTo>
                    <a:lnTo>
                      <a:pt x="80" y="140"/>
                    </a:lnTo>
                    <a:lnTo>
                      <a:pt x="82" y="142"/>
                    </a:lnTo>
                    <a:lnTo>
                      <a:pt x="82" y="144"/>
                    </a:lnTo>
                    <a:lnTo>
                      <a:pt x="82" y="146"/>
                    </a:lnTo>
                    <a:lnTo>
                      <a:pt x="80" y="148"/>
                    </a:lnTo>
                    <a:lnTo>
                      <a:pt x="80" y="150"/>
                    </a:lnTo>
                    <a:lnTo>
                      <a:pt x="80" y="154"/>
                    </a:lnTo>
                    <a:lnTo>
                      <a:pt x="82" y="156"/>
                    </a:lnTo>
                    <a:lnTo>
                      <a:pt x="84" y="160"/>
                    </a:lnTo>
                    <a:lnTo>
                      <a:pt x="84" y="162"/>
                    </a:lnTo>
                    <a:lnTo>
                      <a:pt x="86" y="162"/>
                    </a:lnTo>
                    <a:lnTo>
                      <a:pt x="86" y="160"/>
                    </a:lnTo>
                    <a:lnTo>
                      <a:pt x="88" y="158"/>
                    </a:lnTo>
                    <a:lnTo>
                      <a:pt x="90" y="15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7" name="Freeform 216">
                <a:extLst>
                  <a:ext uri="{FF2B5EF4-FFF2-40B4-BE49-F238E27FC236}">
                    <a16:creationId xmlns:a16="http://schemas.microsoft.com/office/drawing/2014/main" id="{45BF7BCE-4D23-4925-9F19-EE626135F599}"/>
                  </a:ext>
                </a:extLst>
              </p:cNvPr>
              <p:cNvSpPr>
                <a:spLocks noChangeAspect="1" noEditPoints="1"/>
              </p:cNvSpPr>
              <p:nvPr/>
            </p:nvSpPr>
            <p:spPr bwMode="auto">
              <a:xfrm>
                <a:off x="7719502" y="4177108"/>
                <a:ext cx="340383" cy="275546"/>
              </a:xfrm>
              <a:custGeom>
                <a:avLst/>
                <a:gdLst/>
                <a:ahLst/>
                <a:cxnLst>
                  <a:cxn ang="0">
                    <a:pos x="192" y="90"/>
                  </a:cxn>
                  <a:cxn ang="0">
                    <a:pos x="180" y="84"/>
                  </a:cxn>
                  <a:cxn ang="0">
                    <a:pos x="98" y="20"/>
                  </a:cxn>
                  <a:cxn ang="0">
                    <a:pos x="94" y="26"/>
                  </a:cxn>
                  <a:cxn ang="0">
                    <a:pos x="70" y="28"/>
                  </a:cxn>
                  <a:cxn ang="0">
                    <a:pos x="46" y="20"/>
                  </a:cxn>
                  <a:cxn ang="0">
                    <a:pos x="36" y="16"/>
                  </a:cxn>
                  <a:cxn ang="0">
                    <a:pos x="22" y="28"/>
                  </a:cxn>
                  <a:cxn ang="0">
                    <a:pos x="16" y="46"/>
                  </a:cxn>
                  <a:cxn ang="0">
                    <a:pos x="10" y="62"/>
                  </a:cxn>
                  <a:cxn ang="0">
                    <a:pos x="8" y="82"/>
                  </a:cxn>
                  <a:cxn ang="0">
                    <a:pos x="2" y="102"/>
                  </a:cxn>
                  <a:cxn ang="0">
                    <a:pos x="10" y="108"/>
                  </a:cxn>
                  <a:cxn ang="0">
                    <a:pos x="14" y="122"/>
                  </a:cxn>
                  <a:cxn ang="0">
                    <a:pos x="8" y="144"/>
                  </a:cxn>
                  <a:cxn ang="0">
                    <a:pos x="18" y="158"/>
                  </a:cxn>
                  <a:cxn ang="0">
                    <a:pos x="24" y="136"/>
                  </a:cxn>
                  <a:cxn ang="0">
                    <a:pos x="30" y="102"/>
                  </a:cxn>
                  <a:cxn ang="0">
                    <a:pos x="30" y="82"/>
                  </a:cxn>
                  <a:cxn ang="0">
                    <a:pos x="38" y="102"/>
                  </a:cxn>
                  <a:cxn ang="0">
                    <a:pos x="46" y="126"/>
                  </a:cxn>
                  <a:cxn ang="0">
                    <a:pos x="54" y="154"/>
                  </a:cxn>
                  <a:cxn ang="0">
                    <a:pos x="66" y="156"/>
                  </a:cxn>
                  <a:cxn ang="0">
                    <a:pos x="70" y="140"/>
                  </a:cxn>
                  <a:cxn ang="0">
                    <a:pos x="80" y="134"/>
                  </a:cxn>
                  <a:cxn ang="0">
                    <a:pos x="64" y="112"/>
                  </a:cxn>
                  <a:cxn ang="0">
                    <a:pos x="62" y="98"/>
                  </a:cxn>
                  <a:cxn ang="0">
                    <a:pos x="60" y="82"/>
                  </a:cxn>
                  <a:cxn ang="0">
                    <a:pos x="60" y="72"/>
                  </a:cxn>
                  <a:cxn ang="0">
                    <a:pos x="80" y="60"/>
                  </a:cxn>
                  <a:cxn ang="0">
                    <a:pos x="72" y="50"/>
                  </a:cxn>
                  <a:cxn ang="0">
                    <a:pos x="60" y="54"/>
                  </a:cxn>
                  <a:cxn ang="0">
                    <a:pos x="42" y="68"/>
                  </a:cxn>
                  <a:cxn ang="0">
                    <a:pos x="24" y="54"/>
                  </a:cxn>
                  <a:cxn ang="0">
                    <a:pos x="32" y="32"/>
                  </a:cxn>
                  <a:cxn ang="0">
                    <a:pos x="56" y="32"/>
                  </a:cxn>
                  <a:cxn ang="0">
                    <a:pos x="80" y="38"/>
                  </a:cxn>
                  <a:cxn ang="0">
                    <a:pos x="104" y="28"/>
                  </a:cxn>
                  <a:cxn ang="0">
                    <a:pos x="112" y="16"/>
                  </a:cxn>
                  <a:cxn ang="0">
                    <a:pos x="168" y="54"/>
                  </a:cxn>
                  <a:cxn ang="0">
                    <a:pos x="166" y="44"/>
                  </a:cxn>
                  <a:cxn ang="0">
                    <a:pos x="176" y="42"/>
                  </a:cxn>
                  <a:cxn ang="0">
                    <a:pos x="176" y="32"/>
                  </a:cxn>
                  <a:cxn ang="0">
                    <a:pos x="166" y="26"/>
                  </a:cxn>
                  <a:cxn ang="0">
                    <a:pos x="154" y="30"/>
                  </a:cxn>
                  <a:cxn ang="0">
                    <a:pos x="160" y="8"/>
                  </a:cxn>
                  <a:cxn ang="0">
                    <a:pos x="152" y="10"/>
                  </a:cxn>
                  <a:cxn ang="0">
                    <a:pos x="146" y="32"/>
                  </a:cxn>
                  <a:cxn ang="0">
                    <a:pos x="152" y="50"/>
                  </a:cxn>
                  <a:cxn ang="0">
                    <a:pos x="134" y="102"/>
                  </a:cxn>
                  <a:cxn ang="0">
                    <a:pos x="130" y="114"/>
                  </a:cxn>
                  <a:cxn ang="0">
                    <a:pos x="204" y="112"/>
                  </a:cxn>
                  <a:cxn ang="0">
                    <a:pos x="196" y="100"/>
                  </a:cxn>
                  <a:cxn ang="0">
                    <a:pos x="176" y="96"/>
                  </a:cxn>
                  <a:cxn ang="0">
                    <a:pos x="158" y="108"/>
                  </a:cxn>
                  <a:cxn ang="0">
                    <a:pos x="164" y="110"/>
                  </a:cxn>
                  <a:cxn ang="0">
                    <a:pos x="174" y="108"/>
                  </a:cxn>
                  <a:cxn ang="0">
                    <a:pos x="186" y="104"/>
                  </a:cxn>
                  <a:cxn ang="0">
                    <a:pos x="192" y="116"/>
                  </a:cxn>
                  <a:cxn ang="0">
                    <a:pos x="204" y="120"/>
                  </a:cxn>
                </a:cxnLst>
                <a:rect l="0" t="0" r="r" b="b"/>
                <a:pathLst>
                  <a:path w="206" h="158">
                    <a:moveTo>
                      <a:pt x="180" y="86"/>
                    </a:moveTo>
                    <a:lnTo>
                      <a:pt x="182" y="88"/>
                    </a:lnTo>
                    <a:lnTo>
                      <a:pt x="182" y="90"/>
                    </a:lnTo>
                    <a:lnTo>
                      <a:pt x="184" y="92"/>
                    </a:lnTo>
                    <a:lnTo>
                      <a:pt x="186" y="92"/>
                    </a:lnTo>
                    <a:lnTo>
                      <a:pt x="188" y="92"/>
                    </a:lnTo>
                    <a:lnTo>
                      <a:pt x="190" y="92"/>
                    </a:lnTo>
                    <a:lnTo>
                      <a:pt x="192" y="90"/>
                    </a:lnTo>
                    <a:lnTo>
                      <a:pt x="194" y="88"/>
                    </a:lnTo>
                    <a:lnTo>
                      <a:pt x="196" y="86"/>
                    </a:lnTo>
                    <a:lnTo>
                      <a:pt x="196" y="84"/>
                    </a:lnTo>
                    <a:lnTo>
                      <a:pt x="196" y="82"/>
                    </a:lnTo>
                    <a:lnTo>
                      <a:pt x="194" y="82"/>
                    </a:lnTo>
                    <a:lnTo>
                      <a:pt x="180" y="82"/>
                    </a:lnTo>
                    <a:lnTo>
                      <a:pt x="180" y="84"/>
                    </a:lnTo>
                    <a:lnTo>
                      <a:pt x="180" y="86"/>
                    </a:lnTo>
                    <a:close/>
                    <a:moveTo>
                      <a:pt x="112" y="16"/>
                    </a:moveTo>
                    <a:lnTo>
                      <a:pt x="112" y="14"/>
                    </a:lnTo>
                    <a:lnTo>
                      <a:pt x="108" y="14"/>
                    </a:lnTo>
                    <a:lnTo>
                      <a:pt x="106" y="16"/>
                    </a:lnTo>
                    <a:lnTo>
                      <a:pt x="104" y="16"/>
                    </a:lnTo>
                    <a:lnTo>
                      <a:pt x="100" y="18"/>
                    </a:lnTo>
                    <a:lnTo>
                      <a:pt x="98" y="20"/>
                    </a:lnTo>
                    <a:lnTo>
                      <a:pt x="96" y="20"/>
                    </a:lnTo>
                    <a:lnTo>
                      <a:pt x="94" y="20"/>
                    </a:lnTo>
                    <a:lnTo>
                      <a:pt x="94" y="22"/>
                    </a:lnTo>
                    <a:lnTo>
                      <a:pt x="94" y="24"/>
                    </a:lnTo>
                    <a:lnTo>
                      <a:pt x="96" y="24"/>
                    </a:lnTo>
                    <a:lnTo>
                      <a:pt x="94" y="26"/>
                    </a:lnTo>
                    <a:lnTo>
                      <a:pt x="88" y="26"/>
                    </a:lnTo>
                    <a:lnTo>
                      <a:pt x="84" y="26"/>
                    </a:lnTo>
                    <a:lnTo>
                      <a:pt x="82" y="24"/>
                    </a:lnTo>
                    <a:lnTo>
                      <a:pt x="80" y="24"/>
                    </a:lnTo>
                    <a:lnTo>
                      <a:pt x="78" y="24"/>
                    </a:lnTo>
                    <a:lnTo>
                      <a:pt x="76" y="24"/>
                    </a:lnTo>
                    <a:lnTo>
                      <a:pt x="74" y="26"/>
                    </a:lnTo>
                    <a:lnTo>
                      <a:pt x="72" y="26"/>
                    </a:lnTo>
                    <a:lnTo>
                      <a:pt x="70" y="28"/>
                    </a:lnTo>
                    <a:lnTo>
                      <a:pt x="68" y="28"/>
                    </a:lnTo>
                    <a:lnTo>
                      <a:pt x="66" y="26"/>
                    </a:lnTo>
                    <a:lnTo>
                      <a:pt x="64" y="26"/>
                    </a:lnTo>
                    <a:lnTo>
                      <a:pt x="58" y="24"/>
                    </a:lnTo>
                    <a:lnTo>
                      <a:pt x="56" y="22"/>
                    </a:lnTo>
                    <a:lnTo>
                      <a:pt x="44" y="22"/>
                    </a:lnTo>
                    <a:lnTo>
                      <a:pt x="44" y="20"/>
                    </a:lnTo>
                    <a:lnTo>
                      <a:pt x="46" y="20"/>
                    </a:lnTo>
                    <a:lnTo>
                      <a:pt x="46" y="18"/>
                    </a:lnTo>
                    <a:lnTo>
                      <a:pt x="44" y="18"/>
                    </a:lnTo>
                    <a:lnTo>
                      <a:pt x="44" y="16"/>
                    </a:lnTo>
                    <a:lnTo>
                      <a:pt x="40" y="16"/>
                    </a:lnTo>
                    <a:lnTo>
                      <a:pt x="38" y="16"/>
                    </a:lnTo>
                    <a:lnTo>
                      <a:pt x="36" y="16"/>
                    </a:lnTo>
                    <a:lnTo>
                      <a:pt x="34" y="18"/>
                    </a:lnTo>
                    <a:lnTo>
                      <a:pt x="34" y="22"/>
                    </a:lnTo>
                    <a:lnTo>
                      <a:pt x="34" y="24"/>
                    </a:lnTo>
                    <a:lnTo>
                      <a:pt x="34" y="26"/>
                    </a:lnTo>
                    <a:lnTo>
                      <a:pt x="32" y="26"/>
                    </a:lnTo>
                    <a:lnTo>
                      <a:pt x="30" y="28"/>
                    </a:lnTo>
                    <a:lnTo>
                      <a:pt x="28" y="28"/>
                    </a:lnTo>
                    <a:lnTo>
                      <a:pt x="24" y="28"/>
                    </a:lnTo>
                    <a:lnTo>
                      <a:pt x="22" y="28"/>
                    </a:lnTo>
                    <a:lnTo>
                      <a:pt x="22" y="30"/>
                    </a:lnTo>
                    <a:lnTo>
                      <a:pt x="20" y="30"/>
                    </a:lnTo>
                    <a:lnTo>
                      <a:pt x="20" y="32"/>
                    </a:lnTo>
                    <a:lnTo>
                      <a:pt x="20" y="38"/>
                    </a:lnTo>
                    <a:lnTo>
                      <a:pt x="14" y="38"/>
                    </a:lnTo>
                    <a:lnTo>
                      <a:pt x="16" y="40"/>
                    </a:lnTo>
                    <a:lnTo>
                      <a:pt x="16" y="44"/>
                    </a:lnTo>
                    <a:lnTo>
                      <a:pt x="16" y="46"/>
                    </a:lnTo>
                    <a:lnTo>
                      <a:pt x="16" y="48"/>
                    </a:lnTo>
                    <a:lnTo>
                      <a:pt x="18" y="50"/>
                    </a:lnTo>
                    <a:lnTo>
                      <a:pt x="18" y="54"/>
                    </a:lnTo>
                    <a:lnTo>
                      <a:pt x="14" y="54"/>
                    </a:lnTo>
                    <a:lnTo>
                      <a:pt x="14" y="56"/>
                    </a:lnTo>
                    <a:lnTo>
                      <a:pt x="12" y="60"/>
                    </a:lnTo>
                    <a:lnTo>
                      <a:pt x="10" y="62"/>
                    </a:lnTo>
                    <a:lnTo>
                      <a:pt x="10" y="64"/>
                    </a:lnTo>
                    <a:lnTo>
                      <a:pt x="8" y="66"/>
                    </a:lnTo>
                    <a:lnTo>
                      <a:pt x="8" y="70"/>
                    </a:lnTo>
                    <a:lnTo>
                      <a:pt x="10" y="72"/>
                    </a:lnTo>
                    <a:lnTo>
                      <a:pt x="10" y="74"/>
                    </a:lnTo>
                    <a:lnTo>
                      <a:pt x="10" y="76"/>
                    </a:lnTo>
                    <a:lnTo>
                      <a:pt x="10" y="80"/>
                    </a:lnTo>
                    <a:lnTo>
                      <a:pt x="10" y="82"/>
                    </a:lnTo>
                    <a:lnTo>
                      <a:pt x="8" y="82"/>
                    </a:lnTo>
                    <a:lnTo>
                      <a:pt x="4" y="86"/>
                    </a:lnTo>
                    <a:lnTo>
                      <a:pt x="2" y="86"/>
                    </a:lnTo>
                    <a:lnTo>
                      <a:pt x="0" y="88"/>
                    </a:lnTo>
                    <a:lnTo>
                      <a:pt x="0" y="90"/>
                    </a:lnTo>
                    <a:lnTo>
                      <a:pt x="0" y="94"/>
                    </a:lnTo>
                    <a:lnTo>
                      <a:pt x="0" y="98"/>
                    </a:lnTo>
                    <a:lnTo>
                      <a:pt x="2" y="100"/>
                    </a:lnTo>
                    <a:lnTo>
                      <a:pt x="2" y="102"/>
                    </a:lnTo>
                    <a:lnTo>
                      <a:pt x="0" y="102"/>
                    </a:lnTo>
                    <a:lnTo>
                      <a:pt x="0" y="104"/>
                    </a:lnTo>
                    <a:lnTo>
                      <a:pt x="0" y="106"/>
                    </a:lnTo>
                    <a:lnTo>
                      <a:pt x="0" y="108"/>
                    </a:lnTo>
                    <a:lnTo>
                      <a:pt x="8" y="108"/>
                    </a:lnTo>
                    <a:lnTo>
                      <a:pt x="10" y="108"/>
                    </a:lnTo>
                    <a:lnTo>
                      <a:pt x="12" y="110"/>
                    </a:lnTo>
                    <a:lnTo>
                      <a:pt x="12" y="112"/>
                    </a:lnTo>
                    <a:lnTo>
                      <a:pt x="12" y="116"/>
                    </a:lnTo>
                    <a:lnTo>
                      <a:pt x="10" y="116"/>
                    </a:lnTo>
                    <a:lnTo>
                      <a:pt x="10" y="118"/>
                    </a:lnTo>
                    <a:lnTo>
                      <a:pt x="12" y="120"/>
                    </a:lnTo>
                    <a:lnTo>
                      <a:pt x="14" y="122"/>
                    </a:lnTo>
                    <a:lnTo>
                      <a:pt x="14" y="126"/>
                    </a:lnTo>
                    <a:lnTo>
                      <a:pt x="14" y="132"/>
                    </a:lnTo>
                    <a:lnTo>
                      <a:pt x="12" y="134"/>
                    </a:lnTo>
                    <a:lnTo>
                      <a:pt x="12" y="138"/>
                    </a:lnTo>
                    <a:lnTo>
                      <a:pt x="10" y="138"/>
                    </a:lnTo>
                    <a:lnTo>
                      <a:pt x="10" y="140"/>
                    </a:lnTo>
                    <a:lnTo>
                      <a:pt x="10" y="142"/>
                    </a:lnTo>
                    <a:lnTo>
                      <a:pt x="8" y="144"/>
                    </a:lnTo>
                    <a:lnTo>
                      <a:pt x="8" y="146"/>
                    </a:lnTo>
                    <a:lnTo>
                      <a:pt x="8" y="148"/>
                    </a:lnTo>
                    <a:lnTo>
                      <a:pt x="8" y="150"/>
                    </a:lnTo>
                    <a:lnTo>
                      <a:pt x="8" y="152"/>
                    </a:lnTo>
                    <a:lnTo>
                      <a:pt x="10" y="154"/>
                    </a:lnTo>
                    <a:lnTo>
                      <a:pt x="12" y="156"/>
                    </a:lnTo>
                    <a:lnTo>
                      <a:pt x="14" y="158"/>
                    </a:lnTo>
                    <a:lnTo>
                      <a:pt x="16" y="158"/>
                    </a:lnTo>
                    <a:lnTo>
                      <a:pt x="18" y="158"/>
                    </a:lnTo>
                    <a:lnTo>
                      <a:pt x="20" y="158"/>
                    </a:lnTo>
                    <a:lnTo>
                      <a:pt x="22" y="156"/>
                    </a:lnTo>
                    <a:lnTo>
                      <a:pt x="24" y="154"/>
                    </a:lnTo>
                    <a:lnTo>
                      <a:pt x="26" y="152"/>
                    </a:lnTo>
                    <a:lnTo>
                      <a:pt x="26" y="150"/>
                    </a:lnTo>
                    <a:lnTo>
                      <a:pt x="26" y="144"/>
                    </a:lnTo>
                    <a:lnTo>
                      <a:pt x="26" y="142"/>
                    </a:lnTo>
                    <a:lnTo>
                      <a:pt x="24" y="138"/>
                    </a:lnTo>
                    <a:lnTo>
                      <a:pt x="24" y="136"/>
                    </a:lnTo>
                    <a:lnTo>
                      <a:pt x="28" y="134"/>
                    </a:lnTo>
                    <a:lnTo>
                      <a:pt x="28" y="132"/>
                    </a:lnTo>
                    <a:lnTo>
                      <a:pt x="30" y="130"/>
                    </a:lnTo>
                    <a:lnTo>
                      <a:pt x="30" y="126"/>
                    </a:lnTo>
                    <a:lnTo>
                      <a:pt x="32" y="124"/>
                    </a:lnTo>
                    <a:lnTo>
                      <a:pt x="32" y="118"/>
                    </a:lnTo>
                    <a:lnTo>
                      <a:pt x="32" y="114"/>
                    </a:lnTo>
                    <a:lnTo>
                      <a:pt x="32" y="106"/>
                    </a:lnTo>
                    <a:lnTo>
                      <a:pt x="30" y="102"/>
                    </a:lnTo>
                    <a:lnTo>
                      <a:pt x="28" y="96"/>
                    </a:lnTo>
                    <a:lnTo>
                      <a:pt x="28" y="94"/>
                    </a:lnTo>
                    <a:lnTo>
                      <a:pt x="28" y="90"/>
                    </a:lnTo>
                    <a:lnTo>
                      <a:pt x="28" y="88"/>
                    </a:lnTo>
                    <a:lnTo>
                      <a:pt x="30" y="86"/>
                    </a:lnTo>
                    <a:lnTo>
                      <a:pt x="30" y="84"/>
                    </a:lnTo>
                    <a:lnTo>
                      <a:pt x="30" y="82"/>
                    </a:lnTo>
                    <a:lnTo>
                      <a:pt x="32" y="82"/>
                    </a:lnTo>
                    <a:lnTo>
                      <a:pt x="34" y="84"/>
                    </a:lnTo>
                    <a:lnTo>
                      <a:pt x="34" y="86"/>
                    </a:lnTo>
                    <a:lnTo>
                      <a:pt x="36" y="90"/>
                    </a:lnTo>
                    <a:lnTo>
                      <a:pt x="36" y="94"/>
                    </a:lnTo>
                    <a:lnTo>
                      <a:pt x="36" y="96"/>
                    </a:lnTo>
                    <a:lnTo>
                      <a:pt x="38" y="98"/>
                    </a:lnTo>
                    <a:lnTo>
                      <a:pt x="38" y="102"/>
                    </a:lnTo>
                    <a:lnTo>
                      <a:pt x="40" y="104"/>
                    </a:lnTo>
                    <a:lnTo>
                      <a:pt x="42" y="108"/>
                    </a:lnTo>
                    <a:lnTo>
                      <a:pt x="44" y="108"/>
                    </a:lnTo>
                    <a:lnTo>
                      <a:pt x="44" y="110"/>
                    </a:lnTo>
                    <a:lnTo>
                      <a:pt x="46" y="110"/>
                    </a:lnTo>
                    <a:lnTo>
                      <a:pt x="46" y="122"/>
                    </a:lnTo>
                    <a:lnTo>
                      <a:pt x="44" y="122"/>
                    </a:lnTo>
                    <a:lnTo>
                      <a:pt x="44" y="124"/>
                    </a:lnTo>
                    <a:lnTo>
                      <a:pt x="46" y="126"/>
                    </a:lnTo>
                    <a:lnTo>
                      <a:pt x="50" y="130"/>
                    </a:lnTo>
                    <a:lnTo>
                      <a:pt x="50" y="132"/>
                    </a:lnTo>
                    <a:lnTo>
                      <a:pt x="52" y="132"/>
                    </a:lnTo>
                    <a:lnTo>
                      <a:pt x="52" y="140"/>
                    </a:lnTo>
                    <a:lnTo>
                      <a:pt x="52" y="144"/>
                    </a:lnTo>
                    <a:lnTo>
                      <a:pt x="52" y="146"/>
                    </a:lnTo>
                    <a:lnTo>
                      <a:pt x="54" y="148"/>
                    </a:lnTo>
                    <a:lnTo>
                      <a:pt x="54" y="154"/>
                    </a:lnTo>
                    <a:lnTo>
                      <a:pt x="54" y="158"/>
                    </a:lnTo>
                    <a:lnTo>
                      <a:pt x="56" y="156"/>
                    </a:lnTo>
                    <a:lnTo>
                      <a:pt x="58" y="154"/>
                    </a:lnTo>
                    <a:lnTo>
                      <a:pt x="60" y="156"/>
                    </a:lnTo>
                    <a:lnTo>
                      <a:pt x="64" y="156"/>
                    </a:lnTo>
                    <a:lnTo>
                      <a:pt x="66" y="156"/>
                    </a:lnTo>
                    <a:lnTo>
                      <a:pt x="68" y="156"/>
                    </a:lnTo>
                    <a:lnTo>
                      <a:pt x="68" y="154"/>
                    </a:lnTo>
                    <a:lnTo>
                      <a:pt x="68" y="150"/>
                    </a:lnTo>
                    <a:lnTo>
                      <a:pt x="68" y="148"/>
                    </a:lnTo>
                    <a:lnTo>
                      <a:pt x="68" y="146"/>
                    </a:lnTo>
                    <a:lnTo>
                      <a:pt x="68" y="144"/>
                    </a:lnTo>
                    <a:lnTo>
                      <a:pt x="68" y="142"/>
                    </a:lnTo>
                    <a:lnTo>
                      <a:pt x="70" y="140"/>
                    </a:lnTo>
                    <a:lnTo>
                      <a:pt x="72" y="142"/>
                    </a:lnTo>
                    <a:lnTo>
                      <a:pt x="72" y="144"/>
                    </a:lnTo>
                    <a:lnTo>
                      <a:pt x="72" y="146"/>
                    </a:lnTo>
                    <a:lnTo>
                      <a:pt x="76" y="146"/>
                    </a:lnTo>
                    <a:lnTo>
                      <a:pt x="76" y="144"/>
                    </a:lnTo>
                    <a:lnTo>
                      <a:pt x="78" y="144"/>
                    </a:lnTo>
                    <a:lnTo>
                      <a:pt x="80" y="142"/>
                    </a:lnTo>
                    <a:lnTo>
                      <a:pt x="80" y="134"/>
                    </a:lnTo>
                    <a:lnTo>
                      <a:pt x="78" y="132"/>
                    </a:lnTo>
                    <a:lnTo>
                      <a:pt x="78" y="130"/>
                    </a:lnTo>
                    <a:lnTo>
                      <a:pt x="74" y="126"/>
                    </a:lnTo>
                    <a:lnTo>
                      <a:pt x="70" y="124"/>
                    </a:lnTo>
                    <a:lnTo>
                      <a:pt x="68" y="122"/>
                    </a:lnTo>
                    <a:lnTo>
                      <a:pt x="66" y="118"/>
                    </a:lnTo>
                    <a:lnTo>
                      <a:pt x="64" y="116"/>
                    </a:lnTo>
                    <a:lnTo>
                      <a:pt x="64" y="112"/>
                    </a:lnTo>
                    <a:lnTo>
                      <a:pt x="66" y="110"/>
                    </a:lnTo>
                    <a:lnTo>
                      <a:pt x="68" y="108"/>
                    </a:lnTo>
                    <a:lnTo>
                      <a:pt x="68" y="106"/>
                    </a:lnTo>
                    <a:lnTo>
                      <a:pt x="70" y="104"/>
                    </a:lnTo>
                    <a:lnTo>
                      <a:pt x="70" y="102"/>
                    </a:lnTo>
                    <a:lnTo>
                      <a:pt x="68" y="102"/>
                    </a:lnTo>
                    <a:lnTo>
                      <a:pt x="66" y="100"/>
                    </a:lnTo>
                    <a:lnTo>
                      <a:pt x="64" y="100"/>
                    </a:lnTo>
                    <a:lnTo>
                      <a:pt x="62" y="98"/>
                    </a:lnTo>
                    <a:lnTo>
                      <a:pt x="60" y="96"/>
                    </a:lnTo>
                    <a:lnTo>
                      <a:pt x="60" y="94"/>
                    </a:lnTo>
                    <a:lnTo>
                      <a:pt x="60" y="92"/>
                    </a:lnTo>
                    <a:lnTo>
                      <a:pt x="62" y="88"/>
                    </a:lnTo>
                    <a:lnTo>
                      <a:pt x="62" y="84"/>
                    </a:lnTo>
                    <a:lnTo>
                      <a:pt x="60" y="82"/>
                    </a:lnTo>
                    <a:lnTo>
                      <a:pt x="58" y="80"/>
                    </a:lnTo>
                    <a:lnTo>
                      <a:pt x="56" y="80"/>
                    </a:lnTo>
                    <a:lnTo>
                      <a:pt x="52" y="78"/>
                    </a:lnTo>
                    <a:lnTo>
                      <a:pt x="50" y="76"/>
                    </a:lnTo>
                    <a:lnTo>
                      <a:pt x="48" y="74"/>
                    </a:lnTo>
                    <a:lnTo>
                      <a:pt x="56" y="74"/>
                    </a:lnTo>
                    <a:lnTo>
                      <a:pt x="58" y="74"/>
                    </a:lnTo>
                    <a:lnTo>
                      <a:pt x="60" y="72"/>
                    </a:lnTo>
                    <a:lnTo>
                      <a:pt x="62" y="70"/>
                    </a:lnTo>
                    <a:lnTo>
                      <a:pt x="64" y="66"/>
                    </a:lnTo>
                    <a:lnTo>
                      <a:pt x="64" y="64"/>
                    </a:lnTo>
                    <a:lnTo>
                      <a:pt x="66" y="62"/>
                    </a:lnTo>
                    <a:lnTo>
                      <a:pt x="74" y="62"/>
                    </a:lnTo>
                    <a:lnTo>
                      <a:pt x="76" y="60"/>
                    </a:lnTo>
                    <a:lnTo>
                      <a:pt x="78" y="60"/>
                    </a:lnTo>
                    <a:lnTo>
                      <a:pt x="80" y="60"/>
                    </a:lnTo>
                    <a:lnTo>
                      <a:pt x="80" y="58"/>
                    </a:lnTo>
                    <a:lnTo>
                      <a:pt x="80" y="56"/>
                    </a:lnTo>
                    <a:lnTo>
                      <a:pt x="80" y="54"/>
                    </a:lnTo>
                    <a:lnTo>
                      <a:pt x="78" y="54"/>
                    </a:lnTo>
                    <a:lnTo>
                      <a:pt x="78" y="52"/>
                    </a:lnTo>
                    <a:lnTo>
                      <a:pt x="76" y="52"/>
                    </a:lnTo>
                    <a:lnTo>
                      <a:pt x="74" y="50"/>
                    </a:lnTo>
                    <a:lnTo>
                      <a:pt x="72" y="50"/>
                    </a:lnTo>
                    <a:lnTo>
                      <a:pt x="70" y="52"/>
                    </a:lnTo>
                    <a:lnTo>
                      <a:pt x="68" y="54"/>
                    </a:lnTo>
                    <a:lnTo>
                      <a:pt x="68" y="56"/>
                    </a:lnTo>
                    <a:lnTo>
                      <a:pt x="66" y="56"/>
                    </a:lnTo>
                    <a:lnTo>
                      <a:pt x="64" y="56"/>
                    </a:lnTo>
                    <a:lnTo>
                      <a:pt x="60" y="54"/>
                    </a:lnTo>
                    <a:lnTo>
                      <a:pt x="52" y="54"/>
                    </a:lnTo>
                    <a:lnTo>
                      <a:pt x="52" y="56"/>
                    </a:lnTo>
                    <a:lnTo>
                      <a:pt x="50" y="58"/>
                    </a:lnTo>
                    <a:lnTo>
                      <a:pt x="48" y="60"/>
                    </a:lnTo>
                    <a:lnTo>
                      <a:pt x="48" y="62"/>
                    </a:lnTo>
                    <a:lnTo>
                      <a:pt x="46" y="64"/>
                    </a:lnTo>
                    <a:lnTo>
                      <a:pt x="44" y="66"/>
                    </a:lnTo>
                    <a:lnTo>
                      <a:pt x="42" y="66"/>
                    </a:lnTo>
                    <a:lnTo>
                      <a:pt x="42" y="68"/>
                    </a:lnTo>
                    <a:lnTo>
                      <a:pt x="40" y="66"/>
                    </a:lnTo>
                    <a:lnTo>
                      <a:pt x="38" y="64"/>
                    </a:lnTo>
                    <a:lnTo>
                      <a:pt x="38" y="62"/>
                    </a:lnTo>
                    <a:lnTo>
                      <a:pt x="36" y="60"/>
                    </a:lnTo>
                    <a:lnTo>
                      <a:pt x="32" y="56"/>
                    </a:lnTo>
                    <a:lnTo>
                      <a:pt x="30" y="54"/>
                    </a:lnTo>
                    <a:lnTo>
                      <a:pt x="28" y="54"/>
                    </a:lnTo>
                    <a:lnTo>
                      <a:pt x="24" y="54"/>
                    </a:lnTo>
                    <a:lnTo>
                      <a:pt x="24" y="50"/>
                    </a:lnTo>
                    <a:lnTo>
                      <a:pt x="24" y="48"/>
                    </a:lnTo>
                    <a:lnTo>
                      <a:pt x="26" y="44"/>
                    </a:lnTo>
                    <a:lnTo>
                      <a:pt x="26" y="40"/>
                    </a:lnTo>
                    <a:lnTo>
                      <a:pt x="28" y="36"/>
                    </a:lnTo>
                    <a:lnTo>
                      <a:pt x="28" y="34"/>
                    </a:lnTo>
                    <a:lnTo>
                      <a:pt x="30" y="32"/>
                    </a:lnTo>
                    <a:lnTo>
                      <a:pt x="32" y="32"/>
                    </a:lnTo>
                    <a:lnTo>
                      <a:pt x="34" y="32"/>
                    </a:lnTo>
                    <a:lnTo>
                      <a:pt x="36" y="32"/>
                    </a:lnTo>
                    <a:lnTo>
                      <a:pt x="42" y="34"/>
                    </a:lnTo>
                    <a:lnTo>
                      <a:pt x="44" y="34"/>
                    </a:lnTo>
                    <a:lnTo>
                      <a:pt x="48" y="34"/>
                    </a:lnTo>
                    <a:lnTo>
                      <a:pt x="52" y="34"/>
                    </a:lnTo>
                    <a:lnTo>
                      <a:pt x="54" y="32"/>
                    </a:lnTo>
                    <a:lnTo>
                      <a:pt x="56" y="32"/>
                    </a:lnTo>
                    <a:lnTo>
                      <a:pt x="56" y="30"/>
                    </a:lnTo>
                    <a:lnTo>
                      <a:pt x="60" y="30"/>
                    </a:lnTo>
                    <a:lnTo>
                      <a:pt x="60" y="32"/>
                    </a:lnTo>
                    <a:lnTo>
                      <a:pt x="62" y="32"/>
                    </a:lnTo>
                    <a:lnTo>
                      <a:pt x="66" y="32"/>
                    </a:lnTo>
                    <a:lnTo>
                      <a:pt x="72" y="34"/>
                    </a:lnTo>
                    <a:lnTo>
                      <a:pt x="76" y="36"/>
                    </a:lnTo>
                    <a:lnTo>
                      <a:pt x="80" y="38"/>
                    </a:lnTo>
                    <a:lnTo>
                      <a:pt x="82" y="40"/>
                    </a:lnTo>
                    <a:lnTo>
                      <a:pt x="86" y="40"/>
                    </a:lnTo>
                    <a:lnTo>
                      <a:pt x="88" y="38"/>
                    </a:lnTo>
                    <a:lnTo>
                      <a:pt x="92" y="34"/>
                    </a:lnTo>
                    <a:lnTo>
                      <a:pt x="100" y="34"/>
                    </a:lnTo>
                    <a:lnTo>
                      <a:pt x="102" y="34"/>
                    </a:lnTo>
                    <a:lnTo>
                      <a:pt x="104" y="32"/>
                    </a:lnTo>
                    <a:lnTo>
                      <a:pt x="104" y="30"/>
                    </a:lnTo>
                    <a:lnTo>
                      <a:pt x="104" y="28"/>
                    </a:lnTo>
                    <a:lnTo>
                      <a:pt x="106" y="26"/>
                    </a:lnTo>
                    <a:lnTo>
                      <a:pt x="106" y="24"/>
                    </a:lnTo>
                    <a:lnTo>
                      <a:pt x="110" y="22"/>
                    </a:lnTo>
                    <a:lnTo>
                      <a:pt x="112" y="22"/>
                    </a:lnTo>
                    <a:lnTo>
                      <a:pt x="114" y="22"/>
                    </a:lnTo>
                    <a:lnTo>
                      <a:pt x="114" y="20"/>
                    </a:lnTo>
                    <a:lnTo>
                      <a:pt x="114" y="18"/>
                    </a:lnTo>
                    <a:lnTo>
                      <a:pt x="112" y="16"/>
                    </a:lnTo>
                    <a:close/>
                    <a:moveTo>
                      <a:pt x="164" y="58"/>
                    </a:moveTo>
                    <a:lnTo>
                      <a:pt x="166" y="60"/>
                    </a:lnTo>
                    <a:lnTo>
                      <a:pt x="168" y="62"/>
                    </a:lnTo>
                    <a:lnTo>
                      <a:pt x="172" y="62"/>
                    </a:lnTo>
                    <a:lnTo>
                      <a:pt x="172" y="60"/>
                    </a:lnTo>
                    <a:lnTo>
                      <a:pt x="170" y="58"/>
                    </a:lnTo>
                    <a:lnTo>
                      <a:pt x="170" y="56"/>
                    </a:lnTo>
                    <a:lnTo>
                      <a:pt x="168" y="56"/>
                    </a:lnTo>
                    <a:lnTo>
                      <a:pt x="168" y="54"/>
                    </a:lnTo>
                    <a:lnTo>
                      <a:pt x="166" y="54"/>
                    </a:lnTo>
                    <a:lnTo>
                      <a:pt x="164" y="52"/>
                    </a:lnTo>
                    <a:lnTo>
                      <a:pt x="162" y="52"/>
                    </a:lnTo>
                    <a:lnTo>
                      <a:pt x="162" y="50"/>
                    </a:lnTo>
                    <a:lnTo>
                      <a:pt x="162" y="48"/>
                    </a:lnTo>
                    <a:lnTo>
                      <a:pt x="162" y="46"/>
                    </a:lnTo>
                    <a:lnTo>
                      <a:pt x="164" y="44"/>
                    </a:lnTo>
                    <a:lnTo>
                      <a:pt x="166" y="44"/>
                    </a:lnTo>
                    <a:lnTo>
                      <a:pt x="168" y="42"/>
                    </a:lnTo>
                    <a:lnTo>
                      <a:pt x="170" y="42"/>
                    </a:lnTo>
                    <a:lnTo>
                      <a:pt x="172" y="44"/>
                    </a:lnTo>
                    <a:lnTo>
                      <a:pt x="174" y="44"/>
                    </a:lnTo>
                    <a:lnTo>
                      <a:pt x="176" y="44"/>
                    </a:lnTo>
                    <a:lnTo>
                      <a:pt x="176" y="42"/>
                    </a:lnTo>
                    <a:lnTo>
                      <a:pt x="178" y="42"/>
                    </a:lnTo>
                    <a:lnTo>
                      <a:pt x="176" y="40"/>
                    </a:lnTo>
                    <a:lnTo>
                      <a:pt x="174" y="40"/>
                    </a:lnTo>
                    <a:lnTo>
                      <a:pt x="174" y="38"/>
                    </a:lnTo>
                    <a:lnTo>
                      <a:pt x="172" y="38"/>
                    </a:lnTo>
                    <a:lnTo>
                      <a:pt x="174" y="36"/>
                    </a:lnTo>
                    <a:lnTo>
                      <a:pt x="176" y="34"/>
                    </a:lnTo>
                    <a:lnTo>
                      <a:pt x="176" y="32"/>
                    </a:lnTo>
                    <a:lnTo>
                      <a:pt x="178" y="32"/>
                    </a:lnTo>
                    <a:lnTo>
                      <a:pt x="178" y="30"/>
                    </a:lnTo>
                    <a:lnTo>
                      <a:pt x="176" y="28"/>
                    </a:lnTo>
                    <a:lnTo>
                      <a:pt x="176" y="26"/>
                    </a:lnTo>
                    <a:lnTo>
                      <a:pt x="174" y="24"/>
                    </a:lnTo>
                    <a:lnTo>
                      <a:pt x="170" y="24"/>
                    </a:lnTo>
                    <a:lnTo>
                      <a:pt x="168" y="24"/>
                    </a:lnTo>
                    <a:lnTo>
                      <a:pt x="166" y="26"/>
                    </a:lnTo>
                    <a:lnTo>
                      <a:pt x="164" y="28"/>
                    </a:lnTo>
                    <a:lnTo>
                      <a:pt x="162" y="30"/>
                    </a:lnTo>
                    <a:lnTo>
                      <a:pt x="162" y="32"/>
                    </a:lnTo>
                    <a:lnTo>
                      <a:pt x="160" y="32"/>
                    </a:lnTo>
                    <a:lnTo>
                      <a:pt x="158" y="32"/>
                    </a:lnTo>
                    <a:lnTo>
                      <a:pt x="156" y="32"/>
                    </a:lnTo>
                    <a:lnTo>
                      <a:pt x="156" y="30"/>
                    </a:lnTo>
                    <a:lnTo>
                      <a:pt x="154" y="30"/>
                    </a:lnTo>
                    <a:lnTo>
                      <a:pt x="154" y="24"/>
                    </a:lnTo>
                    <a:lnTo>
                      <a:pt x="156" y="22"/>
                    </a:lnTo>
                    <a:lnTo>
                      <a:pt x="158" y="18"/>
                    </a:lnTo>
                    <a:lnTo>
                      <a:pt x="160" y="18"/>
                    </a:lnTo>
                    <a:lnTo>
                      <a:pt x="160" y="12"/>
                    </a:lnTo>
                    <a:lnTo>
                      <a:pt x="158" y="10"/>
                    </a:lnTo>
                    <a:lnTo>
                      <a:pt x="160" y="8"/>
                    </a:lnTo>
                    <a:lnTo>
                      <a:pt x="160" y="4"/>
                    </a:lnTo>
                    <a:lnTo>
                      <a:pt x="162" y="2"/>
                    </a:lnTo>
                    <a:lnTo>
                      <a:pt x="162" y="0"/>
                    </a:lnTo>
                    <a:lnTo>
                      <a:pt x="158" y="4"/>
                    </a:lnTo>
                    <a:lnTo>
                      <a:pt x="156" y="6"/>
                    </a:lnTo>
                    <a:lnTo>
                      <a:pt x="154" y="8"/>
                    </a:lnTo>
                    <a:lnTo>
                      <a:pt x="152" y="8"/>
                    </a:lnTo>
                    <a:lnTo>
                      <a:pt x="152" y="10"/>
                    </a:lnTo>
                    <a:lnTo>
                      <a:pt x="152" y="16"/>
                    </a:lnTo>
                    <a:lnTo>
                      <a:pt x="152" y="18"/>
                    </a:lnTo>
                    <a:lnTo>
                      <a:pt x="150" y="18"/>
                    </a:lnTo>
                    <a:lnTo>
                      <a:pt x="146" y="22"/>
                    </a:lnTo>
                    <a:lnTo>
                      <a:pt x="146" y="24"/>
                    </a:lnTo>
                    <a:lnTo>
                      <a:pt x="144" y="26"/>
                    </a:lnTo>
                    <a:lnTo>
                      <a:pt x="144" y="32"/>
                    </a:lnTo>
                    <a:lnTo>
                      <a:pt x="146" y="32"/>
                    </a:lnTo>
                    <a:lnTo>
                      <a:pt x="146" y="34"/>
                    </a:lnTo>
                    <a:lnTo>
                      <a:pt x="148" y="36"/>
                    </a:lnTo>
                    <a:lnTo>
                      <a:pt x="150" y="38"/>
                    </a:lnTo>
                    <a:lnTo>
                      <a:pt x="150" y="42"/>
                    </a:lnTo>
                    <a:lnTo>
                      <a:pt x="150" y="44"/>
                    </a:lnTo>
                    <a:lnTo>
                      <a:pt x="150" y="48"/>
                    </a:lnTo>
                    <a:lnTo>
                      <a:pt x="152" y="50"/>
                    </a:lnTo>
                    <a:lnTo>
                      <a:pt x="154" y="52"/>
                    </a:lnTo>
                    <a:lnTo>
                      <a:pt x="156" y="54"/>
                    </a:lnTo>
                    <a:lnTo>
                      <a:pt x="160" y="56"/>
                    </a:lnTo>
                    <a:lnTo>
                      <a:pt x="164" y="58"/>
                    </a:lnTo>
                    <a:close/>
                    <a:moveTo>
                      <a:pt x="142" y="106"/>
                    </a:moveTo>
                    <a:lnTo>
                      <a:pt x="142" y="104"/>
                    </a:lnTo>
                    <a:lnTo>
                      <a:pt x="142" y="102"/>
                    </a:lnTo>
                    <a:lnTo>
                      <a:pt x="136" y="104"/>
                    </a:lnTo>
                    <a:lnTo>
                      <a:pt x="134" y="102"/>
                    </a:lnTo>
                    <a:lnTo>
                      <a:pt x="132" y="102"/>
                    </a:lnTo>
                    <a:lnTo>
                      <a:pt x="130" y="102"/>
                    </a:lnTo>
                    <a:lnTo>
                      <a:pt x="130" y="104"/>
                    </a:lnTo>
                    <a:lnTo>
                      <a:pt x="128" y="104"/>
                    </a:lnTo>
                    <a:lnTo>
                      <a:pt x="128" y="112"/>
                    </a:lnTo>
                    <a:lnTo>
                      <a:pt x="128" y="114"/>
                    </a:lnTo>
                    <a:lnTo>
                      <a:pt x="130" y="114"/>
                    </a:lnTo>
                    <a:lnTo>
                      <a:pt x="132" y="116"/>
                    </a:lnTo>
                    <a:lnTo>
                      <a:pt x="134" y="116"/>
                    </a:lnTo>
                    <a:lnTo>
                      <a:pt x="136" y="118"/>
                    </a:lnTo>
                    <a:lnTo>
                      <a:pt x="142" y="118"/>
                    </a:lnTo>
                    <a:lnTo>
                      <a:pt x="144" y="116"/>
                    </a:lnTo>
                    <a:lnTo>
                      <a:pt x="144" y="110"/>
                    </a:lnTo>
                    <a:lnTo>
                      <a:pt x="142" y="108"/>
                    </a:lnTo>
                    <a:lnTo>
                      <a:pt x="142" y="106"/>
                    </a:lnTo>
                    <a:close/>
                    <a:moveTo>
                      <a:pt x="204" y="112"/>
                    </a:moveTo>
                    <a:lnTo>
                      <a:pt x="202" y="112"/>
                    </a:lnTo>
                    <a:lnTo>
                      <a:pt x="202" y="110"/>
                    </a:lnTo>
                    <a:lnTo>
                      <a:pt x="200" y="110"/>
                    </a:lnTo>
                    <a:lnTo>
                      <a:pt x="200" y="108"/>
                    </a:lnTo>
                    <a:lnTo>
                      <a:pt x="202" y="108"/>
                    </a:lnTo>
                    <a:lnTo>
                      <a:pt x="202" y="106"/>
                    </a:lnTo>
                    <a:lnTo>
                      <a:pt x="198" y="102"/>
                    </a:lnTo>
                    <a:lnTo>
                      <a:pt x="196" y="100"/>
                    </a:lnTo>
                    <a:lnTo>
                      <a:pt x="194" y="100"/>
                    </a:lnTo>
                    <a:lnTo>
                      <a:pt x="190" y="98"/>
                    </a:lnTo>
                    <a:lnTo>
                      <a:pt x="188" y="96"/>
                    </a:lnTo>
                    <a:lnTo>
                      <a:pt x="186" y="96"/>
                    </a:lnTo>
                    <a:lnTo>
                      <a:pt x="182" y="96"/>
                    </a:lnTo>
                    <a:lnTo>
                      <a:pt x="180" y="94"/>
                    </a:lnTo>
                    <a:lnTo>
                      <a:pt x="178" y="96"/>
                    </a:lnTo>
                    <a:lnTo>
                      <a:pt x="176" y="96"/>
                    </a:lnTo>
                    <a:lnTo>
                      <a:pt x="172" y="98"/>
                    </a:lnTo>
                    <a:lnTo>
                      <a:pt x="170" y="100"/>
                    </a:lnTo>
                    <a:lnTo>
                      <a:pt x="164" y="100"/>
                    </a:lnTo>
                    <a:lnTo>
                      <a:pt x="162" y="100"/>
                    </a:lnTo>
                    <a:lnTo>
                      <a:pt x="160" y="102"/>
                    </a:lnTo>
                    <a:lnTo>
                      <a:pt x="158" y="104"/>
                    </a:lnTo>
                    <a:lnTo>
                      <a:pt x="158" y="106"/>
                    </a:lnTo>
                    <a:lnTo>
                      <a:pt x="158" y="108"/>
                    </a:lnTo>
                    <a:lnTo>
                      <a:pt x="160" y="110"/>
                    </a:lnTo>
                    <a:lnTo>
                      <a:pt x="160" y="108"/>
                    </a:lnTo>
                    <a:lnTo>
                      <a:pt x="162" y="108"/>
                    </a:lnTo>
                    <a:lnTo>
                      <a:pt x="162" y="106"/>
                    </a:lnTo>
                    <a:lnTo>
                      <a:pt x="164" y="106"/>
                    </a:lnTo>
                    <a:lnTo>
                      <a:pt x="164" y="108"/>
                    </a:lnTo>
                    <a:lnTo>
                      <a:pt x="164" y="110"/>
                    </a:lnTo>
                    <a:lnTo>
                      <a:pt x="166" y="112"/>
                    </a:lnTo>
                    <a:lnTo>
                      <a:pt x="168" y="112"/>
                    </a:lnTo>
                    <a:lnTo>
                      <a:pt x="170" y="112"/>
                    </a:lnTo>
                    <a:lnTo>
                      <a:pt x="170" y="110"/>
                    </a:lnTo>
                    <a:lnTo>
                      <a:pt x="172" y="108"/>
                    </a:lnTo>
                    <a:lnTo>
                      <a:pt x="172" y="106"/>
                    </a:lnTo>
                    <a:lnTo>
                      <a:pt x="174" y="108"/>
                    </a:lnTo>
                    <a:lnTo>
                      <a:pt x="176" y="108"/>
                    </a:lnTo>
                    <a:lnTo>
                      <a:pt x="176" y="110"/>
                    </a:lnTo>
                    <a:lnTo>
                      <a:pt x="178" y="110"/>
                    </a:lnTo>
                    <a:lnTo>
                      <a:pt x="180" y="108"/>
                    </a:lnTo>
                    <a:lnTo>
                      <a:pt x="182" y="106"/>
                    </a:lnTo>
                    <a:lnTo>
                      <a:pt x="184" y="106"/>
                    </a:lnTo>
                    <a:lnTo>
                      <a:pt x="186" y="104"/>
                    </a:lnTo>
                    <a:lnTo>
                      <a:pt x="186" y="106"/>
                    </a:lnTo>
                    <a:lnTo>
                      <a:pt x="188" y="108"/>
                    </a:lnTo>
                    <a:lnTo>
                      <a:pt x="188" y="110"/>
                    </a:lnTo>
                    <a:lnTo>
                      <a:pt x="188" y="112"/>
                    </a:lnTo>
                    <a:lnTo>
                      <a:pt x="190" y="114"/>
                    </a:lnTo>
                    <a:lnTo>
                      <a:pt x="190" y="116"/>
                    </a:lnTo>
                    <a:lnTo>
                      <a:pt x="190" y="118"/>
                    </a:lnTo>
                    <a:lnTo>
                      <a:pt x="192" y="116"/>
                    </a:lnTo>
                    <a:lnTo>
                      <a:pt x="194" y="114"/>
                    </a:lnTo>
                    <a:lnTo>
                      <a:pt x="196" y="114"/>
                    </a:lnTo>
                    <a:lnTo>
                      <a:pt x="196" y="112"/>
                    </a:lnTo>
                    <a:lnTo>
                      <a:pt x="198" y="112"/>
                    </a:lnTo>
                    <a:lnTo>
                      <a:pt x="200" y="114"/>
                    </a:lnTo>
                    <a:lnTo>
                      <a:pt x="204" y="120"/>
                    </a:lnTo>
                    <a:lnTo>
                      <a:pt x="206" y="114"/>
                    </a:lnTo>
                    <a:lnTo>
                      <a:pt x="204" y="11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8" name="Freeform 217">
                <a:extLst>
                  <a:ext uri="{FF2B5EF4-FFF2-40B4-BE49-F238E27FC236}">
                    <a16:creationId xmlns:a16="http://schemas.microsoft.com/office/drawing/2014/main" id="{0F488BCA-6645-4033-9899-43114D857618}"/>
                  </a:ext>
                </a:extLst>
              </p:cNvPr>
              <p:cNvSpPr>
                <a:spLocks noChangeAspect="1" noEditPoints="1"/>
              </p:cNvSpPr>
              <p:nvPr/>
            </p:nvSpPr>
            <p:spPr bwMode="auto">
              <a:xfrm>
                <a:off x="7061758" y="4065494"/>
                <a:ext cx="901110" cy="540629"/>
              </a:xfrm>
              <a:custGeom>
                <a:avLst/>
                <a:gdLst/>
                <a:ahLst/>
                <a:cxnLst>
                  <a:cxn ang="0">
                    <a:pos x="218" y="160"/>
                  </a:cxn>
                  <a:cxn ang="0">
                    <a:pos x="188" y="164"/>
                  </a:cxn>
                  <a:cxn ang="0">
                    <a:pos x="188" y="140"/>
                  </a:cxn>
                  <a:cxn ang="0">
                    <a:pos x="68" y="132"/>
                  </a:cxn>
                  <a:cxn ang="0">
                    <a:pos x="70" y="134"/>
                  </a:cxn>
                  <a:cxn ang="0">
                    <a:pos x="22" y="64"/>
                  </a:cxn>
                  <a:cxn ang="0">
                    <a:pos x="34" y="80"/>
                  </a:cxn>
                  <a:cxn ang="0">
                    <a:pos x="48" y="88"/>
                  </a:cxn>
                  <a:cxn ang="0">
                    <a:pos x="92" y="170"/>
                  </a:cxn>
                  <a:cxn ang="0">
                    <a:pos x="326" y="236"/>
                  </a:cxn>
                  <a:cxn ang="0">
                    <a:pos x="332" y="270"/>
                  </a:cxn>
                  <a:cxn ang="0">
                    <a:pos x="342" y="266"/>
                  </a:cxn>
                  <a:cxn ang="0">
                    <a:pos x="180" y="212"/>
                  </a:cxn>
                  <a:cxn ang="0">
                    <a:pos x="182" y="174"/>
                  </a:cxn>
                  <a:cxn ang="0">
                    <a:pos x="166" y="146"/>
                  </a:cxn>
                  <a:cxn ang="0">
                    <a:pos x="144" y="118"/>
                  </a:cxn>
                  <a:cxn ang="0">
                    <a:pos x="128" y="106"/>
                  </a:cxn>
                  <a:cxn ang="0">
                    <a:pos x="122" y="90"/>
                  </a:cxn>
                  <a:cxn ang="0">
                    <a:pos x="104" y="68"/>
                  </a:cxn>
                  <a:cxn ang="0">
                    <a:pos x="88" y="64"/>
                  </a:cxn>
                  <a:cxn ang="0">
                    <a:pos x="64" y="38"/>
                  </a:cxn>
                  <a:cxn ang="0">
                    <a:pos x="46" y="16"/>
                  </a:cxn>
                  <a:cxn ang="0">
                    <a:pos x="6" y="0"/>
                  </a:cxn>
                  <a:cxn ang="0">
                    <a:pos x="30" y="42"/>
                  </a:cxn>
                  <a:cxn ang="0">
                    <a:pos x="42" y="60"/>
                  </a:cxn>
                  <a:cxn ang="0">
                    <a:pos x="68" y="90"/>
                  </a:cxn>
                  <a:cxn ang="0">
                    <a:pos x="84" y="118"/>
                  </a:cxn>
                  <a:cxn ang="0">
                    <a:pos x="96" y="142"/>
                  </a:cxn>
                  <a:cxn ang="0">
                    <a:pos x="108" y="168"/>
                  </a:cxn>
                  <a:cxn ang="0">
                    <a:pos x="140" y="204"/>
                  </a:cxn>
                  <a:cxn ang="0">
                    <a:pos x="158" y="224"/>
                  </a:cxn>
                  <a:cxn ang="0">
                    <a:pos x="328" y="270"/>
                  </a:cxn>
                  <a:cxn ang="0">
                    <a:pos x="306" y="268"/>
                  </a:cxn>
                  <a:cxn ang="0">
                    <a:pos x="282" y="242"/>
                  </a:cxn>
                  <a:cxn ang="0">
                    <a:pos x="254" y="242"/>
                  </a:cxn>
                  <a:cxn ang="0">
                    <a:pos x="214" y="228"/>
                  </a:cxn>
                  <a:cxn ang="0">
                    <a:pos x="184" y="220"/>
                  </a:cxn>
                  <a:cxn ang="0">
                    <a:pos x="174" y="240"/>
                  </a:cxn>
                  <a:cxn ang="0">
                    <a:pos x="192" y="248"/>
                  </a:cxn>
                  <a:cxn ang="0">
                    <a:pos x="222" y="258"/>
                  </a:cxn>
                  <a:cxn ang="0">
                    <a:pos x="272" y="274"/>
                  </a:cxn>
                  <a:cxn ang="0">
                    <a:pos x="314" y="286"/>
                  </a:cxn>
                  <a:cxn ang="0">
                    <a:pos x="324" y="276"/>
                  </a:cxn>
                  <a:cxn ang="0">
                    <a:pos x="504" y="280"/>
                  </a:cxn>
                  <a:cxn ang="0">
                    <a:pos x="484" y="286"/>
                  </a:cxn>
                  <a:cxn ang="0">
                    <a:pos x="480" y="296"/>
                  </a:cxn>
                  <a:cxn ang="0">
                    <a:pos x="490" y="306"/>
                  </a:cxn>
                  <a:cxn ang="0">
                    <a:pos x="514" y="288"/>
                  </a:cxn>
                  <a:cxn ang="0">
                    <a:pos x="544" y="276"/>
                  </a:cxn>
                  <a:cxn ang="0">
                    <a:pos x="456" y="270"/>
                  </a:cxn>
                  <a:cxn ang="0">
                    <a:pos x="434" y="268"/>
                  </a:cxn>
                  <a:cxn ang="0">
                    <a:pos x="418" y="280"/>
                  </a:cxn>
                  <a:cxn ang="0">
                    <a:pos x="474" y="270"/>
                  </a:cxn>
                  <a:cxn ang="0">
                    <a:pos x="410" y="292"/>
                  </a:cxn>
                  <a:cxn ang="0">
                    <a:pos x="416" y="302"/>
                  </a:cxn>
                  <a:cxn ang="0">
                    <a:pos x="384" y="276"/>
                  </a:cxn>
                  <a:cxn ang="0">
                    <a:pos x="358" y="282"/>
                  </a:cxn>
                  <a:cxn ang="0">
                    <a:pos x="382" y="286"/>
                  </a:cxn>
                  <a:cxn ang="0">
                    <a:pos x="404" y="272"/>
                  </a:cxn>
                  <a:cxn ang="0">
                    <a:pos x="392" y="272"/>
                  </a:cxn>
                </a:cxnLst>
                <a:rect l="0" t="0" r="r" b="b"/>
                <a:pathLst>
                  <a:path w="548" h="310">
                    <a:moveTo>
                      <a:pt x="212" y="172"/>
                    </a:moveTo>
                    <a:lnTo>
                      <a:pt x="218" y="170"/>
                    </a:lnTo>
                    <a:lnTo>
                      <a:pt x="220" y="172"/>
                    </a:lnTo>
                    <a:lnTo>
                      <a:pt x="220" y="174"/>
                    </a:lnTo>
                    <a:lnTo>
                      <a:pt x="222" y="174"/>
                    </a:lnTo>
                    <a:lnTo>
                      <a:pt x="222" y="172"/>
                    </a:lnTo>
                    <a:lnTo>
                      <a:pt x="222" y="170"/>
                    </a:lnTo>
                    <a:lnTo>
                      <a:pt x="224" y="168"/>
                    </a:lnTo>
                    <a:lnTo>
                      <a:pt x="222" y="166"/>
                    </a:lnTo>
                    <a:lnTo>
                      <a:pt x="222" y="164"/>
                    </a:lnTo>
                    <a:lnTo>
                      <a:pt x="220" y="162"/>
                    </a:lnTo>
                    <a:lnTo>
                      <a:pt x="218" y="160"/>
                    </a:lnTo>
                    <a:lnTo>
                      <a:pt x="216" y="158"/>
                    </a:lnTo>
                    <a:lnTo>
                      <a:pt x="212" y="158"/>
                    </a:lnTo>
                    <a:lnTo>
                      <a:pt x="210" y="160"/>
                    </a:lnTo>
                    <a:lnTo>
                      <a:pt x="210" y="162"/>
                    </a:lnTo>
                    <a:lnTo>
                      <a:pt x="210" y="164"/>
                    </a:lnTo>
                    <a:lnTo>
                      <a:pt x="210" y="166"/>
                    </a:lnTo>
                    <a:lnTo>
                      <a:pt x="212" y="172"/>
                    </a:lnTo>
                    <a:close/>
                    <a:moveTo>
                      <a:pt x="180" y="150"/>
                    </a:moveTo>
                    <a:lnTo>
                      <a:pt x="180" y="152"/>
                    </a:lnTo>
                    <a:lnTo>
                      <a:pt x="182" y="154"/>
                    </a:lnTo>
                    <a:lnTo>
                      <a:pt x="184" y="158"/>
                    </a:lnTo>
                    <a:lnTo>
                      <a:pt x="184" y="162"/>
                    </a:lnTo>
                    <a:lnTo>
                      <a:pt x="186" y="164"/>
                    </a:lnTo>
                    <a:lnTo>
                      <a:pt x="188" y="164"/>
                    </a:lnTo>
                    <a:lnTo>
                      <a:pt x="190" y="166"/>
                    </a:lnTo>
                    <a:lnTo>
                      <a:pt x="192" y="166"/>
                    </a:lnTo>
                    <a:lnTo>
                      <a:pt x="194" y="166"/>
                    </a:lnTo>
                    <a:lnTo>
                      <a:pt x="198" y="166"/>
                    </a:lnTo>
                    <a:lnTo>
                      <a:pt x="198" y="164"/>
                    </a:lnTo>
                    <a:lnTo>
                      <a:pt x="198" y="158"/>
                    </a:lnTo>
                    <a:lnTo>
                      <a:pt x="196" y="156"/>
                    </a:lnTo>
                    <a:lnTo>
                      <a:pt x="194" y="156"/>
                    </a:lnTo>
                    <a:lnTo>
                      <a:pt x="194" y="154"/>
                    </a:lnTo>
                    <a:lnTo>
                      <a:pt x="194" y="146"/>
                    </a:lnTo>
                    <a:lnTo>
                      <a:pt x="192" y="146"/>
                    </a:lnTo>
                    <a:lnTo>
                      <a:pt x="192" y="144"/>
                    </a:lnTo>
                    <a:lnTo>
                      <a:pt x="190" y="142"/>
                    </a:lnTo>
                    <a:lnTo>
                      <a:pt x="188" y="140"/>
                    </a:lnTo>
                    <a:lnTo>
                      <a:pt x="186" y="140"/>
                    </a:lnTo>
                    <a:lnTo>
                      <a:pt x="184" y="138"/>
                    </a:lnTo>
                    <a:lnTo>
                      <a:pt x="180" y="136"/>
                    </a:lnTo>
                    <a:lnTo>
                      <a:pt x="178" y="136"/>
                    </a:lnTo>
                    <a:lnTo>
                      <a:pt x="176" y="136"/>
                    </a:lnTo>
                    <a:lnTo>
                      <a:pt x="174" y="138"/>
                    </a:lnTo>
                    <a:lnTo>
                      <a:pt x="172" y="140"/>
                    </a:lnTo>
                    <a:lnTo>
                      <a:pt x="172" y="142"/>
                    </a:lnTo>
                    <a:lnTo>
                      <a:pt x="170" y="142"/>
                    </a:lnTo>
                    <a:lnTo>
                      <a:pt x="170" y="148"/>
                    </a:lnTo>
                    <a:lnTo>
                      <a:pt x="180" y="148"/>
                    </a:lnTo>
                    <a:lnTo>
                      <a:pt x="180" y="150"/>
                    </a:lnTo>
                    <a:close/>
                    <a:moveTo>
                      <a:pt x="68" y="132"/>
                    </a:moveTo>
                    <a:lnTo>
                      <a:pt x="68" y="130"/>
                    </a:lnTo>
                    <a:lnTo>
                      <a:pt x="64" y="126"/>
                    </a:lnTo>
                    <a:lnTo>
                      <a:pt x="64" y="128"/>
                    </a:lnTo>
                    <a:lnTo>
                      <a:pt x="62" y="130"/>
                    </a:lnTo>
                    <a:lnTo>
                      <a:pt x="62" y="138"/>
                    </a:lnTo>
                    <a:lnTo>
                      <a:pt x="64" y="142"/>
                    </a:lnTo>
                    <a:lnTo>
                      <a:pt x="64" y="144"/>
                    </a:lnTo>
                    <a:lnTo>
                      <a:pt x="66" y="144"/>
                    </a:lnTo>
                    <a:lnTo>
                      <a:pt x="68" y="146"/>
                    </a:lnTo>
                    <a:lnTo>
                      <a:pt x="70" y="146"/>
                    </a:lnTo>
                    <a:lnTo>
                      <a:pt x="70" y="144"/>
                    </a:lnTo>
                    <a:lnTo>
                      <a:pt x="70" y="138"/>
                    </a:lnTo>
                    <a:lnTo>
                      <a:pt x="70" y="134"/>
                    </a:lnTo>
                    <a:lnTo>
                      <a:pt x="68" y="132"/>
                    </a:lnTo>
                    <a:close/>
                    <a:moveTo>
                      <a:pt x="18" y="56"/>
                    </a:moveTo>
                    <a:lnTo>
                      <a:pt x="16" y="54"/>
                    </a:lnTo>
                    <a:lnTo>
                      <a:pt x="14" y="54"/>
                    </a:lnTo>
                    <a:lnTo>
                      <a:pt x="12" y="52"/>
                    </a:lnTo>
                    <a:lnTo>
                      <a:pt x="10" y="54"/>
                    </a:lnTo>
                    <a:lnTo>
                      <a:pt x="10" y="58"/>
                    </a:lnTo>
                    <a:lnTo>
                      <a:pt x="12" y="60"/>
                    </a:lnTo>
                    <a:lnTo>
                      <a:pt x="14" y="62"/>
                    </a:lnTo>
                    <a:lnTo>
                      <a:pt x="16" y="62"/>
                    </a:lnTo>
                    <a:lnTo>
                      <a:pt x="18" y="64"/>
                    </a:lnTo>
                    <a:lnTo>
                      <a:pt x="22" y="64"/>
                    </a:lnTo>
                    <a:lnTo>
                      <a:pt x="22" y="60"/>
                    </a:lnTo>
                    <a:lnTo>
                      <a:pt x="20" y="58"/>
                    </a:lnTo>
                    <a:lnTo>
                      <a:pt x="18" y="56"/>
                    </a:lnTo>
                    <a:close/>
                    <a:moveTo>
                      <a:pt x="48" y="86"/>
                    </a:moveTo>
                    <a:lnTo>
                      <a:pt x="48" y="86"/>
                    </a:lnTo>
                    <a:lnTo>
                      <a:pt x="46" y="84"/>
                    </a:lnTo>
                    <a:lnTo>
                      <a:pt x="44" y="82"/>
                    </a:lnTo>
                    <a:lnTo>
                      <a:pt x="42" y="80"/>
                    </a:lnTo>
                    <a:lnTo>
                      <a:pt x="42" y="78"/>
                    </a:lnTo>
                    <a:lnTo>
                      <a:pt x="40" y="78"/>
                    </a:lnTo>
                    <a:lnTo>
                      <a:pt x="38" y="78"/>
                    </a:lnTo>
                    <a:lnTo>
                      <a:pt x="36" y="78"/>
                    </a:lnTo>
                    <a:lnTo>
                      <a:pt x="36" y="80"/>
                    </a:lnTo>
                    <a:lnTo>
                      <a:pt x="34" y="80"/>
                    </a:lnTo>
                    <a:lnTo>
                      <a:pt x="34" y="82"/>
                    </a:lnTo>
                    <a:lnTo>
                      <a:pt x="36" y="84"/>
                    </a:lnTo>
                    <a:lnTo>
                      <a:pt x="36" y="86"/>
                    </a:lnTo>
                    <a:lnTo>
                      <a:pt x="38" y="86"/>
                    </a:lnTo>
                    <a:lnTo>
                      <a:pt x="40" y="88"/>
                    </a:lnTo>
                    <a:lnTo>
                      <a:pt x="40" y="92"/>
                    </a:lnTo>
                    <a:lnTo>
                      <a:pt x="42" y="96"/>
                    </a:lnTo>
                    <a:lnTo>
                      <a:pt x="44" y="96"/>
                    </a:lnTo>
                    <a:lnTo>
                      <a:pt x="46" y="98"/>
                    </a:lnTo>
                    <a:lnTo>
                      <a:pt x="48" y="98"/>
                    </a:lnTo>
                    <a:lnTo>
                      <a:pt x="48" y="96"/>
                    </a:lnTo>
                    <a:lnTo>
                      <a:pt x="50" y="94"/>
                    </a:lnTo>
                    <a:lnTo>
                      <a:pt x="50" y="88"/>
                    </a:lnTo>
                    <a:lnTo>
                      <a:pt x="48" y="88"/>
                    </a:lnTo>
                    <a:lnTo>
                      <a:pt x="48" y="86"/>
                    </a:lnTo>
                    <a:close/>
                    <a:moveTo>
                      <a:pt x="90" y="164"/>
                    </a:moveTo>
                    <a:lnTo>
                      <a:pt x="88" y="162"/>
                    </a:lnTo>
                    <a:lnTo>
                      <a:pt x="86" y="160"/>
                    </a:lnTo>
                    <a:lnTo>
                      <a:pt x="82" y="160"/>
                    </a:lnTo>
                    <a:lnTo>
                      <a:pt x="82" y="158"/>
                    </a:lnTo>
                    <a:lnTo>
                      <a:pt x="80" y="158"/>
                    </a:lnTo>
                    <a:lnTo>
                      <a:pt x="80" y="162"/>
                    </a:lnTo>
                    <a:lnTo>
                      <a:pt x="82" y="164"/>
                    </a:lnTo>
                    <a:lnTo>
                      <a:pt x="84" y="166"/>
                    </a:lnTo>
                    <a:lnTo>
                      <a:pt x="86" y="166"/>
                    </a:lnTo>
                    <a:lnTo>
                      <a:pt x="86" y="168"/>
                    </a:lnTo>
                    <a:lnTo>
                      <a:pt x="88" y="170"/>
                    </a:lnTo>
                    <a:lnTo>
                      <a:pt x="92" y="170"/>
                    </a:lnTo>
                    <a:lnTo>
                      <a:pt x="92" y="166"/>
                    </a:lnTo>
                    <a:lnTo>
                      <a:pt x="90" y="166"/>
                    </a:lnTo>
                    <a:lnTo>
                      <a:pt x="90" y="164"/>
                    </a:lnTo>
                    <a:close/>
                    <a:moveTo>
                      <a:pt x="314" y="248"/>
                    </a:moveTo>
                    <a:lnTo>
                      <a:pt x="314" y="246"/>
                    </a:lnTo>
                    <a:lnTo>
                      <a:pt x="316" y="244"/>
                    </a:lnTo>
                    <a:lnTo>
                      <a:pt x="318" y="244"/>
                    </a:lnTo>
                    <a:lnTo>
                      <a:pt x="320" y="242"/>
                    </a:lnTo>
                    <a:lnTo>
                      <a:pt x="322" y="242"/>
                    </a:lnTo>
                    <a:lnTo>
                      <a:pt x="324" y="240"/>
                    </a:lnTo>
                    <a:lnTo>
                      <a:pt x="326" y="238"/>
                    </a:lnTo>
                    <a:lnTo>
                      <a:pt x="326" y="236"/>
                    </a:lnTo>
                    <a:lnTo>
                      <a:pt x="322" y="236"/>
                    </a:lnTo>
                    <a:lnTo>
                      <a:pt x="320" y="238"/>
                    </a:lnTo>
                    <a:lnTo>
                      <a:pt x="316" y="238"/>
                    </a:lnTo>
                    <a:lnTo>
                      <a:pt x="314" y="238"/>
                    </a:lnTo>
                    <a:lnTo>
                      <a:pt x="310" y="238"/>
                    </a:lnTo>
                    <a:lnTo>
                      <a:pt x="308" y="240"/>
                    </a:lnTo>
                    <a:lnTo>
                      <a:pt x="308" y="246"/>
                    </a:lnTo>
                    <a:lnTo>
                      <a:pt x="308" y="248"/>
                    </a:lnTo>
                    <a:lnTo>
                      <a:pt x="314" y="248"/>
                    </a:lnTo>
                    <a:close/>
                    <a:moveTo>
                      <a:pt x="342" y="266"/>
                    </a:moveTo>
                    <a:lnTo>
                      <a:pt x="342" y="266"/>
                    </a:lnTo>
                    <a:lnTo>
                      <a:pt x="332" y="266"/>
                    </a:lnTo>
                    <a:lnTo>
                      <a:pt x="332" y="268"/>
                    </a:lnTo>
                    <a:lnTo>
                      <a:pt x="332" y="270"/>
                    </a:lnTo>
                    <a:lnTo>
                      <a:pt x="332" y="274"/>
                    </a:lnTo>
                    <a:lnTo>
                      <a:pt x="332" y="276"/>
                    </a:lnTo>
                    <a:lnTo>
                      <a:pt x="334" y="278"/>
                    </a:lnTo>
                    <a:lnTo>
                      <a:pt x="336" y="280"/>
                    </a:lnTo>
                    <a:lnTo>
                      <a:pt x="338" y="280"/>
                    </a:lnTo>
                    <a:lnTo>
                      <a:pt x="340" y="278"/>
                    </a:lnTo>
                    <a:lnTo>
                      <a:pt x="342" y="276"/>
                    </a:lnTo>
                    <a:lnTo>
                      <a:pt x="344" y="272"/>
                    </a:lnTo>
                    <a:lnTo>
                      <a:pt x="344" y="270"/>
                    </a:lnTo>
                    <a:lnTo>
                      <a:pt x="342" y="268"/>
                    </a:lnTo>
                    <a:lnTo>
                      <a:pt x="342" y="266"/>
                    </a:lnTo>
                    <a:close/>
                    <a:moveTo>
                      <a:pt x="168" y="222"/>
                    </a:moveTo>
                    <a:lnTo>
                      <a:pt x="170" y="220"/>
                    </a:lnTo>
                    <a:lnTo>
                      <a:pt x="170" y="216"/>
                    </a:lnTo>
                    <a:lnTo>
                      <a:pt x="170" y="214"/>
                    </a:lnTo>
                    <a:lnTo>
                      <a:pt x="172" y="216"/>
                    </a:lnTo>
                    <a:lnTo>
                      <a:pt x="174" y="218"/>
                    </a:lnTo>
                    <a:lnTo>
                      <a:pt x="176" y="218"/>
                    </a:lnTo>
                    <a:lnTo>
                      <a:pt x="176" y="220"/>
                    </a:lnTo>
                    <a:lnTo>
                      <a:pt x="178" y="218"/>
                    </a:lnTo>
                    <a:lnTo>
                      <a:pt x="178" y="216"/>
                    </a:lnTo>
                    <a:lnTo>
                      <a:pt x="178" y="214"/>
                    </a:lnTo>
                    <a:lnTo>
                      <a:pt x="180" y="212"/>
                    </a:lnTo>
                    <a:lnTo>
                      <a:pt x="180" y="204"/>
                    </a:lnTo>
                    <a:lnTo>
                      <a:pt x="180" y="200"/>
                    </a:lnTo>
                    <a:lnTo>
                      <a:pt x="180" y="198"/>
                    </a:lnTo>
                    <a:lnTo>
                      <a:pt x="182" y="194"/>
                    </a:lnTo>
                    <a:lnTo>
                      <a:pt x="182" y="190"/>
                    </a:lnTo>
                    <a:lnTo>
                      <a:pt x="182" y="188"/>
                    </a:lnTo>
                    <a:lnTo>
                      <a:pt x="182" y="186"/>
                    </a:lnTo>
                    <a:lnTo>
                      <a:pt x="182" y="184"/>
                    </a:lnTo>
                    <a:lnTo>
                      <a:pt x="180" y="182"/>
                    </a:lnTo>
                    <a:lnTo>
                      <a:pt x="180" y="180"/>
                    </a:lnTo>
                    <a:lnTo>
                      <a:pt x="180" y="178"/>
                    </a:lnTo>
                    <a:lnTo>
                      <a:pt x="180" y="176"/>
                    </a:lnTo>
                    <a:lnTo>
                      <a:pt x="182" y="176"/>
                    </a:lnTo>
                    <a:lnTo>
                      <a:pt x="182" y="174"/>
                    </a:lnTo>
                    <a:lnTo>
                      <a:pt x="184" y="172"/>
                    </a:lnTo>
                    <a:lnTo>
                      <a:pt x="184" y="170"/>
                    </a:lnTo>
                    <a:lnTo>
                      <a:pt x="184" y="168"/>
                    </a:lnTo>
                    <a:lnTo>
                      <a:pt x="182" y="166"/>
                    </a:lnTo>
                    <a:lnTo>
                      <a:pt x="180" y="166"/>
                    </a:lnTo>
                    <a:lnTo>
                      <a:pt x="180" y="164"/>
                    </a:lnTo>
                    <a:lnTo>
                      <a:pt x="180" y="162"/>
                    </a:lnTo>
                    <a:lnTo>
                      <a:pt x="180" y="160"/>
                    </a:lnTo>
                    <a:lnTo>
                      <a:pt x="178" y="158"/>
                    </a:lnTo>
                    <a:lnTo>
                      <a:pt x="178" y="156"/>
                    </a:lnTo>
                    <a:lnTo>
                      <a:pt x="168" y="156"/>
                    </a:lnTo>
                    <a:lnTo>
                      <a:pt x="168" y="148"/>
                    </a:lnTo>
                    <a:lnTo>
                      <a:pt x="166" y="146"/>
                    </a:lnTo>
                    <a:lnTo>
                      <a:pt x="160" y="146"/>
                    </a:lnTo>
                    <a:lnTo>
                      <a:pt x="160" y="142"/>
                    </a:lnTo>
                    <a:lnTo>
                      <a:pt x="158" y="142"/>
                    </a:lnTo>
                    <a:lnTo>
                      <a:pt x="158" y="136"/>
                    </a:lnTo>
                    <a:lnTo>
                      <a:pt x="158" y="134"/>
                    </a:lnTo>
                    <a:lnTo>
                      <a:pt x="158" y="130"/>
                    </a:lnTo>
                    <a:lnTo>
                      <a:pt x="146" y="130"/>
                    </a:lnTo>
                    <a:lnTo>
                      <a:pt x="144" y="128"/>
                    </a:lnTo>
                    <a:lnTo>
                      <a:pt x="142" y="128"/>
                    </a:lnTo>
                    <a:lnTo>
                      <a:pt x="142" y="122"/>
                    </a:lnTo>
                    <a:lnTo>
                      <a:pt x="142" y="120"/>
                    </a:lnTo>
                    <a:lnTo>
                      <a:pt x="144" y="118"/>
                    </a:lnTo>
                    <a:lnTo>
                      <a:pt x="146" y="116"/>
                    </a:lnTo>
                    <a:lnTo>
                      <a:pt x="144" y="116"/>
                    </a:lnTo>
                    <a:lnTo>
                      <a:pt x="142" y="116"/>
                    </a:lnTo>
                    <a:lnTo>
                      <a:pt x="140" y="116"/>
                    </a:lnTo>
                    <a:lnTo>
                      <a:pt x="142" y="114"/>
                    </a:lnTo>
                    <a:lnTo>
                      <a:pt x="144" y="110"/>
                    </a:lnTo>
                    <a:lnTo>
                      <a:pt x="146" y="108"/>
                    </a:lnTo>
                    <a:lnTo>
                      <a:pt x="146" y="106"/>
                    </a:lnTo>
                    <a:lnTo>
                      <a:pt x="146" y="102"/>
                    </a:lnTo>
                    <a:lnTo>
                      <a:pt x="138" y="102"/>
                    </a:lnTo>
                    <a:lnTo>
                      <a:pt x="134" y="102"/>
                    </a:lnTo>
                    <a:lnTo>
                      <a:pt x="132" y="104"/>
                    </a:lnTo>
                    <a:lnTo>
                      <a:pt x="128" y="104"/>
                    </a:lnTo>
                    <a:lnTo>
                      <a:pt x="128" y="106"/>
                    </a:lnTo>
                    <a:lnTo>
                      <a:pt x="126" y="106"/>
                    </a:lnTo>
                    <a:lnTo>
                      <a:pt x="128" y="104"/>
                    </a:lnTo>
                    <a:lnTo>
                      <a:pt x="130" y="104"/>
                    </a:lnTo>
                    <a:lnTo>
                      <a:pt x="130" y="102"/>
                    </a:lnTo>
                    <a:lnTo>
                      <a:pt x="132" y="98"/>
                    </a:lnTo>
                    <a:lnTo>
                      <a:pt x="134" y="96"/>
                    </a:lnTo>
                    <a:lnTo>
                      <a:pt x="132" y="96"/>
                    </a:lnTo>
                    <a:lnTo>
                      <a:pt x="130" y="96"/>
                    </a:lnTo>
                    <a:lnTo>
                      <a:pt x="126" y="94"/>
                    </a:lnTo>
                    <a:lnTo>
                      <a:pt x="124" y="94"/>
                    </a:lnTo>
                    <a:lnTo>
                      <a:pt x="122" y="94"/>
                    </a:lnTo>
                    <a:lnTo>
                      <a:pt x="122" y="92"/>
                    </a:lnTo>
                    <a:lnTo>
                      <a:pt x="122" y="90"/>
                    </a:lnTo>
                    <a:lnTo>
                      <a:pt x="122" y="88"/>
                    </a:lnTo>
                    <a:lnTo>
                      <a:pt x="122" y="86"/>
                    </a:lnTo>
                    <a:lnTo>
                      <a:pt x="120" y="84"/>
                    </a:lnTo>
                    <a:lnTo>
                      <a:pt x="118" y="82"/>
                    </a:lnTo>
                    <a:lnTo>
                      <a:pt x="116" y="80"/>
                    </a:lnTo>
                    <a:lnTo>
                      <a:pt x="114" y="78"/>
                    </a:lnTo>
                    <a:lnTo>
                      <a:pt x="112" y="78"/>
                    </a:lnTo>
                    <a:lnTo>
                      <a:pt x="110" y="78"/>
                    </a:lnTo>
                    <a:lnTo>
                      <a:pt x="108" y="78"/>
                    </a:lnTo>
                    <a:lnTo>
                      <a:pt x="108" y="76"/>
                    </a:lnTo>
                    <a:lnTo>
                      <a:pt x="106" y="76"/>
                    </a:lnTo>
                    <a:lnTo>
                      <a:pt x="106" y="74"/>
                    </a:lnTo>
                    <a:lnTo>
                      <a:pt x="106" y="72"/>
                    </a:lnTo>
                    <a:lnTo>
                      <a:pt x="104" y="70"/>
                    </a:lnTo>
                    <a:lnTo>
                      <a:pt x="104" y="68"/>
                    </a:lnTo>
                    <a:lnTo>
                      <a:pt x="102" y="68"/>
                    </a:lnTo>
                    <a:lnTo>
                      <a:pt x="102" y="66"/>
                    </a:lnTo>
                    <a:lnTo>
                      <a:pt x="100" y="66"/>
                    </a:lnTo>
                    <a:lnTo>
                      <a:pt x="98" y="66"/>
                    </a:lnTo>
                    <a:lnTo>
                      <a:pt x="98" y="68"/>
                    </a:lnTo>
                    <a:lnTo>
                      <a:pt x="98" y="70"/>
                    </a:lnTo>
                    <a:lnTo>
                      <a:pt x="98" y="72"/>
                    </a:lnTo>
                    <a:lnTo>
                      <a:pt x="96" y="70"/>
                    </a:lnTo>
                    <a:lnTo>
                      <a:pt x="94" y="68"/>
                    </a:lnTo>
                    <a:lnTo>
                      <a:pt x="92" y="68"/>
                    </a:lnTo>
                    <a:lnTo>
                      <a:pt x="90" y="66"/>
                    </a:lnTo>
                    <a:lnTo>
                      <a:pt x="88" y="64"/>
                    </a:lnTo>
                    <a:lnTo>
                      <a:pt x="86" y="62"/>
                    </a:lnTo>
                    <a:lnTo>
                      <a:pt x="86" y="60"/>
                    </a:lnTo>
                    <a:lnTo>
                      <a:pt x="84" y="58"/>
                    </a:lnTo>
                    <a:lnTo>
                      <a:pt x="84" y="56"/>
                    </a:lnTo>
                    <a:lnTo>
                      <a:pt x="82" y="54"/>
                    </a:lnTo>
                    <a:lnTo>
                      <a:pt x="82" y="52"/>
                    </a:lnTo>
                    <a:lnTo>
                      <a:pt x="82" y="50"/>
                    </a:lnTo>
                    <a:lnTo>
                      <a:pt x="80" y="50"/>
                    </a:lnTo>
                    <a:lnTo>
                      <a:pt x="76" y="46"/>
                    </a:lnTo>
                    <a:lnTo>
                      <a:pt x="70" y="42"/>
                    </a:lnTo>
                    <a:lnTo>
                      <a:pt x="68" y="40"/>
                    </a:lnTo>
                    <a:lnTo>
                      <a:pt x="66" y="40"/>
                    </a:lnTo>
                    <a:lnTo>
                      <a:pt x="64" y="38"/>
                    </a:lnTo>
                    <a:lnTo>
                      <a:pt x="62" y="36"/>
                    </a:lnTo>
                    <a:lnTo>
                      <a:pt x="56" y="30"/>
                    </a:lnTo>
                    <a:lnTo>
                      <a:pt x="54" y="28"/>
                    </a:lnTo>
                    <a:lnTo>
                      <a:pt x="52" y="28"/>
                    </a:lnTo>
                    <a:lnTo>
                      <a:pt x="54" y="26"/>
                    </a:lnTo>
                    <a:lnTo>
                      <a:pt x="52" y="24"/>
                    </a:lnTo>
                    <a:lnTo>
                      <a:pt x="50" y="24"/>
                    </a:lnTo>
                    <a:lnTo>
                      <a:pt x="50" y="22"/>
                    </a:lnTo>
                    <a:lnTo>
                      <a:pt x="50" y="20"/>
                    </a:lnTo>
                    <a:lnTo>
                      <a:pt x="48" y="20"/>
                    </a:lnTo>
                    <a:lnTo>
                      <a:pt x="48" y="18"/>
                    </a:lnTo>
                    <a:lnTo>
                      <a:pt x="46" y="16"/>
                    </a:lnTo>
                    <a:lnTo>
                      <a:pt x="44" y="14"/>
                    </a:lnTo>
                    <a:lnTo>
                      <a:pt x="42" y="10"/>
                    </a:lnTo>
                    <a:lnTo>
                      <a:pt x="40" y="10"/>
                    </a:lnTo>
                    <a:lnTo>
                      <a:pt x="38" y="8"/>
                    </a:lnTo>
                    <a:lnTo>
                      <a:pt x="26" y="8"/>
                    </a:lnTo>
                    <a:lnTo>
                      <a:pt x="24" y="8"/>
                    </a:lnTo>
                    <a:lnTo>
                      <a:pt x="16" y="8"/>
                    </a:lnTo>
                    <a:lnTo>
                      <a:pt x="16" y="6"/>
                    </a:lnTo>
                    <a:lnTo>
                      <a:pt x="14" y="6"/>
                    </a:lnTo>
                    <a:lnTo>
                      <a:pt x="12" y="4"/>
                    </a:lnTo>
                    <a:lnTo>
                      <a:pt x="12" y="2"/>
                    </a:lnTo>
                    <a:lnTo>
                      <a:pt x="10" y="2"/>
                    </a:lnTo>
                    <a:lnTo>
                      <a:pt x="8" y="0"/>
                    </a:lnTo>
                    <a:lnTo>
                      <a:pt x="6" y="0"/>
                    </a:lnTo>
                    <a:lnTo>
                      <a:pt x="4" y="0"/>
                    </a:lnTo>
                    <a:lnTo>
                      <a:pt x="2" y="0"/>
                    </a:lnTo>
                    <a:lnTo>
                      <a:pt x="2" y="2"/>
                    </a:lnTo>
                    <a:lnTo>
                      <a:pt x="0" y="4"/>
                    </a:lnTo>
                    <a:lnTo>
                      <a:pt x="0" y="12"/>
                    </a:lnTo>
                    <a:lnTo>
                      <a:pt x="2" y="14"/>
                    </a:lnTo>
                    <a:lnTo>
                      <a:pt x="2" y="16"/>
                    </a:lnTo>
                    <a:lnTo>
                      <a:pt x="4" y="18"/>
                    </a:lnTo>
                    <a:lnTo>
                      <a:pt x="6" y="20"/>
                    </a:lnTo>
                    <a:lnTo>
                      <a:pt x="8" y="22"/>
                    </a:lnTo>
                    <a:lnTo>
                      <a:pt x="12" y="24"/>
                    </a:lnTo>
                    <a:lnTo>
                      <a:pt x="26" y="38"/>
                    </a:lnTo>
                    <a:lnTo>
                      <a:pt x="28" y="40"/>
                    </a:lnTo>
                    <a:lnTo>
                      <a:pt x="30" y="42"/>
                    </a:lnTo>
                    <a:lnTo>
                      <a:pt x="32" y="44"/>
                    </a:lnTo>
                    <a:lnTo>
                      <a:pt x="32" y="46"/>
                    </a:lnTo>
                    <a:lnTo>
                      <a:pt x="34" y="48"/>
                    </a:lnTo>
                    <a:lnTo>
                      <a:pt x="36" y="52"/>
                    </a:lnTo>
                    <a:lnTo>
                      <a:pt x="38" y="52"/>
                    </a:lnTo>
                    <a:lnTo>
                      <a:pt x="38" y="54"/>
                    </a:lnTo>
                    <a:lnTo>
                      <a:pt x="40" y="54"/>
                    </a:lnTo>
                    <a:lnTo>
                      <a:pt x="42" y="54"/>
                    </a:lnTo>
                    <a:lnTo>
                      <a:pt x="42" y="56"/>
                    </a:lnTo>
                    <a:lnTo>
                      <a:pt x="42" y="58"/>
                    </a:lnTo>
                    <a:lnTo>
                      <a:pt x="42" y="60"/>
                    </a:lnTo>
                    <a:lnTo>
                      <a:pt x="44" y="62"/>
                    </a:lnTo>
                    <a:lnTo>
                      <a:pt x="44" y="64"/>
                    </a:lnTo>
                    <a:lnTo>
                      <a:pt x="46" y="66"/>
                    </a:lnTo>
                    <a:lnTo>
                      <a:pt x="48" y="66"/>
                    </a:lnTo>
                    <a:lnTo>
                      <a:pt x="50" y="68"/>
                    </a:lnTo>
                    <a:lnTo>
                      <a:pt x="52" y="70"/>
                    </a:lnTo>
                    <a:lnTo>
                      <a:pt x="56" y="72"/>
                    </a:lnTo>
                    <a:lnTo>
                      <a:pt x="58" y="72"/>
                    </a:lnTo>
                    <a:lnTo>
                      <a:pt x="60" y="74"/>
                    </a:lnTo>
                    <a:lnTo>
                      <a:pt x="62" y="76"/>
                    </a:lnTo>
                    <a:lnTo>
                      <a:pt x="64" y="78"/>
                    </a:lnTo>
                    <a:lnTo>
                      <a:pt x="64" y="82"/>
                    </a:lnTo>
                    <a:lnTo>
                      <a:pt x="66" y="84"/>
                    </a:lnTo>
                    <a:lnTo>
                      <a:pt x="66" y="88"/>
                    </a:lnTo>
                    <a:lnTo>
                      <a:pt x="68" y="90"/>
                    </a:lnTo>
                    <a:lnTo>
                      <a:pt x="68" y="92"/>
                    </a:lnTo>
                    <a:lnTo>
                      <a:pt x="68" y="94"/>
                    </a:lnTo>
                    <a:lnTo>
                      <a:pt x="68" y="104"/>
                    </a:lnTo>
                    <a:lnTo>
                      <a:pt x="70" y="106"/>
                    </a:lnTo>
                    <a:lnTo>
                      <a:pt x="72" y="106"/>
                    </a:lnTo>
                    <a:lnTo>
                      <a:pt x="76" y="106"/>
                    </a:lnTo>
                    <a:lnTo>
                      <a:pt x="78" y="106"/>
                    </a:lnTo>
                    <a:lnTo>
                      <a:pt x="78" y="110"/>
                    </a:lnTo>
                    <a:lnTo>
                      <a:pt x="80" y="112"/>
                    </a:lnTo>
                    <a:lnTo>
                      <a:pt x="80" y="114"/>
                    </a:lnTo>
                    <a:lnTo>
                      <a:pt x="80" y="116"/>
                    </a:lnTo>
                    <a:lnTo>
                      <a:pt x="84" y="118"/>
                    </a:lnTo>
                    <a:lnTo>
                      <a:pt x="86" y="120"/>
                    </a:lnTo>
                    <a:lnTo>
                      <a:pt x="88" y="122"/>
                    </a:lnTo>
                    <a:lnTo>
                      <a:pt x="90" y="122"/>
                    </a:lnTo>
                    <a:lnTo>
                      <a:pt x="90" y="124"/>
                    </a:lnTo>
                    <a:lnTo>
                      <a:pt x="90" y="126"/>
                    </a:lnTo>
                    <a:lnTo>
                      <a:pt x="90" y="130"/>
                    </a:lnTo>
                    <a:lnTo>
                      <a:pt x="90" y="132"/>
                    </a:lnTo>
                    <a:lnTo>
                      <a:pt x="92" y="134"/>
                    </a:lnTo>
                    <a:lnTo>
                      <a:pt x="94" y="136"/>
                    </a:lnTo>
                    <a:lnTo>
                      <a:pt x="94" y="138"/>
                    </a:lnTo>
                    <a:lnTo>
                      <a:pt x="94" y="140"/>
                    </a:lnTo>
                    <a:lnTo>
                      <a:pt x="96" y="142"/>
                    </a:lnTo>
                    <a:lnTo>
                      <a:pt x="96" y="144"/>
                    </a:lnTo>
                    <a:lnTo>
                      <a:pt x="98" y="144"/>
                    </a:lnTo>
                    <a:lnTo>
                      <a:pt x="96" y="146"/>
                    </a:lnTo>
                    <a:lnTo>
                      <a:pt x="96" y="150"/>
                    </a:lnTo>
                    <a:lnTo>
                      <a:pt x="98" y="152"/>
                    </a:lnTo>
                    <a:lnTo>
                      <a:pt x="98" y="154"/>
                    </a:lnTo>
                    <a:lnTo>
                      <a:pt x="98" y="156"/>
                    </a:lnTo>
                    <a:lnTo>
                      <a:pt x="102" y="160"/>
                    </a:lnTo>
                    <a:lnTo>
                      <a:pt x="104" y="160"/>
                    </a:lnTo>
                    <a:lnTo>
                      <a:pt x="104" y="162"/>
                    </a:lnTo>
                    <a:lnTo>
                      <a:pt x="106" y="164"/>
                    </a:lnTo>
                    <a:lnTo>
                      <a:pt x="106" y="166"/>
                    </a:lnTo>
                    <a:lnTo>
                      <a:pt x="108" y="168"/>
                    </a:lnTo>
                    <a:lnTo>
                      <a:pt x="110" y="170"/>
                    </a:lnTo>
                    <a:lnTo>
                      <a:pt x="114" y="174"/>
                    </a:lnTo>
                    <a:lnTo>
                      <a:pt x="118" y="176"/>
                    </a:lnTo>
                    <a:lnTo>
                      <a:pt x="120" y="176"/>
                    </a:lnTo>
                    <a:lnTo>
                      <a:pt x="120" y="178"/>
                    </a:lnTo>
                    <a:lnTo>
                      <a:pt x="122" y="178"/>
                    </a:lnTo>
                    <a:lnTo>
                      <a:pt x="122" y="188"/>
                    </a:lnTo>
                    <a:lnTo>
                      <a:pt x="124" y="190"/>
                    </a:lnTo>
                    <a:lnTo>
                      <a:pt x="126" y="192"/>
                    </a:lnTo>
                    <a:lnTo>
                      <a:pt x="130" y="194"/>
                    </a:lnTo>
                    <a:lnTo>
                      <a:pt x="140" y="204"/>
                    </a:lnTo>
                    <a:lnTo>
                      <a:pt x="144" y="204"/>
                    </a:lnTo>
                    <a:lnTo>
                      <a:pt x="144" y="206"/>
                    </a:lnTo>
                    <a:lnTo>
                      <a:pt x="146" y="206"/>
                    </a:lnTo>
                    <a:lnTo>
                      <a:pt x="148" y="212"/>
                    </a:lnTo>
                    <a:lnTo>
                      <a:pt x="150" y="214"/>
                    </a:lnTo>
                    <a:lnTo>
                      <a:pt x="152" y="216"/>
                    </a:lnTo>
                    <a:lnTo>
                      <a:pt x="154" y="216"/>
                    </a:lnTo>
                    <a:lnTo>
                      <a:pt x="154" y="218"/>
                    </a:lnTo>
                    <a:lnTo>
                      <a:pt x="156" y="220"/>
                    </a:lnTo>
                    <a:lnTo>
                      <a:pt x="156" y="222"/>
                    </a:lnTo>
                    <a:lnTo>
                      <a:pt x="156" y="224"/>
                    </a:lnTo>
                    <a:lnTo>
                      <a:pt x="158" y="224"/>
                    </a:lnTo>
                    <a:lnTo>
                      <a:pt x="158" y="216"/>
                    </a:lnTo>
                    <a:lnTo>
                      <a:pt x="158" y="214"/>
                    </a:lnTo>
                    <a:lnTo>
                      <a:pt x="160" y="214"/>
                    </a:lnTo>
                    <a:lnTo>
                      <a:pt x="160" y="216"/>
                    </a:lnTo>
                    <a:lnTo>
                      <a:pt x="162" y="216"/>
                    </a:lnTo>
                    <a:lnTo>
                      <a:pt x="164" y="218"/>
                    </a:lnTo>
                    <a:lnTo>
                      <a:pt x="166" y="220"/>
                    </a:lnTo>
                    <a:lnTo>
                      <a:pt x="168" y="222"/>
                    </a:lnTo>
                    <a:close/>
                    <a:moveTo>
                      <a:pt x="326" y="276"/>
                    </a:moveTo>
                    <a:lnTo>
                      <a:pt x="326" y="276"/>
                    </a:lnTo>
                    <a:lnTo>
                      <a:pt x="326" y="274"/>
                    </a:lnTo>
                    <a:lnTo>
                      <a:pt x="328" y="272"/>
                    </a:lnTo>
                    <a:lnTo>
                      <a:pt x="328" y="270"/>
                    </a:lnTo>
                    <a:lnTo>
                      <a:pt x="328" y="268"/>
                    </a:lnTo>
                    <a:lnTo>
                      <a:pt x="328" y="266"/>
                    </a:lnTo>
                    <a:lnTo>
                      <a:pt x="326" y="264"/>
                    </a:lnTo>
                    <a:lnTo>
                      <a:pt x="324" y="262"/>
                    </a:lnTo>
                    <a:lnTo>
                      <a:pt x="322" y="262"/>
                    </a:lnTo>
                    <a:lnTo>
                      <a:pt x="320" y="262"/>
                    </a:lnTo>
                    <a:lnTo>
                      <a:pt x="318" y="262"/>
                    </a:lnTo>
                    <a:lnTo>
                      <a:pt x="314" y="262"/>
                    </a:lnTo>
                    <a:lnTo>
                      <a:pt x="314" y="260"/>
                    </a:lnTo>
                    <a:lnTo>
                      <a:pt x="312" y="260"/>
                    </a:lnTo>
                    <a:lnTo>
                      <a:pt x="310" y="262"/>
                    </a:lnTo>
                    <a:lnTo>
                      <a:pt x="308" y="264"/>
                    </a:lnTo>
                    <a:lnTo>
                      <a:pt x="308" y="270"/>
                    </a:lnTo>
                    <a:lnTo>
                      <a:pt x="306" y="268"/>
                    </a:lnTo>
                    <a:lnTo>
                      <a:pt x="304" y="266"/>
                    </a:lnTo>
                    <a:lnTo>
                      <a:pt x="302" y="264"/>
                    </a:lnTo>
                    <a:lnTo>
                      <a:pt x="300" y="264"/>
                    </a:lnTo>
                    <a:lnTo>
                      <a:pt x="300" y="262"/>
                    </a:lnTo>
                    <a:lnTo>
                      <a:pt x="300" y="260"/>
                    </a:lnTo>
                    <a:lnTo>
                      <a:pt x="300" y="256"/>
                    </a:lnTo>
                    <a:lnTo>
                      <a:pt x="302" y="252"/>
                    </a:lnTo>
                    <a:lnTo>
                      <a:pt x="302" y="248"/>
                    </a:lnTo>
                    <a:lnTo>
                      <a:pt x="300" y="246"/>
                    </a:lnTo>
                    <a:lnTo>
                      <a:pt x="298" y="244"/>
                    </a:lnTo>
                    <a:lnTo>
                      <a:pt x="296" y="244"/>
                    </a:lnTo>
                    <a:lnTo>
                      <a:pt x="284" y="244"/>
                    </a:lnTo>
                    <a:lnTo>
                      <a:pt x="282" y="242"/>
                    </a:lnTo>
                    <a:lnTo>
                      <a:pt x="280" y="242"/>
                    </a:lnTo>
                    <a:lnTo>
                      <a:pt x="278" y="240"/>
                    </a:lnTo>
                    <a:lnTo>
                      <a:pt x="276" y="240"/>
                    </a:lnTo>
                    <a:lnTo>
                      <a:pt x="276" y="238"/>
                    </a:lnTo>
                    <a:lnTo>
                      <a:pt x="276" y="236"/>
                    </a:lnTo>
                    <a:lnTo>
                      <a:pt x="266" y="236"/>
                    </a:lnTo>
                    <a:lnTo>
                      <a:pt x="266" y="238"/>
                    </a:lnTo>
                    <a:lnTo>
                      <a:pt x="266" y="240"/>
                    </a:lnTo>
                    <a:lnTo>
                      <a:pt x="266" y="244"/>
                    </a:lnTo>
                    <a:lnTo>
                      <a:pt x="260" y="244"/>
                    </a:lnTo>
                    <a:lnTo>
                      <a:pt x="258" y="242"/>
                    </a:lnTo>
                    <a:lnTo>
                      <a:pt x="254" y="242"/>
                    </a:lnTo>
                    <a:lnTo>
                      <a:pt x="252" y="240"/>
                    </a:lnTo>
                    <a:lnTo>
                      <a:pt x="248" y="240"/>
                    </a:lnTo>
                    <a:lnTo>
                      <a:pt x="246" y="240"/>
                    </a:lnTo>
                    <a:lnTo>
                      <a:pt x="244" y="240"/>
                    </a:lnTo>
                    <a:lnTo>
                      <a:pt x="242" y="238"/>
                    </a:lnTo>
                    <a:lnTo>
                      <a:pt x="230" y="238"/>
                    </a:lnTo>
                    <a:lnTo>
                      <a:pt x="228" y="236"/>
                    </a:lnTo>
                    <a:lnTo>
                      <a:pt x="226" y="236"/>
                    </a:lnTo>
                    <a:lnTo>
                      <a:pt x="224" y="232"/>
                    </a:lnTo>
                    <a:lnTo>
                      <a:pt x="222" y="230"/>
                    </a:lnTo>
                    <a:lnTo>
                      <a:pt x="220" y="228"/>
                    </a:lnTo>
                    <a:lnTo>
                      <a:pt x="218" y="226"/>
                    </a:lnTo>
                    <a:lnTo>
                      <a:pt x="216" y="226"/>
                    </a:lnTo>
                    <a:lnTo>
                      <a:pt x="214" y="228"/>
                    </a:lnTo>
                    <a:lnTo>
                      <a:pt x="212" y="228"/>
                    </a:lnTo>
                    <a:lnTo>
                      <a:pt x="208" y="226"/>
                    </a:lnTo>
                    <a:lnTo>
                      <a:pt x="206" y="224"/>
                    </a:lnTo>
                    <a:lnTo>
                      <a:pt x="204" y="224"/>
                    </a:lnTo>
                    <a:lnTo>
                      <a:pt x="202" y="224"/>
                    </a:lnTo>
                    <a:lnTo>
                      <a:pt x="200" y="222"/>
                    </a:lnTo>
                    <a:lnTo>
                      <a:pt x="194" y="222"/>
                    </a:lnTo>
                    <a:lnTo>
                      <a:pt x="190" y="222"/>
                    </a:lnTo>
                    <a:lnTo>
                      <a:pt x="188" y="220"/>
                    </a:lnTo>
                    <a:lnTo>
                      <a:pt x="186" y="220"/>
                    </a:lnTo>
                    <a:lnTo>
                      <a:pt x="184" y="220"/>
                    </a:lnTo>
                    <a:lnTo>
                      <a:pt x="180" y="222"/>
                    </a:lnTo>
                    <a:lnTo>
                      <a:pt x="178" y="222"/>
                    </a:lnTo>
                    <a:lnTo>
                      <a:pt x="178" y="224"/>
                    </a:lnTo>
                    <a:lnTo>
                      <a:pt x="176" y="226"/>
                    </a:lnTo>
                    <a:lnTo>
                      <a:pt x="176" y="230"/>
                    </a:lnTo>
                    <a:lnTo>
                      <a:pt x="176" y="232"/>
                    </a:lnTo>
                    <a:lnTo>
                      <a:pt x="174" y="234"/>
                    </a:lnTo>
                    <a:lnTo>
                      <a:pt x="172" y="236"/>
                    </a:lnTo>
                    <a:lnTo>
                      <a:pt x="170" y="236"/>
                    </a:lnTo>
                    <a:lnTo>
                      <a:pt x="168" y="238"/>
                    </a:lnTo>
                    <a:lnTo>
                      <a:pt x="168" y="240"/>
                    </a:lnTo>
                    <a:lnTo>
                      <a:pt x="170" y="240"/>
                    </a:lnTo>
                    <a:lnTo>
                      <a:pt x="172" y="240"/>
                    </a:lnTo>
                    <a:lnTo>
                      <a:pt x="174" y="240"/>
                    </a:lnTo>
                    <a:lnTo>
                      <a:pt x="176" y="238"/>
                    </a:lnTo>
                    <a:lnTo>
                      <a:pt x="178" y="238"/>
                    </a:lnTo>
                    <a:lnTo>
                      <a:pt x="180" y="240"/>
                    </a:lnTo>
                    <a:lnTo>
                      <a:pt x="186" y="240"/>
                    </a:lnTo>
                    <a:lnTo>
                      <a:pt x="188" y="240"/>
                    </a:lnTo>
                    <a:lnTo>
                      <a:pt x="186" y="240"/>
                    </a:lnTo>
                    <a:lnTo>
                      <a:pt x="184" y="242"/>
                    </a:lnTo>
                    <a:lnTo>
                      <a:pt x="182" y="244"/>
                    </a:lnTo>
                    <a:lnTo>
                      <a:pt x="182" y="246"/>
                    </a:lnTo>
                    <a:lnTo>
                      <a:pt x="182" y="248"/>
                    </a:lnTo>
                    <a:lnTo>
                      <a:pt x="184" y="250"/>
                    </a:lnTo>
                    <a:lnTo>
                      <a:pt x="190" y="250"/>
                    </a:lnTo>
                    <a:lnTo>
                      <a:pt x="192" y="248"/>
                    </a:lnTo>
                    <a:lnTo>
                      <a:pt x="194" y="248"/>
                    </a:lnTo>
                    <a:lnTo>
                      <a:pt x="196" y="246"/>
                    </a:lnTo>
                    <a:lnTo>
                      <a:pt x="198" y="246"/>
                    </a:lnTo>
                    <a:lnTo>
                      <a:pt x="200" y="246"/>
                    </a:lnTo>
                    <a:lnTo>
                      <a:pt x="200" y="248"/>
                    </a:lnTo>
                    <a:lnTo>
                      <a:pt x="202" y="248"/>
                    </a:lnTo>
                    <a:lnTo>
                      <a:pt x="204" y="250"/>
                    </a:lnTo>
                    <a:lnTo>
                      <a:pt x="208" y="252"/>
                    </a:lnTo>
                    <a:lnTo>
                      <a:pt x="212" y="254"/>
                    </a:lnTo>
                    <a:lnTo>
                      <a:pt x="216" y="256"/>
                    </a:lnTo>
                    <a:lnTo>
                      <a:pt x="218" y="256"/>
                    </a:lnTo>
                    <a:lnTo>
                      <a:pt x="220" y="258"/>
                    </a:lnTo>
                    <a:lnTo>
                      <a:pt x="222" y="258"/>
                    </a:lnTo>
                    <a:lnTo>
                      <a:pt x="224" y="258"/>
                    </a:lnTo>
                    <a:lnTo>
                      <a:pt x="228" y="258"/>
                    </a:lnTo>
                    <a:lnTo>
                      <a:pt x="232" y="260"/>
                    </a:lnTo>
                    <a:lnTo>
                      <a:pt x="250" y="260"/>
                    </a:lnTo>
                    <a:lnTo>
                      <a:pt x="252" y="260"/>
                    </a:lnTo>
                    <a:lnTo>
                      <a:pt x="254" y="260"/>
                    </a:lnTo>
                    <a:lnTo>
                      <a:pt x="256" y="262"/>
                    </a:lnTo>
                    <a:lnTo>
                      <a:pt x="258" y="262"/>
                    </a:lnTo>
                    <a:lnTo>
                      <a:pt x="260" y="266"/>
                    </a:lnTo>
                    <a:lnTo>
                      <a:pt x="262" y="268"/>
                    </a:lnTo>
                    <a:lnTo>
                      <a:pt x="262" y="270"/>
                    </a:lnTo>
                    <a:lnTo>
                      <a:pt x="264" y="270"/>
                    </a:lnTo>
                    <a:lnTo>
                      <a:pt x="266" y="272"/>
                    </a:lnTo>
                    <a:lnTo>
                      <a:pt x="268" y="272"/>
                    </a:lnTo>
                    <a:lnTo>
                      <a:pt x="272" y="274"/>
                    </a:lnTo>
                    <a:lnTo>
                      <a:pt x="274" y="274"/>
                    </a:lnTo>
                    <a:lnTo>
                      <a:pt x="278" y="274"/>
                    </a:lnTo>
                    <a:lnTo>
                      <a:pt x="280" y="274"/>
                    </a:lnTo>
                    <a:lnTo>
                      <a:pt x="282" y="276"/>
                    </a:lnTo>
                    <a:lnTo>
                      <a:pt x="292" y="276"/>
                    </a:lnTo>
                    <a:lnTo>
                      <a:pt x="294" y="274"/>
                    </a:lnTo>
                    <a:lnTo>
                      <a:pt x="298" y="276"/>
                    </a:lnTo>
                    <a:lnTo>
                      <a:pt x="300" y="276"/>
                    </a:lnTo>
                    <a:lnTo>
                      <a:pt x="304" y="278"/>
                    </a:lnTo>
                    <a:lnTo>
                      <a:pt x="306" y="278"/>
                    </a:lnTo>
                    <a:lnTo>
                      <a:pt x="308" y="282"/>
                    </a:lnTo>
                    <a:lnTo>
                      <a:pt x="310" y="284"/>
                    </a:lnTo>
                    <a:lnTo>
                      <a:pt x="312" y="286"/>
                    </a:lnTo>
                    <a:lnTo>
                      <a:pt x="314" y="286"/>
                    </a:lnTo>
                    <a:lnTo>
                      <a:pt x="316" y="288"/>
                    </a:lnTo>
                    <a:lnTo>
                      <a:pt x="318" y="288"/>
                    </a:lnTo>
                    <a:lnTo>
                      <a:pt x="318" y="286"/>
                    </a:lnTo>
                    <a:lnTo>
                      <a:pt x="320" y="286"/>
                    </a:lnTo>
                    <a:lnTo>
                      <a:pt x="324" y="286"/>
                    </a:lnTo>
                    <a:lnTo>
                      <a:pt x="328" y="286"/>
                    </a:lnTo>
                    <a:lnTo>
                      <a:pt x="328" y="284"/>
                    </a:lnTo>
                    <a:lnTo>
                      <a:pt x="326" y="280"/>
                    </a:lnTo>
                    <a:lnTo>
                      <a:pt x="324" y="278"/>
                    </a:lnTo>
                    <a:lnTo>
                      <a:pt x="324" y="276"/>
                    </a:lnTo>
                    <a:lnTo>
                      <a:pt x="326" y="276"/>
                    </a:lnTo>
                    <a:close/>
                    <a:moveTo>
                      <a:pt x="542" y="266"/>
                    </a:moveTo>
                    <a:lnTo>
                      <a:pt x="540" y="268"/>
                    </a:lnTo>
                    <a:lnTo>
                      <a:pt x="538" y="270"/>
                    </a:lnTo>
                    <a:lnTo>
                      <a:pt x="538" y="272"/>
                    </a:lnTo>
                    <a:lnTo>
                      <a:pt x="536" y="274"/>
                    </a:lnTo>
                    <a:lnTo>
                      <a:pt x="512" y="274"/>
                    </a:lnTo>
                    <a:lnTo>
                      <a:pt x="510" y="274"/>
                    </a:lnTo>
                    <a:lnTo>
                      <a:pt x="508" y="276"/>
                    </a:lnTo>
                    <a:lnTo>
                      <a:pt x="508" y="278"/>
                    </a:lnTo>
                    <a:lnTo>
                      <a:pt x="506" y="278"/>
                    </a:lnTo>
                    <a:lnTo>
                      <a:pt x="506" y="280"/>
                    </a:lnTo>
                    <a:lnTo>
                      <a:pt x="504" y="280"/>
                    </a:lnTo>
                    <a:lnTo>
                      <a:pt x="502" y="280"/>
                    </a:lnTo>
                    <a:lnTo>
                      <a:pt x="500" y="280"/>
                    </a:lnTo>
                    <a:lnTo>
                      <a:pt x="498" y="280"/>
                    </a:lnTo>
                    <a:lnTo>
                      <a:pt x="496" y="282"/>
                    </a:lnTo>
                    <a:lnTo>
                      <a:pt x="494" y="282"/>
                    </a:lnTo>
                    <a:lnTo>
                      <a:pt x="494" y="284"/>
                    </a:lnTo>
                    <a:lnTo>
                      <a:pt x="492" y="286"/>
                    </a:lnTo>
                    <a:lnTo>
                      <a:pt x="492" y="288"/>
                    </a:lnTo>
                    <a:lnTo>
                      <a:pt x="490" y="288"/>
                    </a:lnTo>
                    <a:lnTo>
                      <a:pt x="490" y="290"/>
                    </a:lnTo>
                    <a:lnTo>
                      <a:pt x="488" y="290"/>
                    </a:lnTo>
                    <a:lnTo>
                      <a:pt x="490" y="288"/>
                    </a:lnTo>
                    <a:lnTo>
                      <a:pt x="486" y="286"/>
                    </a:lnTo>
                    <a:lnTo>
                      <a:pt x="484" y="286"/>
                    </a:lnTo>
                    <a:lnTo>
                      <a:pt x="482" y="286"/>
                    </a:lnTo>
                    <a:lnTo>
                      <a:pt x="478" y="290"/>
                    </a:lnTo>
                    <a:lnTo>
                      <a:pt x="478" y="292"/>
                    </a:lnTo>
                    <a:lnTo>
                      <a:pt x="480" y="292"/>
                    </a:lnTo>
                    <a:lnTo>
                      <a:pt x="480" y="294"/>
                    </a:lnTo>
                    <a:lnTo>
                      <a:pt x="482" y="292"/>
                    </a:lnTo>
                    <a:lnTo>
                      <a:pt x="484" y="292"/>
                    </a:lnTo>
                    <a:lnTo>
                      <a:pt x="482" y="294"/>
                    </a:lnTo>
                    <a:lnTo>
                      <a:pt x="480" y="296"/>
                    </a:lnTo>
                    <a:lnTo>
                      <a:pt x="478" y="298"/>
                    </a:lnTo>
                    <a:lnTo>
                      <a:pt x="478" y="300"/>
                    </a:lnTo>
                    <a:lnTo>
                      <a:pt x="476" y="304"/>
                    </a:lnTo>
                    <a:lnTo>
                      <a:pt x="476" y="306"/>
                    </a:lnTo>
                    <a:lnTo>
                      <a:pt x="476" y="308"/>
                    </a:lnTo>
                    <a:lnTo>
                      <a:pt x="478" y="310"/>
                    </a:lnTo>
                    <a:lnTo>
                      <a:pt x="480" y="310"/>
                    </a:lnTo>
                    <a:lnTo>
                      <a:pt x="482" y="310"/>
                    </a:lnTo>
                    <a:lnTo>
                      <a:pt x="486" y="308"/>
                    </a:lnTo>
                    <a:lnTo>
                      <a:pt x="490" y="306"/>
                    </a:lnTo>
                    <a:lnTo>
                      <a:pt x="494" y="304"/>
                    </a:lnTo>
                    <a:lnTo>
                      <a:pt x="498" y="298"/>
                    </a:lnTo>
                    <a:lnTo>
                      <a:pt x="500" y="300"/>
                    </a:lnTo>
                    <a:lnTo>
                      <a:pt x="500" y="298"/>
                    </a:lnTo>
                    <a:lnTo>
                      <a:pt x="502" y="298"/>
                    </a:lnTo>
                    <a:lnTo>
                      <a:pt x="504" y="296"/>
                    </a:lnTo>
                    <a:lnTo>
                      <a:pt x="504" y="294"/>
                    </a:lnTo>
                    <a:lnTo>
                      <a:pt x="506" y="294"/>
                    </a:lnTo>
                    <a:lnTo>
                      <a:pt x="508" y="292"/>
                    </a:lnTo>
                    <a:lnTo>
                      <a:pt x="512" y="290"/>
                    </a:lnTo>
                    <a:lnTo>
                      <a:pt x="514" y="288"/>
                    </a:lnTo>
                    <a:lnTo>
                      <a:pt x="516" y="288"/>
                    </a:lnTo>
                    <a:lnTo>
                      <a:pt x="518" y="290"/>
                    </a:lnTo>
                    <a:lnTo>
                      <a:pt x="520" y="290"/>
                    </a:lnTo>
                    <a:lnTo>
                      <a:pt x="522" y="290"/>
                    </a:lnTo>
                    <a:lnTo>
                      <a:pt x="526" y="290"/>
                    </a:lnTo>
                    <a:lnTo>
                      <a:pt x="528" y="288"/>
                    </a:lnTo>
                    <a:lnTo>
                      <a:pt x="530" y="286"/>
                    </a:lnTo>
                    <a:lnTo>
                      <a:pt x="534" y="284"/>
                    </a:lnTo>
                    <a:lnTo>
                      <a:pt x="538" y="280"/>
                    </a:lnTo>
                    <a:lnTo>
                      <a:pt x="542" y="278"/>
                    </a:lnTo>
                    <a:lnTo>
                      <a:pt x="544" y="276"/>
                    </a:lnTo>
                    <a:lnTo>
                      <a:pt x="546" y="274"/>
                    </a:lnTo>
                    <a:lnTo>
                      <a:pt x="546" y="272"/>
                    </a:lnTo>
                    <a:lnTo>
                      <a:pt x="548" y="272"/>
                    </a:lnTo>
                    <a:lnTo>
                      <a:pt x="542" y="266"/>
                    </a:lnTo>
                    <a:close/>
                    <a:moveTo>
                      <a:pt x="476" y="264"/>
                    </a:moveTo>
                    <a:lnTo>
                      <a:pt x="468" y="268"/>
                    </a:lnTo>
                    <a:lnTo>
                      <a:pt x="466" y="270"/>
                    </a:lnTo>
                    <a:lnTo>
                      <a:pt x="464" y="270"/>
                    </a:lnTo>
                    <a:lnTo>
                      <a:pt x="462" y="272"/>
                    </a:lnTo>
                    <a:lnTo>
                      <a:pt x="460" y="272"/>
                    </a:lnTo>
                    <a:lnTo>
                      <a:pt x="460" y="274"/>
                    </a:lnTo>
                    <a:lnTo>
                      <a:pt x="458" y="272"/>
                    </a:lnTo>
                    <a:lnTo>
                      <a:pt x="456" y="270"/>
                    </a:lnTo>
                    <a:lnTo>
                      <a:pt x="452" y="270"/>
                    </a:lnTo>
                    <a:lnTo>
                      <a:pt x="450" y="270"/>
                    </a:lnTo>
                    <a:lnTo>
                      <a:pt x="448" y="272"/>
                    </a:lnTo>
                    <a:lnTo>
                      <a:pt x="446" y="274"/>
                    </a:lnTo>
                    <a:lnTo>
                      <a:pt x="444" y="274"/>
                    </a:lnTo>
                    <a:lnTo>
                      <a:pt x="444" y="272"/>
                    </a:lnTo>
                    <a:lnTo>
                      <a:pt x="442" y="270"/>
                    </a:lnTo>
                    <a:lnTo>
                      <a:pt x="440" y="268"/>
                    </a:lnTo>
                    <a:lnTo>
                      <a:pt x="438" y="266"/>
                    </a:lnTo>
                    <a:lnTo>
                      <a:pt x="434" y="266"/>
                    </a:lnTo>
                    <a:lnTo>
                      <a:pt x="434" y="268"/>
                    </a:lnTo>
                    <a:lnTo>
                      <a:pt x="430" y="268"/>
                    </a:lnTo>
                    <a:lnTo>
                      <a:pt x="426" y="272"/>
                    </a:lnTo>
                    <a:lnTo>
                      <a:pt x="424" y="274"/>
                    </a:lnTo>
                    <a:lnTo>
                      <a:pt x="422" y="276"/>
                    </a:lnTo>
                    <a:lnTo>
                      <a:pt x="422" y="278"/>
                    </a:lnTo>
                    <a:lnTo>
                      <a:pt x="418" y="276"/>
                    </a:lnTo>
                    <a:lnTo>
                      <a:pt x="412" y="276"/>
                    </a:lnTo>
                    <a:lnTo>
                      <a:pt x="410" y="278"/>
                    </a:lnTo>
                    <a:lnTo>
                      <a:pt x="410" y="280"/>
                    </a:lnTo>
                    <a:lnTo>
                      <a:pt x="412" y="280"/>
                    </a:lnTo>
                    <a:lnTo>
                      <a:pt x="414" y="280"/>
                    </a:lnTo>
                    <a:lnTo>
                      <a:pt x="416" y="280"/>
                    </a:lnTo>
                    <a:lnTo>
                      <a:pt x="418" y="280"/>
                    </a:lnTo>
                    <a:lnTo>
                      <a:pt x="422" y="282"/>
                    </a:lnTo>
                    <a:lnTo>
                      <a:pt x="424" y="284"/>
                    </a:lnTo>
                    <a:lnTo>
                      <a:pt x="428" y="284"/>
                    </a:lnTo>
                    <a:lnTo>
                      <a:pt x="428" y="282"/>
                    </a:lnTo>
                    <a:lnTo>
                      <a:pt x="430" y="282"/>
                    </a:lnTo>
                    <a:lnTo>
                      <a:pt x="432" y="280"/>
                    </a:lnTo>
                    <a:lnTo>
                      <a:pt x="432" y="278"/>
                    </a:lnTo>
                    <a:lnTo>
                      <a:pt x="456" y="278"/>
                    </a:lnTo>
                    <a:lnTo>
                      <a:pt x="458" y="278"/>
                    </a:lnTo>
                    <a:lnTo>
                      <a:pt x="462" y="278"/>
                    </a:lnTo>
                    <a:lnTo>
                      <a:pt x="464" y="276"/>
                    </a:lnTo>
                    <a:lnTo>
                      <a:pt x="466" y="276"/>
                    </a:lnTo>
                    <a:lnTo>
                      <a:pt x="470" y="274"/>
                    </a:lnTo>
                    <a:lnTo>
                      <a:pt x="472" y="272"/>
                    </a:lnTo>
                    <a:lnTo>
                      <a:pt x="474" y="270"/>
                    </a:lnTo>
                    <a:lnTo>
                      <a:pt x="474" y="268"/>
                    </a:lnTo>
                    <a:lnTo>
                      <a:pt x="476" y="268"/>
                    </a:lnTo>
                    <a:lnTo>
                      <a:pt x="476" y="264"/>
                    </a:lnTo>
                    <a:close/>
                    <a:moveTo>
                      <a:pt x="428" y="306"/>
                    </a:moveTo>
                    <a:lnTo>
                      <a:pt x="428" y="304"/>
                    </a:lnTo>
                    <a:lnTo>
                      <a:pt x="428" y="302"/>
                    </a:lnTo>
                    <a:lnTo>
                      <a:pt x="426" y="300"/>
                    </a:lnTo>
                    <a:lnTo>
                      <a:pt x="424" y="296"/>
                    </a:lnTo>
                    <a:lnTo>
                      <a:pt x="424" y="294"/>
                    </a:lnTo>
                    <a:lnTo>
                      <a:pt x="422" y="294"/>
                    </a:lnTo>
                    <a:lnTo>
                      <a:pt x="420" y="292"/>
                    </a:lnTo>
                    <a:lnTo>
                      <a:pt x="418" y="292"/>
                    </a:lnTo>
                    <a:lnTo>
                      <a:pt x="412" y="292"/>
                    </a:lnTo>
                    <a:lnTo>
                      <a:pt x="410" y="292"/>
                    </a:lnTo>
                    <a:lnTo>
                      <a:pt x="406" y="292"/>
                    </a:lnTo>
                    <a:lnTo>
                      <a:pt x="404" y="292"/>
                    </a:lnTo>
                    <a:lnTo>
                      <a:pt x="404" y="290"/>
                    </a:lnTo>
                    <a:lnTo>
                      <a:pt x="402" y="290"/>
                    </a:lnTo>
                    <a:lnTo>
                      <a:pt x="400" y="292"/>
                    </a:lnTo>
                    <a:lnTo>
                      <a:pt x="400" y="294"/>
                    </a:lnTo>
                    <a:lnTo>
                      <a:pt x="402" y="296"/>
                    </a:lnTo>
                    <a:lnTo>
                      <a:pt x="402" y="298"/>
                    </a:lnTo>
                    <a:lnTo>
                      <a:pt x="404" y="300"/>
                    </a:lnTo>
                    <a:lnTo>
                      <a:pt x="406" y="302"/>
                    </a:lnTo>
                    <a:lnTo>
                      <a:pt x="410" y="302"/>
                    </a:lnTo>
                    <a:lnTo>
                      <a:pt x="412" y="300"/>
                    </a:lnTo>
                    <a:lnTo>
                      <a:pt x="414" y="300"/>
                    </a:lnTo>
                    <a:lnTo>
                      <a:pt x="416" y="302"/>
                    </a:lnTo>
                    <a:lnTo>
                      <a:pt x="416" y="304"/>
                    </a:lnTo>
                    <a:lnTo>
                      <a:pt x="416" y="306"/>
                    </a:lnTo>
                    <a:lnTo>
                      <a:pt x="418" y="308"/>
                    </a:lnTo>
                    <a:lnTo>
                      <a:pt x="422" y="310"/>
                    </a:lnTo>
                    <a:lnTo>
                      <a:pt x="426" y="310"/>
                    </a:lnTo>
                    <a:lnTo>
                      <a:pt x="426" y="308"/>
                    </a:lnTo>
                    <a:lnTo>
                      <a:pt x="430" y="308"/>
                    </a:lnTo>
                    <a:lnTo>
                      <a:pt x="428" y="306"/>
                    </a:lnTo>
                    <a:close/>
                    <a:moveTo>
                      <a:pt x="388" y="278"/>
                    </a:moveTo>
                    <a:lnTo>
                      <a:pt x="386" y="278"/>
                    </a:lnTo>
                    <a:lnTo>
                      <a:pt x="386" y="276"/>
                    </a:lnTo>
                    <a:lnTo>
                      <a:pt x="384" y="276"/>
                    </a:lnTo>
                    <a:lnTo>
                      <a:pt x="380" y="276"/>
                    </a:lnTo>
                    <a:lnTo>
                      <a:pt x="380" y="274"/>
                    </a:lnTo>
                    <a:lnTo>
                      <a:pt x="376" y="276"/>
                    </a:lnTo>
                    <a:lnTo>
                      <a:pt x="376" y="274"/>
                    </a:lnTo>
                    <a:lnTo>
                      <a:pt x="374" y="274"/>
                    </a:lnTo>
                    <a:lnTo>
                      <a:pt x="372" y="272"/>
                    </a:lnTo>
                    <a:lnTo>
                      <a:pt x="370" y="272"/>
                    </a:lnTo>
                    <a:lnTo>
                      <a:pt x="366" y="272"/>
                    </a:lnTo>
                    <a:lnTo>
                      <a:pt x="364" y="274"/>
                    </a:lnTo>
                    <a:lnTo>
                      <a:pt x="362" y="276"/>
                    </a:lnTo>
                    <a:lnTo>
                      <a:pt x="360" y="278"/>
                    </a:lnTo>
                    <a:lnTo>
                      <a:pt x="360" y="280"/>
                    </a:lnTo>
                    <a:lnTo>
                      <a:pt x="358" y="282"/>
                    </a:lnTo>
                    <a:lnTo>
                      <a:pt x="362" y="282"/>
                    </a:lnTo>
                    <a:lnTo>
                      <a:pt x="364" y="284"/>
                    </a:lnTo>
                    <a:lnTo>
                      <a:pt x="370" y="284"/>
                    </a:lnTo>
                    <a:lnTo>
                      <a:pt x="370" y="288"/>
                    </a:lnTo>
                    <a:lnTo>
                      <a:pt x="372" y="288"/>
                    </a:lnTo>
                    <a:lnTo>
                      <a:pt x="374" y="288"/>
                    </a:lnTo>
                    <a:lnTo>
                      <a:pt x="376" y="288"/>
                    </a:lnTo>
                    <a:lnTo>
                      <a:pt x="378" y="286"/>
                    </a:lnTo>
                    <a:lnTo>
                      <a:pt x="378" y="284"/>
                    </a:lnTo>
                    <a:lnTo>
                      <a:pt x="382" y="284"/>
                    </a:lnTo>
                    <a:lnTo>
                      <a:pt x="382" y="286"/>
                    </a:lnTo>
                    <a:lnTo>
                      <a:pt x="384" y="286"/>
                    </a:lnTo>
                    <a:lnTo>
                      <a:pt x="386" y="286"/>
                    </a:lnTo>
                    <a:lnTo>
                      <a:pt x="388" y="284"/>
                    </a:lnTo>
                    <a:lnTo>
                      <a:pt x="390" y="282"/>
                    </a:lnTo>
                    <a:lnTo>
                      <a:pt x="392" y="280"/>
                    </a:lnTo>
                    <a:lnTo>
                      <a:pt x="390" y="278"/>
                    </a:lnTo>
                    <a:lnTo>
                      <a:pt x="388" y="278"/>
                    </a:lnTo>
                    <a:close/>
                    <a:moveTo>
                      <a:pt x="404" y="278"/>
                    </a:moveTo>
                    <a:lnTo>
                      <a:pt x="404" y="276"/>
                    </a:lnTo>
                    <a:lnTo>
                      <a:pt x="404" y="272"/>
                    </a:lnTo>
                    <a:lnTo>
                      <a:pt x="404" y="266"/>
                    </a:lnTo>
                    <a:lnTo>
                      <a:pt x="402" y="264"/>
                    </a:lnTo>
                    <a:lnTo>
                      <a:pt x="398" y="264"/>
                    </a:lnTo>
                    <a:lnTo>
                      <a:pt x="396" y="266"/>
                    </a:lnTo>
                    <a:lnTo>
                      <a:pt x="394" y="266"/>
                    </a:lnTo>
                    <a:lnTo>
                      <a:pt x="392" y="264"/>
                    </a:lnTo>
                    <a:lnTo>
                      <a:pt x="390" y="264"/>
                    </a:lnTo>
                    <a:lnTo>
                      <a:pt x="386" y="264"/>
                    </a:lnTo>
                    <a:lnTo>
                      <a:pt x="386" y="262"/>
                    </a:lnTo>
                    <a:lnTo>
                      <a:pt x="386" y="266"/>
                    </a:lnTo>
                    <a:lnTo>
                      <a:pt x="388" y="268"/>
                    </a:lnTo>
                    <a:lnTo>
                      <a:pt x="390" y="270"/>
                    </a:lnTo>
                    <a:lnTo>
                      <a:pt x="390" y="272"/>
                    </a:lnTo>
                    <a:lnTo>
                      <a:pt x="392" y="272"/>
                    </a:lnTo>
                    <a:lnTo>
                      <a:pt x="392" y="274"/>
                    </a:lnTo>
                    <a:lnTo>
                      <a:pt x="394" y="276"/>
                    </a:lnTo>
                    <a:lnTo>
                      <a:pt x="396" y="278"/>
                    </a:lnTo>
                    <a:lnTo>
                      <a:pt x="398" y="278"/>
                    </a:lnTo>
                    <a:lnTo>
                      <a:pt x="402" y="278"/>
                    </a:lnTo>
                    <a:lnTo>
                      <a:pt x="404" y="27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09" name="Freeform 218">
                <a:extLst>
                  <a:ext uri="{FF2B5EF4-FFF2-40B4-BE49-F238E27FC236}">
                    <a16:creationId xmlns:a16="http://schemas.microsoft.com/office/drawing/2014/main" id="{CA991E29-A022-4BAB-9083-8FFD1B58BE19}"/>
                  </a:ext>
                </a:extLst>
              </p:cNvPr>
              <p:cNvSpPr>
                <a:spLocks noChangeAspect="1" noEditPoints="1"/>
              </p:cNvSpPr>
              <p:nvPr/>
            </p:nvSpPr>
            <p:spPr bwMode="auto">
              <a:xfrm>
                <a:off x="8572925" y="5406602"/>
                <a:ext cx="499886" cy="404600"/>
              </a:xfrm>
              <a:custGeom>
                <a:avLst/>
                <a:gdLst/>
                <a:ahLst/>
                <a:cxnLst>
                  <a:cxn ang="0">
                    <a:pos x="178" y="126"/>
                  </a:cxn>
                  <a:cxn ang="0">
                    <a:pos x="172" y="126"/>
                  </a:cxn>
                  <a:cxn ang="0">
                    <a:pos x="164" y="126"/>
                  </a:cxn>
                  <a:cxn ang="0">
                    <a:pos x="156" y="134"/>
                  </a:cxn>
                  <a:cxn ang="0">
                    <a:pos x="132" y="150"/>
                  </a:cxn>
                  <a:cxn ang="0">
                    <a:pos x="120" y="158"/>
                  </a:cxn>
                  <a:cxn ang="0">
                    <a:pos x="98" y="168"/>
                  </a:cxn>
                  <a:cxn ang="0">
                    <a:pos x="80" y="176"/>
                  </a:cxn>
                  <a:cxn ang="0">
                    <a:pos x="58" y="186"/>
                  </a:cxn>
                  <a:cxn ang="0">
                    <a:pos x="42" y="202"/>
                  </a:cxn>
                  <a:cxn ang="0">
                    <a:pos x="30" y="202"/>
                  </a:cxn>
                  <a:cxn ang="0">
                    <a:pos x="10" y="210"/>
                  </a:cxn>
                  <a:cxn ang="0">
                    <a:pos x="4" y="216"/>
                  </a:cxn>
                  <a:cxn ang="0">
                    <a:pos x="6" y="226"/>
                  </a:cxn>
                  <a:cxn ang="0">
                    <a:pos x="18" y="226"/>
                  </a:cxn>
                  <a:cxn ang="0">
                    <a:pos x="34" y="230"/>
                  </a:cxn>
                  <a:cxn ang="0">
                    <a:pos x="46" y="232"/>
                  </a:cxn>
                  <a:cxn ang="0">
                    <a:pos x="66" y="224"/>
                  </a:cxn>
                  <a:cxn ang="0">
                    <a:pos x="78" y="222"/>
                  </a:cxn>
                  <a:cxn ang="0">
                    <a:pos x="84" y="208"/>
                  </a:cxn>
                  <a:cxn ang="0">
                    <a:pos x="96" y="204"/>
                  </a:cxn>
                  <a:cxn ang="0">
                    <a:pos x="112" y="190"/>
                  </a:cxn>
                  <a:cxn ang="0">
                    <a:pos x="116" y="186"/>
                  </a:cxn>
                  <a:cxn ang="0">
                    <a:pos x="128" y="184"/>
                  </a:cxn>
                  <a:cxn ang="0">
                    <a:pos x="138" y="180"/>
                  </a:cxn>
                  <a:cxn ang="0">
                    <a:pos x="142" y="170"/>
                  </a:cxn>
                  <a:cxn ang="0">
                    <a:pos x="154" y="162"/>
                  </a:cxn>
                  <a:cxn ang="0">
                    <a:pos x="164" y="154"/>
                  </a:cxn>
                  <a:cxn ang="0">
                    <a:pos x="176" y="146"/>
                  </a:cxn>
                  <a:cxn ang="0">
                    <a:pos x="186" y="130"/>
                  </a:cxn>
                  <a:cxn ang="0">
                    <a:pos x="294" y="66"/>
                  </a:cxn>
                  <a:cxn ang="0">
                    <a:pos x="276" y="68"/>
                  </a:cxn>
                  <a:cxn ang="0">
                    <a:pos x="278" y="44"/>
                  </a:cxn>
                  <a:cxn ang="0">
                    <a:pos x="272" y="40"/>
                  </a:cxn>
                  <a:cxn ang="0">
                    <a:pos x="266" y="46"/>
                  </a:cxn>
                  <a:cxn ang="0">
                    <a:pos x="260" y="40"/>
                  </a:cxn>
                  <a:cxn ang="0">
                    <a:pos x="268" y="20"/>
                  </a:cxn>
                  <a:cxn ang="0">
                    <a:pos x="258" y="10"/>
                  </a:cxn>
                  <a:cxn ang="0">
                    <a:pos x="250" y="2"/>
                  </a:cxn>
                  <a:cxn ang="0">
                    <a:pos x="246" y="10"/>
                  </a:cxn>
                  <a:cxn ang="0">
                    <a:pos x="250" y="22"/>
                  </a:cxn>
                  <a:cxn ang="0">
                    <a:pos x="250" y="30"/>
                  </a:cxn>
                  <a:cxn ang="0">
                    <a:pos x="250" y="34"/>
                  </a:cxn>
                  <a:cxn ang="0">
                    <a:pos x="252" y="44"/>
                  </a:cxn>
                  <a:cxn ang="0">
                    <a:pos x="250" y="52"/>
                  </a:cxn>
                  <a:cxn ang="0">
                    <a:pos x="250" y="58"/>
                  </a:cxn>
                  <a:cxn ang="0">
                    <a:pos x="248" y="72"/>
                  </a:cxn>
                  <a:cxn ang="0">
                    <a:pos x="232" y="76"/>
                  </a:cxn>
                  <a:cxn ang="0">
                    <a:pos x="212" y="88"/>
                  </a:cxn>
                  <a:cxn ang="0">
                    <a:pos x="204" y="104"/>
                  </a:cxn>
                  <a:cxn ang="0">
                    <a:pos x="220" y="108"/>
                  </a:cxn>
                  <a:cxn ang="0">
                    <a:pos x="212" y="126"/>
                  </a:cxn>
                  <a:cxn ang="0">
                    <a:pos x="202" y="134"/>
                  </a:cxn>
                  <a:cxn ang="0">
                    <a:pos x="210" y="140"/>
                  </a:cxn>
                  <a:cxn ang="0">
                    <a:pos x="232" y="122"/>
                  </a:cxn>
                  <a:cxn ang="0">
                    <a:pos x="248" y="114"/>
                  </a:cxn>
                  <a:cxn ang="0">
                    <a:pos x="258" y="106"/>
                  </a:cxn>
                  <a:cxn ang="0">
                    <a:pos x="260" y="96"/>
                  </a:cxn>
                  <a:cxn ang="0">
                    <a:pos x="280" y="86"/>
                  </a:cxn>
                  <a:cxn ang="0">
                    <a:pos x="292" y="76"/>
                  </a:cxn>
                  <a:cxn ang="0">
                    <a:pos x="304" y="66"/>
                  </a:cxn>
                </a:cxnLst>
                <a:rect l="0" t="0" r="r" b="b"/>
                <a:pathLst>
                  <a:path w="304" h="232">
                    <a:moveTo>
                      <a:pt x="184" y="128"/>
                    </a:moveTo>
                    <a:lnTo>
                      <a:pt x="184" y="126"/>
                    </a:lnTo>
                    <a:lnTo>
                      <a:pt x="178" y="134"/>
                    </a:lnTo>
                    <a:lnTo>
                      <a:pt x="176" y="134"/>
                    </a:lnTo>
                    <a:lnTo>
                      <a:pt x="176" y="132"/>
                    </a:lnTo>
                    <a:lnTo>
                      <a:pt x="176" y="128"/>
                    </a:lnTo>
                    <a:lnTo>
                      <a:pt x="178" y="126"/>
                    </a:lnTo>
                    <a:lnTo>
                      <a:pt x="176" y="126"/>
                    </a:lnTo>
                    <a:lnTo>
                      <a:pt x="174" y="128"/>
                    </a:lnTo>
                    <a:lnTo>
                      <a:pt x="172" y="128"/>
                    </a:lnTo>
                    <a:lnTo>
                      <a:pt x="172" y="130"/>
                    </a:lnTo>
                    <a:lnTo>
                      <a:pt x="170" y="130"/>
                    </a:lnTo>
                    <a:lnTo>
                      <a:pt x="170" y="128"/>
                    </a:lnTo>
                    <a:lnTo>
                      <a:pt x="172" y="126"/>
                    </a:lnTo>
                    <a:lnTo>
                      <a:pt x="172" y="120"/>
                    </a:lnTo>
                    <a:lnTo>
                      <a:pt x="170" y="120"/>
                    </a:lnTo>
                    <a:lnTo>
                      <a:pt x="168" y="120"/>
                    </a:lnTo>
                    <a:lnTo>
                      <a:pt x="166" y="122"/>
                    </a:lnTo>
                    <a:lnTo>
                      <a:pt x="164" y="124"/>
                    </a:lnTo>
                    <a:lnTo>
                      <a:pt x="164" y="126"/>
                    </a:lnTo>
                    <a:lnTo>
                      <a:pt x="162" y="126"/>
                    </a:lnTo>
                    <a:lnTo>
                      <a:pt x="160" y="126"/>
                    </a:lnTo>
                    <a:lnTo>
                      <a:pt x="160" y="128"/>
                    </a:lnTo>
                    <a:lnTo>
                      <a:pt x="158" y="130"/>
                    </a:lnTo>
                    <a:lnTo>
                      <a:pt x="156" y="134"/>
                    </a:lnTo>
                    <a:lnTo>
                      <a:pt x="152" y="136"/>
                    </a:lnTo>
                    <a:lnTo>
                      <a:pt x="150" y="138"/>
                    </a:lnTo>
                    <a:lnTo>
                      <a:pt x="148" y="138"/>
                    </a:lnTo>
                    <a:lnTo>
                      <a:pt x="146" y="140"/>
                    </a:lnTo>
                    <a:lnTo>
                      <a:pt x="140" y="142"/>
                    </a:lnTo>
                    <a:lnTo>
                      <a:pt x="136" y="144"/>
                    </a:lnTo>
                    <a:lnTo>
                      <a:pt x="132" y="148"/>
                    </a:lnTo>
                    <a:lnTo>
                      <a:pt x="132" y="150"/>
                    </a:lnTo>
                    <a:lnTo>
                      <a:pt x="130" y="152"/>
                    </a:lnTo>
                    <a:lnTo>
                      <a:pt x="130" y="154"/>
                    </a:lnTo>
                    <a:lnTo>
                      <a:pt x="128" y="154"/>
                    </a:lnTo>
                    <a:lnTo>
                      <a:pt x="128" y="156"/>
                    </a:lnTo>
                    <a:lnTo>
                      <a:pt x="126" y="156"/>
                    </a:lnTo>
                    <a:lnTo>
                      <a:pt x="124" y="156"/>
                    </a:lnTo>
                    <a:lnTo>
                      <a:pt x="120" y="158"/>
                    </a:lnTo>
                    <a:lnTo>
                      <a:pt x="116" y="158"/>
                    </a:lnTo>
                    <a:lnTo>
                      <a:pt x="112" y="160"/>
                    </a:lnTo>
                    <a:lnTo>
                      <a:pt x="110" y="160"/>
                    </a:lnTo>
                    <a:lnTo>
                      <a:pt x="108" y="162"/>
                    </a:lnTo>
                    <a:lnTo>
                      <a:pt x="106" y="164"/>
                    </a:lnTo>
                    <a:lnTo>
                      <a:pt x="104" y="166"/>
                    </a:lnTo>
                    <a:lnTo>
                      <a:pt x="100" y="166"/>
                    </a:lnTo>
                    <a:lnTo>
                      <a:pt x="98" y="168"/>
                    </a:lnTo>
                    <a:lnTo>
                      <a:pt x="96" y="170"/>
                    </a:lnTo>
                    <a:lnTo>
                      <a:pt x="94" y="172"/>
                    </a:lnTo>
                    <a:lnTo>
                      <a:pt x="92" y="174"/>
                    </a:lnTo>
                    <a:lnTo>
                      <a:pt x="88" y="174"/>
                    </a:lnTo>
                    <a:lnTo>
                      <a:pt x="86" y="174"/>
                    </a:lnTo>
                    <a:lnTo>
                      <a:pt x="84" y="176"/>
                    </a:lnTo>
                    <a:lnTo>
                      <a:pt x="80" y="176"/>
                    </a:lnTo>
                    <a:lnTo>
                      <a:pt x="78" y="178"/>
                    </a:lnTo>
                    <a:lnTo>
                      <a:pt x="76" y="178"/>
                    </a:lnTo>
                    <a:lnTo>
                      <a:pt x="74" y="178"/>
                    </a:lnTo>
                    <a:lnTo>
                      <a:pt x="70" y="180"/>
                    </a:lnTo>
                    <a:lnTo>
                      <a:pt x="68" y="182"/>
                    </a:lnTo>
                    <a:lnTo>
                      <a:pt x="64" y="184"/>
                    </a:lnTo>
                    <a:lnTo>
                      <a:pt x="62" y="184"/>
                    </a:lnTo>
                    <a:lnTo>
                      <a:pt x="58" y="186"/>
                    </a:lnTo>
                    <a:lnTo>
                      <a:pt x="52" y="188"/>
                    </a:lnTo>
                    <a:lnTo>
                      <a:pt x="50" y="190"/>
                    </a:lnTo>
                    <a:lnTo>
                      <a:pt x="46" y="190"/>
                    </a:lnTo>
                    <a:lnTo>
                      <a:pt x="42" y="192"/>
                    </a:lnTo>
                    <a:lnTo>
                      <a:pt x="42" y="194"/>
                    </a:lnTo>
                    <a:lnTo>
                      <a:pt x="40" y="196"/>
                    </a:lnTo>
                    <a:lnTo>
                      <a:pt x="40" y="200"/>
                    </a:lnTo>
                    <a:lnTo>
                      <a:pt x="42" y="202"/>
                    </a:lnTo>
                    <a:lnTo>
                      <a:pt x="40" y="202"/>
                    </a:lnTo>
                    <a:lnTo>
                      <a:pt x="40" y="200"/>
                    </a:lnTo>
                    <a:lnTo>
                      <a:pt x="38" y="198"/>
                    </a:lnTo>
                    <a:lnTo>
                      <a:pt x="36" y="198"/>
                    </a:lnTo>
                    <a:lnTo>
                      <a:pt x="36" y="200"/>
                    </a:lnTo>
                    <a:lnTo>
                      <a:pt x="32" y="200"/>
                    </a:lnTo>
                    <a:lnTo>
                      <a:pt x="30" y="202"/>
                    </a:lnTo>
                    <a:lnTo>
                      <a:pt x="28" y="204"/>
                    </a:lnTo>
                    <a:lnTo>
                      <a:pt x="24" y="206"/>
                    </a:lnTo>
                    <a:lnTo>
                      <a:pt x="22" y="206"/>
                    </a:lnTo>
                    <a:lnTo>
                      <a:pt x="20" y="208"/>
                    </a:lnTo>
                    <a:lnTo>
                      <a:pt x="18" y="208"/>
                    </a:lnTo>
                    <a:lnTo>
                      <a:pt x="12" y="210"/>
                    </a:lnTo>
                    <a:lnTo>
                      <a:pt x="10" y="210"/>
                    </a:lnTo>
                    <a:lnTo>
                      <a:pt x="6" y="212"/>
                    </a:lnTo>
                    <a:lnTo>
                      <a:pt x="6" y="214"/>
                    </a:lnTo>
                    <a:lnTo>
                      <a:pt x="4" y="214"/>
                    </a:lnTo>
                    <a:lnTo>
                      <a:pt x="2" y="214"/>
                    </a:lnTo>
                    <a:lnTo>
                      <a:pt x="0" y="216"/>
                    </a:lnTo>
                    <a:lnTo>
                      <a:pt x="0" y="218"/>
                    </a:lnTo>
                    <a:lnTo>
                      <a:pt x="2" y="216"/>
                    </a:lnTo>
                    <a:lnTo>
                      <a:pt x="4" y="216"/>
                    </a:lnTo>
                    <a:lnTo>
                      <a:pt x="6" y="218"/>
                    </a:lnTo>
                    <a:lnTo>
                      <a:pt x="8" y="218"/>
                    </a:lnTo>
                    <a:lnTo>
                      <a:pt x="6" y="220"/>
                    </a:lnTo>
                    <a:lnTo>
                      <a:pt x="4" y="222"/>
                    </a:lnTo>
                    <a:lnTo>
                      <a:pt x="4" y="224"/>
                    </a:lnTo>
                    <a:lnTo>
                      <a:pt x="6" y="226"/>
                    </a:lnTo>
                    <a:lnTo>
                      <a:pt x="8" y="226"/>
                    </a:lnTo>
                    <a:lnTo>
                      <a:pt x="10" y="224"/>
                    </a:lnTo>
                    <a:lnTo>
                      <a:pt x="12" y="224"/>
                    </a:lnTo>
                    <a:lnTo>
                      <a:pt x="14" y="222"/>
                    </a:lnTo>
                    <a:lnTo>
                      <a:pt x="16" y="222"/>
                    </a:lnTo>
                    <a:lnTo>
                      <a:pt x="16" y="224"/>
                    </a:lnTo>
                    <a:lnTo>
                      <a:pt x="18" y="226"/>
                    </a:lnTo>
                    <a:lnTo>
                      <a:pt x="22" y="226"/>
                    </a:lnTo>
                    <a:lnTo>
                      <a:pt x="24" y="226"/>
                    </a:lnTo>
                    <a:lnTo>
                      <a:pt x="24" y="228"/>
                    </a:lnTo>
                    <a:lnTo>
                      <a:pt x="28" y="228"/>
                    </a:lnTo>
                    <a:lnTo>
                      <a:pt x="30" y="226"/>
                    </a:lnTo>
                    <a:lnTo>
                      <a:pt x="32" y="226"/>
                    </a:lnTo>
                    <a:lnTo>
                      <a:pt x="32" y="228"/>
                    </a:lnTo>
                    <a:lnTo>
                      <a:pt x="34" y="230"/>
                    </a:lnTo>
                    <a:lnTo>
                      <a:pt x="42" y="230"/>
                    </a:lnTo>
                    <a:lnTo>
                      <a:pt x="44" y="230"/>
                    </a:lnTo>
                    <a:lnTo>
                      <a:pt x="46" y="232"/>
                    </a:lnTo>
                    <a:lnTo>
                      <a:pt x="48" y="232"/>
                    </a:lnTo>
                    <a:lnTo>
                      <a:pt x="56" y="232"/>
                    </a:lnTo>
                    <a:lnTo>
                      <a:pt x="58" y="232"/>
                    </a:lnTo>
                    <a:lnTo>
                      <a:pt x="60" y="230"/>
                    </a:lnTo>
                    <a:lnTo>
                      <a:pt x="62" y="230"/>
                    </a:lnTo>
                    <a:lnTo>
                      <a:pt x="64" y="226"/>
                    </a:lnTo>
                    <a:lnTo>
                      <a:pt x="66" y="224"/>
                    </a:lnTo>
                    <a:lnTo>
                      <a:pt x="68" y="222"/>
                    </a:lnTo>
                    <a:lnTo>
                      <a:pt x="70" y="222"/>
                    </a:lnTo>
                    <a:lnTo>
                      <a:pt x="70" y="224"/>
                    </a:lnTo>
                    <a:lnTo>
                      <a:pt x="72" y="224"/>
                    </a:lnTo>
                    <a:lnTo>
                      <a:pt x="74" y="222"/>
                    </a:lnTo>
                    <a:lnTo>
                      <a:pt x="76" y="222"/>
                    </a:lnTo>
                    <a:lnTo>
                      <a:pt x="78" y="222"/>
                    </a:lnTo>
                    <a:lnTo>
                      <a:pt x="78" y="220"/>
                    </a:lnTo>
                    <a:lnTo>
                      <a:pt x="80" y="218"/>
                    </a:lnTo>
                    <a:lnTo>
                      <a:pt x="80" y="216"/>
                    </a:lnTo>
                    <a:lnTo>
                      <a:pt x="82" y="214"/>
                    </a:lnTo>
                    <a:lnTo>
                      <a:pt x="82" y="212"/>
                    </a:lnTo>
                    <a:lnTo>
                      <a:pt x="82" y="210"/>
                    </a:lnTo>
                    <a:lnTo>
                      <a:pt x="84" y="208"/>
                    </a:lnTo>
                    <a:lnTo>
                      <a:pt x="86" y="208"/>
                    </a:lnTo>
                    <a:lnTo>
                      <a:pt x="86" y="206"/>
                    </a:lnTo>
                    <a:lnTo>
                      <a:pt x="88" y="206"/>
                    </a:lnTo>
                    <a:lnTo>
                      <a:pt x="90" y="206"/>
                    </a:lnTo>
                    <a:lnTo>
                      <a:pt x="94" y="206"/>
                    </a:lnTo>
                    <a:lnTo>
                      <a:pt x="96" y="206"/>
                    </a:lnTo>
                    <a:lnTo>
                      <a:pt x="96" y="204"/>
                    </a:lnTo>
                    <a:lnTo>
                      <a:pt x="96" y="202"/>
                    </a:lnTo>
                    <a:lnTo>
                      <a:pt x="96" y="200"/>
                    </a:lnTo>
                    <a:lnTo>
                      <a:pt x="100" y="200"/>
                    </a:lnTo>
                    <a:lnTo>
                      <a:pt x="106" y="194"/>
                    </a:lnTo>
                    <a:lnTo>
                      <a:pt x="108" y="192"/>
                    </a:lnTo>
                    <a:lnTo>
                      <a:pt x="110" y="192"/>
                    </a:lnTo>
                    <a:lnTo>
                      <a:pt x="110" y="190"/>
                    </a:lnTo>
                    <a:lnTo>
                      <a:pt x="112" y="190"/>
                    </a:lnTo>
                    <a:lnTo>
                      <a:pt x="114" y="188"/>
                    </a:lnTo>
                    <a:lnTo>
                      <a:pt x="112" y="186"/>
                    </a:lnTo>
                    <a:lnTo>
                      <a:pt x="110" y="184"/>
                    </a:lnTo>
                    <a:lnTo>
                      <a:pt x="112" y="184"/>
                    </a:lnTo>
                    <a:lnTo>
                      <a:pt x="112" y="186"/>
                    </a:lnTo>
                    <a:lnTo>
                      <a:pt x="116" y="186"/>
                    </a:lnTo>
                    <a:lnTo>
                      <a:pt x="118" y="188"/>
                    </a:lnTo>
                    <a:lnTo>
                      <a:pt x="120" y="188"/>
                    </a:lnTo>
                    <a:lnTo>
                      <a:pt x="120" y="184"/>
                    </a:lnTo>
                    <a:lnTo>
                      <a:pt x="122" y="182"/>
                    </a:lnTo>
                    <a:lnTo>
                      <a:pt x="126" y="182"/>
                    </a:lnTo>
                    <a:lnTo>
                      <a:pt x="128" y="184"/>
                    </a:lnTo>
                    <a:lnTo>
                      <a:pt x="130" y="184"/>
                    </a:lnTo>
                    <a:lnTo>
                      <a:pt x="134" y="186"/>
                    </a:lnTo>
                    <a:lnTo>
                      <a:pt x="136" y="186"/>
                    </a:lnTo>
                    <a:lnTo>
                      <a:pt x="138" y="184"/>
                    </a:lnTo>
                    <a:lnTo>
                      <a:pt x="138" y="182"/>
                    </a:lnTo>
                    <a:lnTo>
                      <a:pt x="138" y="180"/>
                    </a:lnTo>
                    <a:lnTo>
                      <a:pt x="136" y="178"/>
                    </a:lnTo>
                    <a:lnTo>
                      <a:pt x="138" y="176"/>
                    </a:lnTo>
                    <a:lnTo>
                      <a:pt x="138" y="174"/>
                    </a:lnTo>
                    <a:lnTo>
                      <a:pt x="140" y="172"/>
                    </a:lnTo>
                    <a:lnTo>
                      <a:pt x="142" y="172"/>
                    </a:lnTo>
                    <a:lnTo>
                      <a:pt x="142" y="170"/>
                    </a:lnTo>
                    <a:lnTo>
                      <a:pt x="144" y="168"/>
                    </a:lnTo>
                    <a:lnTo>
                      <a:pt x="146" y="166"/>
                    </a:lnTo>
                    <a:lnTo>
                      <a:pt x="148" y="166"/>
                    </a:lnTo>
                    <a:lnTo>
                      <a:pt x="148" y="164"/>
                    </a:lnTo>
                    <a:lnTo>
                      <a:pt x="152" y="164"/>
                    </a:lnTo>
                    <a:lnTo>
                      <a:pt x="154" y="162"/>
                    </a:lnTo>
                    <a:lnTo>
                      <a:pt x="156" y="162"/>
                    </a:lnTo>
                    <a:lnTo>
                      <a:pt x="158" y="160"/>
                    </a:lnTo>
                    <a:lnTo>
                      <a:pt x="160" y="160"/>
                    </a:lnTo>
                    <a:lnTo>
                      <a:pt x="160" y="158"/>
                    </a:lnTo>
                    <a:lnTo>
                      <a:pt x="160" y="156"/>
                    </a:lnTo>
                    <a:lnTo>
                      <a:pt x="162" y="156"/>
                    </a:lnTo>
                    <a:lnTo>
                      <a:pt x="164" y="154"/>
                    </a:lnTo>
                    <a:lnTo>
                      <a:pt x="168" y="154"/>
                    </a:lnTo>
                    <a:lnTo>
                      <a:pt x="168" y="152"/>
                    </a:lnTo>
                    <a:lnTo>
                      <a:pt x="170" y="152"/>
                    </a:lnTo>
                    <a:lnTo>
                      <a:pt x="172" y="150"/>
                    </a:lnTo>
                    <a:lnTo>
                      <a:pt x="174" y="148"/>
                    </a:lnTo>
                    <a:lnTo>
                      <a:pt x="174" y="146"/>
                    </a:lnTo>
                    <a:lnTo>
                      <a:pt x="176" y="146"/>
                    </a:lnTo>
                    <a:lnTo>
                      <a:pt x="178" y="144"/>
                    </a:lnTo>
                    <a:lnTo>
                      <a:pt x="182" y="142"/>
                    </a:lnTo>
                    <a:lnTo>
                      <a:pt x="184" y="140"/>
                    </a:lnTo>
                    <a:lnTo>
                      <a:pt x="186" y="138"/>
                    </a:lnTo>
                    <a:lnTo>
                      <a:pt x="186" y="136"/>
                    </a:lnTo>
                    <a:lnTo>
                      <a:pt x="186" y="132"/>
                    </a:lnTo>
                    <a:lnTo>
                      <a:pt x="186" y="130"/>
                    </a:lnTo>
                    <a:lnTo>
                      <a:pt x="184" y="128"/>
                    </a:lnTo>
                    <a:close/>
                    <a:moveTo>
                      <a:pt x="302" y="64"/>
                    </a:moveTo>
                    <a:lnTo>
                      <a:pt x="302" y="64"/>
                    </a:lnTo>
                    <a:lnTo>
                      <a:pt x="300" y="64"/>
                    </a:lnTo>
                    <a:lnTo>
                      <a:pt x="300" y="62"/>
                    </a:lnTo>
                    <a:lnTo>
                      <a:pt x="298" y="62"/>
                    </a:lnTo>
                    <a:lnTo>
                      <a:pt x="294" y="66"/>
                    </a:lnTo>
                    <a:lnTo>
                      <a:pt x="292" y="66"/>
                    </a:lnTo>
                    <a:lnTo>
                      <a:pt x="286" y="66"/>
                    </a:lnTo>
                    <a:lnTo>
                      <a:pt x="284" y="66"/>
                    </a:lnTo>
                    <a:lnTo>
                      <a:pt x="282" y="66"/>
                    </a:lnTo>
                    <a:lnTo>
                      <a:pt x="280" y="68"/>
                    </a:lnTo>
                    <a:lnTo>
                      <a:pt x="278" y="68"/>
                    </a:lnTo>
                    <a:lnTo>
                      <a:pt x="276" y="68"/>
                    </a:lnTo>
                    <a:lnTo>
                      <a:pt x="274" y="68"/>
                    </a:lnTo>
                    <a:lnTo>
                      <a:pt x="274" y="66"/>
                    </a:lnTo>
                    <a:lnTo>
                      <a:pt x="272" y="66"/>
                    </a:lnTo>
                    <a:lnTo>
                      <a:pt x="272" y="52"/>
                    </a:lnTo>
                    <a:lnTo>
                      <a:pt x="274" y="48"/>
                    </a:lnTo>
                    <a:lnTo>
                      <a:pt x="276" y="46"/>
                    </a:lnTo>
                    <a:lnTo>
                      <a:pt x="278" y="44"/>
                    </a:lnTo>
                    <a:lnTo>
                      <a:pt x="278" y="40"/>
                    </a:lnTo>
                    <a:lnTo>
                      <a:pt x="276" y="38"/>
                    </a:lnTo>
                    <a:lnTo>
                      <a:pt x="274" y="38"/>
                    </a:lnTo>
                    <a:lnTo>
                      <a:pt x="272" y="40"/>
                    </a:lnTo>
                    <a:lnTo>
                      <a:pt x="270" y="42"/>
                    </a:lnTo>
                    <a:lnTo>
                      <a:pt x="270" y="48"/>
                    </a:lnTo>
                    <a:lnTo>
                      <a:pt x="268" y="50"/>
                    </a:lnTo>
                    <a:lnTo>
                      <a:pt x="266" y="52"/>
                    </a:lnTo>
                    <a:lnTo>
                      <a:pt x="266" y="46"/>
                    </a:lnTo>
                    <a:lnTo>
                      <a:pt x="264" y="46"/>
                    </a:lnTo>
                    <a:lnTo>
                      <a:pt x="264" y="44"/>
                    </a:lnTo>
                    <a:lnTo>
                      <a:pt x="262" y="42"/>
                    </a:lnTo>
                    <a:lnTo>
                      <a:pt x="260" y="42"/>
                    </a:lnTo>
                    <a:lnTo>
                      <a:pt x="260" y="40"/>
                    </a:lnTo>
                    <a:lnTo>
                      <a:pt x="262" y="36"/>
                    </a:lnTo>
                    <a:lnTo>
                      <a:pt x="264" y="34"/>
                    </a:lnTo>
                    <a:lnTo>
                      <a:pt x="266" y="32"/>
                    </a:lnTo>
                    <a:lnTo>
                      <a:pt x="266" y="28"/>
                    </a:lnTo>
                    <a:lnTo>
                      <a:pt x="268" y="24"/>
                    </a:lnTo>
                    <a:lnTo>
                      <a:pt x="268" y="22"/>
                    </a:lnTo>
                    <a:lnTo>
                      <a:pt x="268" y="20"/>
                    </a:lnTo>
                    <a:lnTo>
                      <a:pt x="266" y="18"/>
                    </a:lnTo>
                    <a:lnTo>
                      <a:pt x="264" y="16"/>
                    </a:lnTo>
                    <a:lnTo>
                      <a:pt x="262" y="16"/>
                    </a:lnTo>
                    <a:lnTo>
                      <a:pt x="260" y="16"/>
                    </a:lnTo>
                    <a:lnTo>
                      <a:pt x="256" y="16"/>
                    </a:lnTo>
                    <a:lnTo>
                      <a:pt x="256" y="12"/>
                    </a:lnTo>
                    <a:lnTo>
                      <a:pt x="258" y="10"/>
                    </a:lnTo>
                    <a:lnTo>
                      <a:pt x="256" y="10"/>
                    </a:lnTo>
                    <a:lnTo>
                      <a:pt x="254" y="10"/>
                    </a:lnTo>
                    <a:lnTo>
                      <a:pt x="250" y="6"/>
                    </a:lnTo>
                    <a:lnTo>
                      <a:pt x="248" y="4"/>
                    </a:lnTo>
                    <a:lnTo>
                      <a:pt x="248" y="2"/>
                    </a:lnTo>
                    <a:lnTo>
                      <a:pt x="250" y="2"/>
                    </a:lnTo>
                    <a:lnTo>
                      <a:pt x="248" y="2"/>
                    </a:lnTo>
                    <a:lnTo>
                      <a:pt x="246" y="2"/>
                    </a:lnTo>
                    <a:lnTo>
                      <a:pt x="244" y="4"/>
                    </a:lnTo>
                    <a:lnTo>
                      <a:pt x="244" y="8"/>
                    </a:lnTo>
                    <a:lnTo>
                      <a:pt x="246" y="10"/>
                    </a:lnTo>
                    <a:lnTo>
                      <a:pt x="248" y="12"/>
                    </a:lnTo>
                    <a:lnTo>
                      <a:pt x="248" y="16"/>
                    </a:lnTo>
                    <a:lnTo>
                      <a:pt x="246" y="18"/>
                    </a:lnTo>
                    <a:lnTo>
                      <a:pt x="246" y="20"/>
                    </a:lnTo>
                    <a:lnTo>
                      <a:pt x="246" y="22"/>
                    </a:lnTo>
                    <a:lnTo>
                      <a:pt x="248" y="22"/>
                    </a:lnTo>
                    <a:lnTo>
                      <a:pt x="250" y="22"/>
                    </a:lnTo>
                    <a:lnTo>
                      <a:pt x="250" y="24"/>
                    </a:lnTo>
                    <a:lnTo>
                      <a:pt x="252" y="24"/>
                    </a:lnTo>
                    <a:lnTo>
                      <a:pt x="250" y="24"/>
                    </a:lnTo>
                    <a:lnTo>
                      <a:pt x="248" y="24"/>
                    </a:lnTo>
                    <a:lnTo>
                      <a:pt x="248" y="26"/>
                    </a:lnTo>
                    <a:lnTo>
                      <a:pt x="248" y="28"/>
                    </a:lnTo>
                    <a:lnTo>
                      <a:pt x="250" y="30"/>
                    </a:lnTo>
                    <a:lnTo>
                      <a:pt x="252" y="30"/>
                    </a:lnTo>
                    <a:lnTo>
                      <a:pt x="252" y="32"/>
                    </a:lnTo>
                    <a:lnTo>
                      <a:pt x="256" y="32"/>
                    </a:lnTo>
                    <a:lnTo>
                      <a:pt x="254" y="34"/>
                    </a:lnTo>
                    <a:lnTo>
                      <a:pt x="252" y="34"/>
                    </a:lnTo>
                    <a:lnTo>
                      <a:pt x="250" y="34"/>
                    </a:lnTo>
                    <a:lnTo>
                      <a:pt x="250" y="36"/>
                    </a:lnTo>
                    <a:lnTo>
                      <a:pt x="252" y="36"/>
                    </a:lnTo>
                    <a:lnTo>
                      <a:pt x="252" y="40"/>
                    </a:lnTo>
                    <a:lnTo>
                      <a:pt x="252" y="42"/>
                    </a:lnTo>
                    <a:lnTo>
                      <a:pt x="252" y="44"/>
                    </a:lnTo>
                    <a:lnTo>
                      <a:pt x="252" y="46"/>
                    </a:lnTo>
                    <a:lnTo>
                      <a:pt x="254" y="46"/>
                    </a:lnTo>
                    <a:lnTo>
                      <a:pt x="256" y="48"/>
                    </a:lnTo>
                    <a:lnTo>
                      <a:pt x="254" y="48"/>
                    </a:lnTo>
                    <a:lnTo>
                      <a:pt x="252" y="50"/>
                    </a:lnTo>
                    <a:lnTo>
                      <a:pt x="250" y="52"/>
                    </a:lnTo>
                    <a:lnTo>
                      <a:pt x="248" y="52"/>
                    </a:lnTo>
                    <a:lnTo>
                      <a:pt x="248" y="54"/>
                    </a:lnTo>
                    <a:lnTo>
                      <a:pt x="250" y="54"/>
                    </a:lnTo>
                    <a:lnTo>
                      <a:pt x="252" y="54"/>
                    </a:lnTo>
                    <a:lnTo>
                      <a:pt x="252" y="56"/>
                    </a:lnTo>
                    <a:lnTo>
                      <a:pt x="250" y="58"/>
                    </a:lnTo>
                    <a:lnTo>
                      <a:pt x="248" y="60"/>
                    </a:lnTo>
                    <a:lnTo>
                      <a:pt x="248" y="62"/>
                    </a:lnTo>
                    <a:lnTo>
                      <a:pt x="246" y="64"/>
                    </a:lnTo>
                    <a:lnTo>
                      <a:pt x="244" y="64"/>
                    </a:lnTo>
                    <a:lnTo>
                      <a:pt x="244" y="68"/>
                    </a:lnTo>
                    <a:lnTo>
                      <a:pt x="246" y="70"/>
                    </a:lnTo>
                    <a:lnTo>
                      <a:pt x="248" y="70"/>
                    </a:lnTo>
                    <a:lnTo>
                      <a:pt x="248" y="72"/>
                    </a:lnTo>
                    <a:lnTo>
                      <a:pt x="244" y="72"/>
                    </a:lnTo>
                    <a:lnTo>
                      <a:pt x="242" y="72"/>
                    </a:lnTo>
                    <a:lnTo>
                      <a:pt x="238" y="74"/>
                    </a:lnTo>
                    <a:lnTo>
                      <a:pt x="236" y="74"/>
                    </a:lnTo>
                    <a:lnTo>
                      <a:pt x="234" y="74"/>
                    </a:lnTo>
                    <a:lnTo>
                      <a:pt x="232" y="76"/>
                    </a:lnTo>
                    <a:lnTo>
                      <a:pt x="232" y="78"/>
                    </a:lnTo>
                    <a:lnTo>
                      <a:pt x="230" y="80"/>
                    </a:lnTo>
                    <a:lnTo>
                      <a:pt x="228" y="80"/>
                    </a:lnTo>
                    <a:lnTo>
                      <a:pt x="226" y="82"/>
                    </a:lnTo>
                    <a:lnTo>
                      <a:pt x="224" y="84"/>
                    </a:lnTo>
                    <a:lnTo>
                      <a:pt x="222" y="86"/>
                    </a:lnTo>
                    <a:lnTo>
                      <a:pt x="216" y="88"/>
                    </a:lnTo>
                    <a:lnTo>
                      <a:pt x="212" y="88"/>
                    </a:lnTo>
                    <a:lnTo>
                      <a:pt x="210" y="90"/>
                    </a:lnTo>
                    <a:lnTo>
                      <a:pt x="208" y="90"/>
                    </a:lnTo>
                    <a:lnTo>
                      <a:pt x="206" y="92"/>
                    </a:lnTo>
                    <a:lnTo>
                      <a:pt x="204" y="94"/>
                    </a:lnTo>
                    <a:lnTo>
                      <a:pt x="204" y="96"/>
                    </a:lnTo>
                    <a:lnTo>
                      <a:pt x="204" y="102"/>
                    </a:lnTo>
                    <a:lnTo>
                      <a:pt x="204" y="104"/>
                    </a:lnTo>
                    <a:lnTo>
                      <a:pt x="206" y="106"/>
                    </a:lnTo>
                    <a:lnTo>
                      <a:pt x="206" y="108"/>
                    </a:lnTo>
                    <a:lnTo>
                      <a:pt x="208" y="108"/>
                    </a:lnTo>
                    <a:lnTo>
                      <a:pt x="210" y="108"/>
                    </a:lnTo>
                    <a:lnTo>
                      <a:pt x="214" y="108"/>
                    </a:lnTo>
                    <a:lnTo>
                      <a:pt x="216" y="108"/>
                    </a:lnTo>
                    <a:lnTo>
                      <a:pt x="220" y="108"/>
                    </a:lnTo>
                    <a:lnTo>
                      <a:pt x="220" y="112"/>
                    </a:lnTo>
                    <a:lnTo>
                      <a:pt x="218" y="116"/>
                    </a:lnTo>
                    <a:lnTo>
                      <a:pt x="218" y="120"/>
                    </a:lnTo>
                    <a:lnTo>
                      <a:pt x="218" y="122"/>
                    </a:lnTo>
                    <a:lnTo>
                      <a:pt x="218" y="124"/>
                    </a:lnTo>
                    <a:lnTo>
                      <a:pt x="216" y="126"/>
                    </a:lnTo>
                    <a:lnTo>
                      <a:pt x="214" y="126"/>
                    </a:lnTo>
                    <a:lnTo>
                      <a:pt x="212" y="126"/>
                    </a:lnTo>
                    <a:lnTo>
                      <a:pt x="210" y="128"/>
                    </a:lnTo>
                    <a:lnTo>
                      <a:pt x="206" y="128"/>
                    </a:lnTo>
                    <a:lnTo>
                      <a:pt x="204" y="130"/>
                    </a:lnTo>
                    <a:lnTo>
                      <a:pt x="202" y="130"/>
                    </a:lnTo>
                    <a:lnTo>
                      <a:pt x="202" y="132"/>
                    </a:lnTo>
                    <a:lnTo>
                      <a:pt x="204" y="132"/>
                    </a:lnTo>
                    <a:lnTo>
                      <a:pt x="202" y="134"/>
                    </a:lnTo>
                    <a:lnTo>
                      <a:pt x="200" y="136"/>
                    </a:lnTo>
                    <a:lnTo>
                      <a:pt x="202" y="138"/>
                    </a:lnTo>
                    <a:lnTo>
                      <a:pt x="204" y="138"/>
                    </a:lnTo>
                    <a:lnTo>
                      <a:pt x="206" y="138"/>
                    </a:lnTo>
                    <a:lnTo>
                      <a:pt x="208" y="140"/>
                    </a:lnTo>
                    <a:lnTo>
                      <a:pt x="210" y="140"/>
                    </a:lnTo>
                    <a:lnTo>
                      <a:pt x="212" y="138"/>
                    </a:lnTo>
                    <a:lnTo>
                      <a:pt x="216" y="136"/>
                    </a:lnTo>
                    <a:lnTo>
                      <a:pt x="218" y="134"/>
                    </a:lnTo>
                    <a:lnTo>
                      <a:pt x="220" y="132"/>
                    </a:lnTo>
                    <a:lnTo>
                      <a:pt x="224" y="128"/>
                    </a:lnTo>
                    <a:lnTo>
                      <a:pt x="226" y="126"/>
                    </a:lnTo>
                    <a:lnTo>
                      <a:pt x="230" y="124"/>
                    </a:lnTo>
                    <a:lnTo>
                      <a:pt x="232" y="122"/>
                    </a:lnTo>
                    <a:lnTo>
                      <a:pt x="232" y="120"/>
                    </a:lnTo>
                    <a:lnTo>
                      <a:pt x="234" y="118"/>
                    </a:lnTo>
                    <a:lnTo>
                      <a:pt x="238" y="116"/>
                    </a:lnTo>
                    <a:lnTo>
                      <a:pt x="242" y="116"/>
                    </a:lnTo>
                    <a:lnTo>
                      <a:pt x="244" y="114"/>
                    </a:lnTo>
                    <a:lnTo>
                      <a:pt x="246" y="114"/>
                    </a:lnTo>
                    <a:lnTo>
                      <a:pt x="248" y="114"/>
                    </a:lnTo>
                    <a:lnTo>
                      <a:pt x="248" y="112"/>
                    </a:lnTo>
                    <a:lnTo>
                      <a:pt x="250" y="112"/>
                    </a:lnTo>
                    <a:lnTo>
                      <a:pt x="250" y="110"/>
                    </a:lnTo>
                    <a:lnTo>
                      <a:pt x="252" y="110"/>
                    </a:lnTo>
                    <a:lnTo>
                      <a:pt x="254" y="108"/>
                    </a:lnTo>
                    <a:lnTo>
                      <a:pt x="256" y="108"/>
                    </a:lnTo>
                    <a:lnTo>
                      <a:pt x="258" y="106"/>
                    </a:lnTo>
                    <a:lnTo>
                      <a:pt x="258" y="104"/>
                    </a:lnTo>
                    <a:lnTo>
                      <a:pt x="256" y="102"/>
                    </a:lnTo>
                    <a:lnTo>
                      <a:pt x="256" y="100"/>
                    </a:lnTo>
                    <a:lnTo>
                      <a:pt x="256" y="98"/>
                    </a:lnTo>
                    <a:lnTo>
                      <a:pt x="258" y="98"/>
                    </a:lnTo>
                    <a:lnTo>
                      <a:pt x="260" y="96"/>
                    </a:lnTo>
                    <a:lnTo>
                      <a:pt x="264" y="94"/>
                    </a:lnTo>
                    <a:lnTo>
                      <a:pt x="270" y="94"/>
                    </a:lnTo>
                    <a:lnTo>
                      <a:pt x="274" y="94"/>
                    </a:lnTo>
                    <a:lnTo>
                      <a:pt x="278" y="94"/>
                    </a:lnTo>
                    <a:lnTo>
                      <a:pt x="280" y="92"/>
                    </a:lnTo>
                    <a:lnTo>
                      <a:pt x="280" y="86"/>
                    </a:lnTo>
                    <a:lnTo>
                      <a:pt x="284" y="86"/>
                    </a:lnTo>
                    <a:lnTo>
                      <a:pt x="288" y="84"/>
                    </a:lnTo>
                    <a:lnTo>
                      <a:pt x="290" y="84"/>
                    </a:lnTo>
                    <a:lnTo>
                      <a:pt x="290" y="82"/>
                    </a:lnTo>
                    <a:lnTo>
                      <a:pt x="290" y="78"/>
                    </a:lnTo>
                    <a:lnTo>
                      <a:pt x="292" y="78"/>
                    </a:lnTo>
                    <a:lnTo>
                      <a:pt x="292" y="76"/>
                    </a:lnTo>
                    <a:lnTo>
                      <a:pt x="294" y="76"/>
                    </a:lnTo>
                    <a:lnTo>
                      <a:pt x="296" y="76"/>
                    </a:lnTo>
                    <a:lnTo>
                      <a:pt x="298" y="74"/>
                    </a:lnTo>
                    <a:lnTo>
                      <a:pt x="300" y="74"/>
                    </a:lnTo>
                    <a:lnTo>
                      <a:pt x="302" y="74"/>
                    </a:lnTo>
                    <a:lnTo>
                      <a:pt x="302" y="72"/>
                    </a:lnTo>
                    <a:lnTo>
                      <a:pt x="304" y="70"/>
                    </a:lnTo>
                    <a:lnTo>
                      <a:pt x="304" y="66"/>
                    </a:lnTo>
                    <a:lnTo>
                      <a:pt x="302" y="64"/>
                    </a:lnTo>
                    <a:close/>
                    <a:moveTo>
                      <a:pt x="250" y="0"/>
                    </a:moveTo>
                    <a:lnTo>
                      <a:pt x="250" y="2"/>
                    </a:lnTo>
                    <a:lnTo>
                      <a:pt x="25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0" name="Freeform 219">
                <a:extLst>
                  <a:ext uri="{FF2B5EF4-FFF2-40B4-BE49-F238E27FC236}">
                    <a16:creationId xmlns:a16="http://schemas.microsoft.com/office/drawing/2014/main" id="{05E83A13-DEC2-4C39-8901-09E4DC2D2F4A}"/>
                  </a:ext>
                </a:extLst>
              </p:cNvPr>
              <p:cNvSpPr>
                <a:spLocks noChangeAspect="1" noEditPoints="1"/>
              </p:cNvSpPr>
              <p:nvPr/>
            </p:nvSpPr>
            <p:spPr bwMode="auto">
              <a:xfrm>
                <a:off x="7443249" y="4613098"/>
                <a:ext cx="1113233" cy="964412"/>
              </a:xfrm>
              <a:custGeom>
                <a:avLst/>
                <a:gdLst/>
                <a:ahLst/>
                <a:cxnLst>
                  <a:cxn ang="0">
                    <a:pos x="652" y="240"/>
                  </a:cxn>
                  <a:cxn ang="0">
                    <a:pos x="650" y="222"/>
                  </a:cxn>
                  <a:cxn ang="0">
                    <a:pos x="640" y="208"/>
                  </a:cxn>
                  <a:cxn ang="0">
                    <a:pos x="614" y="168"/>
                  </a:cxn>
                  <a:cxn ang="0">
                    <a:pos x="596" y="110"/>
                  </a:cxn>
                  <a:cxn ang="0">
                    <a:pos x="584" y="64"/>
                  </a:cxn>
                  <a:cxn ang="0">
                    <a:pos x="570" y="22"/>
                  </a:cxn>
                  <a:cxn ang="0">
                    <a:pos x="548" y="6"/>
                  </a:cxn>
                  <a:cxn ang="0">
                    <a:pos x="536" y="44"/>
                  </a:cxn>
                  <a:cxn ang="0">
                    <a:pos x="528" y="90"/>
                  </a:cxn>
                  <a:cxn ang="0">
                    <a:pos x="492" y="136"/>
                  </a:cxn>
                  <a:cxn ang="0">
                    <a:pos x="448" y="100"/>
                  </a:cxn>
                  <a:cxn ang="0">
                    <a:pos x="436" y="76"/>
                  </a:cxn>
                  <a:cxn ang="0">
                    <a:pos x="454" y="50"/>
                  </a:cxn>
                  <a:cxn ang="0">
                    <a:pos x="440" y="28"/>
                  </a:cxn>
                  <a:cxn ang="0">
                    <a:pos x="392" y="16"/>
                  </a:cxn>
                  <a:cxn ang="0">
                    <a:pos x="368" y="18"/>
                  </a:cxn>
                  <a:cxn ang="0">
                    <a:pos x="362" y="30"/>
                  </a:cxn>
                  <a:cxn ang="0">
                    <a:pos x="334" y="58"/>
                  </a:cxn>
                  <a:cxn ang="0">
                    <a:pos x="334" y="90"/>
                  </a:cxn>
                  <a:cxn ang="0">
                    <a:pos x="304" y="98"/>
                  </a:cxn>
                  <a:cxn ang="0">
                    <a:pos x="298" y="72"/>
                  </a:cxn>
                  <a:cxn ang="0">
                    <a:pos x="278" y="66"/>
                  </a:cxn>
                  <a:cxn ang="0">
                    <a:pos x="262" y="76"/>
                  </a:cxn>
                  <a:cxn ang="0">
                    <a:pos x="242" y="90"/>
                  </a:cxn>
                  <a:cxn ang="0">
                    <a:pos x="224" y="110"/>
                  </a:cxn>
                  <a:cxn ang="0">
                    <a:pos x="218" y="142"/>
                  </a:cxn>
                  <a:cxn ang="0">
                    <a:pos x="194" y="126"/>
                  </a:cxn>
                  <a:cxn ang="0">
                    <a:pos x="182" y="158"/>
                  </a:cxn>
                  <a:cxn ang="0">
                    <a:pos x="140" y="182"/>
                  </a:cxn>
                  <a:cxn ang="0">
                    <a:pos x="98" y="190"/>
                  </a:cxn>
                  <a:cxn ang="0">
                    <a:pos x="54" y="212"/>
                  </a:cxn>
                  <a:cxn ang="0">
                    <a:pos x="34" y="222"/>
                  </a:cxn>
                  <a:cxn ang="0">
                    <a:pos x="18" y="262"/>
                  </a:cxn>
                  <a:cxn ang="0">
                    <a:pos x="24" y="300"/>
                  </a:cxn>
                  <a:cxn ang="0">
                    <a:pos x="8" y="296"/>
                  </a:cxn>
                  <a:cxn ang="0">
                    <a:pos x="20" y="346"/>
                  </a:cxn>
                  <a:cxn ang="0">
                    <a:pos x="22" y="398"/>
                  </a:cxn>
                  <a:cxn ang="0">
                    <a:pos x="2" y="446"/>
                  </a:cxn>
                  <a:cxn ang="0">
                    <a:pos x="26" y="466"/>
                  </a:cxn>
                  <a:cxn ang="0">
                    <a:pos x="74" y="458"/>
                  </a:cxn>
                  <a:cxn ang="0">
                    <a:pos x="130" y="448"/>
                  </a:cxn>
                  <a:cxn ang="0">
                    <a:pos x="176" y="422"/>
                  </a:cxn>
                  <a:cxn ang="0">
                    <a:pos x="240" y="410"/>
                  </a:cxn>
                  <a:cxn ang="0">
                    <a:pos x="308" y="406"/>
                  </a:cxn>
                  <a:cxn ang="0">
                    <a:pos x="334" y="420"/>
                  </a:cxn>
                  <a:cxn ang="0">
                    <a:pos x="342" y="446"/>
                  </a:cxn>
                  <a:cxn ang="0">
                    <a:pos x="350" y="468"/>
                  </a:cxn>
                  <a:cxn ang="0">
                    <a:pos x="380" y="432"/>
                  </a:cxn>
                  <a:cxn ang="0">
                    <a:pos x="392" y="430"/>
                  </a:cxn>
                  <a:cxn ang="0">
                    <a:pos x="376" y="452"/>
                  </a:cxn>
                  <a:cxn ang="0">
                    <a:pos x="380" y="462"/>
                  </a:cxn>
                  <a:cxn ang="0">
                    <a:pos x="388" y="480"/>
                  </a:cxn>
                  <a:cxn ang="0">
                    <a:pos x="388" y="518"/>
                  </a:cxn>
                  <a:cxn ang="0">
                    <a:pos x="434" y="544"/>
                  </a:cxn>
                  <a:cxn ang="0">
                    <a:pos x="470" y="528"/>
                  </a:cxn>
                  <a:cxn ang="0">
                    <a:pos x="488" y="546"/>
                  </a:cxn>
                  <a:cxn ang="0">
                    <a:pos x="522" y="524"/>
                  </a:cxn>
                  <a:cxn ang="0">
                    <a:pos x="560" y="494"/>
                  </a:cxn>
                  <a:cxn ang="0">
                    <a:pos x="586" y="454"/>
                  </a:cxn>
                  <a:cxn ang="0">
                    <a:pos x="636" y="402"/>
                  </a:cxn>
                  <a:cxn ang="0">
                    <a:pos x="664" y="348"/>
                  </a:cxn>
                  <a:cxn ang="0">
                    <a:pos x="460" y="60"/>
                  </a:cxn>
                </a:cxnLst>
                <a:rect l="0" t="0" r="r" b="b"/>
                <a:pathLst>
                  <a:path w="676" h="552">
                    <a:moveTo>
                      <a:pt x="674" y="282"/>
                    </a:moveTo>
                    <a:lnTo>
                      <a:pt x="674" y="280"/>
                    </a:lnTo>
                    <a:lnTo>
                      <a:pt x="668" y="276"/>
                    </a:lnTo>
                    <a:lnTo>
                      <a:pt x="666" y="276"/>
                    </a:lnTo>
                    <a:lnTo>
                      <a:pt x="666" y="262"/>
                    </a:lnTo>
                    <a:lnTo>
                      <a:pt x="666" y="260"/>
                    </a:lnTo>
                    <a:lnTo>
                      <a:pt x="666" y="258"/>
                    </a:lnTo>
                    <a:lnTo>
                      <a:pt x="664" y="258"/>
                    </a:lnTo>
                    <a:lnTo>
                      <a:pt x="662" y="258"/>
                    </a:lnTo>
                    <a:lnTo>
                      <a:pt x="662" y="256"/>
                    </a:lnTo>
                    <a:lnTo>
                      <a:pt x="658" y="256"/>
                    </a:lnTo>
                    <a:lnTo>
                      <a:pt x="658" y="252"/>
                    </a:lnTo>
                    <a:lnTo>
                      <a:pt x="656" y="252"/>
                    </a:lnTo>
                    <a:lnTo>
                      <a:pt x="656" y="250"/>
                    </a:lnTo>
                    <a:lnTo>
                      <a:pt x="654" y="250"/>
                    </a:lnTo>
                    <a:lnTo>
                      <a:pt x="654" y="248"/>
                    </a:lnTo>
                    <a:lnTo>
                      <a:pt x="654" y="242"/>
                    </a:lnTo>
                    <a:lnTo>
                      <a:pt x="652" y="240"/>
                    </a:lnTo>
                    <a:lnTo>
                      <a:pt x="652" y="238"/>
                    </a:lnTo>
                    <a:lnTo>
                      <a:pt x="648" y="236"/>
                    </a:lnTo>
                    <a:lnTo>
                      <a:pt x="646" y="236"/>
                    </a:lnTo>
                    <a:lnTo>
                      <a:pt x="644" y="236"/>
                    </a:lnTo>
                    <a:lnTo>
                      <a:pt x="644" y="234"/>
                    </a:lnTo>
                    <a:lnTo>
                      <a:pt x="648" y="234"/>
                    </a:lnTo>
                    <a:lnTo>
                      <a:pt x="650" y="234"/>
                    </a:lnTo>
                    <a:lnTo>
                      <a:pt x="654" y="232"/>
                    </a:lnTo>
                    <a:lnTo>
                      <a:pt x="656" y="232"/>
                    </a:lnTo>
                    <a:lnTo>
                      <a:pt x="656" y="230"/>
                    </a:lnTo>
                    <a:lnTo>
                      <a:pt x="658" y="230"/>
                    </a:lnTo>
                    <a:lnTo>
                      <a:pt x="656" y="228"/>
                    </a:lnTo>
                    <a:lnTo>
                      <a:pt x="656" y="226"/>
                    </a:lnTo>
                    <a:lnTo>
                      <a:pt x="656" y="224"/>
                    </a:lnTo>
                    <a:lnTo>
                      <a:pt x="654" y="224"/>
                    </a:lnTo>
                    <a:lnTo>
                      <a:pt x="652" y="222"/>
                    </a:lnTo>
                    <a:lnTo>
                      <a:pt x="650" y="222"/>
                    </a:lnTo>
                    <a:lnTo>
                      <a:pt x="650" y="220"/>
                    </a:lnTo>
                    <a:lnTo>
                      <a:pt x="648" y="218"/>
                    </a:lnTo>
                    <a:lnTo>
                      <a:pt x="646" y="216"/>
                    </a:lnTo>
                    <a:lnTo>
                      <a:pt x="644" y="214"/>
                    </a:lnTo>
                    <a:lnTo>
                      <a:pt x="642" y="216"/>
                    </a:lnTo>
                    <a:lnTo>
                      <a:pt x="642" y="218"/>
                    </a:lnTo>
                    <a:lnTo>
                      <a:pt x="640" y="218"/>
                    </a:lnTo>
                    <a:lnTo>
                      <a:pt x="640" y="220"/>
                    </a:lnTo>
                    <a:lnTo>
                      <a:pt x="642" y="220"/>
                    </a:lnTo>
                    <a:lnTo>
                      <a:pt x="642" y="222"/>
                    </a:lnTo>
                    <a:lnTo>
                      <a:pt x="640" y="222"/>
                    </a:lnTo>
                    <a:lnTo>
                      <a:pt x="638" y="222"/>
                    </a:lnTo>
                    <a:lnTo>
                      <a:pt x="636" y="220"/>
                    </a:lnTo>
                    <a:lnTo>
                      <a:pt x="636" y="218"/>
                    </a:lnTo>
                    <a:lnTo>
                      <a:pt x="638" y="216"/>
                    </a:lnTo>
                    <a:lnTo>
                      <a:pt x="638" y="212"/>
                    </a:lnTo>
                    <a:lnTo>
                      <a:pt x="640" y="210"/>
                    </a:lnTo>
                    <a:lnTo>
                      <a:pt x="640" y="208"/>
                    </a:lnTo>
                    <a:lnTo>
                      <a:pt x="640" y="204"/>
                    </a:lnTo>
                    <a:lnTo>
                      <a:pt x="642" y="202"/>
                    </a:lnTo>
                    <a:lnTo>
                      <a:pt x="638" y="200"/>
                    </a:lnTo>
                    <a:lnTo>
                      <a:pt x="636" y="200"/>
                    </a:lnTo>
                    <a:lnTo>
                      <a:pt x="634" y="198"/>
                    </a:lnTo>
                    <a:lnTo>
                      <a:pt x="632" y="196"/>
                    </a:lnTo>
                    <a:lnTo>
                      <a:pt x="632" y="192"/>
                    </a:lnTo>
                    <a:lnTo>
                      <a:pt x="632" y="190"/>
                    </a:lnTo>
                    <a:lnTo>
                      <a:pt x="632" y="188"/>
                    </a:lnTo>
                    <a:lnTo>
                      <a:pt x="634" y="186"/>
                    </a:lnTo>
                    <a:lnTo>
                      <a:pt x="634" y="182"/>
                    </a:lnTo>
                    <a:lnTo>
                      <a:pt x="634" y="180"/>
                    </a:lnTo>
                    <a:lnTo>
                      <a:pt x="632" y="178"/>
                    </a:lnTo>
                    <a:lnTo>
                      <a:pt x="630" y="176"/>
                    </a:lnTo>
                    <a:lnTo>
                      <a:pt x="626" y="174"/>
                    </a:lnTo>
                    <a:lnTo>
                      <a:pt x="622" y="172"/>
                    </a:lnTo>
                    <a:lnTo>
                      <a:pt x="618" y="170"/>
                    </a:lnTo>
                    <a:lnTo>
                      <a:pt x="616" y="168"/>
                    </a:lnTo>
                    <a:lnTo>
                      <a:pt x="614" y="168"/>
                    </a:lnTo>
                    <a:lnTo>
                      <a:pt x="614" y="166"/>
                    </a:lnTo>
                    <a:lnTo>
                      <a:pt x="612" y="166"/>
                    </a:lnTo>
                    <a:lnTo>
                      <a:pt x="610" y="166"/>
                    </a:lnTo>
                    <a:lnTo>
                      <a:pt x="610" y="168"/>
                    </a:lnTo>
                    <a:lnTo>
                      <a:pt x="608" y="168"/>
                    </a:lnTo>
                    <a:lnTo>
                      <a:pt x="608" y="166"/>
                    </a:lnTo>
                    <a:lnTo>
                      <a:pt x="606" y="164"/>
                    </a:lnTo>
                    <a:lnTo>
                      <a:pt x="604" y="162"/>
                    </a:lnTo>
                    <a:lnTo>
                      <a:pt x="602" y="158"/>
                    </a:lnTo>
                    <a:lnTo>
                      <a:pt x="600" y="156"/>
                    </a:lnTo>
                    <a:lnTo>
                      <a:pt x="600" y="152"/>
                    </a:lnTo>
                    <a:lnTo>
                      <a:pt x="598" y="148"/>
                    </a:lnTo>
                    <a:lnTo>
                      <a:pt x="598" y="146"/>
                    </a:lnTo>
                    <a:lnTo>
                      <a:pt x="600" y="142"/>
                    </a:lnTo>
                    <a:lnTo>
                      <a:pt x="600" y="138"/>
                    </a:lnTo>
                    <a:lnTo>
                      <a:pt x="602" y="134"/>
                    </a:lnTo>
                    <a:lnTo>
                      <a:pt x="602" y="126"/>
                    </a:lnTo>
                    <a:lnTo>
                      <a:pt x="600" y="122"/>
                    </a:lnTo>
                    <a:lnTo>
                      <a:pt x="600" y="118"/>
                    </a:lnTo>
                    <a:lnTo>
                      <a:pt x="598" y="114"/>
                    </a:lnTo>
                    <a:lnTo>
                      <a:pt x="596" y="110"/>
                    </a:lnTo>
                    <a:lnTo>
                      <a:pt x="596" y="106"/>
                    </a:lnTo>
                    <a:lnTo>
                      <a:pt x="594" y="102"/>
                    </a:lnTo>
                    <a:lnTo>
                      <a:pt x="594" y="100"/>
                    </a:lnTo>
                    <a:lnTo>
                      <a:pt x="592" y="98"/>
                    </a:lnTo>
                    <a:lnTo>
                      <a:pt x="592" y="96"/>
                    </a:lnTo>
                    <a:lnTo>
                      <a:pt x="594" y="94"/>
                    </a:lnTo>
                    <a:lnTo>
                      <a:pt x="594" y="92"/>
                    </a:lnTo>
                    <a:lnTo>
                      <a:pt x="596" y="90"/>
                    </a:lnTo>
                    <a:lnTo>
                      <a:pt x="596" y="82"/>
                    </a:lnTo>
                    <a:lnTo>
                      <a:pt x="596" y="78"/>
                    </a:lnTo>
                    <a:lnTo>
                      <a:pt x="596" y="76"/>
                    </a:lnTo>
                    <a:lnTo>
                      <a:pt x="594" y="72"/>
                    </a:lnTo>
                    <a:lnTo>
                      <a:pt x="594" y="70"/>
                    </a:lnTo>
                    <a:lnTo>
                      <a:pt x="592" y="70"/>
                    </a:lnTo>
                    <a:lnTo>
                      <a:pt x="590" y="68"/>
                    </a:lnTo>
                    <a:lnTo>
                      <a:pt x="588" y="68"/>
                    </a:lnTo>
                    <a:lnTo>
                      <a:pt x="586" y="66"/>
                    </a:lnTo>
                    <a:lnTo>
                      <a:pt x="584" y="64"/>
                    </a:lnTo>
                    <a:lnTo>
                      <a:pt x="578" y="64"/>
                    </a:lnTo>
                    <a:lnTo>
                      <a:pt x="576" y="66"/>
                    </a:lnTo>
                    <a:lnTo>
                      <a:pt x="574" y="66"/>
                    </a:lnTo>
                    <a:lnTo>
                      <a:pt x="574" y="68"/>
                    </a:lnTo>
                    <a:lnTo>
                      <a:pt x="574" y="66"/>
                    </a:lnTo>
                    <a:lnTo>
                      <a:pt x="572" y="66"/>
                    </a:lnTo>
                    <a:lnTo>
                      <a:pt x="572" y="62"/>
                    </a:lnTo>
                    <a:lnTo>
                      <a:pt x="572" y="60"/>
                    </a:lnTo>
                    <a:lnTo>
                      <a:pt x="572" y="56"/>
                    </a:lnTo>
                    <a:lnTo>
                      <a:pt x="572" y="52"/>
                    </a:lnTo>
                    <a:lnTo>
                      <a:pt x="572" y="50"/>
                    </a:lnTo>
                    <a:lnTo>
                      <a:pt x="574" y="48"/>
                    </a:lnTo>
                    <a:lnTo>
                      <a:pt x="572" y="46"/>
                    </a:lnTo>
                    <a:lnTo>
                      <a:pt x="570" y="44"/>
                    </a:lnTo>
                    <a:lnTo>
                      <a:pt x="570" y="42"/>
                    </a:lnTo>
                    <a:lnTo>
                      <a:pt x="570" y="22"/>
                    </a:lnTo>
                    <a:lnTo>
                      <a:pt x="568" y="22"/>
                    </a:lnTo>
                    <a:lnTo>
                      <a:pt x="564" y="18"/>
                    </a:lnTo>
                    <a:lnTo>
                      <a:pt x="562" y="16"/>
                    </a:lnTo>
                    <a:lnTo>
                      <a:pt x="562" y="14"/>
                    </a:lnTo>
                    <a:lnTo>
                      <a:pt x="564" y="12"/>
                    </a:lnTo>
                    <a:lnTo>
                      <a:pt x="564" y="8"/>
                    </a:lnTo>
                    <a:lnTo>
                      <a:pt x="564" y="4"/>
                    </a:lnTo>
                    <a:lnTo>
                      <a:pt x="562" y="4"/>
                    </a:lnTo>
                    <a:lnTo>
                      <a:pt x="560" y="4"/>
                    </a:lnTo>
                    <a:lnTo>
                      <a:pt x="560" y="2"/>
                    </a:lnTo>
                    <a:lnTo>
                      <a:pt x="558" y="2"/>
                    </a:lnTo>
                    <a:lnTo>
                      <a:pt x="558" y="0"/>
                    </a:lnTo>
                    <a:lnTo>
                      <a:pt x="556" y="0"/>
                    </a:lnTo>
                    <a:lnTo>
                      <a:pt x="554" y="0"/>
                    </a:lnTo>
                    <a:lnTo>
                      <a:pt x="552" y="0"/>
                    </a:lnTo>
                    <a:lnTo>
                      <a:pt x="552" y="2"/>
                    </a:lnTo>
                    <a:lnTo>
                      <a:pt x="550" y="4"/>
                    </a:lnTo>
                    <a:lnTo>
                      <a:pt x="550" y="6"/>
                    </a:lnTo>
                    <a:lnTo>
                      <a:pt x="548" y="6"/>
                    </a:lnTo>
                    <a:lnTo>
                      <a:pt x="548" y="8"/>
                    </a:lnTo>
                    <a:lnTo>
                      <a:pt x="546" y="8"/>
                    </a:lnTo>
                    <a:lnTo>
                      <a:pt x="544" y="10"/>
                    </a:lnTo>
                    <a:lnTo>
                      <a:pt x="542" y="12"/>
                    </a:lnTo>
                    <a:lnTo>
                      <a:pt x="544" y="12"/>
                    </a:lnTo>
                    <a:lnTo>
                      <a:pt x="544" y="14"/>
                    </a:lnTo>
                    <a:lnTo>
                      <a:pt x="544" y="16"/>
                    </a:lnTo>
                    <a:lnTo>
                      <a:pt x="546" y="20"/>
                    </a:lnTo>
                    <a:lnTo>
                      <a:pt x="546" y="22"/>
                    </a:lnTo>
                    <a:lnTo>
                      <a:pt x="546" y="26"/>
                    </a:lnTo>
                    <a:lnTo>
                      <a:pt x="544" y="28"/>
                    </a:lnTo>
                    <a:lnTo>
                      <a:pt x="542" y="32"/>
                    </a:lnTo>
                    <a:lnTo>
                      <a:pt x="540" y="34"/>
                    </a:lnTo>
                    <a:lnTo>
                      <a:pt x="538" y="38"/>
                    </a:lnTo>
                    <a:lnTo>
                      <a:pt x="536" y="40"/>
                    </a:lnTo>
                    <a:lnTo>
                      <a:pt x="534" y="42"/>
                    </a:lnTo>
                    <a:lnTo>
                      <a:pt x="536" y="42"/>
                    </a:lnTo>
                    <a:lnTo>
                      <a:pt x="536" y="44"/>
                    </a:lnTo>
                    <a:lnTo>
                      <a:pt x="538" y="44"/>
                    </a:lnTo>
                    <a:lnTo>
                      <a:pt x="536" y="46"/>
                    </a:lnTo>
                    <a:lnTo>
                      <a:pt x="536" y="48"/>
                    </a:lnTo>
                    <a:lnTo>
                      <a:pt x="534" y="52"/>
                    </a:lnTo>
                    <a:lnTo>
                      <a:pt x="532" y="54"/>
                    </a:lnTo>
                    <a:lnTo>
                      <a:pt x="532" y="56"/>
                    </a:lnTo>
                    <a:lnTo>
                      <a:pt x="532" y="58"/>
                    </a:lnTo>
                    <a:lnTo>
                      <a:pt x="532" y="62"/>
                    </a:lnTo>
                    <a:lnTo>
                      <a:pt x="532" y="64"/>
                    </a:lnTo>
                    <a:lnTo>
                      <a:pt x="534" y="66"/>
                    </a:lnTo>
                    <a:lnTo>
                      <a:pt x="534" y="68"/>
                    </a:lnTo>
                    <a:lnTo>
                      <a:pt x="532" y="70"/>
                    </a:lnTo>
                    <a:lnTo>
                      <a:pt x="532" y="72"/>
                    </a:lnTo>
                    <a:lnTo>
                      <a:pt x="532" y="74"/>
                    </a:lnTo>
                    <a:lnTo>
                      <a:pt x="532" y="76"/>
                    </a:lnTo>
                    <a:lnTo>
                      <a:pt x="530" y="82"/>
                    </a:lnTo>
                    <a:lnTo>
                      <a:pt x="528" y="88"/>
                    </a:lnTo>
                    <a:lnTo>
                      <a:pt x="528" y="90"/>
                    </a:lnTo>
                    <a:lnTo>
                      <a:pt x="526" y="94"/>
                    </a:lnTo>
                    <a:lnTo>
                      <a:pt x="526" y="96"/>
                    </a:lnTo>
                    <a:lnTo>
                      <a:pt x="526" y="98"/>
                    </a:lnTo>
                    <a:lnTo>
                      <a:pt x="526" y="102"/>
                    </a:lnTo>
                    <a:lnTo>
                      <a:pt x="524" y="104"/>
                    </a:lnTo>
                    <a:lnTo>
                      <a:pt x="524" y="106"/>
                    </a:lnTo>
                    <a:lnTo>
                      <a:pt x="522" y="108"/>
                    </a:lnTo>
                    <a:lnTo>
                      <a:pt x="520" y="110"/>
                    </a:lnTo>
                    <a:lnTo>
                      <a:pt x="516" y="114"/>
                    </a:lnTo>
                    <a:lnTo>
                      <a:pt x="516" y="116"/>
                    </a:lnTo>
                    <a:lnTo>
                      <a:pt x="514" y="118"/>
                    </a:lnTo>
                    <a:lnTo>
                      <a:pt x="514" y="122"/>
                    </a:lnTo>
                    <a:lnTo>
                      <a:pt x="514" y="124"/>
                    </a:lnTo>
                    <a:lnTo>
                      <a:pt x="512" y="126"/>
                    </a:lnTo>
                    <a:lnTo>
                      <a:pt x="512" y="130"/>
                    </a:lnTo>
                    <a:lnTo>
                      <a:pt x="510" y="130"/>
                    </a:lnTo>
                    <a:lnTo>
                      <a:pt x="504" y="132"/>
                    </a:lnTo>
                    <a:lnTo>
                      <a:pt x="502" y="134"/>
                    </a:lnTo>
                    <a:lnTo>
                      <a:pt x="498" y="134"/>
                    </a:lnTo>
                    <a:lnTo>
                      <a:pt x="494" y="134"/>
                    </a:lnTo>
                    <a:lnTo>
                      <a:pt x="492" y="136"/>
                    </a:lnTo>
                    <a:lnTo>
                      <a:pt x="490" y="136"/>
                    </a:lnTo>
                    <a:lnTo>
                      <a:pt x="490" y="134"/>
                    </a:lnTo>
                    <a:lnTo>
                      <a:pt x="488" y="132"/>
                    </a:lnTo>
                    <a:lnTo>
                      <a:pt x="488" y="130"/>
                    </a:lnTo>
                    <a:lnTo>
                      <a:pt x="486" y="126"/>
                    </a:lnTo>
                    <a:lnTo>
                      <a:pt x="484" y="124"/>
                    </a:lnTo>
                    <a:lnTo>
                      <a:pt x="482" y="122"/>
                    </a:lnTo>
                    <a:lnTo>
                      <a:pt x="482" y="120"/>
                    </a:lnTo>
                    <a:lnTo>
                      <a:pt x="480" y="118"/>
                    </a:lnTo>
                    <a:lnTo>
                      <a:pt x="478" y="116"/>
                    </a:lnTo>
                    <a:lnTo>
                      <a:pt x="474" y="116"/>
                    </a:lnTo>
                    <a:lnTo>
                      <a:pt x="472" y="114"/>
                    </a:lnTo>
                    <a:lnTo>
                      <a:pt x="468" y="114"/>
                    </a:lnTo>
                    <a:lnTo>
                      <a:pt x="464" y="112"/>
                    </a:lnTo>
                    <a:lnTo>
                      <a:pt x="462" y="110"/>
                    </a:lnTo>
                    <a:lnTo>
                      <a:pt x="458" y="110"/>
                    </a:lnTo>
                    <a:lnTo>
                      <a:pt x="456" y="108"/>
                    </a:lnTo>
                    <a:lnTo>
                      <a:pt x="452" y="106"/>
                    </a:lnTo>
                    <a:lnTo>
                      <a:pt x="450" y="104"/>
                    </a:lnTo>
                    <a:lnTo>
                      <a:pt x="448" y="100"/>
                    </a:lnTo>
                    <a:lnTo>
                      <a:pt x="448" y="98"/>
                    </a:lnTo>
                    <a:lnTo>
                      <a:pt x="446" y="96"/>
                    </a:lnTo>
                    <a:lnTo>
                      <a:pt x="444" y="94"/>
                    </a:lnTo>
                    <a:lnTo>
                      <a:pt x="444" y="92"/>
                    </a:lnTo>
                    <a:lnTo>
                      <a:pt x="442" y="92"/>
                    </a:lnTo>
                    <a:lnTo>
                      <a:pt x="438" y="92"/>
                    </a:lnTo>
                    <a:lnTo>
                      <a:pt x="436" y="92"/>
                    </a:lnTo>
                    <a:lnTo>
                      <a:pt x="436" y="90"/>
                    </a:lnTo>
                    <a:lnTo>
                      <a:pt x="434" y="90"/>
                    </a:lnTo>
                    <a:lnTo>
                      <a:pt x="434" y="86"/>
                    </a:lnTo>
                    <a:lnTo>
                      <a:pt x="432" y="84"/>
                    </a:lnTo>
                    <a:lnTo>
                      <a:pt x="432" y="82"/>
                    </a:lnTo>
                    <a:lnTo>
                      <a:pt x="430" y="82"/>
                    </a:lnTo>
                    <a:lnTo>
                      <a:pt x="434" y="80"/>
                    </a:lnTo>
                    <a:lnTo>
                      <a:pt x="434" y="78"/>
                    </a:lnTo>
                    <a:lnTo>
                      <a:pt x="436" y="78"/>
                    </a:lnTo>
                    <a:lnTo>
                      <a:pt x="436" y="76"/>
                    </a:lnTo>
                    <a:lnTo>
                      <a:pt x="434" y="76"/>
                    </a:lnTo>
                    <a:lnTo>
                      <a:pt x="434" y="72"/>
                    </a:lnTo>
                    <a:lnTo>
                      <a:pt x="436" y="70"/>
                    </a:lnTo>
                    <a:lnTo>
                      <a:pt x="436" y="68"/>
                    </a:lnTo>
                    <a:lnTo>
                      <a:pt x="438" y="66"/>
                    </a:lnTo>
                    <a:lnTo>
                      <a:pt x="440" y="66"/>
                    </a:lnTo>
                    <a:lnTo>
                      <a:pt x="442" y="64"/>
                    </a:lnTo>
                    <a:lnTo>
                      <a:pt x="442" y="60"/>
                    </a:lnTo>
                    <a:lnTo>
                      <a:pt x="440" y="58"/>
                    </a:lnTo>
                    <a:lnTo>
                      <a:pt x="440" y="54"/>
                    </a:lnTo>
                    <a:lnTo>
                      <a:pt x="442" y="52"/>
                    </a:lnTo>
                    <a:lnTo>
                      <a:pt x="444" y="50"/>
                    </a:lnTo>
                    <a:lnTo>
                      <a:pt x="444" y="48"/>
                    </a:lnTo>
                    <a:lnTo>
                      <a:pt x="446" y="48"/>
                    </a:lnTo>
                    <a:lnTo>
                      <a:pt x="446" y="50"/>
                    </a:lnTo>
                    <a:lnTo>
                      <a:pt x="448" y="50"/>
                    </a:lnTo>
                    <a:lnTo>
                      <a:pt x="452" y="50"/>
                    </a:lnTo>
                    <a:lnTo>
                      <a:pt x="454" y="50"/>
                    </a:lnTo>
                    <a:lnTo>
                      <a:pt x="454" y="48"/>
                    </a:lnTo>
                    <a:lnTo>
                      <a:pt x="454" y="46"/>
                    </a:lnTo>
                    <a:lnTo>
                      <a:pt x="454" y="42"/>
                    </a:lnTo>
                    <a:lnTo>
                      <a:pt x="458" y="40"/>
                    </a:lnTo>
                    <a:lnTo>
                      <a:pt x="460" y="38"/>
                    </a:lnTo>
                    <a:lnTo>
                      <a:pt x="462" y="36"/>
                    </a:lnTo>
                    <a:lnTo>
                      <a:pt x="462" y="34"/>
                    </a:lnTo>
                    <a:lnTo>
                      <a:pt x="464" y="34"/>
                    </a:lnTo>
                    <a:lnTo>
                      <a:pt x="464" y="32"/>
                    </a:lnTo>
                    <a:lnTo>
                      <a:pt x="462" y="30"/>
                    </a:lnTo>
                    <a:lnTo>
                      <a:pt x="460" y="30"/>
                    </a:lnTo>
                    <a:lnTo>
                      <a:pt x="458" y="28"/>
                    </a:lnTo>
                    <a:lnTo>
                      <a:pt x="458" y="26"/>
                    </a:lnTo>
                    <a:lnTo>
                      <a:pt x="454" y="24"/>
                    </a:lnTo>
                    <a:lnTo>
                      <a:pt x="452" y="24"/>
                    </a:lnTo>
                    <a:lnTo>
                      <a:pt x="450" y="24"/>
                    </a:lnTo>
                    <a:lnTo>
                      <a:pt x="448" y="24"/>
                    </a:lnTo>
                    <a:lnTo>
                      <a:pt x="446" y="26"/>
                    </a:lnTo>
                    <a:lnTo>
                      <a:pt x="444" y="28"/>
                    </a:lnTo>
                    <a:lnTo>
                      <a:pt x="440" y="32"/>
                    </a:lnTo>
                    <a:lnTo>
                      <a:pt x="440" y="28"/>
                    </a:lnTo>
                    <a:lnTo>
                      <a:pt x="432" y="28"/>
                    </a:lnTo>
                    <a:lnTo>
                      <a:pt x="428" y="30"/>
                    </a:lnTo>
                    <a:lnTo>
                      <a:pt x="428" y="32"/>
                    </a:lnTo>
                    <a:lnTo>
                      <a:pt x="428" y="30"/>
                    </a:lnTo>
                    <a:lnTo>
                      <a:pt x="426" y="28"/>
                    </a:lnTo>
                    <a:lnTo>
                      <a:pt x="424" y="26"/>
                    </a:lnTo>
                    <a:lnTo>
                      <a:pt x="418" y="26"/>
                    </a:lnTo>
                    <a:lnTo>
                      <a:pt x="416" y="26"/>
                    </a:lnTo>
                    <a:lnTo>
                      <a:pt x="416" y="24"/>
                    </a:lnTo>
                    <a:lnTo>
                      <a:pt x="414" y="24"/>
                    </a:lnTo>
                    <a:lnTo>
                      <a:pt x="412" y="22"/>
                    </a:lnTo>
                    <a:lnTo>
                      <a:pt x="410" y="22"/>
                    </a:lnTo>
                    <a:lnTo>
                      <a:pt x="410" y="20"/>
                    </a:lnTo>
                    <a:lnTo>
                      <a:pt x="408" y="20"/>
                    </a:lnTo>
                    <a:lnTo>
                      <a:pt x="406" y="20"/>
                    </a:lnTo>
                    <a:lnTo>
                      <a:pt x="404" y="18"/>
                    </a:lnTo>
                    <a:lnTo>
                      <a:pt x="394" y="18"/>
                    </a:lnTo>
                    <a:lnTo>
                      <a:pt x="392" y="18"/>
                    </a:lnTo>
                    <a:lnTo>
                      <a:pt x="392" y="16"/>
                    </a:lnTo>
                    <a:lnTo>
                      <a:pt x="392" y="14"/>
                    </a:lnTo>
                    <a:lnTo>
                      <a:pt x="390" y="12"/>
                    </a:lnTo>
                    <a:lnTo>
                      <a:pt x="388" y="10"/>
                    </a:lnTo>
                    <a:lnTo>
                      <a:pt x="386" y="10"/>
                    </a:lnTo>
                    <a:lnTo>
                      <a:pt x="384" y="12"/>
                    </a:lnTo>
                    <a:lnTo>
                      <a:pt x="384" y="14"/>
                    </a:lnTo>
                    <a:lnTo>
                      <a:pt x="384" y="12"/>
                    </a:lnTo>
                    <a:lnTo>
                      <a:pt x="382" y="12"/>
                    </a:lnTo>
                    <a:lnTo>
                      <a:pt x="380" y="12"/>
                    </a:lnTo>
                    <a:lnTo>
                      <a:pt x="378" y="10"/>
                    </a:lnTo>
                    <a:lnTo>
                      <a:pt x="376" y="10"/>
                    </a:lnTo>
                    <a:lnTo>
                      <a:pt x="374" y="10"/>
                    </a:lnTo>
                    <a:lnTo>
                      <a:pt x="372" y="10"/>
                    </a:lnTo>
                    <a:lnTo>
                      <a:pt x="372" y="14"/>
                    </a:lnTo>
                    <a:lnTo>
                      <a:pt x="374" y="14"/>
                    </a:lnTo>
                    <a:lnTo>
                      <a:pt x="372" y="14"/>
                    </a:lnTo>
                    <a:lnTo>
                      <a:pt x="370" y="16"/>
                    </a:lnTo>
                    <a:lnTo>
                      <a:pt x="368" y="16"/>
                    </a:lnTo>
                    <a:lnTo>
                      <a:pt x="368" y="18"/>
                    </a:lnTo>
                    <a:lnTo>
                      <a:pt x="370" y="18"/>
                    </a:lnTo>
                    <a:lnTo>
                      <a:pt x="372" y="18"/>
                    </a:lnTo>
                    <a:lnTo>
                      <a:pt x="374" y="20"/>
                    </a:lnTo>
                    <a:lnTo>
                      <a:pt x="378" y="20"/>
                    </a:lnTo>
                    <a:lnTo>
                      <a:pt x="380" y="22"/>
                    </a:lnTo>
                    <a:lnTo>
                      <a:pt x="384" y="20"/>
                    </a:lnTo>
                    <a:lnTo>
                      <a:pt x="388" y="20"/>
                    </a:lnTo>
                    <a:lnTo>
                      <a:pt x="390" y="20"/>
                    </a:lnTo>
                    <a:lnTo>
                      <a:pt x="390" y="22"/>
                    </a:lnTo>
                    <a:lnTo>
                      <a:pt x="392" y="22"/>
                    </a:lnTo>
                    <a:lnTo>
                      <a:pt x="392" y="24"/>
                    </a:lnTo>
                    <a:lnTo>
                      <a:pt x="390" y="24"/>
                    </a:lnTo>
                    <a:lnTo>
                      <a:pt x="388" y="24"/>
                    </a:lnTo>
                    <a:lnTo>
                      <a:pt x="384" y="28"/>
                    </a:lnTo>
                    <a:lnTo>
                      <a:pt x="382" y="28"/>
                    </a:lnTo>
                    <a:lnTo>
                      <a:pt x="380" y="30"/>
                    </a:lnTo>
                    <a:lnTo>
                      <a:pt x="362" y="30"/>
                    </a:lnTo>
                    <a:lnTo>
                      <a:pt x="360" y="30"/>
                    </a:lnTo>
                    <a:lnTo>
                      <a:pt x="358" y="32"/>
                    </a:lnTo>
                    <a:lnTo>
                      <a:pt x="356" y="32"/>
                    </a:lnTo>
                    <a:lnTo>
                      <a:pt x="354" y="34"/>
                    </a:lnTo>
                    <a:lnTo>
                      <a:pt x="350" y="36"/>
                    </a:lnTo>
                    <a:lnTo>
                      <a:pt x="346" y="38"/>
                    </a:lnTo>
                    <a:lnTo>
                      <a:pt x="344" y="38"/>
                    </a:lnTo>
                    <a:lnTo>
                      <a:pt x="342" y="40"/>
                    </a:lnTo>
                    <a:lnTo>
                      <a:pt x="340" y="40"/>
                    </a:lnTo>
                    <a:lnTo>
                      <a:pt x="340" y="42"/>
                    </a:lnTo>
                    <a:lnTo>
                      <a:pt x="340" y="44"/>
                    </a:lnTo>
                    <a:lnTo>
                      <a:pt x="340" y="46"/>
                    </a:lnTo>
                    <a:lnTo>
                      <a:pt x="338" y="50"/>
                    </a:lnTo>
                    <a:lnTo>
                      <a:pt x="338" y="52"/>
                    </a:lnTo>
                    <a:lnTo>
                      <a:pt x="340" y="54"/>
                    </a:lnTo>
                    <a:lnTo>
                      <a:pt x="342" y="54"/>
                    </a:lnTo>
                    <a:lnTo>
                      <a:pt x="344" y="56"/>
                    </a:lnTo>
                    <a:lnTo>
                      <a:pt x="344" y="58"/>
                    </a:lnTo>
                    <a:lnTo>
                      <a:pt x="334" y="58"/>
                    </a:lnTo>
                    <a:lnTo>
                      <a:pt x="330" y="60"/>
                    </a:lnTo>
                    <a:lnTo>
                      <a:pt x="328" y="62"/>
                    </a:lnTo>
                    <a:lnTo>
                      <a:pt x="328" y="64"/>
                    </a:lnTo>
                    <a:lnTo>
                      <a:pt x="326" y="64"/>
                    </a:lnTo>
                    <a:lnTo>
                      <a:pt x="326" y="66"/>
                    </a:lnTo>
                    <a:lnTo>
                      <a:pt x="326" y="72"/>
                    </a:lnTo>
                    <a:lnTo>
                      <a:pt x="324" y="74"/>
                    </a:lnTo>
                    <a:lnTo>
                      <a:pt x="324" y="76"/>
                    </a:lnTo>
                    <a:lnTo>
                      <a:pt x="324" y="78"/>
                    </a:lnTo>
                    <a:lnTo>
                      <a:pt x="326" y="78"/>
                    </a:lnTo>
                    <a:lnTo>
                      <a:pt x="328" y="80"/>
                    </a:lnTo>
                    <a:lnTo>
                      <a:pt x="330" y="80"/>
                    </a:lnTo>
                    <a:lnTo>
                      <a:pt x="334" y="82"/>
                    </a:lnTo>
                    <a:lnTo>
                      <a:pt x="336" y="84"/>
                    </a:lnTo>
                    <a:lnTo>
                      <a:pt x="336" y="86"/>
                    </a:lnTo>
                    <a:lnTo>
                      <a:pt x="336" y="90"/>
                    </a:lnTo>
                    <a:lnTo>
                      <a:pt x="334" y="90"/>
                    </a:lnTo>
                    <a:lnTo>
                      <a:pt x="332" y="88"/>
                    </a:lnTo>
                    <a:lnTo>
                      <a:pt x="332" y="86"/>
                    </a:lnTo>
                    <a:lnTo>
                      <a:pt x="324" y="86"/>
                    </a:lnTo>
                    <a:lnTo>
                      <a:pt x="324" y="88"/>
                    </a:lnTo>
                    <a:lnTo>
                      <a:pt x="322" y="88"/>
                    </a:lnTo>
                    <a:lnTo>
                      <a:pt x="322" y="90"/>
                    </a:lnTo>
                    <a:lnTo>
                      <a:pt x="320" y="90"/>
                    </a:lnTo>
                    <a:lnTo>
                      <a:pt x="318" y="88"/>
                    </a:lnTo>
                    <a:lnTo>
                      <a:pt x="316" y="88"/>
                    </a:lnTo>
                    <a:lnTo>
                      <a:pt x="312" y="84"/>
                    </a:lnTo>
                    <a:lnTo>
                      <a:pt x="310" y="86"/>
                    </a:lnTo>
                    <a:lnTo>
                      <a:pt x="310" y="90"/>
                    </a:lnTo>
                    <a:lnTo>
                      <a:pt x="308" y="92"/>
                    </a:lnTo>
                    <a:lnTo>
                      <a:pt x="306" y="92"/>
                    </a:lnTo>
                    <a:lnTo>
                      <a:pt x="304" y="92"/>
                    </a:lnTo>
                    <a:lnTo>
                      <a:pt x="304" y="98"/>
                    </a:lnTo>
                    <a:lnTo>
                      <a:pt x="306" y="98"/>
                    </a:lnTo>
                    <a:lnTo>
                      <a:pt x="306" y="100"/>
                    </a:lnTo>
                    <a:lnTo>
                      <a:pt x="302" y="98"/>
                    </a:lnTo>
                    <a:lnTo>
                      <a:pt x="298" y="98"/>
                    </a:lnTo>
                    <a:lnTo>
                      <a:pt x="300" y="96"/>
                    </a:lnTo>
                    <a:lnTo>
                      <a:pt x="300" y="92"/>
                    </a:lnTo>
                    <a:lnTo>
                      <a:pt x="302" y="90"/>
                    </a:lnTo>
                    <a:lnTo>
                      <a:pt x="302" y="88"/>
                    </a:lnTo>
                    <a:lnTo>
                      <a:pt x="304" y="86"/>
                    </a:lnTo>
                    <a:lnTo>
                      <a:pt x="304" y="84"/>
                    </a:lnTo>
                    <a:lnTo>
                      <a:pt x="306" y="82"/>
                    </a:lnTo>
                    <a:lnTo>
                      <a:pt x="304" y="82"/>
                    </a:lnTo>
                    <a:lnTo>
                      <a:pt x="304" y="80"/>
                    </a:lnTo>
                    <a:lnTo>
                      <a:pt x="304" y="78"/>
                    </a:lnTo>
                    <a:lnTo>
                      <a:pt x="302" y="76"/>
                    </a:lnTo>
                    <a:lnTo>
                      <a:pt x="302" y="74"/>
                    </a:lnTo>
                    <a:lnTo>
                      <a:pt x="300" y="74"/>
                    </a:lnTo>
                    <a:lnTo>
                      <a:pt x="298" y="72"/>
                    </a:lnTo>
                    <a:lnTo>
                      <a:pt x="296" y="72"/>
                    </a:lnTo>
                    <a:lnTo>
                      <a:pt x="294" y="70"/>
                    </a:lnTo>
                    <a:lnTo>
                      <a:pt x="294" y="68"/>
                    </a:lnTo>
                    <a:lnTo>
                      <a:pt x="292" y="66"/>
                    </a:lnTo>
                    <a:lnTo>
                      <a:pt x="292" y="64"/>
                    </a:lnTo>
                    <a:lnTo>
                      <a:pt x="292" y="60"/>
                    </a:lnTo>
                    <a:lnTo>
                      <a:pt x="292" y="58"/>
                    </a:lnTo>
                    <a:lnTo>
                      <a:pt x="290" y="56"/>
                    </a:lnTo>
                    <a:lnTo>
                      <a:pt x="288" y="56"/>
                    </a:lnTo>
                    <a:lnTo>
                      <a:pt x="286" y="56"/>
                    </a:lnTo>
                    <a:lnTo>
                      <a:pt x="284" y="56"/>
                    </a:lnTo>
                    <a:lnTo>
                      <a:pt x="282" y="56"/>
                    </a:lnTo>
                    <a:lnTo>
                      <a:pt x="282" y="58"/>
                    </a:lnTo>
                    <a:lnTo>
                      <a:pt x="280" y="60"/>
                    </a:lnTo>
                    <a:lnTo>
                      <a:pt x="280" y="62"/>
                    </a:lnTo>
                    <a:lnTo>
                      <a:pt x="282" y="62"/>
                    </a:lnTo>
                    <a:lnTo>
                      <a:pt x="282" y="64"/>
                    </a:lnTo>
                    <a:lnTo>
                      <a:pt x="282" y="66"/>
                    </a:lnTo>
                    <a:lnTo>
                      <a:pt x="278" y="66"/>
                    </a:lnTo>
                    <a:lnTo>
                      <a:pt x="274" y="66"/>
                    </a:lnTo>
                    <a:lnTo>
                      <a:pt x="274" y="68"/>
                    </a:lnTo>
                    <a:lnTo>
                      <a:pt x="274" y="72"/>
                    </a:lnTo>
                    <a:lnTo>
                      <a:pt x="272" y="70"/>
                    </a:lnTo>
                    <a:lnTo>
                      <a:pt x="270" y="70"/>
                    </a:lnTo>
                    <a:lnTo>
                      <a:pt x="268" y="70"/>
                    </a:lnTo>
                    <a:lnTo>
                      <a:pt x="266" y="70"/>
                    </a:lnTo>
                    <a:lnTo>
                      <a:pt x="266" y="72"/>
                    </a:lnTo>
                    <a:lnTo>
                      <a:pt x="268" y="72"/>
                    </a:lnTo>
                    <a:lnTo>
                      <a:pt x="268" y="78"/>
                    </a:lnTo>
                    <a:lnTo>
                      <a:pt x="266" y="80"/>
                    </a:lnTo>
                    <a:lnTo>
                      <a:pt x="264" y="82"/>
                    </a:lnTo>
                    <a:lnTo>
                      <a:pt x="262" y="84"/>
                    </a:lnTo>
                    <a:lnTo>
                      <a:pt x="260" y="84"/>
                    </a:lnTo>
                    <a:lnTo>
                      <a:pt x="262" y="82"/>
                    </a:lnTo>
                    <a:lnTo>
                      <a:pt x="262" y="80"/>
                    </a:lnTo>
                    <a:lnTo>
                      <a:pt x="262" y="78"/>
                    </a:lnTo>
                    <a:lnTo>
                      <a:pt x="262" y="76"/>
                    </a:lnTo>
                    <a:lnTo>
                      <a:pt x="262" y="78"/>
                    </a:lnTo>
                    <a:lnTo>
                      <a:pt x="260" y="80"/>
                    </a:lnTo>
                    <a:lnTo>
                      <a:pt x="258" y="80"/>
                    </a:lnTo>
                    <a:lnTo>
                      <a:pt x="258" y="82"/>
                    </a:lnTo>
                    <a:lnTo>
                      <a:pt x="254" y="82"/>
                    </a:lnTo>
                    <a:lnTo>
                      <a:pt x="252" y="84"/>
                    </a:lnTo>
                    <a:lnTo>
                      <a:pt x="250" y="86"/>
                    </a:lnTo>
                    <a:lnTo>
                      <a:pt x="250" y="90"/>
                    </a:lnTo>
                    <a:lnTo>
                      <a:pt x="252" y="90"/>
                    </a:lnTo>
                    <a:lnTo>
                      <a:pt x="252" y="92"/>
                    </a:lnTo>
                    <a:lnTo>
                      <a:pt x="252" y="94"/>
                    </a:lnTo>
                    <a:lnTo>
                      <a:pt x="252" y="96"/>
                    </a:lnTo>
                    <a:lnTo>
                      <a:pt x="250" y="94"/>
                    </a:lnTo>
                    <a:lnTo>
                      <a:pt x="248" y="94"/>
                    </a:lnTo>
                    <a:lnTo>
                      <a:pt x="248" y="92"/>
                    </a:lnTo>
                    <a:lnTo>
                      <a:pt x="246" y="92"/>
                    </a:lnTo>
                    <a:lnTo>
                      <a:pt x="244" y="90"/>
                    </a:lnTo>
                    <a:lnTo>
                      <a:pt x="242" y="90"/>
                    </a:lnTo>
                    <a:lnTo>
                      <a:pt x="242" y="92"/>
                    </a:lnTo>
                    <a:lnTo>
                      <a:pt x="242" y="100"/>
                    </a:lnTo>
                    <a:lnTo>
                      <a:pt x="238" y="100"/>
                    </a:lnTo>
                    <a:lnTo>
                      <a:pt x="238" y="102"/>
                    </a:lnTo>
                    <a:lnTo>
                      <a:pt x="240" y="104"/>
                    </a:lnTo>
                    <a:lnTo>
                      <a:pt x="240" y="106"/>
                    </a:lnTo>
                    <a:lnTo>
                      <a:pt x="242" y="106"/>
                    </a:lnTo>
                    <a:lnTo>
                      <a:pt x="244" y="106"/>
                    </a:lnTo>
                    <a:lnTo>
                      <a:pt x="246" y="106"/>
                    </a:lnTo>
                    <a:lnTo>
                      <a:pt x="246" y="108"/>
                    </a:lnTo>
                    <a:lnTo>
                      <a:pt x="244" y="108"/>
                    </a:lnTo>
                    <a:lnTo>
                      <a:pt x="244" y="110"/>
                    </a:lnTo>
                    <a:lnTo>
                      <a:pt x="232" y="110"/>
                    </a:lnTo>
                    <a:lnTo>
                      <a:pt x="230" y="112"/>
                    </a:lnTo>
                    <a:lnTo>
                      <a:pt x="226" y="112"/>
                    </a:lnTo>
                    <a:lnTo>
                      <a:pt x="226" y="110"/>
                    </a:lnTo>
                    <a:lnTo>
                      <a:pt x="224" y="110"/>
                    </a:lnTo>
                    <a:lnTo>
                      <a:pt x="220" y="110"/>
                    </a:lnTo>
                    <a:lnTo>
                      <a:pt x="218" y="112"/>
                    </a:lnTo>
                    <a:lnTo>
                      <a:pt x="218" y="116"/>
                    </a:lnTo>
                    <a:lnTo>
                      <a:pt x="220" y="118"/>
                    </a:lnTo>
                    <a:lnTo>
                      <a:pt x="222" y="120"/>
                    </a:lnTo>
                    <a:lnTo>
                      <a:pt x="222" y="128"/>
                    </a:lnTo>
                    <a:lnTo>
                      <a:pt x="222" y="130"/>
                    </a:lnTo>
                    <a:lnTo>
                      <a:pt x="220" y="130"/>
                    </a:lnTo>
                    <a:lnTo>
                      <a:pt x="220" y="132"/>
                    </a:lnTo>
                    <a:lnTo>
                      <a:pt x="220" y="134"/>
                    </a:lnTo>
                    <a:lnTo>
                      <a:pt x="220" y="136"/>
                    </a:lnTo>
                    <a:lnTo>
                      <a:pt x="220" y="140"/>
                    </a:lnTo>
                    <a:lnTo>
                      <a:pt x="222" y="140"/>
                    </a:lnTo>
                    <a:lnTo>
                      <a:pt x="222" y="142"/>
                    </a:lnTo>
                    <a:lnTo>
                      <a:pt x="220" y="142"/>
                    </a:lnTo>
                    <a:lnTo>
                      <a:pt x="218" y="142"/>
                    </a:lnTo>
                    <a:lnTo>
                      <a:pt x="218" y="138"/>
                    </a:lnTo>
                    <a:lnTo>
                      <a:pt x="216" y="136"/>
                    </a:lnTo>
                    <a:lnTo>
                      <a:pt x="216" y="124"/>
                    </a:lnTo>
                    <a:lnTo>
                      <a:pt x="214" y="122"/>
                    </a:lnTo>
                    <a:lnTo>
                      <a:pt x="214" y="120"/>
                    </a:lnTo>
                    <a:lnTo>
                      <a:pt x="212" y="120"/>
                    </a:lnTo>
                    <a:lnTo>
                      <a:pt x="212" y="118"/>
                    </a:lnTo>
                    <a:lnTo>
                      <a:pt x="212" y="112"/>
                    </a:lnTo>
                    <a:lnTo>
                      <a:pt x="210" y="112"/>
                    </a:lnTo>
                    <a:lnTo>
                      <a:pt x="208" y="114"/>
                    </a:lnTo>
                    <a:lnTo>
                      <a:pt x="206" y="114"/>
                    </a:lnTo>
                    <a:lnTo>
                      <a:pt x="204" y="116"/>
                    </a:lnTo>
                    <a:lnTo>
                      <a:pt x="204" y="118"/>
                    </a:lnTo>
                    <a:lnTo>
                      <a:pt x="202" y="118"/>
                    </a:lnTo>
                    <a:lnTo>
                      <a:pt x="194" y="126"/>
                    </a:lnTo>
                    <a:lnTo>
                      <a:pt x="192" y="128"/>
                    </a:lnTo>
                    <a:lnTo>
                      <a:pt x="190" y="130"/>
                    </a:lnTo>
                    <a:lnTo>
                      <a:pt x="188" y="134"/>
                    </a:lnTo>
                    <a:lnTo>
                      <a:pt x="188" y="136"/>
                    </a:lnTo>
                    <a:lnTo>
                      <a:pt x="188" y="138"/>
                    </a:lnTo>
                    <a:lnTo>
                      <a:pt x="188" y="142"/>
                    </a:lnTo>
                    <a:lnTo>
                      <a:pt x="188" y="144"/>
                    </a:lnTo>
                    <a:lnTo>
                      <a:pt x="190" y="144"/>
                    </a:lnTo>
                    <a:lnTo>
                      <a:pt x="190" y="146"/>
                    </a:lnTo>
                    <a:lnTo>
                      <a:pt x="192" y="146"/>
                    </a:lnTo>
                    <a:lnTo>
                      <a:pt x="194" y="148"/>
                    </a:lnTo>
                    <a:lnTo>
                      <a:pt x="194" y="152"/>
                    </a:lnTo>
                    <a:lnTo>
                      <a:pt x="192" y="154"/>
                    </a:lnTo>
                    <a:lnTo>
                      <a:pt x="190" y="156"/>
                    </a:lnTo>
                    <a:lnTo>
                      <a:pt x="188" y="156"/>
                    </a:lnTo>
                    <a:lnTo>
                      <a:pt x="184" y="158"/>
                    </a:lnTo>
                    <a:lnTo>
                      <a:pt x="182" y="158"/>
                    </a:lnTo>
                    <a:lnTo>
                      <a:pt x="180" y="160"/>
                    </a:lnTo>
                    <a:lnTo>
                      <a:pt x="178" y="160"/>
                    </a:lnTo>
                    <a:lnTo>
                      <a:pt x="178" y="162"/>
                    </a:lnTo>
                    <a:lnTo>
                      <a:pt x="178" y="164"/>
                    </a:lnTo>
                    <a:lnTo>
                      <a:pt x="178" y="166"/>
                    </a:lnTo>
                    <a:lnTo>
                      <a:pt x="176" y="166"/>
                    </a:lnTo>
                    <a:lnTo>
                      <a:pt x="174" y="168"/>
                    </a:lnTo>
                    <a:lnTo>
                      <a:pt x="172" y="170"/>
                    </a:lnTo>
                    <a:lnTo>
                      <a:pt x="170" y="172"/>
                    </a:lnTo>
                    <a:lnTo>
                      <a:pt x="166" y="176"/>
                    </a:lnTo>
                    <a:lnTo>
                      <a:pt x="164" y="178"/>
                    </a:lnTo>
                    <a:lnTo>
                      <a:pt x="162" y="178"/>
                    </a:lnTo>
                    <a:lnTo>
                      <a:pt x="158" y="180"/>
                    </a:lnTo>
                    <a:lnTo>
                      <a:pt x="154" y="180"/>
                    </a:lnTo>
                    <a:lnTo>
                      <a:pt x="150" y="182"/>
                    </a:lnTo>
                    <a:lnTo>
                      <a:pt x="146" y="182"/>
                    </a:lnTo>
                    <a:lnTo>
                      <a:pt x="140" y="182"/>
                    </a:lnTo>
                    <a:lnTo>
                      <a:pt x="140" y="184"/>
                    </a:lnTo>
                    <a:lnTo>
                      <a:pt x="138" y="182"/>
                    </a:lnTo>
                    <a:lnTo>
                      <a:pt x="136" y="182"/>
                    </a:lnTo>
                    <a:lnTo>
                      <a:pt x="134" y="182"/>
                    </a:lnTo>
                    <a:lnTo>
                      <a:pt x="132" y="182"/>
                    </a:lnTo>
                    <a:lnTo>
                      <a:pt x="130" y="180"/>
                    </a:lnTo>
                    <a:lnTo>
                      <a:pt x="128" y="180"/>
                    </a:lnTo>
                    <a:lnTo>
                      <a:pt x="124" y="182"/>
                    </a:lnTo>
                    <a:lnTo>
                      <a:pt x="122" y="184"/>
                    </a:lnTo>
                    <a:lnTo>
                      <a:pt x="120" y="184"/>
                    </a:lnTo>
                    <a:lnTo>
                      <a:pt x="118" y="186"/>
                    </a:lnTo>
                    <a:lnTo>
                      <a:pt x="116" y="186"/>
                    </a:lnTo>
                    <a:lnTo>
                      <a:pt x="114" y="186"/>
                    </a:lnTo>
                    <a:lnTo>
                      <a:pt x="110" y="186"/>
                    </a:lnTo>
                    <a:lnTo>
                      <a:pt x="108" y="186"/>
                    </a:lnTo>
                    <a:lnTo>
                      <a:pt x="106" y="186"/>
                    </a:lnTo>
                    <a:lnTo>
                      <a:pt x="104" y="188"/>
                    </a:lnTo>
                    <a:lnTo>
                      <a:pt x="102" y="188"/>
                    </a:lnTo>
                    <a:lnTo>
                      <a:pt x="98" y="190"/>
                    </a:lnTo>
                    <a:lnTo>
                      <a:pt x="96" y="190"/>
                    </a:lnTo>
                    <a:lnTo>
                      <a:pt x="94" y="192"/>
                    </a:lnTo>
                    <a:lnTo>
                      <a:pt x="90" y="196"/>
                    </a:lnTo>
                    <a:lnTo>
                      <a:pt x="86" y="196"/>
                    </a:lnTo>
                    <a:lnTo>
                      <a:pt x="84" y="196"/>
                    </a:lnTo>
                    <a:lnTo>
                      <a:pt x="82" y="196"/>
                    </a:lnTo>
                    <a:lnTo>
                      <a:pt x="78" y="198"/>
                    </a:lnTo>
                    <a:lnTo>
                      <a:pt x="76" y="198"/>
                    </a:lnTo>
                    <a:lnTo>
                      <a:pt x="74" y="200"/>
                    </a:lnTo>
                    <a:lnTo>
                      <a:pt x="72" y="202"/>
                    </a:lnTo>
                    <a:lnTo>
                      <a:pt x="70" y="204"/>
                    </a:lnTo>
                    <a:lnTo>
                      <a:pt x="68" y="206"/>
                    </a:lnTo>
                    <a:lnTo>
                      <a:pt x="68" y="208"/>
                    </a:lnTo>
                    <a:lnTo>
                      <a:pt x="66" y="210"/>
                    </a:lnTo>
                    <a:lnTo>
                      <a:pt x="64" y="210"/>
                    </a:lnTo>
                    <a:lnTo>
                      <a:pt x="62" y="210"/>
                    </a:lnTo>
                    <a:lnTo>
                      <a:pt x="60" y="210"/>
                    </a:lnTo>
                    <a:lnTo>
                      <a:pt x="58" y="212"/>
                    </a:lnTo>
                    <a:lnTo>
                      <a:pt x="56" y="212"/>
                    </a:lnTo>
                    <a:lnTo>
                      <a:pt x="54" y="212"/>
                    </a:lnTo>
                    <a:lnTo>
                      <a:pt x="52" y="214"/>
                    </a:lnTo>
                    <a:lnTo>
                      <a:pt x="50" y="214"/>
                    </a:lnTo>
                    <a:lnTo>
                      <a:pt x="50" y="216"/>
                    </a:lnTo>
                    <a:lnTo>
                      <a:pt x="48" y="218"/>
                    </a:lnTo>
                    <a:lnTo>
                      <a:pt x="42" y="224"/>
                    </a:lnTo>
                    <a:lnTo>
                      <a:pt x="40" y="226"/>
                    </a:lnTo>
                    <a:lnTo>
                      <a:pt x="38" y="230"/>
                    </a:lnTo>
                    <a:lnTo>
                      <a:pt x="36" y="232"/>
                    </a:lnTo>
                    <a:lnTo>
                      <a:pt x="36" y="226"/>
                    </a:lnTo>
                    <a:lnTo>
                      <a:pt x="38" y="224"/>
                    </a:lnTo>
                    <a:lnTo>
                      <a:pt x="38" y="218"/>
                    </a:lnTo>
                    <a:lnTo>
                      <a:pt x="38" y="216"/>
                    </a:lnTo>
                    <a:lnTo>
                      <a:pt x="36" y="216"/>
                    </a:lnTo>
                    <a:lnTo>
                      <a:pt x="36" y="218"/>
                    </a:lnTo>
                    <a:lnTo>
                      <a:pt x="34" y="218"/>
                    </a:lnTo>
                    <a:lnTo>
                      <a:pt x="34" y="220"/>
                    </a:lnTo>
                    <a:lnTo>
                      <a:pt x="34" y="222"/>
                    </a:lnTo>
                    <a:lnTo>
                      <a:pt x="32" y="226"/>
                    </a:lnTo>
                    <a:lnTo>
                      <a:pt x="30" y="228"/>
                    </a:lnTo>
                    <a:lnTo>
                      <a:pt x="30" y="230"/>
                    </a:lnTo>
                    <a:lnTo>
                      <a:pt x="30" y="232"/>
                    </a:lnTo>
                    <a:lnTo>
                      <a:pt x="28" y="232"/>
                    </a:lnTo>
                    <a:lnTo>
                      <a:pt x="28" y="234"/>
                    </a:lnTo>
                    <a:lnTo>
                      <a:pt x="26" y="236"/>
                    </a:lnTo>
                    <a:lnTo>
                      <a:pt x="26" y="240"/>
                    </a:lnTo>
                    <a:lnTo>
                      <a:pt x="24" y="242"/>
                    </a:lnTo>
                    <a:lnTo>
                      <a:pt x="22" y="244"/>
                    </a:lnTo>
                    <a:lnTo>
                      <a:pt x="22" y="246"/>
                    </a:lnTo>
                    <a:lnTo>
                      <a:pt x="22" y="250"/>
                    </a:lnTo>
                    <a:lnTo>
                      <a:pt x="22" y="252"/>
                    </a:lnTo>
                    <a:lnTo>
                      <a:pt x="24" y="252"/>
                    </a:lnTo>
                    <a:lnTo>
                      <a:pt x="26" y="254"/>
                    </a:lnTo>
                    <a:lnTo>
                      <a:pt x="28" y="254"/>
                    </a:lnTo>
                    <a:lnTo>
                      <a:pt x="24" y="258"/>
                    </a:lnTo>
                    <a:lnTo>
                      <a:pt x="20" y="262"/>
                    </a:lnTo>
                    <a:lnTo>
                      <a:pt x="18" y="262"/>
                    </a:lnTo>
                    <a:lnTo>
                      <a:pt x="18" y="264"/>
                    </a:lnTo>
                    <a:lnTo>
                      <a:pt x="16" y="266"/>
                    </a:lnTo>
                    <a:lnTo>
                      <a:pt x="16" y="268"/>
                    </a:lnTo>
                    <a:lnTo>
                      <a:pt x="16" y="272"/>
                    </a:lnTo>
                    <a:lnTo>
                      <a:pt x="18" y="274"/>
                    </a:lnTo>
                    <a:lnTo>
                      <a:pt x="18" y="278"/>
                    </a:lnTo>
                    <a:lnTo>
                      <a:pt x="20" y="280"/>
                    </a:lnTo>
                    <a:lnTo>
                      <a:pt x="20" y="282"/>
                    </a:lnTo>
                    <a:lnTo>
                      <a:pt x="20" y="286"/>
                    </a:lnTo>
                    <a:lnTo>
                      <a:pt x="22" y="288"/>
                    </a:lnTo>
                    <a:lnTo>
                      <a:pt x="24" y="290"/>
                    </a:lnTo>
                    <a:lnTo>
                      <a:pt x="24" y="294"/>
                    </a:lnTo>
                    <a:lnTo>
                      <a:pt x="26" y="298"/>
                    </a:lnTo>
                    <a:lnTo>
                      <a:pt x="28" y="300"/>
                    </a:lnTo>
                    <a:lnTo>
                      <a:pt x="28" y="302"/>
                    </a:lnTo>
                    <a:lnTo>
                      <a:pt x="28" y="304"/>
                    </a:lnTo>
                    <a:lnTo>
                      <a:pt x="26" y="304"/>
                    </a:lnTo>
                    <a:lnTo>
                      <a:pt x="26" y="302"/>
                    </a:lnTo>
                    <a:lnTo>
                      <a:pt x="24" y="300"/>
                    </a:lnTo>
                    <a:lnTo>
                      <a:pt x="22" y="298"/>
                    </a:lnTo>
                    <a:lnTo>
                      <a:pt x="20" y="294"/>
                    </a:lnTo>
                    <a:lnTo>
                      <a:pt x="18" y="292"/>
                    </a:lnTo>
                    <a:lnTo>
                      <a:pt x="16" y="290"/>
                    </a:lnTo>
                    <a:lnTo>
                      <a:pt x="14" y="290"/>
                    </a:lnTo>
                    <a:lnTo>
                      <a:pt x="12" y="290"/>
                    </a:lnTo>
                    <a:lnTo>
                      <a:pt x="12" y="292"/>
                    </a:lnTo>
                    <a:lnTo>
                      <a:pt x="14" y="294"/>
                    </a:lnTo>
                    <a:lnTo>
                      <a:pt x="14" y="296"/>
                    </a:lnTo>
                    <a:lnTo>
                      <a:pt x="14" y="298"/>
                    </a:lnTo>
                    <a:lnTo>
                      <a:pt x="16" y="300"/>
                    </a:lnTo>
                    <a:lnTo>
                      <a:pt x="12" y="298"/>
                    </a:lnTo>
                    <a:lnTo>
                      <a:pt x="10" y="296"/>
                    </a:lnTo>
                    <a:lnTo>
                      <a:pt x="10" y="294"/>
                    </a:lnTo>
                    <a:lnTo>
                      <a:pt x="8" y="294"/>
                    </a:lnTo>
                    <a:lnTo>
                      <a:pt x="8" y="296"/>
                    </a:lnTo>
                    <a:lnTo>
                      <a:pt x="8" y="306"/>
                    </a:lnTo>
                    <a:lnTo>
                      <a:pt x="8" y="308"/>
                    </a:lnTo>
                    <a:lnTo>
                      <a:pt x="10" y="312"/>
                    </a:lnTo>
                    <a:lnTo>
                      <a:pt x="10" y="314"/>
                    </a:lnTo>
                    <a:lnTo>
                      <a:pt x="12" y="318"/>
                    </a:lnTo>
                    <a:lnTo>
                      <a:pt x="14" y="320"/>
                    </a:lnTo>
                    <a:lnTo>
                      <a:pt x="16" y="322"/>
                    </a:lnTo>
                    <a:lnTo>
                      <a:pt x="16" y="324"/>
                    </a:lnTo>
                    <a:lnTo>
                      <a:pt x="16" y="326"/>
                    </a:lnTo>
                    <a:lnTo>
                      <a:pt x="16" y="328"/>
                    </a:lnTo>
                    <a:lnTo>
                      <a:pt x="14" y="328"/>
                    </a:lnTo>
                    <a:lnTo>
                      <a:pt x="12" y="332"/>
                    </a:lnTo>
                    <a:lnTo>
                      <a:pt x="12" y="334"/>
                    </a:lnTo>
                    <a:lnTo>
                      <a:pt x="12" y="336"/>
                    </a:lnTo>
                    <a:lnTo>
                      <a:pt x="14" y="338"/>
                    </a:lnTo>
                    <a:lnTo>
                      <a:pt x="14" y="340"/>
                    </a:lnTo>
                    <a:lnTo>
                      <a:pt x="16" y="342"/>
                    </a:lnTo>
                    <a:lnTo>
                      <a:pt x="18" y="344"/>
                    </a:lnTo>
                    <a:lnTo>
                      <a:pt x="20" y="346"/>
                    </a:lnTo>
                    <a:lnTo>
                      <a:pt x="22" y="348"/>
                    </a:lnTo>
                    <a:lnTo>
                      <a:pt x="22" y="358"/>
                    </a:lnTo>
                    <a:lnTo>
                      <a:pt x="22" y="360"/>
                    </a:lnTo>
                    <a:lnTo>
                      <a:pt x="22" y="362"/>
                    </a:lnTo>
                    <a:lnTo>
                      <a:pt x="20" y="362"/>
                    </a:lnTo>
                    <a:lnTo>
                      <a:pt x="20" y="366"/>
                    </a:lnTo>
                    <a:lnTo>
                      <a:pt x="22" y="368"/>
                    </a:lnTo>
                    <a:lnTo>
                      <a:pt x="22" y="372"/>
                    </a:lnTo>
                    <a:lnTo>
                      <a:pt x="22" y="376"/>
                    </a:lnTo>
                    <a:lnTo>
                      <a:pt x="24" y="378"/>
                    </a:lnTo>
                    <a:lnTo>
                      <a:pt x="24" y="380"/>
                    </a:lnTo>
                    <a:lnTo>
                      <a:pt x="22" y="380"/>
                    </a:lnTo>
                    <a:lnTo>
                      <a:pt x="20" y="384"/>
                    </a:lnTo>
                    <a:lnTo>
                      <a:pt x="18" y="384"/>
                    </a:lnTo>
                    <a:lnTo>
                      <a:pt x="18" y="386"/>
                    </a:lnTo>
                    <a:lnTo>
                      <a:pt x="20" y="388"/>
                    </a:lnTo>
                    <a:lnTo>
                      <a:pt x="20" y="392"/>
                    </a:lnTo>
                    <a:lnTo>
                      <a:pt x="22" y="394"/>
                    </a:lnTo>
                    <a:lnTo>
                      <a:pt x="22" y="396"/>
                    </a:lnTo>
                    <a:lnTo>
                      <a:pt x="22" y="398"/>
                    </a:lnTo>
                    <a:lnTo>
                      <a:pt x="24" y="398"/>
                    </a:lnTo>
                    <a:lnTo>
                      <a:pt x="24" y="400"/>
                    </a:lnTo>
                    <a:lnTo>
                      <a:pt x="26" y="400"/>
                    </a:lnTo>
                    <a:lnTo>
                      <a:pt x="28" y="402"/>
                    </a:lnTo>
                    <a:lnTo>
                      <a:pt x="30" y="406"/>
                    </a:lnTo>
                    <a:lnTo>
                      <a:pt x="32" y="408"/>
                    </a:lnTo>
                    <a:lnTo>
                      <a:pt x="30" y="410"/>
                    </a:lnTo>
                    <a:lnTo>
                      <a:pt x="30" y="412"/>
                    </a:lnTo>
                    <a:lnTo>
                      <a:pt x="28" y="416"/>
                    </a:lnTo>
                    <a:lnTo>
                      <a:pt x="26" y="418"/>
                    </a:lnTo>
                    <a:lnTo>
                      <a:pt x="24" y="420"/>
                    </a:lnTo>
                    <a:lnTo>
                      <a:pt x="22" y="422"/>
                    </a:lnTo>
                    <a:lnTo>
                      <a:pt x="22" y="424"/>
                    </a:lnTo>
                    <a:lnTo>
                      <a:pt x="22" y="436"/>
                    </a:lnTo>
                    <a:lnTo>
                      <a:pt x="20" y="440"/>
                    </a:lnTo>
                    <a:lnTo>
                      <a:pt x="18" y="442"/>
                    </a:lnTo>
                    <a:lnTo>
                      <a:pt x="16" y="444"/>
                    </a:lnTo>
                    <a:lnTo>
                      <a:pt x="10" y="446"/>
                    </a:lnTo>
                    <a:lnTo>
                      <a:pt x="2" y="446"/>
                    </a:lnTo>
                    <a:lnTo>
                      <a:pt x="0" y="448"/>
                    </a:lnTo>
                    <a:lnTo>
                      <a:pt x="0" y="452"/>
                    </a:lnTo>
                    <a:lnTo>
                      <a:pt x="0" y="454"/>
                    </a:lnTo>
                    <a:lnTo>
                      <a:pt x="0" y="456"/>
                    </a:lnTo>
                    <a:lnTo>
                      <a:pt x="2" y="456"/>
                    </a:lnTo>
                    <a:lnTo>
                      <a:pt x="4" y="456"/>
                    </a:lnTo>
                    <a:lnTo>
                      <a:pt x="6" y="458"/>
                    </a:lnTo>
                    <a:lnTo>
                      <a:pt x="8" y="458"/>
                    </a:lnTo>
                    <a:lnTo>
                      <a:pt x="10" y="460"/>
                    </a:lnTo>
                    <a:lnTo>
                      <a:pt x="12" y="460"/>
                    </a:lnTo>
                    <a:lnTo>
                      <a:pt x="14" y="460"/>
                    </a:lnTo>
                    <a:lnTo>
                      <a:pt x="16" y="462"/>
                    </a:lnTo>
                    <a:lnTo>
                      <a:pt x="18" y="464"/>
                    </a:lnTo>
                    <a:lnTo>
                      <a:pt x="20" y="466"/>
                    </a:lnTo>
                    <a:lnTo>
                      <a:pt x="24" y="466"/>
                    </a:lnTo>
                    <a:lnTo>
                      <a:pt x="26" y="466"/>
                    </a:lnTo>
                    <a:lnTo>
                      <a:pt x="28" y="466"/>
                    </a:lnTo>
                    <a:lnTo>
                      <a:pt x="30" y="470"/>
                    </a:lnTo>
                    <a:lnTo>
                      <a:pt x="34" y="470"/>
                    </a:lnTo>
                    <a:lnTo>
                      <a:pt x="42" y="470"/>
                    </a:lnTo>
                    <a:lnTo>
                      <a:pt x="44" y="470"/>
                    </a:lnTo>
                    <a:lnTo>
                      <a:pt x="48" y="470"/>
                    </a:lnTo>
                    <a:lnTo>
                      <a:pt x="50" y="470"/>
                    </a:lnTo>
                    <a:lnTo>
                      <a:pt x="52" y="470"/>
                    </a:lnTo>
                    <a:lnTo>
                      <a:pt x="54" y="468"/>
                    </a:lnTo>
                    <a:lnTo>
                      <a:pt x="56" y="468"/>
                    </a:lnTo>
                    <a:lnTo>
                      <a:pt x="56" y="464"/>
                    </a:lnTo>
                    <a:lnTo>
                      <a:pt x="64" y="464"/>
                    </a:lnTo>
                    <a:lnTo>
                      <a:pt x="64" y="462"/>
                    </a:lnTo>
                    <a:lnTo>
                      <a:pt x="66" y="460"/>
                    </a:lnTo>
                    <a:lnTo>
                      <a:pt x="70" y="458"/>
                    </a:lnTo>
                    <a:lnTo>
                      <a:pt x="74" y="458"/>
                    </a:lnTo>
                    <a:lnTo>
                      <a:pt x="76" y="458"/>
                    </a:lnTo>
                    <a:lnTo>
                      <a:pt x="82" y="452"/>
                    </a:lnTo>
                    <a:lnTo>
                      <a:pt x="84" y="450"/>
                    </a:lnTo>
                    <a:lnTo>
                      <a:pt x="86" y="448"/>
                    </a:lnTo>
                    <a:lnTo>
                      <a:pt x="92" y="448"/>
                    </a:lnTo>
                    <a:lnTo>
                      <a:pt x="96" y="450"/>
                    </a:lnTo>
                    <a:lnTo>
                      <a:pt x="98" y="452"/>
                    </a:lnTo>
                    <a:lnTo>
                      <a:pt x="102" y="452"/>
                    </a:lnTo>
                    <a:lnTo>
                      <a:pt x="104" y="452"/>
                    </a:lnTo>
                    <a:lnTo>
                      <a:pt x="106" y="450"/>
                    </a:lnTo>
                    <a:lnTo>
                      <a:pt x="108" y="448"/>
                    </a:lnTo>
                    <a:lnTo>
                      <a:pt x="112" y="448"/>
                    </a:lnTo>
                    <a:lnTo>
                      <a:pt x="114" y="446"/>
                    </a:lnTo>
                    <a:lnTo>
                      <a:pt x="118" y="446"/>
                    </a:lnTo>
                    <a:lnTo>
                      <a:pt x="120" y="448"/>
                    </a:lnTo>
                    <a:lnTo>
                      <a:pt x="124" y="448"/>
                    </a:lnTo>
                    <a:lnTo>
                      <a:pt x="130" y="448"/>
                    </a:lnTo>
                    <a:lnTo>
                      <a:pt x="132" y="446"/>
                    </a:lnTo>
                    <a:lnTo>
                      <a:pt x="134" y="446"/>
                    </a:lnTo>
                    <a:lnTo>
                      <a:pt x="140" y="446"/>
                    </a:lnTo>
                    <a:lnTo>
                      <a:pt x="142" y="446"/>
                    </a:lnTo>
                    <a:lnTo>
                      <a:pt x="144" y="446"/>
                    </a:lnTo>
                    <a:lnTo>
                      <a:pt x="146" y="446"/>
                    </a:lnTo>
                    <a:lnTo>
                      <a:pt x="148" y="448"/>
                    </a:lnTo>
                    <a:lnTo>
                      <a:pt x="152" y="448"/>
                    </a:lnTo>
                    <a:lnTo>
                      <a:pt x="154" y="446"/>
                    </a:lnTo>
                    <a:lnTo>
                      <a:pt x="156" y="446"/>
                    </a:lnTo>
                    <a:lnTo>
                      <a:pt x="156" y="440"/>
                    </a:lnTo>
                    <a:lnTo>
                      <a:pt x="158" y="440"/>
                    </a:lnTo>
                    <a:lnTo>
                      <a:pt x="160" y="438"/>
                    </a:lnTo>
                    <a:lnTo>
                      <a:pt x="164" y="436"/>
                    </a:lnTo>
                    <a:lnTo>
                      <a:pt x="164" y="434"/>
                    </a:lnTo>
                    <a:lnTo>
                      <a:pt x="164" y="432"/>
                    </a:lnTo>
                    <a:lnTo>
                      <a:pt x="168" y="426"/>
                    </a:lnTo>
                    <a:lnTo>
                      <a:pt x="168" y="424"/>
                    </a:lnTo>
                    <a:lnTo>
                      <a:pt x="172" y="422"/>
                    </a:lnTo>
                    <a:lnTo>
                      <a:pt x="176" y="422"/>
                    </a:lnTo>
                    <a:lnTo>
                      <a:pt x="178" y="420"/>
                    </a:lnTo>
                    <a:lnTo>
                      <a:pt x="190" y="420"/>
                    </a:lnTo>
                    <a:lnTo>
                      <a:pt x="192" y="420"/>
                    </a:lnTo>
                    <a:lnTo>
                      <a:pt x="194" y="418"/>
                    </a:lnTo>
                    <a:lnTo>
                      <a:pt x="198" y="418"/>
                    </a:lnTo>
                    <a:lnTo>
                      <a:pt x="202" y="416"/>
                    </a:lnTo>
                    <a:lnTo>
                      <a:pt x="204" y="414"/>
                    </a:lnTo>
                    <a:lnTo>
                      <a:pt x="206" y="414"/>
                    </a:lnTo>
                    <a:lnTo>
                      <a:pt x="210" y="412"/>
                    </a:lnTo>
                    <a:lnTo>
                      <a:pt x="212" y="412"/>
                    </a:lnTo>
                    <a:lnTo>
                      <a:pt x="214" y="412"/>
                    </a:lnTo>
                    <a:lnTo>
                      <a:pt x="216" y="412"/>
                    </a:lnTo>
                    <a:lnTo>
                      <a:pt x="218" y="412"/>
                    </a:lnTo>
                    <a:lnTo>
                      <a:pt x="220" y="414"/>
                    </a:lnTo>
                    <a:lnTo>
                      <a:pt x="222" y="414"/>
                    </a:lnTo>
                    <a:lnTo>
                      <a:pt x="226" y="416"/>
                    </a:lnTo>
                    <a:lnTo>
                      <a:pt x="228" y="414"/>
                    </a:lnTo>
                    <a:lnTo>
                      <a:pt x="232" y="414"/>
                    </a:lnTo>
                    <a:lnTo>
                      <a:pt x="236" y="412"/>
                    </a:lnTo>
                    <a:lnTo>
                      <a:pt x="240" y="410"/>
                    </a:lnTo>
                    <a:lnTo>
                      <a:pt x="244" y="408"/>
                    </a:lnTo>
                    <a:lnTo>
                      <a:pt x="248" y="404"/>
                    </a:lnTo>
                    <a:lnTo>
                      <a:pt x="252" y="402"/>
                    </a:lnTo>
                    <a:lnTo>
                      <a:pt x="256" y="402"/>
                    </a:lnTo>
                    <a:lnTo>
                      <a:pt x="258" y="400"/>
                    </a:lnTo>
                    <a:lnTo>
                      <a:pt x="262" y="400"/>
                    </a:lnTo>
                    <a:lnTo>
                      <a:pt x="264" y="400"/>
                    </a:lnTo>
                    <a:lnTo>
                      <a:pt x="270" y="400"/>
                    </a:lnTo>
                    <a:lnTo>
                      <a:pt x="276" y="400"/>
                    </a:lnTo>
                    <a:lnTo>
                      <a:pt x="282" y="398"/>
                    </a:lnTo>
                    <a:lnTo>
                      <a:pt x="292" y="398"/>
                    </a:lnTo>
                    <a:lnTo>
                      <a:pt x="294" y="396"/>
                    </a:lnTo>
                    <a:lnTo>
                      <a:pt x="296" y="396"/>
                    </a:lnTo>
                    <a:lnTo>
                      <a:pt x="296" y="398"/>
                    </a:lnTo>
                    <a:lnTo>
                      <a:pt x="298" y="398"/>
                    </a:lnTo>
                    <a:lnTo>
                      <a:pt x="300" y="400"/>
                    </a:lnTo>
                    <a:lnTo>
                      <a:pt x="302" y="402"/>
                    </a:lnTo>
                    <a:lnTo>
                      <a:pt x="306" y="404"/>
                    </a:lnTo>
                    <a:lnTo>
                      <a:pt x="308" y="406"/>
                    </a:lnTo>
                    <a:lnTo>
                      <a:pt x="312" y="406"/>
                    </a:lnTo>
                    <a:lnTo>
                      <a:pt x="314" y="408"/>
                    </a:lnTo>
                    <a:lnTo>
                      <a:pt x="316" y="408"/>
                    </a:lnTo>
                    <a:lnTo>
                      <a:pt x="318" y="406"/>
                    </a:lnTo>
                    <a:lnTo>
                      <a:pt x="320" y="406"/>
                    </a:lnTo>
                    <a:lnTo>
                      <a:pt x="320" y="408"/>
                    </a:lnTo>
                    <a:lnTo>
                      <a:pt x="322" y="412"/>
                    </a:lnTo>
                    <a:lnTo>
                      <a:pt x="324" y="414"/>
                    </a:lnTo>
                    <a:lnTo>
                      <a:pt x="326" y="414"/>
                    </a:lnTo>
                    <a:lnTo>
                      <a:pt x="326" y="412"/>
                    </a:lnTo>
                    <a:lnTo>
                      <a:pt x="328" y="412"/>
                    </a:lnTo>
                    <a:lnTo>
                      <a:pt x="328" y="416"/>
                    </a:lnTo>
                    <a:lnTo>
                      <a:pt x="330" y="418"/>
                    </a:lnTo>
                    <a:lnTo>
                      <a:pt x="332" y="418"/>
                    </a:lnTo>
                    <a:lnTo>
                      <a:pt x="334" y="418"/>
                    </a:lnTo>
                    <a:lnTo>
                      <a:pt x="334" y="420"/>
                    </a:lnTo>
                    <a:lnTo>
                      <a:pt x="334" y="422"/>
                    </a:lnTo>
                    <a:lnTo>
                      <a:pt x="332" y="424"/>
                    </a:lnTo>
                    <a:lnTo>
                      <a:pt x="330" y="426"/>
                    </a:lnTo>
                    <a:lnTo>
                      <a:pt x="330" y="428"/>
                    </a:lnTo>
                    <a:lnTo>
                      <a:pt x="328" y="430"/>
                    </a:lnTo>
                    <a:lnTo>
                      <a:pt x="330" y="434"/>
                    </a:lnTo>
                    <a:lnTo>
                      <a:pt x="332" y="436"/>
                    </a:lnTo>
                    <a:lnTo>
                      <a:pt x="332" y="438"/>
                    </a:lnTo>
                    <a:lnTo>
                      <a:pt x="334" y="436"/>
                    </a:lnTo>
                    <a:lnTo>
                      <a:pt x="336" y="434"/>
                    </a:lnTo>
                    <a:lnTo>
                      <a:pt x="338" y="438"/>
                    </a:lnTo>
                    <a:lnTo>
                      <a:pt x="338" y="440"/>
                    </a:lnTo>
                    <a:lnTo>
                      <a:pt x="340" y="442"/>
                    </a:lnTo>
                    <a:lnTo>
                      <a:pt x="340" y="444"/>
                    </a:lnTo>
                    <a:lnTo>
                      <a:pt x="342" y="446"/>
                    </a:lnTo>
                    <a:lnTo>
                      <a:pt x="342" y="448"/>
                    </a:lnTo>
                    <a:lnTo>
                      <a:pt x="344" y="454"/>
                    </a:lnTo>
                    <a:lnTo>
                      <a:pt x="344" y="456"/>
                    </a:lnTo>
                    <a:lnTo>
                      <a:pt x="344" y="458"/>
                    </a:lnTo>
                    <a:lnTo>
                      <a:pt x="342" y="458"/>
                    </a:lnTo>
                    <a:lnTo>
                      <a:pt x="340" y="458"/>
                    </a:lnTo>
                    <a:lnTo>
                      <a:pt x="338" y="458"/>
                    </a:lnTo>
                    <a:lnTo>
                      <a:pt x="334" y="458"/>
                    </a:lnTo>
                    <a:lnTo>
                      <a:pt x="336" y="460"/>
                    </a:lnTo>
                    <a:lnTo>
                      <a:pt x="336" y="462"/>
                    </a:lnTo>
                    <a:lnTo>
                      <a:pt x="336" y="464"/>
                    </a:lnTo>
                    <a:lnTo>
                      <a:pt x="336" y="466"/>
                    </a:lnTo>
                    <a:lnTo>
                      <a:pt x="342" y="466"/>
                    </a:lnTo>
                    <a:lnTo>
                      <a:pt x="344" y="466"/>
                    </a:lnTo>
                    <a:lnTo>
                      <a:pt x="346" y="468"/>
                    </a:lnTo>
                    <a:lnTo>
                      <a:pt x="350" y="468"/>
                    </a:lnTo>
                    <a:lnTo>
                      <a:pt x="350" y="466"/>
                    </a:lnTo>
                    <a:lnTo>
                      <a:pt x="350" y="464"/>
                    </a:lnTo>
                    <a:lnTo>
                      <a:pt x="350" y="456"/>
                    </a:lnTo>
                    <a:lnTo>
                      <a:pt x="352" y="454"/>
                    </a:lnTo>
                    <a:lnTo>
                      <a:pt x="354" y="454"/>
                    </a:lnTo>
                    <a:lnTo>
                      <a:pt x="356" y="452"/>
                    </a:lnTo>
                    <a:lnTo>
                      <a:pt x="360" y="450"/>
                    </a:lnTo>
                    <a:lnTo>
                      <a:pt x="362" y="450"/>
                    </a:lnTo>
                    <a:lnTo>
                      <a:pt x="364" y="448"/>
                    </a:lnTo>
                    <a:lnTo>
                      <a:pt x="366" y="446"/>
                    </a:lnTo>
                    <a:lnTo>
                      <a:pt x="368" y="444"/>
                    </a:lnTo>
                    <a:lnTo>
                      <a:pt x="370" y="442"/>
                    </a:lnTo>
                    <a:lnTo>
                      <a:pt x="372" y="438"/>
                    </a:lnTo>
                    <a:lnTo>
                      <a:pt x="372" y="436"/>
                    </a:lnTo>
                    <a:lnTo>
                      <a:pt x="374" y="438"/>
                    </a:lnTo>
                    <a:lnTo>
                      <a:pt x="378" y="438"/>
                    </a:lnTo>
                    <a:lnTo>
                      <a:pt x="378" y="436"/>
                    </a:lnTo>
                    <a:lnTo>
                      <a:pt x="380" y="432"/>
                    </a:lnTo>
                    <a:lnTo>
                      <a:pt x="382" y="430"/>
                    </a:lnTo>
                    <a:lnTo>
                      <a:pt x="382" y="428"/>
                    </a:lnTo>
                    <a:lnTo>
                      <a:pt x="382" y="426"/>
                    </a:lnTo>
                    <a:lnTo>
                      <a:pt x="384" y="426"/>
                    </a:lnTo>
                    <a:lnTo>
                      <a:pt x="384" y="424"/>
                    </a:lnTo>
                    <a:lnTo>
                      <a:pt x="388" y="424"/>
                    </a:lnTo>
                    <a:lnTo>
                      <a:pt x="390" y="424"/>
                    </a:lnTo>
                    <a:lnTo>
                      <a:pt x="394" y="424"/>
                    </a:lnTo>
                    <a:lnTo>
                      <a:pt x="394" y="422"/>
                    </a:lnTo>
                    <a:lnTo>
                      <a:pt x="396" y="420"/>
                    </a:lnTo>
                    <a:lnTo>
                      <a:pt x="396" y="418"/>
                    </a:lnTo>
                    <a:lnTo>
                      <a:pt x="396" y="416"/>
                    </a:lnTo>
                    <a:lnTo>
                      <a:pt x="398" y="414"/>
                    </a:lnTo>
                    <a:lnTo>
                      <a:pt x="398" y="416"/>
                    </a:lnTo>
                    <a:lnTo>
                      <a:pt x="398" y="418"/>
                    </a:lnTo>
                    <a:lnTo>
                      <a:pt x="400" y="422"/>
                    </a:lnTo>
                    <a:lnTo>
                      <a:pt x="400" y="424"/>
                    </a:lnTo>
                    <a:lnTo>
                      <a:pt x="398" y="426"/>
                    </a:lnTo>
                    <a:lnTo>
                      <a:pt x="392" y="430"/>
                    </a:lnTo>
                    <a:lnTo>
                      <a:pt x="390" y="432"/>
                    </a:lnTo>
                    <a:lnTo>
                      <a:pt x="388" y="432"/>
                    </a:lnTo>
                    <a:lnTo>
                      <a:pt x="386" y="432"/>
                    </a:lnTo>
                    <a:lnTo>
                      <a:pt x="386" y="434"/>
                    </a:lnTo>
                    <a:lnTo>
                      <a:pt x="384" y="434"/>
                    </a:lnTo>
                    <a:lnTo>
                      <a:pt x="386" y="438"/>
                    </a:lnTo>
                    <a:lnTo>
                      <a:pt x="388" y="440"/>
                    </a:lnTo>
                    <a:lnTo>
                      <a:pt x="388" y="442"/>
                    </a:lnTo>
                    <a:lnTo>
                      <a:pt x="388" y="444"/>
                    </a:lnTo>
                    <a:lnTo>
                      <a:pt x="386" y="444"/>
                    </a:lnTo>
                    <a:lnTo>
                      <a:pt x="384" y="446"/>
                    </a:lnTo>
                    <a:lnTo>
                      <a:pt x="382" y="446"/>
                    </a:lnTo>
                    <a:lnTo>
                      <a:pt x="380" y="448"/>
                    </a:lnTo>
                    <a:lnTo>
                      <a:pt x="378" y="450"/>
                    </a:lnTo>
                    <a:lnTo>
                      <a:pt x="376" y="452"/>
                    </a:lnTo>
                    <a:lnTo>
                      <a:pt x="374" y="454"/>
                    </a:lnTo>
                    <a:lnTo>
                      <a:pt x="374" y="456"/>
                    </a:lnTo>
                    <a:lnTo>
                      <a:pt x="372" y="456"/>
                    </a:lnTo>
                    <a:lnTo>
                      <a:pt x="372" y="460"/>
                    </a:lnTo>
                    <a:lnTo>
                      <a:pt x="370" y="462"/>
                    </a:lnTo>
                    <a:lnTo>
                      <a:pt x="368" y="464"/>
                    </a:lnTo>
                    <a:lnTo>
                      <a:pt x="368" y="466"/>
                    </a:lnTo>
                    <a:lnTo>
                      <a:pt x="366" y="466"/>
                    </a:lnTo>
                    <a:lnTo>
                      <a:pt x="364" y="468"/>
                    </a:lnTo>
                    <a:lnTo>
                      <a:pt x="362" y="468"/>
                    </a:lnTo>
                    <a:lnTo>
                      <a:pt x="360" y="470"/>
                    </a:lnTo>
                    <a:lnTo>
                      <a:pt x="362" y="472"/>
                    </a:lnTo>
                    <a:lnTo>
                      <a:pt x="368" y="472"/>
                    </a:lnTo>
                    <a:lnTo>
                      <a:pt x="370" y="470"/>
                    </a:lnTo>
                    <a:lnTo>
                      <a:pt x="372" y="470"/>
                    </a:lnTo>
                    <a:lnTo>
                      <a:pt x="374" y="470"/>
                    </a:lnTo>
                    <a:lnTo>
                      <a:pt x="378" y="468"/>
                    </a:lnTo>
                    <a:lnTo>
                      <a:pt x="378" y="466"/>
                    </a:lnTo>
                    <a:lnTo>
                      <a:pt x="380" y="462"/>
                    </a:lnTo>
                    <a:lnTo>
                      <a:pt x="382" y="460"/>
                    </a:lnTo>
                    <a:lnTo>
                      <a:pt x="382" y="458"/>
                    </a:lnTo>
                    <a:lnTo>
                      <a:pt x="384" y="458"/>
                    </a:lnTo>
                    <a:lnTo>
                      <a:pt x="386" y="454"/>
                    </a:lnTo>
                    <a:lnTo>
                      <a:pt x="388" y="454"/>
                    </a:lnTo>
                    <a:lnTo>
                      <a:pt x="390" y="452"/>
                    </a:lnTo>
                    <a:lnTo>
                      <a:pt x="390" y="458"/>
                    </a:lnTo>
                    <a:lnTo>
                      <a:pt x="390" y="460"/>
                    </a:lnTo>
                    <a:lnTo>
                      <a:pt x="390" y="462"/>
                    </a:lnTo>
                    <a:lnTo>
                      <a:pt x="392" y="464"/>
                    </a:lnTo>
                    <a:lnTo>
                      <a:pt x="390" y="466"/>
                    </a:lnTo>
                    <a:lnTo>
                      <a:pt x="390" y="468"/>
                    </a:lnTo>
                    <a:lnTo>
                      <a:pt x="386" y="470"/>
                    </a:lnTo>
                    <a:lnTo>
                      <a:pt x="384" y="472"/>
                    </a:lnTo>
                    <a:lnTo>
                      <a:pt x="382" y="472"/>
                    </a:lnTo>
                    <a:lnTo>
                      <a:pt x="382" y="478"/>
                    </a:lnTo>
                    <a:lnTo>
                      <a:pt x="384" y="478"/>
                    </a:lnTo>
                    <a:lnTo>
                      <a:pt x="386" y="480"/>
                    </a:lnTo>
                    <a:lnTo>
                      <a:pt x="388" y="480"/>
                    </a:lnTo>
                    <a:lnTo>
                      <a:pt x="390" y="480"/>
                    </a:lnTo>
                    <a:lnTo>
                      <a:pt x="396" y="480"/>
                    </a:lnTo>
                    <a:lnTo>
                      <a:pt x="396" y="482"/>
                    </a:lnTo>
                    <a:lnTo>
                      <a:pt x="398" y="482"/>
                    </a:lnTo>
                    <a:lnTo>
                      <a:pt x="394" y="486"/>
                    </a:lnTo>
                    <a:lnTo>
                      <a:pt x="392" y="486"/>
                    </a:lnTo>
                    <a:lnTo>
                      <a:pt x="392" y="490"/>
                    </a:lnTo>
                    <a:lnTo>
                      <a:pt x="394" y="492"/>
                    </a:lnTo>
                    <a:lnTo>
                      <a:pt x="396" y="494"/>
                    </a:lnTo>
                    <a:lnTo>
                      <a:pt x="398" y="498"/>
                    </a:lnTo>
                    <a:lnTo>
                      <a:pt x="398" y="500"/>
                    </a:lnTo>
                    <a:lnTo>
                      <a:pt x="398" y="502"/>
                    </a:lnTo>
                    <a:lnTo>
                      <a:pt x="398" y="504"/>
                    </a:lnTo>
                    <a:lnTo>
                      <a:pt x="396" y="506"/>
                    </a:lnTo>
                    <a:lnTo>
                      <a:pt x="394" y="508"/>
                    </a:lnTo>
                    <a:lnTo>
                      <a:pt x="392" y="512"/>
                    </a:lnTo>
                    <a:lnTo>
                      <a:pt x="390" y="514"/>
                    </a:lnTo>
                    <a:lnTo>
                      <a:pt x="388" y="516"/>
                    </a:lnTo>
                    <a:lnTo>
                      <a:pt x="388" y="518"/>
                    </a:lnTo>
                    <a:lnTo>
                      <a:pt x="390" y="520"/>
                    </a:lnTo>
                    <a:lnTo>
                      <a:pt x="392" y="522"/>
                    </a:lnTo>
                    <a:lnTo>
                      <a:pt x="392" y="524"/>
                    </a:lnTo>
                    <a:lnTo>
                      <a:pt x="396" y="526"/>
                    </a:lnTo>
                    <a:lnTo>
                      <a:pt x="398" y="528"/>
                    </a:lnTo>
                    <a:lnTo>
                      <a:pt x="400" y="528"/>
                    </a:lnTo>
                    <a:lnTo>
                      <a:pt x="402" y="530"/>
                    </a:lnTo>
                    <a:lnTo>
                      <a:pt x="402" y="532"/>
                    </a:lnTo>
                    <a:lnTo>
                      <a:pt x="404" y="532"/>
                    </a:lnTo>
                    <a:lnTo>
                      <a:pt x="410" y="538"/>
                    </a:lnTo>
                    <a:lnTo>
                      <a:pt x="412" y="538"/>
                    </a:lnTo>
                    <a:lnTo>
                      <a:pt x="418" y="538"/>
                    </a:lnTo>
                    <a:lnTo>
                      <a:pt x="422" y="538"/>
                    </a:lnTo>
                    <a:lnTo>
                      <a:pt x="426" y="538"/>
                    </a:lnTo>
                    <a:lnTo>
                      <a:pt x="428" y="538"/>
                    </a:lnTo>
                    <a:lnTo>
                      <a:pt x="430" y="540"/>
                    </a:lnTo>
                    <a:lnTo>
                      <a:pt x="432" y="542"/>
                    </a:lnTo>
                    <a:lnTo>
                      <a:pt x="434" y="542"/>
                    </a:lnTo>
                    <a:lnTo>
                      <a:pt x="434" y="544"/>
                    </a:lnTo>
                    <a:lnTo>
                      <a:pt x="436" y="544"/>
                    </a:lnTo>
                    <a:lnTo>
                      <a:pt x="440" y="546"/>
                    </a:lnTo>
                    <a:lnTo>
                      <a:pt x="444" y="546"/>
                    </a:lnTo>
                    <a:lnTo>
                      <a:pt x="446" y="544"/>
                    </a:lnTo>
                    <a:lnTo>
                      <a:pt x="450" y="542"/>
                    </a:lnTo>
                    <a:lnTo>
                      <a:pt x="454" y="542"/>
                    </a:lnTo>
                    <a:lnTo>
                      <a:pt x="458" y="540"/>
                    </a:lnTo>
                    <a:lnTo>
                      <a:pt x="458" y="538"/>
                    </a:lnTo>
                    <a:lnTo>
                      <a:pt x="460" y="538"/>
                    </a:lnTo>
                    <a:lnTo>
                      <a:pt x="462" y="536"/>
                    </a:lnTo>
                    <a:lnTo>
                      <a:pt x="464" y="536"/>
                    </a:lnTo>
                    <a:lnTo>
                      <a:pt x="462" y="534"/>
                    </a:lnTo>
                    <a:lnTo>
                      <a:pt x="462" y="532"/>
                    </a:lnTo>
                    <a:lnTo>
                      <a:pt x="464" y="530"/>
                    </a:lnTo>
                    <a:lnTo>
                      <a:pt x="464" y="528"/>
                    </a:lnTo>
                    <a:lnTo>
                      <a:pt x="466" y="528"/>
                    </a:lnTo>
                    <a:lnTo>
                      <a:pt x="466" y="526"/>
                    </a:lnTo>
                    <a:lnTo>
                      <a:pt x="468" y="526"/>
                    </a:lnTo>
                    <a:lnTo>
                      <a:pt x="468" y="528"/>
                    </a:lnTo>
                    <a:lnTo>
                      <a:pt x="470" y="528"/>
                    </a:lnTo>
                    <a:lnTo>
                      <a:pt x="470" y="530"/>
                    </a:lnTo>
                    <a:lnTo>
                      <a:pt x="470" y="532"/>
                    </a:lnTo>
                    <a:lnTo>
                      <a:pt x="470" y="538"/>
                    </a:lnTo>
                    <a:lnTo>
                      <a:pt x="472" y="536"/>
                    </a:lnTo>
                    <a:lnTo>
                      <a:pt x="474" y="536"/>
                    </a:lnTo>
                    <a:lnTo>
                      <a:pt x="472" y="540"/>
                    </a:lnTo>
                    <a:lnTo>
                      <a:pt x="472" y="542"/>
                    </a:lnTo>
                    <a:lnTo>
                      <a:pt x="476" y="542"/>
                    </a:lnTo>
                    <a:lnTo>
                      <a:pt x="476" y="544"/>
                    </a:lnTo>
                    <a:lnTo>
                      <a:pt x="478" y="548"/>
                    </a:lnTo>
                    <a:lnTo>
                      <a:pt x="478" y="550"/>
                    </a:lnTo>
                    <a:lnTo>
                      <a:pt x="480" y="552"/>
                    </a:lnTo>
                    <a:lnTo>
                      <a:pt x="484" y="552"/>
                    </a:lnTo>
                    <a:lnTo>
                      <a:pt x="484" y="550"/>
                    </a:lnTo>
                    <a:lnTo>
                      <a:pt x="484" y="548"/>
                    </a:lnTo>
                    <a:lnTo>
                      <a:pt x="486" y="548"/>
                    </a:lnTo>
                    <a:lnTo>
                      <a:pt x="488" y="546"/>
                    </a:lnTo>
                    <a:lnTo>
                      <a:pt x="492" y="546"/>
                    </a:lnTo>
                    <a:lnTo>
                      <a:pt x="494" y="544"/>
                    </a:lnTo>
                    <a:lnTo>
                      <a:pt x="496" y="544"/>
                    </a:lnTo>
                    <a:lnTo>
                      <a:pt x="496" y="542"/>
                    </a:lnTo>
                    <a:lnTo>
                      <a:pt x="498" y="542"/>
                    </a:lnTo>
                    <a:lnTo>
                      <a:pt x="500" y="540"/>
                    </a:lnTo>
                    <a:lnTo>
                      <a:pt x="504" y="538"/>
                    </a:lnTo>
                    <a:lnTo>
                      <a:pt x="506" y="536"/>
                    </a:lnTo>
                    <a:lnTo>
                      <a:pt x="510" y="534"/>
                    </a:lnTo>
                    <a:lnTo>
                      <a:pt x="512" y="532"/>
                    </a:lnTo>
                    <a:lnTo>
                      <a:pt x="512" y="530"/>
                    </a:lnTo>
                    <a:lnTo>
                      <a:pt x="514" y="530"/>
                    </a:lnTo>
                    <a:lnTo>
                      <a:pt x="514" y="528"/>
                    </a:lnTo>
                    <a:lnTo>
                      <a:pt x="512" y="526"/>
                    </a:lnTo>
                    <a:lnTo>
                      <a:pt x="516" y="526"/>
                    </a:lnTo>
                    <a:lnTo>
                      <a:pt x="518" y="526"/>
                    </a:lnTo>
                    <a:lnTo>
                      <a:pt x="520" y="524"/>
                    </a:lnTo>
                    <a:lnTo>
                      <a:pt x="522" y="524"/>
                    </a:lnTo>
                    <a:lnTo>
                      <a:pt x="524" y="526"/>
                    </a:lnTo>
                    <a:lnTo>
                      <a:pt x="524" y="528"/>
                    </a:lnTo>
                    <a:lnTo>
                      <a:pt x="528" y="528"/>
                    </a:lnTo>
                    <a:lnTo>
                      <a:pt x="530" y="526"/>
                    </a:lnTo>
                    <a:lnTo>
                      <a:pt x="534" y="526"/>
                    </a:lnTo>
                    <a:lnTo>
                      <a:pt x="536" y="524"/>
                    </a:lnTo>
                    <a:lnTo>
                      <a:pt x="540" y="524"/>
                    </a:lnTo>
                    <a:lnTo>
                      <a:pt x="544" y="522"/>
                    </a:lnTo>
                    <a:lnTo>
                      <a:pt x="548" y="522"/>
                    </a:lnTo>
                    <a:lnTo>
                      <a:pt x="550" y="520"/>
                    </a:lnTo>
                    <a:lnTo>
                      <a:pt x="552" y="518"/>
                    </a:lnTo>
                    <a:lnTo>
                      <a:pt x="554" y="514"/>
                    </a:lnTo>
                    <a:lnTo>
                      <a:pt x="554" y="512"/>
                    </a:lnTo>
                    <a:lnTo>
                      <a:pt x="556" y="504"/>
                    </a:lnTo>
                    <a:lnTo>
                      <a:pt x="556" y="500"/>
                    </a:lnTo>
                    <a:lnTo>
                      <a:pt x="558" y="500"/>
                    </a:lnTo>
                    <a:lnTo>
                      <a:pt x="558" y="498"/>
                    </a:lnTo>
                    <a:lnTo>
                      <a:pt x="558" y="496"/>
                    </a:lnTo>
                    <a:lnTo>
                      <a:pt x="560" y="496"/>
                    </a:lnTo>
                    <a:lnTo>
                      <a:pt x="560" y="494"/>
                    </a:lnTo>
                    <a:lnTo>
                      <a:pt x="562" y="494"/>
                    </a:lnTo>
                    <a:lnTo>
                      <a:pt x="566" y="490"/>
                    </a:lnTo>
                    <a:lnTo>
                      <a:pt x="568" y="490"/>
                    </a:lnTo>
                    <a:lnTo>
                      <a:pt x="568" y="484"/>
                    </a:lnTo>
                    <a:lnTo>
                      <a:pt x="570" y="484"/>
                    </a:lnTo>
                    <a:lnTo>
                      <a:pt x="570" y="482"/>
                    </a:lnTo>
                    <a:lnTo>
                      <a:pt x="574" y="480"/>
                    </a:lnTo>
                    <a:lnTo>
                      <a:pt x="576" y="478"/>
                    </a:lnTo>
                    <a:lnTo>
                      <a:pt x="578" y="476"/>
                    </a:lnTo>
                    <a:lnTo>
                      <a:pt x="580" y="472"/>
                    </a:lnTo>
                    <a:lnTo>
                      <a:pt x="582" y="470"/>
                    </a:lnTo>
                    <a:lnTo>
                      <a:pt x="582" y="466"/>
                    </a:lnTo>
                    <a:lnTo>
                      <a:pt x="584" y="464"/>
                    </a:lnTo>
                    <a:lnTo>
                      <a:pt x="584" y="460"/>
                    </a:lnTo>
                    <a:lnTo>
                      <a:pt x="584" y="458"/>
                    </a:lnTo>
                    <a:lnTo>
                      <a:pt x="586" y="456"/>
                    </a:lnTo>
                    <a:lnTo>
                      <a:pt x="586" y="454"/>
                    </a:lnTo>
                    <a:lnTo>
                      <a:pt x="588" y="452"/>
                    </a:lnTo>
                    <a:lnTo>
                      <a:pt x="598" y="444"/>
                    </a:lnTo>
                    <a:lnTo>
                      <a:pt x="600" y="440"/>
                    </a:lnTo>
                    <a:lnTo>
                      <a:pt x="604" y="438"/>
                    </a:lnTo>
                    <a:lnTo>
                      <a:pt x="606" y="436"/>
                    </a:lnTo>
                    <a:lnTo>
                      <a:pt x="608" y="434"/>
                    </a:lnTo>
                    <a:lnTo>
                      <a:pt x="608" y="432"/>
                    </a:lnTo>
                    <a:lnTo>
                      <a:pt x="608" y="430"/>
                    </a:lnTo>
                    <a:lnTo>
                      <a:pt x="610" y="426"/>
                    </a:lnTo>
                    <a:lnTo>
                      <a:pt x="610" y="424"/>
                    </a:lnTo>
                    <a:lnTo>
                      <a:pt x="616" y="424"/>
                    </a:lnTo>
                    <a:lnTo>
                      <a:pt x="620" y="422"/>
                    </a:lnTo>
                    <a:lnTo>
                      <a:pt x="622" y="422"/>
                    </a:lnTo>
                    <a:lnTo>
                      <a:pt x="622" y="420"/>
                    </a:lnTo>
                    <a:lnTo>
                      <a:pt x="624" y="420"/>
                    </a:lnTo>
                    <a:lnTo>
                      <a:pt x="624" y="418"/>
                    </a:lnTo>
                    <a:lnTo>
                      <a:pt x="626" y="416"/>
                    </a:lnTo>
                    <a:lnTo>
                      <a:pt x="630" y="412"/>
                    </a:lnTo>
                    <a:lnTo>
                      <a:pt x="632" y="408"/>
                    </a:lnTo>
                    <a:lnTo>
                      <a:pt x="636" y="402"/>
                    </a:lnTo>
                    <a:lnTo>
                      <a:pt x="640" y="400"/>
                    </a:lnTo>
                    <a:lnTo>
                      <a:pt x="640" y="398"/>
                    </a:lnTo>
                    <a:lnTo>
                      <a:pt x="642" y="396"/>
                    </a:lnTo>
                    <a:lnTo>
                      <a:pt x="642" y="394"/>
                    </a:lnTo>
                    <a:lnTo>
                      <a:pt x="644" y="394"/>
                    </a:lnTo>
                    <a:lnTo>
                      <a:pt x="644" y="390"/>
                    </a:lnTo>
                    <a:lnTo>
                      <a:pt x="644" y="386"/>
                    </a:lnTo>
                    <a:lnTo>
                      <a:pt x="644" y="384"/>
                    </a:lnTo>
                    <a:lnTo>
                      <a:pt x="646" y="382"/>
                    </a:lnTo>
                    <a:lnTo>
                      <a:pt x="646" y="380"/>
                    </a:lnTo>
                    <a:lnTo>
                      <a:pt x="648" y="378"/>
                    </a:lnTo>
                    <a:lnTo>
                      <a:pt x="650" y="376"/>
                    </a:lnTo>
                    <a:lnTo>
                      <a:pt x="652" y="372"/>
                    </a:lnTo>
                    <a:lnTo>
                      <a:pt x="654" y="370"/>
                    </a:lnTo>
                    <a:lnTo>
                      <a:pt x="656" y="368"/>
                    </a:lnTo>
                    <a:lnTo>
                      <a:pt x="658" y="360"/>
                    </a:lnTo>
                    <a:lnTo>
                      <a:pt x="662" y="354"/>
                    </a:lnTo>
                    <a:lnTo>
                      <a:pt x="662" y="352"/>
                    </a:lnTo>
                    <a:lnTo>
                      <a:pt x="664" y="348"/>
                    </a:lnTo>
                    <a:lnTo>
                      <a:pt x="666" y="346"/>
                    </a:lnTo>
                    <a:lnTo>
                      <a:pt x="668" y="344"/>
                    </a:lnTo>
                    <a:lnTo>
                      <a:pt x="668" y="342"/>
                    </a:lnTo>
                    <a:lnTo>
                      <a:pt x="670" y="340"/>
                    </a:lnTo>
                    <a:lnTo>
                      <a:pt x="670" y="338"/>
                    </a:lnTo>
                    <a:lnTo>
                      <a:pt x="670" y="332"/>
                    </a:lnTo>
                    <a:lnTo>
                      <a:pt x="670" y="330"/>
                    </a:lnTo>
                    <a:lnTo>
                      <a:pt x="668" y="328"/>
                    </a:lnTo>
                    <a:lnTo>
                      <a:pt x="668" y="326"/>
                    </a:lnTo>
                    <a:lnTo>
                      <a:pt x="668" y="324"/>
                    </a:lnTo>
                    <a:lnTo>
                      <a:pt x="668" y="322"/>
                    </a:lnTo>
                    <a:lnTo>
                      <a:pt x="668" y="320"/>
                    </a:lnTo>
                    <a:lnTo>
                      <a:pt x="668" y="318"/>
                    </a:lnTo>
                    <a:lnTo>
                      <a:pt x="670" y="316"/>
                    </a:lnTo>
                    <a:lnTo>
                      <a:pt x="672" y="310"/>
                    </a:lnTo>
                    <a:lnTo>
                      <a:pt x="674" y="306"/>
                    </a:lnTo>
                    <a:lnTo>
                      <a:pt x="676" y="306"/>
                    </a:lnTo>
                    <a:lnTo>
                      <a:pt x="676" y="284"/>
                    </a:lnTo>
                    <a:lnTo>
                      <a:pt x="674" y="282"/>
                    </a:lnTo>
                    <a:close/>
                    <a:moveTo>
                      <a:pt x="460" y="62"/>
                    </a:moveTo>
                    <a:lnTo>
                      <a:pt x="460" y="60"/>
                    </a:lnTo>
                    <a:lnTo>
                      <a:pt x="460" y="58"/>
                    </a:lnTo>
                    <a:lnTo>
                      <a:pt x="458" y="58"/>
                    </a:lnTo>
                    <a:lnTo>
                      <a:pt x="454" y="58"/>
                    </a:lnTo>
                    <a:lnTo>
                      <a:pt x="452" y="58"/>
                    </a:lnTo>
                    <a:lnTo>
                      <a:pt x="452" y="60"/>
                    </a:lnTo>
                    <a:lnTo>
                      <a:pt x="450" y="62"/>
                    </a:lnTo>
                    <a:lnTo>
                      <a:pt x="450" y="64"/>
                    </a:lnTo>
                    <a:lnTo>
                      <a:pt x="450" y="66"/>
                    </a:lnTo>
                    <a:lnTo>
                      <a:pt x="450" y="68"/>
                    </a:lnTo>
                    <a:lnTo>
                      <a:pt x="450" y="70"/>
                    </a:lnTo>
                    <a:lnTo>
                      <a:pt x="452" y="70"/>
                    </a:lnTo>
                    <a:lnTo>
                      <a:pt x="456" y="70"/>
                    </a:lnTo>
                    <a:lnTo>
                      <a:pt x="458" y="70"/>
                    </a:lnTo>
                    <a:lnTo>
                      <a:pt x="460" y="70"/>
                    </a:lnTo>
                    <a:lnTo>
                      <a:pt x="460" y="68"/>
                    </a:lnTo>
                    <a:lnTo>
                      <a:pt x="460" y="66"/>
                    </a:lnTo>
                    <a:lnTo>
                      <a:pt x="460" y="64"/>
                    </a:lnTo>
                    <a:lnTo>
                      <a:pt x="460" y="62"/>
                    </a:lnTo>
                    <a:close/>
                  </a:path>
                </a:pathLst>
              </a:custGeom>
              <a:grpFill/>
              <a:ln w="3175">
                <a:solidFill>
                  <a:schemeClr val="bg1"/>
                </a:solid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11" name="Freeform 220">
                <a:extLst>
                  <a:ext uri="{FF2B5EF4-FFF2-40B4-BE49-F238E27FC236}">
                    <a16:creationId xmlns:a16="http://schemas.microsoft.com/office/drawing/2014/main" id="{190F4F57-5753-42E5-A995-921DFBC69D57}"/>
                  </a:ext>
                </a:extLst>
              </p:cNvPr>
              <p:cNvSpPr>
                <a:spLocks noChangeAspect="1"/>
              </p:cNvSpPr>
              <p:nvPr/>
            </p:nvSpPr>
            <p:spPr bwMode="auto">
              <a:xfrm>
                <a:off x="7795143" y="2445352"/>
                <a:ext cx="203901" cy="272058"/>
              </a:xfrm>
              <a:custGeom>
                <a:avLst/>
                <a:gdLst/>
                <a:ahLst/>
                <a:cxnLst>
                  <a:cxn ang="0">
                    <a:pos x="106" y="132"/>
                  </a:cxn>
                  <a:cxn ang="0">
                    <a:pos x="100" y="128"/>
                  </a:cxn>
                  <a:cxn ang="0">
                    <a:pos x="88" y="116"/>
                  </a:cxn>
                  <a:cxn ang="0">
                    <a:pos x="84" y="100"/>
                  </a:cxn>
                  <a:cxn ang="0">
                    <a:pos x="80" y="98"/>
                  </a:cxn>
                  <a:cxn ang="0">
                    <a:pos x="80" y="94"/>
                  </a:cxn>
                  <a:cxn ang="0">
                    <a:pos x="92" y="96"/>
                  </a:cxn>
                  <a:cxn ang="0">
                    <a:pos x="112" y="104"/>
                  </a:cxn>
                  <a:cxn ang="0">
                    <a:pos x="104" y="96"/>
                  </a:cxn>
                  <a:cxn ang="0">
                    <a:pos x="96" y="92"/>
                  </a:cxn>
                  <a:cxn ang="0">
                    <a:pos x="92" y="88"/>
                  </a:cxn>
                  <a:cxn ang="0">
                    <a:pos x="82" y="76"/>
                  </a:cxn>
                  <a:cxn ang="0">
                    <a:pos x="72" y="68"/>
                  </a:cxn>
                  <a:cxn ang="0">
                    <a:pos x="58" y="54"/>
                  </a:cxn>
                  <a:cxn ang="0">
                    <a:pos x="54" y="52"/>
                  </a:cxn>
                  <a:cxn ang="0">
                    <a:pos x="50" y="48"/>
                  </a:cxn>
                  <a:cxn ang="0">
                    <a:pos x="50" y="46"/>
                  </a:cxn>
                  <a:cxn ang="0">
                    <a:pos x="44" y="46"/>
                  </a:cxn>
                  <a:cxn ang="0">
                    <a:pos x="36" y="34"/>
                  </a:cxn>
                  <a:cxn ang="0">
                    <a:pos x="34" y="26"/>
                  </a:cxn>
                  <a:cxn ang="0">
                    <a:pos x="28" y="24"/>
                  </a:cxn>
                  <a:cxn ang="0">
                    <a:pos x="24" y="20"/>
                  </a:cxn>
                  <a:cxn ang="0">
                    <a:pos x="22" y="16"/>
                  </a:cxn>
                  <a:cxn ang="0">
                    <a:pos x="12" y="10"/>
                  </a:cxn>
                  <a:cxn ang="0">
                    <a:pos x="10" y="4"/>
                  </a:cxn>
                  <a:cxn ang="0">
                    <a:pos x="8" y="2"/>
                  </a:cxn>
                  <a:cxn ang="0">
                    <a:pos x="0" y="0"/>
                  </a:cxn>
                  <a:cxn ang="0">
                    <a:pos x="6" y="8"/>
                  </a:cxn>
                  <a:cxn ang="0">
                    <a:pos x="12" y="14"/>
                  </a:cxn>
                  <a:cxn ang="0">
                    <a:pos x="6" y="14"/>
                  </a:cxn>
                  <a:cxn ang="0">
                    <a:pos x="6" y="20"/>
                  </a:cxn>
                  <a:cxn ang="0">
                    <a:pos x="12" y="32"/>
                  </a:cxn>
                  <a:cxn ang="0">
                    <a:pos x="18" y="38"/>
                  </a:cxn>
                  <a:cxn ang="0">
                    <a:pos x="28" y="46"/>
                  </a:cxn>
                  <a:cxn ang="0">
                    <a:pos x="42" y="58"/>
                  </a:cxn>
                  <a:cxn ang="0">
                    <a:pos x="52" y="76"/>
                  </a:cxn>
                  <a:cxn ang="0">
                    <a:pos x="60" y="90"/>
                  </a:cxn>
                  <a:cxn ang="0">
                    <a:pos x="66" y="100"/>
                  </a:cxn>
                  <a:cxn ang="0">
                    <a:pos x="68" y="104"/>
                  </a:cxn>
                  <a:cxn ang="0">
                    <a:pos x="76" y="108"/>
                  </a:cxn>
                  <a:cxn ang="0">
                    <a:pos x="84" y="120"/>
                  </a:cxn>
                  <a:cxn ang="0">
                    <a:pos x="90" y="130"/>
                  </a:cxn>
                  <a:cxn ang="0">
                    <a:pos x="94" y="136"/>
                  </a:cxn>
                  <a:cxn ang="0">
                    <a:pos x="98" y="146"/>
                  </a:cxn>
                  <a:cxn ang="0">
                    <a:pos x="104" y="154"/>
                  </a:cxn>
                  <a:cxn ang="0">
                    <a:pos x="106" y="154"/>
                  </a:cxn>
                  <a:cxn ang="0">
                    <a:pos x="104" y="144"/>
                  </a:cxn>
                  <a:cxn ang="0">
                    <a:pos x="108" y="142"/>
                  </a:cxn>
                  <a:cxn ang="0">
                    <a:pos x="116" y="144"/>
                  </a:cxn>
                  <a:cxn ang="0">
                    <a:pos x="122" y="150"/>
                  </a:cxn>
                  <a:cxn ang="0">
                    <a:pos x="124" y="150"/>
                  </a:cxn>
                  <a:cxn ang="0">
                    <a:pos x="124" y="146"/>
                  </a:cxn>
                  <a:cxn ang="0">
                    <a:pos x="118" y="138"/>
                  </a:cxn>
                </a:cxnLst>
                <a:rect l="0" t="0" r="r" b="b"/>
                <a:pathLst>
                  <a:path w="124" h="156">
                    <a:moveTo>
                      <a:pt x="112" y="138"/>
                    </a:moveTo>
                    <a:lnTo>
                      <a:pt x="110" y="136"/>
                    </a:lnTo>
                    <a:lnTo>
                      <a:pt x="108" y="134"/>
                    </a:lnTo>
                    <a:lnTo>
                      <a:pt x="106" y="132"/>
                    </a:lnTo>
                    <a:lnTo>
                      <a:pt x="104" y="132"/>
                    </a:lnTo>
                    <a:lnTo>
                      <a:pt x="104" y="130"/>
                    </a:lnTo>
                    <a:lnTo>
                      <a:pt x="102" y="130"/>
                    </a:lnTo>
                    <a:lnTo>
                      <a:pt x="100" y="128"/>
                    </a:lnTo>
                    <a:lnTo>
                      <a:pt x="98" y="128"/>
                    </a:lnTo>
                    <a:lnTo>
                      <a:pt x="96" y="126"/>
                    </a:lnTo>
                    <a:lnTo>
                      <a:pt x="94" y="124"/>
                    </a:lnTo>
                    <a:lnTo>
                      <a:pt x="90" y="122"/>
                    </a:lnTo>
                    <a:lnTo>
                      <a:pt x="90" y="120"/>
                    </a:lnTo>
                    <a:lnTo>
                      <a:pt x="88" y="116"/>
                    </a:lnTo>
                    <a:lnTo>
                      <a:pt x="88" y="112"/>
                    </a:lnTo>
                    <a:lnTo>
                      <a:pt x="86" y="108"/>
                    </a:lnTo>
                    <a:lnTo>
                      <a:pt x="86" y="106"/>
                    </a:lnTo>
                    <a:lnTo>
                      <a:pt x="84" y="102"/>
                    </a:lnTo>
                    <a:lnTo>
                      <a:pt x="84" y="100"/>
                    </a:lnTo>
                    <a:lnTo>
                      <a:pt x="82" y="98"/>
                    </a:lnTo>
                    <a:lnTo>
                      <a:pt x="80" y="98"/>
                    </a:lnTo>
                    <a:lnTo>
                      <a:pt x="80" y="96"/>
                    </a:lnTo>
                    <a:lnTo>
                      <a:pt x="78" y="96"/>
                    </a:lnTo>
                    <a:lnTo>
                      <a:pt x="80" y="94"/>
                    </a:lnTo>
                    <a:lnTo>
                      <a:pt x="82" y="94"/>
                    </a:lnTo>
                    <a:lnTo>
                      <a:pt x="84" y="94"/>
                    </a:lnTo>
                    <a:lnTo>
                      <a:pt x="86" y="94"/>
                    </a:lnTo>
                    <a:lnTo>
                      <a:pt x="90" y="96"/>
                    </a:lnTo>
                    <a:lnTo>
                      <a:pt x="92" y="96"/>
                    </a:lnTo>
                    <a:lnTo>
                      <a:pt x="98" y="98"/>
                    </a:lnTo>
                    <a:lnTo>
                      <a:pt x="104" y="100"/>
                    </a:lnTo>
                    <a:lnTo>
                      <a:pt x="106" y="102"/>
                    </a:lnTo>
                    <a:lnTo>
                      <a:pt x="108" y="102"/>
                    </a:lnTo>
                    <a:lnTo>
                      <a:pt x="110" y="104"/>
                    </a:lnTo>
                    <a:lnTo>
                      <a:pt x="112" y="104"/>
                    </a:lnTo>
                    <a:lnTo>
                      <a:pt x="110" y="102"/>
                    </a:lnTo>
                    <a:lnTo>
                      <a:pt x="106" y="100"/>
                    </a:lnTo>
                    <a:lnTo>
                      <a:pt x="106" y="98"/>
                    </a:lnTo>
                    <a:lnTo>
                      <a:pt x="104" y="96"/>
                    </a:lnTo>
                    <a:lnTo>
                      <a:pt x="102" y="96"/>
                    </a:lnTo>
                    <a:lnTo>
                      <a:pt x="100" y="94"/>
                    </a:lnTo>
                    <a:lnTo>
                      <a:pt x="98" y="94"/>
                    </a:lnTo>
                    <a:lnTo>
                      <a:pt x="96" y="92"/>
                    </a:lnTo>
                    <a:lnTo>
                      <a:pt x="94" y="92"/>
                    </a:lnTo>
                    <a:lnTo>
                      <a:pt x="94" y="90"/>
                    </a:lnTo>
                    <a:lnTo>
                      <a:pt x="92" y="88"/>
                    </a:lnTo>
                    <a:lnTo>
                      <a:pt x="92" y="86"/>
                    </a:lnTo>
                    <a:lnTo>
                      <a:pt x="90" y="84"/>
                    </a:lnTo>
                    <a:lnTo>
                      <a:pt x="88" y="80"/>
                    </a:lnTo>
                    <a:lnTo>
                      <a:pt x="86" y="80"/>
                    </a:lnTo>
                    <a:lnTo>
                      <a:pt x="84" y="78"/>
                    </a:lnTo>
                    <a:lnTo>
                      <a:pt x="82" y="76"/>
                    </a:lnTo>
                    <a:lnTo>
                      <a:pt x="78" y="74"/>
                    </a:lnTo>
                    <a:lnTo>
                      <a:pt x="78" y="72"/>
                    </a:lnTo>
                    <a:lnTo>
                      <a:pt x="76" y="72"/>
                    </a:lnTo>
                    <a:lnTo>
                      <a:pt x="72" y="68"/>
                    </a:lnTo>
                    <a:lnTo>
                      <a:pt x="68" y="64"/>
                    </a:lnTo>
                    <a:lnTo>
                      <a:pt x="66" y="62"/>
                    </a:lnTo>
                    <a:lnTo>
                      <a:pt x="64" y="60"/>
                    </a:lnTo>
                    <a:lnTo>
                      <a:pt x="62" y="58"/>
                    </a:lnTo>
                    <a:lnTo>
                      <a:pt x="60" y="56"/>
                    </a:lnTo>
                    <a:lnTo>
                      <a:pt x="58" y="54"/>
                    </a:lnTo>
                    <a:lnTo>
                      <a:pt x="56" y="52"/>
                    </a:lnTo>
                    <a:lnTo>
                      <a:pt x="54" y="52"/>
                    </a:lnTo>
                    <a:lnTo>
                      <a:pt x="52" y="52"/>
                    </a:lnTo>
                    <a:lnTo>
                      <a:pt x="50" y="48"/>
                    </a:lnTo>
                    <a:lnTo>
                      <a:pt x="50" y="46"/>
                    </a:lnTo>
                    <a:lnTo>
                      <a:pt x="48" y="46"/>
                    </a:lnTo>
                    <a:lnTo>
                      <a:pt x="46" y="46"/>
                    </a:lnTo>
                    <a:lnTo>
                      <a:pt x="44" y="46"/>
                    </a:lnTo>
                    <a:lnTo>
                      <a:pt x="42" y="44"/>
                    </a:lnTo>
                    <a:lnTo>
                      <a:pt x="40" y="42"/>
                    </a:lnTo>
                    <a:lnTo>
                      <a:pt x="38" y="40"/>
                    </a:lnTo>
                    <a:lnTo>
                      <a:pt x="38" y="38"/>
                    </a:lnTo>
                    <a:lnTo>
                      <a:pt x="36" y="36"/>
                    </a:lnTo>
                    <a:lnTo>
                      <a:pt x="36" y="34"/>
                    </a:lnTo>
                    <a:lnTo>
                      <a:pt x="36" y="32"/>
                    </a:lnTo>
                    <a:lnTo>
                      <a:pt x="38" y="32"/>
                    </a:lnTo>
                    <a:lnTo>
                      <a:pt x="34" y="28"/>
                    </a:lnTo>
                    <a:lnTo>
                      <a:pt x="34" y="26"/>
                    </a:lnTo>
                    <a:lnTo>
                      <a:pt x="32" y="24"/>
                    </a:lnTo>
                    <a:lnTo>
                      <a:pt x="30" y="24"/>
                    </a:lnTo>
                    <a:lnTo>
                      <a:pt x="28" y="24"/>
                    </a:lnTo>
                    <a:lnTo>
                      <a:pt x="26" y="24"/>
                    </a:lnTo>
                    <a:lnTo>
                      <a:pt x="24" y="24"/>
                    </a:lnTo>
                    <a:lnTo>
                      <a:pt x="24" y="20"/>
                    </a:lnTo>
                    <a:lnTo>
                      <a:pt x="22" y="18"/>
                    </a:lnTo>
                    <a:lnTo>
                      <a:pt x="22" y="16"/>
                    </a:lnTo>
                    <a:lnTo>
                      <a:pt x="20" y="16"/>
                    </a:lnTo>
                    <a:lnTo>
                      <a:pt x="18" y="14"/>
                    </a:lnTo>
                    <a:lnTo>
                      <a:pt x="16" y="12"/>
                    </a:lnTo>
                    <a:lnTo>
                      <a:pt x="14" y="10"/>
                    </a:lnTo>
                    <a:lnTo>
                      <a:pt x="12" y="10"/>
                    </a:lnTo>
                    <a:lnTo>
                      <a:pt x="12" y="8"/>
                    </a:lnTo>
                    <a:lnTo>
                      <a:pt x="10" y="6"/>
                    </a:lnTo>
                    <a:lnTo>
                      <a:pt x="10" y="4"/>
                    </a:lnTo>
                    <a:lnTo>
                      <a:pt x="10" y="2"/>
                    </a:lnTo>
                    <a:lnTo>
                      <a:pt x="8" y="2"/>
                    </a:lnTo>
                    <a:lnTo>
                      <a:pt x="6" y="0"/>
                    </a:lnTo>
                    <a:lnTo>
                      <a:pt x="4" y="0"/>
                    </a:lnTo>
                    <a:lnTo>
                      <a:pt x="2" y="0"/>
                    </a:lnTo>
                    <a:lnTo>
                      <a:pt x="0" y="0"/>
                    </a:lnTo>
                    <a:lnTo>
                      <a:pt x="0" y="2"/>
                    </a:lnTo>
                    <a:lnTo>
                      <a:pt x="2" y="4"/>
                    </a:lnTo>
                    <a:lnTo>
                      <a:pt x="4" y="6"/>
                    </a:lnTo>
                    <a:lnTo>
                      <a:pt x="6" y="8"/>
                    </a:lnTo>
                    <a:lnTo>
                      <a:pt x="8" y="10"/>
                    </a:lnTo>
                    <a:lnTo>
                      <a:pt x="10" y="12"/>
                    </a:lnTo>
                    <a:lnTo>
                      <a:pt x="12" y="12"/>
                    </a:lnTo>
                    <a:lnTo>
                      <a:pt x="12" y="14"/>
                    </a:lnTo>
                    <a:lnTo>
                      <a:pt x="10" y="14"/>
                    </a:lnTo>
                    <a:lnTo>
                      <a:pt x="8" y="14"/>
                    </a:lnTo>
                    <a:lnTo>
                      <a:pt x="6" y="14"/>
                    </a:lnTo>
                    <a:lnTo>
                      <a:pt x="6" y="16"/>
                    </a:lnTo>
                    <a:lnTo>
                      <a:pt x="4" y="16"/>
                    </a:lnTo>
                    <a:lnTo>
                      <a:pt x="6" y="18"/>
                    </a:lnTo>
                    <a:lnTo>
                      <a:pt x="6" y="20"/>
                    </a:lnTo>
                    <a:lnTo>
                      <a:pt x="8" y="24"/>
                    </a:lnTo>
                    <a:lnTo>
                      <a:pt x="10" y="24"/>
                    </a:lnTo>
                    <a:lnTo>
                      <a:pt x="12" y="28"/>
                    </a:lnTo>
                    <a:lnTo>
                      <a:pt x="12" y="30"/>
                    </a:lnTo>
                    <a:lnTo>
                      <a:pt x="12" y="32"/>
                    </a:lnTo>
                    <a:lnTo>
                      <a:pt x="14" y="32"/>
                    </a:lnTo>
                    <a:lnTo>
                      <a:pt x="14" y="34"/>
                    </a:lnTo>
                    <a:lnTo>
                      <a:pt x="16" y="36"/>
                    </a:lnTo>
                    <a:lnTo>
                      <a:pt x="18" y="38"/>
                    </a:lnTo>
                    <a:lnTo>
                      <a:pt x="20" y="40"/>
                    </a:lnTo>
                    <a:lnTo>
                      <a:pt x="20" y="42"/>
                    </a:lnTo>
                    <a:lnTo>
                      <a:pt x="22" y="42"/>
                    </a:lnTo>
                    <a:lnTo>
                      <a:pt x="24" y="44"/>
                    </a:lnTo>
                    <a:lnTo>
                      <a:pt x="28" y="46"/>
                    </a:lnTo>
                    <a:lnTo>
                      <a:pt x="30" y="48"/>
                    </a:lnTo>
                    <a:lnTo>
                      <a:pt x="34" y="50"/>
                    </a:lnTo>
                    <a:lnTo>
                      <a:pt x="36" y="54"/>
                    </a:lnTo>
                    <a:lnTo>
                      <a:pt x="40" y="56"/>
                    </a:lnTo>
                    <a:lnTo>
                      <a:pt x="42" y="58"/>
                    </a:lnTo>
                    <a:lnTo>
                      <a:pt x="44" y="60"/>
                    </a:lnTo>
                    <a:lnTo>
                      <a:pt x="44" y="64"/>
                    </a:lnTo>
                    <a:lnTo>
                      <a:pt x="46" y="68"/>
                    </a:lnTo>
                    <a:lnTo>
                      <a:pt x="48" y="72"/>
                    </a:lnTo>
                    <a:lnTo>
                      <a:pt x="50" y="74"/>
                    </a:lnTo>
                    <a:lnTo>
                      <a:pt x="52" y="76"/>
                    </a:lnTo>
                    <a:lnTo>
                      <a:pt x="54" y="78"/>
                    </a:lnTo>
                    <a:lnTo>
                      <a:pt x="54" y="80"/>
                    </a:lnTo>
                    <a:lnTo>
                      <a:pt x="56" y="82"/>
                    </a:lnTo>
                    <a:lnTo>
                      <a:pt x="58" y="86"/>
                    </a:lnTo>
                    <a:lnTo>
                      <a:pt x="60" y="90"/>
                    </a:lnTo>
                    <a:lnTo>
                      <a:pt x="62" y="94"/>
                    </a:lnTo>
                    <a:lnTo>
                      <a:pt x="64" y="96"/>
                    </a:lnTo>
                    <a:lnTo>
                      <a:pt x="66" y="98"/>
                    </a:lnTo>
                    <a:lnTo>
                      <a:pt x="66" y="100"/>
                    </a:lnTo>
                    <a:lnTo>
                      <a:pt x="68" y="102"/>
                    </a:lnTo>
                    <a:lnTo>
                      <a:pt x="68" y="104"/>
                    </a:lnTo>
                    <a:lnTo>
                      <a:pt x="70" y="106"/>
                    </a:lnTo>
                    <a:lnTo>
                      <a:pt x="72" y="106"/>
                    </a:lnTo>
                    <a:lnTo>
                      <a:pt x="74" y="108"/>
                    </a:lnTo>
                    <a:lnTo>
                      <a:pt x="76" y="108"/>
                    </a:lnTo>
                    <a:lnTo>
                      <a:pt x="78" y="110"/>
                    </a:lnTo>
                    <a:lnTo>
                      <a:pt x="80" y="112"/>
                    </a:lnTo>
                    <a:lnTo>
                      <a:pt x="82" y="116"/>
                    </a:lnTo>
                    <a:lnTo>
                      <a:pt x="82" y="118"/>
                    </a:lnTo>
                    <a:lnTo>
                      <a:pt x="84" y="120"/>
                    </a:lnTo>
                    <a:lnTo>
                      <a:pt x="84" y="122"/>
                    </a:lnTo>
                    <a:lnTo>
                      <a:pt x="84" y="124"/>
                    </a:lnTo>
                    <a:lnTo>
                      <a:pt x="86" y="128"/>
                    </a:lnTo>
                    <a:lnTo>
                      <a:pt x="90" y="130"/>
                    </a:lnTo>
                    <a:lnTo>
                      <a:pt x="90" y="132"/>
                    </a:lnTo>
                    <a:lnTo>
                      <a:pt x="92" y="132"/>
                    </a:lnTo>
                    <a:lnTo>
                      <a:pt x="92" y="134"/>
                    </a:lnTo>
                    <a:lnTo>
                      <a:pt x="94" y="134"/>
                    </a:lnTo>
                    <a:lnTo>
                      <a:pt x="94" y="136"/>
                    </a:lnTo>
                    <a:lnTo>
                      <a:pt x="94" y="138"/>
                    </a:lnTo>
                    <a:lnTo>
                      <a:pt x="96" y="140"/>
                    </a:lnTo>
                    <a:lnTo>
                      <a:pt x="96" y="142"/>
                    </a:lnTo>
                    <a:lnTo>
                      <a:pt x="96" y="144"/>
                    </a:lnTo>
                    <a:lnTo>
                      <a:pt x="98" y="146"/>
                    </a:lnTo>
                    <a:lnTo>
                      <a:pt x="100" y="150"/>
                    </a:lnTo>
                    <a:lnTo>
                      <a:pt x="102" y="152"/>
                    </a:lnTo>
                    <a:lnTo>
                      <a:pt x="104" y="154"/>
                    </a:lnTo>
                    <a:lnTo>
                      <a:pt x="106" y="154"/>
                    </a:lnTo>
                    <a:lnTo>
                      <a:pt x="106" y="156"/>
                    </a:lnTo>
                    <a:lnTo>
                      <a:pt x="106" y="154"/>
                    </a:lnTo>
                    <a:lnTo>
                      <a:pt x="106" y="150"/>
                    </a:lnTo>
                    <a:lnTo>
                      <a:pt x="104" y="148"/>
                    </a:lnTo>
                    <a:lnTo>
                      <a:pt x="104" y="146"/>
                    </a:lnTo>
                    <a:lnTo>
                      <a:pt x="104" y="144"/>
                    </a:lnTo>
                    <a:lnTo>
                      <a:pt x="104" y="142"/>
                    </a:lnTo>
                    <a:lnTo>
                      <a:pt x="106" y="142"/>
                    </a:lnTo>
                    <a:lnTo>
                      <a:pt x="108" y="142"/>
                    </a:lnTo>
                    <a:lnTo>
                      <a:pt x="108" y="144"/>
                    </a:lnTo>
                    <a:lnTo>
                      <a:pt x="112" y="144"/>
                    </a:lnTo>
                    <a:lnTo>
                      <a:pt x="114" y="144"/>
                    </a:lnTo>
                    <a:lnTo>
                      <a:pt x="116" y="144"/>
                    </a:lnTo>
                    <a:lnTo>
                      <a:pt x="118" y="144"/>
                    </a:lnTo>
                    <a:lnTo>
                      <a:pt x="120" y="146"/>
                    </a:lnTo>
                    <a:lnTo>
                      <a:pt x="122" y="150"/>
                    </a:lnTo>
                    <a:lnTo>
                      <a:pt x="124" y="152"/>
                    </a:lnTo>
                    <a:lnTo>
                      <a:pt x="124" y="154"/>
                    </a:lnTo>
                    <a:lnTo>
                      <a:pt x="124" y="150"/>
                    </a:lnTo>
                    <a:lnTo>
                      <a:pt x="124" y="148"/>
                    </a:lnTo>
                    <a:lnTo>
                      <a:pt x="124" y="146"/>
                    </a:lnTo>
                    <a:lnTo>
                      <a:pt x="122" y="144"/>
                    </a:lnTo>
                    <a:lnTo>
                      <a:pt x="120" y="142"/>
                    </a:lnTo>
                    <a:lnTo>
                      <a:pt x="118" y="140"/>
                    </a:lnTo>
                    <a:lnTo>
                      <a:pt x="118" y="138"/>
                    </a:lnTo>
                    <a:lnTo>
                      <a:pt x="112" y="13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2" name="Freeform 221">
                <a:extLst>
                  <a:ext uri="{FF2B5EF4-FFF2-40B4-BE49-F238E27FC236}">
                    <a16:creationId xmlns:a16="http://schemas.microsoft.com/office/drawing/2014/main" id="{C7EF8EB7-C6CF-4432-B58B-5212D0635999}"/>
                  </a:ext>
                </a:extLst>
              </p:cNvPr>
              <p:cNvSpPr>
                <a:spLocks noChangeAspect="1"/>
              </p:cNvSpPr>
              <p:nvPr/>
            </p:nvSpPr>
            <p:spPr bwMode="auto">
              <a:xfrm>
                <a:off x="7653727" y="2413961"/>
                <a:ext cx="16443" cy="24416"/>
              </a:xfrm>
              <a:custGeom>
                <a:avLst/>
                <a:gdLst/>
                <a:ahLst/>
                <a:cxnLst>
                  <a:cxn ang="0">
                    <a:pos x="0" y="0"/>
                  </a:cxn>
                  <a:cxn ang="0">
                    <a:pos x="0" y="2"/>
                  </a:cxn>
                  <a:cxn ang="0">
                    <a:pos x="0" y="4"/>
                  </a:cxn>
                  <a:cxn ang="0">
                    <a:pos x="0" y="6"/>
                  </a:cxn>
                  <a:cxn ang="0">
                    <a:pos x="2" y="8"/>
                  </a:cxn>
                  <a:cxn ang="0">
                    <a:pos x="2" y="10"/>
                  </a:cxn>
                  <a:cxn ang="0">
                    <a:pos x="4" y="12"/>
                  </a:cxn>
                  <a:cxn ang="0">
                    <a:pos x="6" y="14"/>
                  </a:cxn>
                  <a:cxn ang="0">
                    <a:pos x="8" y="14"/>
                  </a:cxn>
                  <a:cxn ang="0">
                    <a:pos x="8" y="14"/>
                  </a:cxn>
                  <a:cxn ang="0">
                    <a:pos x="10" y="14"/>
                  </a:cxn>
                  <a:cxn ang="0">
                    <a:pos x="10" y="14"/>
                  </a:cxn>
                  <a:cxn ang="0">
                    <a:pos x="10" y="14"/>
                  </a:cxn>
                  <a:cxn ang="0">
                    <a:pos x="10" y="12"/>
                  </a:cxn>
                  <a:cxn ang="0">
                    <a:pos x="10" y="10"/>
                  </a:cxn>
                  <a:cxn ang="0">
                    <a:pos x="10" y="10"/>
                  </a:cxn>
                  <a:cxn ang="0">
                    <a:pos x="8" y="6"/>
                  </a:cxn>
                  <a:cxn ang="0">
                    <a:pos x="6" y="4"/>
                  </a:cxn>
                  <a:cxn ang="0">
                    <a:pos x="2" y="2"/>
                  </a:cxn>
                  <a:cxn ang="0">
                    <a:pos x="2" y="2"/>
                  </a:cxn>
                  <a:cxn ang="0">
                    <a:pos x="2" y="0"/>
                  </a:cxn>
                  <a:cxn ang="0">
                    <a:pos x="0" y="0"/>
                  </a:cxn>
                  <a:cxn ang="0">
                    <a:pos x="0" y="0"/>
                  </a:cxn>
                  <a:cxn ang="0">
                    <a:pos x="0" y="0"/>
                  </a:cxn>
                  <a:cxn ang="0">
                    <a:pos x="0" y="0"/>
                  </a:cxn>
                </a:cxnLst>
                <a:rect l="0" t="0" r="r" b="b"/>
                <a:pathLst>
                  <a:path w="10" h="14">
                    <a:moveTo>
                      <a:pt x="0" y="0"/>
                    </a:moveTo>
                    <a:lnTo>
                      <a:pt x="0" y="2"/>
                    </a:lnTo>
                    <a:lnTo>
                      <a:pt x="0" y="4"/>
                    </a:lnTo>
                    <a:lnTo>
                      <a:pt x="0" y="6"/>
                    </a:lnTo>
                    <a:lnTo>
                      <a:pt x="2" y="8"/>
                    </a:lnTo>
                    <a:lnTo>
                      <a:pt x="2" y="10"/>
                    </a:lnTo>
                    <a:lnTo>
                      <a:pt x="4" y="12"/>
                    </a:lnTo>
                    <a:lnTo>
                      <a:pt x="6" y="14"/>
                    </a:lnTo>
                    <a:lnTo>
                      <a:pt x="8" y="14"/>
                    </a:lnTo>
                    <a:lnTo>
                      <a:pt x="10" y="14"/>
                    </a:lnTo>
                    <a:lnTo>
                      <a:pt x="10" y="12"/>
                    </a:lnTo>
                    <a:lnTo>
                      <a:pt x="10" y="10"/>
                    </a:lnTo>
                    <a:lnTo>
                      <a:pt x="8" y="6"/>
                    </a:lnTo>
                    <a:lnTo>
                      <a:pt x="6" y="4"/>
                    </a:lnTo>
                    <a:lnTo>
                      <a:pt x="2" y="2"/>
                    </a:lnTo>
                    <a:lnTo>
                      <a:pt x="2" y="0"/>
                    </a:lnTo>
                    <a:lnTo>
                      <a:pt x="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3" name="Freeform 222">
                <a:extLst>
                  <a:ext uri="{FF2B5EF4-FFF2-40B4-BE49-F238E27FC236}">
                    <a16:creationId xmlns:a16="http://schemas.microsoft.com/office/drawing/2014/main" id="{B02E01E5-24CB-41F3-910E-F4418B8BD636}"/>
                  </a:ext>
                </a:extLst>
              </p:cNvPr>
              <p:cNvSpPr>
                <a:spLocks noChangeAspect="1"/>
              </p:cNvSpPr>
              <p:nvPr/>
            </p:nvSpPr>
            <p:spPr bwMode="auto">
              <a:xfrm>
                <a:off x="7716213" y="2966797"/>
                <a:ext cx="108527" cy="136029"/>
              </a:xfrm>
              <a:custGeom>
                <a:avLst/>
                <a:gdLst/>
                <a:ahLst/>
                <a:cxnLst>
                  <a:cxn ang="0">
                    <a:pos x="64" y="52"/>
                  </a:cxn>
                  <a:cxn ang="0">
                    <a:pos x="60" y="46"/>
                  </a:cxn>
                  <a:cxn ang="0">
                    <a:pos x="60" y="44"/>
                  </a:cxn>
                  <a:cxn ang="0">
                    <a:pos x="60" y="36"/>
                  </a:cxn>
                  <a:cxn ang="0">
                    <a:pos x="54" y="30"/>
                  </a:cxn>
                  <a:cxn ang="0">
                    <a:pos x="42" y="20"/>
                  </a:cxn>
                  <a:cxn ang="0">
                    <a:pos x="40" y="18"/>
                  </a:cxn>
                  <a:cxn ang="0">
                    <a:pos x="36" y="16"/>
                  </a:cxn>
                  <a:cxn ang="0">
                    <a:pos x="36" y="14"/>
                  </a:cxn>
                  <a:cxn ang="0">
                    <a:pos x="32" y="10"/>
                  </a:cxn>
                  <a:cxn ang="0">
                    <a:pos x="22" y="0"/>
                  </a:cxn>
                  <a:cxn ang="0">
                    <a:pos x="20" y="4"/>
                  </a:cxn>
                  <a:cxn ang="0">
                    <a:pos x="14" y="4"/>
                  </a:cxn>
                  <a:cxn ang="0">
                    <a:pos x="4" y="6"/>
                  </a:cxn>
                  <a:cxn ang="0">
                    <a:pos x="6" y="10"/>
                  </a:cxn>
                  <a:cxn ang="0">
                    <a:pos x="4" y="12"/>
                  </a:cxn>
                  <a:cxn ang="0">
                    <a:pos x="0" y="14"/>
                  </a:cxn>
                  <a:cxn ang="0">
                    <a:pos x="2" y="18"/>
                  </a:cxn>
                  <a:cxn ang="0">
                    <a:pos x="8" y="22"/>
                  </a:cxn>
                  <a:cxn ang="0">
                    <a:pos x="12" y="22"/>
                  </a:cxn>
                  <a:cxn ang="0">
                    <a:pos x="14" y="30"/>
                  </a:cxn>
                  <a:cxn ang="0">
                    <a:pos x="14" y="32"/>
                  </a:cxn>
                  <a:cxn ang="0">
                    <a:pos x="10" y="30"/>
                  </a:cxn>
                  <a:cxn ang="0">
                    <a:pos x="2" y="28"/>
                  </a:cxn>
                  <a:cxn ang="0">
                    <a:pos x="6" y="32"/>
                  </a:cxn>
                  <a:cxn ang="0">
                    <a:pos x="10" y="36"/>
                  </a:cxn>
                  <a:cxn ang="0">
                    <a:pos x="12" y="42"/>
                  </a:cxn>
                  <a:cxn ang="0">
                    <a:pos x="14" y="46"/>
                  </a:cxn>
                  <a:cxn ang="0">
                    <a:pos x="20" y="46"/>
                  </a:cxn>
                  <a:cxn ang="0">
                    <a:pos x="22" y="50"/>
                  </a:cxn>
                  <a:cxn ang="0">
                    <a:pos x="22" y="54"/>
                  </a:cxn>
                  <a:cxn ang="0">
                    <a:pos x="22" y="54"/>
                  </a:cxn>
                  <a:cxn ang="0">
                    <a:pos x="20" y="60"/>
                  </a:cxn>
                  <a:cxn ang="0">
                    <a:pos x="22" y="66"/>
                  </a:cxn>
                  <a:cxn ang="0">
                    <a:pos x="26" y="70"/>
                  </a:cxn>
                  <a:cxn ang="0">
                    <a:pos x="26" y="70"/>
                  </a:cxn>
                  <a:cxn ang="0">
                    <a:pos x="26" y="78"/>
                  </a:cxn>
                  <a:cxn ang="0">
                    <a:pos x="32" y="78"/>
                  </a:cxn>
                  <a:cxn ang="0">
                    <a:pos x="36" y="72"/>
                  </a:cxn>
                  <a:cxn ang="0">
                    <a:pos x="38" y="70"/>
                  </a:cxn>
                  <a:cxn ang="0">
                    <a:pos x="46" y="66"/>
                  </a:cxn>
                  <a:cxn ang="0">
                    <a:pos x="48" y="66"/>
                  </a:cxn>
                  <a:cxn ang="0">
                    <a:pos x="52" y="66"/>
                  </a:cxn>
                  <a:cxn ang="0">
                    <a:pos x="54" y="68"/>
                  </a:cxn>
                  <a:cxn ang="0">
                    <a:pos x="56" y="64"/>
                  </a:cxn>
                  <a:cxn ang="0">
                    <a:pos x="56" y="64"/>
                  </a:cxn>
                  <a:cxn ang="0">
                    <a:pos x="64" y="62"/>
                  </a:cxn>
                  <a:cxn ang="0">
                    <a:pos x="66" y="60"/>
                  </a:cxn>
                </a:cxnLst>
                <a:rect l="0" t="0" r="r" b="b"/>
                <a:pathLst>
                  <a:path w="66" h="78">
                    <a:moveTo>
                      <a:pt x="66" y="58"/>
                    </a:moveTo>
                    <a:lnTo>
                      <a:pt x="66" y="56"/>
                    </a:lnTo>
                    <a:lnTo>
                      <a:pt x="64" y="54"/>
                    </a:lnTo>
                    <a:lnTo>
                      <a:pt x="64" y="52"/>
                    </a:lnTo>
                    <a:lnTo>
                      <a:pt x="62" y="50"/>
                    </a:lnTo>
                    <a:lnTo>
                      <a:pt x="60" y="48"/>
                    </a:lnTo>
                    <a:lnTo>
                      <a:pt x="60" y="46"/>
                    </a:lnTo>
                    <a:lnTo>
                      <a:pt x="60" y="44"/>
                    </a:lnTo>
                    <a:lnTo>
                      <a:pt x="60" y="42"/>
                    </a:lnTo>
                    <a:lnTo>
                      <a:pt x="60" y="40"/>
                    </a:lnTo>
                    <a:lnTo>
                      <a:pt x="60" y="38"/>
                    </a:lnTo>
                    <a:lnTo>
                      <a:pt x="60" y="36"/>
                    </a:lnTo>
                    <a:lnTo>
                      <a:pt x="58" y="36"/>
                    </a:lnTo>
                    <a:lnTo>
                      <a:pt x="58" y="34"/>
                    </a:lnTo>
                    <a:lnTo>
                      <a:pt x="56" y="34"/>
                    </a:lnTo>
                    <a:lnTo>
                      <a:pt x="54" y="30"/>
                    </a:lnTo>
                    <a:lnTo>
                      <a:pt x="52" y="28"/>
                    </a:lnTo>
                    <a:lnTo>
                      <a:pt x="48" y="24"/>
                    </a:lnTo>
                    <a:lnTo>
                      <a:pt x="44" y="22"/>
                    </a:lnTo>
                    <a:lnTo>
                      <a:pt x="42" y="20"/>
                    </a:lnTo>
                    <a:lnTo>
                      <a:pt x="42" y="18"/>
                    </a:lnTo>
                    <a:lnTo>
                      <a:pt x="40" y="18"/>
                    </a:lnTo>
                    <a:lnTo>
                      <a:pt x="38" y="16"/>
                    </a:lnTo>
                    <a:lnTo>
                      <a:pt x="36" y="16"/>
                    </a:lnTo>
                    <a:lnTo>
                      <a:pt x="36" y="14"/>
                    </a:lnTo>
                    <a:lnTo>
                      <a:pt x="34" y="12"/>
                    </a:lnTo>
                    <a:lnTo>
                      <a:pt x="32" y="10"/>
                    </a:lnTo>
                    <a:lnTo>
                      <a:pt x="30" y="8"/>
                    </a:lnTo>
                    <a:lnTo>
                      <a:pt x="26" y="4"/>
                    </a:lnTo>
                    <a:lnTo>
                      <a:pt x="24" y="0"/>
                    </a:lnTo>
                    <a:lnTo>
                      <a:pt x="22" y="0"/>
                    </a:lnTo>
                    <a:lnTo>
                      <a:pt x="22" y="2"/>
                    </a:lnTo>
                    <a:lnTo>
                      <a:pt x="20" y="2"/>
                    </a:lnTo>
                    <a:lnTo>
                      <a:pt x="20" y="4"/>
                    </a:lnTo>
                    <a:lnTo>
                      <a:pt x="18" y="4"/>
                    </a:lnTo>
                    <a:lnTo>
                      <a:pt x="16" y="4"/>
                    </a:lnTo>
                    <a:lnTo>
                      <a:pt x="14" y="4"/>
                    </a:lnTo>
                    <a:lnTo>
                      <a:pt x="10" y="4"/>
                    </a:lnTo>
                    <a:lnTo>
                      <a:pt x="8" y="4"/>
                    </a:lnTo>
                    <a:lnTo>
                      <a:pt x="6" y="6"/>
                    </a:lnTo>
                    <a:lnTo>
                      <a:pt x="4" y="6"/>
                    </a:lnTo>
                    <a:lnTo>
                      <a:pt x="4" y="8"/>
                    </a:lnTo>
                    <a:lnTo>
                      <a:pt x="6" y="10"/>
                    </a:lnTo>
                    <a:lnTo>
                      <a:pt x="4" y="12"/>
                    </a:lnTo>
                    <a:lnTo>
                      <a:pt x="2" y="12"/>
                    </a:lnTo>
                    <a:lnTo>
                      <a:pt x="0" y="12"/>
                    </a:lnTo>
                    <a:lnTo>
                      <a:pt x="0" y="14"/>
                    </a:lnTo>
                    <a:lnTo>
                      <a:pt x="2" y="16"/>
                    </a:lnTo>
                    <a:lnTo>
                      <a:pt x="2" y="18"/>
                    </a:lnTo>
                    <a:lnTo>
                      <a:pt x="4" y="20"/>
                    </a:lnTo>
                    <a:lnTo>
                      <a:pt x="6" y="20"/>
                    </a:lnTo>
                    <a:lnTo>
                      <a:pt x="8" y="22"/>
                    </a:lnTo>
                    <a:lnTo>
                      <a:pt x="10" y="22"/>
                    </a:lnTo>
                    <a:lnTo>
                      <a:pt x="12" y="22"/>
                    </a:lnTo>
                    <a:lnTo>
                      <a:pt x="12" y="26"/>
                    </a:lnTo>
                    <a:lnTo>
                      <a:pt x="14" y="28"/>
                    </a:lnTo>
                    <a:lnTo>
                      <a:pt x="14" y="30"/>
                    </a:lnTo>
                    <a:lnTo>
                      <a:pt x="14" y="32"/>
                    </a:lnTo>
                    <a:lnTo>
                      <a:pt x="12" y="30"/>
                    </a:lnTo>
                    <a:lnTo>
                      <a:pt x="10" y="30"/>
                    </a:lnTo>
                    <a:lnTo>
                      <a:pt x="8" y="28"/>
                    </a:lnTo>
                    <a:lnTo>
                      <a:pt x="6" y="28"/>
                    </a:lnTo>
                    <a:lnTo>
                      <a:pt x="4" y="28"/>
                    </a:lnTo>
                    <a:lnTo>
                      <a:pt x="2" y="28"/>
                    </a:lnTo>
                    <a:lnTo>
                      <a:pt x="4" y="30"/>
                    </a:lnTo>
                    <a:lnTo>
                      <a:pt x="6" y="32"/>
                    </a:lnTo>
                    <a:lnTo>
                      <a:pt x="6" y="34"/>
                    </a:lnTo>
                    <a:lnTo>
                      <a:pt x="8" y="34"/>
                    </a:lnTo>
                    <a:lnTo>
                      <a:pt x="10" y="36"/>
                    </a:lnTo>
                    <a:lnTo>
                      <a:pt x="12" y="38"/>
                    </a:lnTo>
                    <a:lnTo>
                      <a:pt x="12" y="40"/>
                    </a:lnTo>
                    <a:lnTo>
                      <a:pt x="12" y="42"/>
                    </a:lnTo>
                    <a:lnTo>
                      <a:pt x="12" y="44"/>
                    </a:lnTo>
                    <a:lnTo>
                      <a:pt x="14" y="44"/>
                    </a:lnTo>
                    <a:lnTo>
                      <a:pt x="14" y="46"/>
                    </a:lnTo>
                    <a:lnTo>
                      <a:pt x="16" y="46"/>
                    </a:lnTo>
                    <a:lnTo>
                      <a:pt x="18" y="46"/>
                    </a:lnTo>
                    <a:lnTo>
                      <a:pt x="20" y="46"/>
                    </a:lnTo>
                    <a:lnTo>
                      <a:pt x="22" y="46"/>
                    </a:lnTo>
                    <a:lnTo>
                      <a:pt x="22" y="50"/>
                    </a:lnTo>
                    <a:lnTo>
                      <a:pt x="22" y="52"/>
                    </a:lnTo>
                    <a:lnTo>
                      <a:pt x="22" y="54"/>
                    </a:lnTo>
                    <a:lnTo>
                      <a:pt x="20" y="56"/>
                    </a:lnTo>
                    <a:lnTo>
                      <a:pt x="20" y="58"/>
                    </a:lnTo>
                    <a:lnTo>
                      <a:pt x="20" y="60"/>
                    </a:lnTo>
                    <a:lnTo>
                      <a:pt x="20" y="62"/>
                    </a:lnTo>
                    <a:lnTo>
                      <a:pt x="20" y="64"/>
                    </a:lnTo>
                    <a:lnTo>
                      <a:pt x="22" y="66"/>
                    </a:lnTo>
                    <a:lnTo>
                      <a:pt x="22" y="68"/>
                    </a:lnTo>
                    <a:lnTo>
                      <a:pt x="24" y="68"/>
                    </a:lnTo>
                    <a:lnTo>
                      <a:pt x="26" y="70"/>
                    </a:lnTo>
                    <a:lnTo>
                      <a:pt x="28" y="70"/>
                    </a:lnTo>
                    <a:lnTo>
                      <a:pt x="26" y="70"/>
                    </a:lnTo>
                    <a:lnTo>
                      <a:pt x="26" y="72"/>
                    </a:lnTo>
                    <a:lnTo>
                      <a:pt x="26" y="74"/>
                    </a:lnTo>
                    <a:lnTo>
                      <a:pt x="26" y="76"/>
                    </a:lnTo>
                    <a:lnTo>
                      <a:pt x="26" y="78"/>
                    </a:lnTo>
                    <a:lnTo>
                      <a:pt x="28" y="78"/>
                    </a:lnTo>
                    <a:lnTo>
                      <a:pt x="30" y="78"/>
                    </a:lnTo>
                    <a:lnTo>
                      <a:pt x="32" y="78"/>
                    </a:lnTo>
                    <a:lnTo>
                      <a:pt x="34" y="76"/>
                    </a:lnTo>
                    <a:lnTo>
                      <a:pt x="36" y="74"/>
                    </a:lnTo>
                    <a:lnTo>
                      <a:pt x="36" y="72"/>
                    </a:lnTo>
                    <a:lnTo>
                      <a:pt x="38" y="70"/>
                    </a:lnTo>
                    <a:lnTo>
                      <a:pt x="40" y="70"/>
                    </a:lnTo>
                    <a:lnTo>
                      <a:pt x="42" y="68"/>
                    </a:lnTo>
                    <a:lnTo>
                      <a:pt x="46" y="66"/>
                    </a:lnTo>
                    <a:lnTo>
                      <a:pt x="48" y="66"/>
                    </a:lnTo>
                    <a:lnTo>
                      <a:pt x="50" y="66"/>
                    </a:lnTo>
                    <a:lnTo>
                      <a:pt x="52" y="66"/>
                    </a:lnTo>
                    <a:lnTo>
                      <a:pt x="54" y="68"/>
                    </a:lnTo>
                    <a:lnTo>
                      <a:pt x="54" y="66"/>
                    </a:lnTo>
                    <a:lnTo>
                      <a:pt x="56" y="64"/>
                    </a:lnTo>
                    <a:lnTo>
                      <a:pt x="58" y="64"/>
                    </a:lnTo>
                    <a:lnTo>
                      <a:pt x="60" y="62"/>
                    </a:lnTo>
                    <a:lnTo>
                      <a:pt x="62" y="62"/>
                    </a:lnTo>
                    <a:lnTo>
                      <a:pt x="64" y="62"/>
                    </a:lnTo>
                    <a:lnTo>
                      <a:pt x="66" y="60"/>
                    </a:lnTo>
                    <a:lnTo>
                      <a:pt x="66" y="5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4" name="Freeform 223">
                <a:extLst>
                  <a:ext uri="{FF2B5EF4-FFF2-40B4-BE49-F238E27FC236}">
                    <a16:creationId xmlns:a16="http://schemas.microsoft.com/office/drawing/2014/main" id="{3361F1E3-27C9-4FA2-A4B0-1F9E92765AB4}"/>
                  </a:ext>
                </a:extLst>
              </p:cNvPr>
              <p:cNvSpPr>
                <a:spLocks noChangeAspect="1"/>
              </p:cNvSpPr>
              <p:nvPr/>
            </p:nvSpPr>
            <p:spPr bwMode="auto">
              <a:xfrm>
                <a:off x="7627417" y="2820304"/>
                <a:ext cx="128260" cy="170908"/>
              </a:xfrm>
              <a:custGeom>
                <a:avLst/>
                <a:gdLst/>
                <a:ahLst/>
                <a:cxnLst>
                  <a:cxn ang="0">
                    <a:pos x="58" y="0"/>
                  </a:cxn>
                  <a:cxn ang="0">
                    <a:pos x="60" y="2"/>
                  </a:cxn>
                  <a:cxn ang="0">
                    <a:pos x="60" y="10"/>
                  </a:cxn>
                  <a:cxn ang="0">
                    <a:pos x="54" y="8"/>
                  </a:cxn>
                  <a:cxn ang="0">
                    <a:pos x="56" y="16"/>
                  </a:cxn>
                  <a:cxn ang="0">
                    <a:pos x="44" y="16"/>
                  </a:cxn>
                  <a:cxn ang="0">
                    <a:pos x="40" y="20"/>
                  </a:cxn>
                  <a:cxn ang="0">
                    <a:pos x="48" y="24"/>
                  </a:cxn>
                  <a:cxn ang="0">
                    <a:pos x="48" y="28"/>
                  </a:cxn>
                  <a:cxn ang="0">
                    <a:pos x="40" y="28"/>
                  </a:cxn>
                  <a:cxn ang="0">
                    <a:pos x="30" y="26"/>
                  </a:cxn>
                  <a:cxn ang="0">
                    <a:pos x="22" y="22"/>
                  </a:cxn>
                  <a:cxn ang="0">
                    <a:pos x="20" y="32"/>
                  </a:cxn>
                  <a:cxn ang="0">
                    <a:pos x="10" y="44"/>
                  </a:cxn>
                  <a:cxn ang="0">
                    <a:pos x="2" y="50"/>
                  </a:cxn>
                  <a:cxn ang="0">
                    <a:pos x="0" y="56"/>
                  </a:cxn>
                  <a:cxn ang="0">
                    <a:pos x="2" y="54"/>
                  </a:cxn>
                  <a:cxn ang="0">
                    <a:pos x="4" y="56"/>
                  </a:cxn>
                  <a:cxn ang="0">
                    <a:pos x="8" y="62"/>
                  </a:cxn>
                  <a:cxn ang="0">
                    <a:pos x="12" y="60"/>
                  </a:cxn>
                  <a:cxn ang="0">
                    <a:pos x="14" y="62"/>
                  </a:cxn>
                  <a:cxn ang="0">
                    <a:pos x="20" y="62"/>
                  </a:cxn>
                  <a:cxn ang="0">
                    <a:pos x="24" y="70"/>
                  </a:cxn>
                  <a:cxn ang="0">
                    <a:pos x="24" y="78"/>
                  </a:cxn>
                  <a:cxn ang="0">
                    <a:pos x="32" y="78"/>
                  </a:cxn>
                  <a:cxn ang="0">
                    <a:pos x="34" y="82"/>
                  </a:cxn>
                  <a:cxn ang="0">
                    <a:pos x="28" y="80"/>
                  </a:cxn>
                  <a:cxn ang="0">
                    <a:pos x="24" y="88"/>
                  </a:cxn>
                  <a:cxn ang="0">
                    <a:pos x="30" y="94"/>
                  </a:cxn>
                  <a:cxn ang="0">
                    <a:pos x="34" y="96"/>
                  </a:cxn>
                  <a:cxn ang="0">
                    <a:pos x="38" y="94"/>
                  </a:cxn>
                  <a:cxn ang="0">
                    <a:pos x="44" y="98"/>
                  </a:cxn>
                  <a:cxn ang="0">
                    <a:pos x="54" y="96"/>
                  </a:cxn>
                  <a:cxn ang="0">
                    <a:pos x="60" y="94"/>
                  </a:cxn>
                  <a:cxn ang="0">
                    <a:pos x="58" y="90"/>
                  </a:cxn>
                  <a:cxn ang="0">
                    <a:pos x="70" y="86"/>
                  </a:cxn>
                  <a:cxn ang="0">
                    <a:pos x="76" y="84"/>
                  </a:cxn>
                  <a:cxn ang="0">
                    <a:pos x="74" y="78"/>
                  </a:cxn>
                  <a:cxn ang="0">
                    <a:pos x="64" y="74"/>
                  </a:cxn>
                  <a:cxn ang="0">
                    <a:pos x="62" y="72"/>
                  </a:cxn>
                  <a:cxn ang="0">
                    <a:pos x="58" y="72"/>
                  </a:cxn>
                  <a:cxn ang="0">
                    <a:pos x="60" y="66"/>
                  </a:cxn>
                  <a:cxn ang="0">
                    <a:pos x="56" y="62"/>
                  </a:cxn>
                  <a:cxn ang="0">
                    <a:pos x="58" y="56"/>
                  </a:cxn>
                  <a:cxn ang="0">
                    <a:pos x="68" y="48"/>
                  </a:cxn>
                  <a:cxn ang="0">
                    <a:pos x="74" y="40"/>
                  </a:cxn>
                  <a:cxn ang="0">
                    <a:pos x="78" y="38"/>
                  </a:cxn>
                  <a:cxn ang="0">
                    <a:pos x="76" y="30"/>
                  </a:cxn>
                  <a:cxn ang="0">
                    <a:pos x="72" y="26"/>
                  </a:cxn>
                  <a:cxn ang="0">
                    <a:pos x="72" y="16"/>
                  </a:cxn>
                  <a:cxn ang="0">
                    <a:pos x="78" y="10"/>
                  </a:cxn>
                  <a:cxn ang="0">
                    <a:pos x="76" y="6"/>
                  </a:cxn>
                  <a:cxn ang="0">
                    <a:pos x="68" y="4"/>
                  </a:cxn>
                </a:cxnLst>
                <a:rect l="0" t="0" r="r" b="b"/>
                <a:pathLst>
                  <a:path w="78" h="98">
                    <a:moveTo>
                      <a:pt x="66" y="0"/>
                    </a:moveTo>
                    <a:lnTo>
                      <a:pt x="62" y="0"/>
                    </a:lnTo>
                    <a:lnTo>
                      <a:pt x="60" y="0"/>
                    </a:lnTo>
                    <a:lnTo>
                      <a:pt x="58" y="0"/>
                    </a:lnTo>
                    <a:lnTo>
                      <a:pt x="60" y="2"/>
                    </a:lnTo>
                    <a:lnTo>
                      <a:pt x="60" y="4"/>
                    </a:lnTo>
                    <a:lnTo>
                      <a:pt x="60" y="6"/>
                    </a:lnTo>
                    <a:lnTo>
                      <a:pt x="62" y="8"/>
                    </a:lnTo>
                    <a:lnTo>
                      <a:pt x="60" y="8"/>
                    </a:lnTo>
                    <a:lnTo>
                      <a:pt x="60" y="10"/>
                    </a:lnTo>
                    <a:lnTo>
                      <a:pt x="58" y="10"/>
                    </a:lnTo>
                    <a:lnTo>
                      <a:pt x="56" y="8"/>
                    </a:lnTo>
                    <a:lnTo>
                      <a:pt x="54" y="8"/>
                    </a:lnTo>
                    <a:lnTo>
                      <a:pt x="56" y="10"/>
                    </a:lnTo>
                    <a:lnTo>
                      <a:pt x="56" y="12"/>
                    </a:lnTo>
                    <a:lnTo>
                      <a:pt x="56" y="14"/>
                    </a:lnTo>
                    <a:lnTo>
                      <a:pt x="56" y="16"/>
                    </a:lnTo>
                    <a:lnTo>
                      <a:pt x="54" y="16"/>
                    </a:lnTo>
                    <a:lnTo>
                      <a:pt x="52" y="18"/>
                    </a:lnTo>
                    <a:lnTo>
                      <a:pt x="50" y="18"/>
                    </a:lnTo>
                    <a:lnTo>
                      <a:pt x="48" y="18"/>
                    </a:lnTo>
                    <a:lnTo>
                      <a:pt x="46" y="16"/>
                    </a:lnTo>
                    <a:lnTo>
                      <a:pt x="44" y="16"/>
                    </a:lnTo>
                    <a:lnTo>
                      <a:pt x="42" y="16"/>
                    </a:lnTo>
                    <a:lnTo>
                      <a:pt x="40" y="16"/>
                    </a:lnTo>
                    <a:lnTo>
                      <a:pt x="40" y="18"/>
                    </a:lnTo>
                    <a:lnTo>
                      <a:pt x="40" y="20"/>
                    </a:lnTo>
                    <a:lnTo>
                      <a:pt x="42" y="20"/>
                    </a:lnTo>
                    <a:lnTo>
                      <a:pt x="42" y="22"/>
                    </a:lnTo>
                    <a:lnTo>
                      <a:pt x="44" y="22"/>
                    </a:lnTo>
                    <a:lnTo>
                      <a:pt x="46" y="24"/>
                    </a:lnTo>
                    <a:lnTo>
                      <a:pt x="48" y="24"/>
                    </a:lnTo>
                    <a:lnTo>
                      <a:pt x="48" y="26"/>
                    </a:lnTo>
                    <a:lnTo>
                      <a:pt x="48" y="28"/>
                    </a:lnTo>
                    <a:lnTo>
                      <a:pt x="46" y="28"/>
                    </a:lnTo>
                    <a:lnTo>
                      <a:pt x="42" y="28"/>
                    </a:lnTo>
                    <a:lnTo>
                      <a:pt x="40" y="28"/>
                    </a:lnTo>
                    <a:lnTo>
                      <a:pt x="38" y="28"/>
                    </a:lnTo>
                    <a:lnTo>
                      <a:pt x="34" y="26"/>
                    </a:lnTo>
                    <a:lnTo>
                      <a:pt x="32" y="26"/>
                    </a:lnTo>
                    <a:lnTo>
                      <a:pt x="30" y="26"/>
                    </a:lnTo>
                    <a:lnTo>
                      <a:pt x="28" y="24"/>
                    </a:lnTo>
                    <a:lnTo>
                      <a:pt x="26" y="24"/>
                    </a:lnTo>
                    <a:lnTo>
                      <a:pt x="24" y="22"/>
                    </a:lnTo>
                    <a:lnTo>
                      <a:pt x="22" y="22"/>
                    </a:lnTo>
                    <a:lnTo>
                      <a:pt x="20" y="22"/>
                    </a:lnTo>
                    <a:lnTo>
                      <a:pt x="20" y="24"/>
                    </a:lnTo>
                    <a:lnTo>
                      <a:pt x="20" y="26"/>
                    </a:lnTo>
                    <a:lnTo>
                      <a:pt x="20" y="28"/>
                    </a:lnTo>
                    <a:lnTo>
                      <a:pt x="20" y="32"/>
                    </a:lnTo>
                    <a:lnTo>
                      <a:pt x="18" y="36"/>
                    </a:lnTo>
                    <a:lnTo>
                      <a:pt x="18" y="38"/>
                    </a:lnTo>
                    <a:lnTo>
                      <a:pt x="18" y="40"/>
                    </a:lnTo>
                    <a:lnTo>
                      <a:pt x="16" y="42"/>
                    </a:lnTo>
                    <a:lnTo>
                      <a:pt x="14" y="42"/>
                    </a:lnTo>
                    <a:lnTo>
                      <a:pt x="10" y="44"/>
                    </a:lnTo>
                    <a:lnTo>
                      <a:pt x="8" y="46"/>
                    </a:lnTo>
                    <a:lnTo>
                      <a:pt x="6" y="48"/>
                    </a:lnTo>
                    <a:lnTo>
                      <a:pt x="4" y="48"/>
                    </a:lnTo>
                    <a:lnTo>
                      <a:pt x="2" y="50"/>
                    </a:lnTo>
                    <a:lnTo>
                      <a:pt x="2" y="52"/>
                    </a:lnTo>
                    <a:lnTo>
                      <a:pt x="2" y="54"/>
                    </a:lnTo>
                    <a:lnTo>
                      <a:pt x="0" y="56"/>
                    </a:lnTo>
                    <a:lnTo>
                      <a:pt x="0" y="58"/>
                    </a:lnTo>
                    <a:lnTo>
                      <a:pt x="0" y="56"/>
                    </a:lnTo>
                    <a:lnTo>
                      <a:pt x="2" y="54"/>
                    </a:lnTo>
                    <a:lnTo>
                      <a:pt x="2" y="52"/>
                    </a:lnTo>
                    <a:lnTo>
                      <a:pt x="4" y="54"/>
                    </a:lnTo>
                    <a:lnTo>
                      <a:pt x="4" y="56"/>
                    </a:lnTo>
                    <a:lnTo>
                      <a:pt x="4" y="58"/>
                    </a:lnTo>
                    <a:lnTo>
                      <a:pt x="6" y="60"/>
                    </a:lnTo>
                    <a:lnTo>
                      <a:pt x="8" y="60"/>
                    </a:lnTo>
                    <a:lnTo>
                      <a:pt x="8" y="62"/>
                    </a:lnTo>
                    <a:lnTo>
                      <a:pt x="10" y="64"/>
                    </a:lnTo>
                    <a:lnTo>
                      <a:pt x="10" y="62"/>
                    </a:lnTo>
                    <a:lnTo>
                      <a:pt x="10" y="60"/>
                    </a:lnTo>
                    <a:lnTo>
                      <a:pt x="12" y="60"/>
                    </a:lnTo>
                    <a:lnTo>
                      <a:pt x="12" y="58"/>
                    </a:lnTo>
                    <a:lnTo>
                      <a:pt x="12" y="60"/>
                    </a:lnTo>
                    <a:lnTo>
                      <a:pt x="14" y="62"/>
                    </a:lnTo>
                    <a:lnTo>
                      <a:pt x="16" y="62"/>
                    </a:lnTo>
                    <a:lnTo>
                      <a:pt x="16" y="64"/>
                    </a:lnTo>
                    <a:lnTo>
                      <a:pt x="18" y="64"/>
                    </a:lnTo>
                    <a:lnTo>
                      <a:pt x="20" y="62"/>
                    </a:lnTo>
                    <a:lnTo>
                      <a:pt x="22" y="64"/>
                    </a:lnTo>
                    <a:lnTo>
                      <a:pt x="22" y="66"/>
                    </a:lnTo>
                    <a:lnTo>
                      <a:pt x="24" y="68"/>
                    </a:lnTo>
                    <a:lnTo>
                      <a:pt x="24" y="70"/>
                    </a:lnTo>
                    <a:lnTo>
                      <a:pt x="24" y="72"/>
                    </a:lnTo>
                    <a:lnTo>
                      <a:pt x="24" y="74"/>
                    </a:lnTo>
                    <a:lnTo>
                      <a:pt x="24" y="76"/>
                    </a:lnTo>
                    <a:lnTo>
                      <a:pt x="24" y="78"/>
                    </a:lnTo>
                    <a:lnTo>
                      <a:pt x="26" y="78"/>
                    </a:lnTo>
                    <a:lnTo>
                      <a:pt x="30" y="78"/>
                    </a:lnTo>
                    <a:lnTo>
                      <a:pt x="32" y="78"/>
                    </a:lnTo>
                    <a:lnTo>
                      <a:pt x="34" y="78"/>
                    </a:lnTo>
                    <a:lnTo>
                      <a:pt x="34" y="80"/>
                    </a:lnTo>
                    <a:lnTo>
                      <a:pt x="34" y="82"/>
                    </a:lnTo>
                    <a:lnTo>
                      <a:pt x="32" y="82"/>
                    </a:lnTo>
                    <a:lnTo>
                      <a:pt x="32" y="80"/>
                    </a:lnTo>
                    <a:lnTo>
                      <a:pt x="30" y="80"/>
                    </a:lnTo>
                    <a:lnTo>
                      <a:pt x="28" y="80"/>
                    </a:lnTo>
                    <a:lnTo>
                      <a:pt x="26" y="80"/>
                    </a:lnTo>
                    <a:lnTo>
                      <a:pt x="24" y="82"/>
                    </a:lnTo>
                    <a:lnTo>
                      <a:pt x="24" y="84"/>
                    </a:lnTo>
                    <a:lnTo>
                      <a:pt x="24" y="86"/>
                    </a:lnTo>
                    <a:lnTo>
                      <a:pt x="24" y="88"/>
                    </a:lnTo>
                    <a:lnTo>
                      <a:pt x="26" y="90"/>
                    </a:lnTo>
                    <a:lnTo>
                      <a:pt x="28" y="92"/>
                    </a:lnTo>
                    <a:lnTo>
                      <a:pt x="28" y="94"/>
                    </a:lnTo>
                    <a:lnTo>
                      <a:pt x="30" y="94"/>
                    </a:lnTo>
                    <a:lnTo>
                      <a:pt x="30" y="96"/>
                    </a:lnTo>
                    <a:lnTo>
                      <a:pt x="34" y="96"/>
                    </a:lnTo>
                    <a:lnTo>
                      <a:pt x="36" y="94"/>
                    </a:lnTo>
                    <a:lnTo>
                      <a:pt x="38" y="94"/>
                    </a:lnTo>
                    <a:lnTo>
                      <a:pt x="40" y="94"/>
                    </a:lnTo>
                    <a:lnTo>
                      <a:pt x="40" y="96"/>
                    </a:lnTo>
                    <a:lnTo>
                      <a:pt x="42" y="96"/>
                    </a:lnTo>
                    <a:lnTo>
                      <a:pt x="44" y="98"/>
                    </a:lnTo>
                    <a:lnTo>
                      <a:pt x="46" y="98"/>
                    </a:lnTo>
                    <a:lnTo>
                      <a:pt x="48" y="98"/>
                    </a:lnTo>
                    <a:lnTo>
                      <a:pt x="50" y="98"/>
                    </a:lnTo>
                    <a:lnTo>
                      <a:pt x="52" y="98"/>
                    </a:lnTo>
                    <a:lnTo>
                      <a:pt x="54" y="96"/>
                    </a:lnTo>
                    <a:lnTo>
                      <a:pt x="56" y="96"/>
                    </a:lnTo>
                    <a:lnTo>
                      <a:pt x="58" y="94"/>
                    </a:lnTo>
                    <a:lnTo>
                      <a:pt x="60" y="94"/>
                    </a:lnTo>
                    <a:lnTo>
                      <a:pt x="58" y="92"/>
                    </a:lnTo>
                    <a:lnTo>
                      <a:pt x="58" y="90"/>
                    </a:lnTo>
                    <a:lnTo>
                      <a:pt x="60" y="90"/>
                    </a:lnTo>
                    <a:lnTo>
                      <a:pt x="62" y="88"/>
                    </a:lnTo>
                    <a:lnTo>
                      <a:pt x="64" y="88"/>
                    </a:lnTo>
                    <a:lnTo>
                      <a:pt x="68" y="86"/>
                    </a:lnTo>
                    <a:lnTo>
                      <a:pt x="70" y="86"/>
                    </a:lnTo>
                    <a:lnTo>
                      <a:pt x="72" y="86"/>
                    </a:lnTo>
                    <a:lnTo>
                      <a:pt x="74" y="86"/>
                    </a:lnTo>
                    <a:lnTo>
                      <a:pt x="76" y="86"/>
                    </a:lnTo>
                    <a:lnTo>
                      <a:pt x="76" y="84"/>
                    </a:lnTo>
                    <a:lnTo>
                      <a:pt x="78" y="84"/>
                    </a:lnTo>
                    <a:lnTo>
                      <a:pt x="76" y="82"/>
                    </a:lnTo>
                    <a:lnTo>
                      <a:pt x="76" y="80"/>
                    </a:lnTo>
                    <a:lnTo>
                      <a:pt x="74" y="78"/>
                    </a:lnTo>
                    <a:lnTo>
                      <a:pt x="72" y="78"/>
                    </a:lnTo>
                    <a:lnTo>
                      <a:pt x="70" y="76"/>
                    </a:lnTo>
                    <a:lnTo>
                      <a:pt x="68" y="74"/>
                    </a:lnTo>
                    <a:lnTo>
                      <a:pt x="66" y="74"/>
                    </a:lnTo>
                    <a:lnTo>
                      <a:pt x="64" y="74"/>
                    </a:lnTo>
                    <a:lnTo>
                      <a:pt x="64" y="72"/>
                    </a:lnTo>
                    <a:lnTo>
                      <a:pt x="62" y="72"/>
                    </a:lnTo>
                    <a:lnTo>
                      <a:pt x="60" y="74"/>
                    </a:lnTo>
                    <a:lnTo>
                      <a:pt x="58" y="74"/>
                    </a:lnTo>
                    <a:lnTo>
                      <a:pt x="58" y="72"/>
                    </a:lnTo>
                    <a:lnTo>
                      <a:pt x="58" y="70"/>
                    </a:lnTo>
                    <a:lnTo>
                      <a:pt x="60" y="68"/>
                    </a:lnTo>
                    <a:lnTo>
                      <a:pt x="60" y="66"/>
                    </a:lnTo>
                    <a:lnTo>
                      <a:pt x="58" y="66"/>
                    </a:lnTo>
                    <a:lnTo>
                      <a:pt x="56" y="64"/>
                    </a:lnTo>
                    <a:lnTo>
                      <a:pt x="56" y="62"/>
                    </a:lnTo>
                    <a:lnTo>
                      <a:pt x="54" y="62"/>
                    </a:lnTo>
                    <a:lnTo>
                      <a:pt x="54" y="60"/>
                    </a:lnTo>
                    <a:lnTo>
                      <a:pt x="56" y="58"/>
                    </a:lnTo>
                    <a:lnTo>
                      <a:pt x="58" y="56"/>
                    </a:lnTo>
                    <a:lnTo>
                      <a:pt x="62" y="54"/>
                    </a:lnTo>
                    <a:lnTo>
                      <a:pt x="64" y="54"/>
                    </a:lnTo>
                    <a:lnTo>
                      <a:pt x="66" y="54"/>
                    </a:lnTo>
                    <a:lnTo>
                      <a:pt x="66" y="52"/>
                    </a:lnTo>
                    <a:lnTo>
                      <a:pt x="68" y="50"/>
                    </a:lnTo>
                    <a:lnTo>
                      <a:pt x="68" y="48"/>
                    </a:lnTo>
                    <a:lnTo>
                      <a:pt x="70" y="44"/>
                    </a:lnTo>
                    <a:lnTo>
                      <a:pt x="70" y="42"/>
                    </a:lnTo>
                    <a:lnTo>
                      <a:pt x="72" y="42"/>
                    </a:lnTo>
                    <a:lnTo>
                      <a:pt x="72" y="40"/>
                    </a:lnTo>
                    <a:lnTo>
                      <a:pt x="74" y="40"/>
                    </a:lnTo>
                    <a:lnTo>
                      <a:pt x="76" y="38"/>
                    </a:lnTo>
                    <a:lnTo>
                      <a:pt x="78" y="38"/>
                    </a:lnTo>
                    <a:lnTo>
                      <a:pt x="76" y="36"/>
                    </a:lnTo>
                    <a:lnTo>
                      <a:pt x="76" y="34"/>
                    </a:lnTo>
                    <a:lnTo>
                      <a:pt x="76" y="32"/>
                    </a:lnTo>
                    <a:lnTo>
                      <a:pt x="76" y="30"/>
                    </a:lnTo>
                    <a:lnTo>
                      <a:pt x="74" y="30"/>
                    </a:lnTo>
                    <a:lnTo>
                      <a:pt x="74" y="28"/>
                    </a:lnTo>
                    <a:lnTo>
                      <a:pt x="72" y="28"/>
                    </a:lnTo>
                    <a:lnTo>
                      <a:pt x="72" y="26"/>
                    </a:lnTo>
                    <a:lnTo>
                      <a:pt x="70" y="24"/>
                    </a:lnTo>
                    <a:lnTo>
                      <a:pt x="70" y="22"/>
                    </a:lnTo>
                    <a:lnTo>
                      <a:pt x="70" y="20"/>
                    </a:lnTo>
                    <a:lnTo>
                      <a:pt x="70" y="18"/>
                    </a:lnTo>
                    <a:lnTo>
                      <a:pt x="72" y="16"/>
                    </a:lnTo>
                    <a:lnTo>
                      <a:pt x="74" y="14"/>
                    </a:lnTo>
                    <a:lnTo>
                      <a:pt x="76" y="14"/>
                    </a:lnTo>
                    <a:lnTo>
                      <a:pt x="78" y="12"/>
                    </a:lnTo>
                    <a:lnTo>
                      <a:pt x="78" y="10"/>
                    </a:lnTo>
                    <a:lnTo>
                      <a:pt x="76" y="10"/>
                    </a:lnTo>
                    <a:lnTo>
                      <a:pt x="76" y="8"/>
                    </a:lnTo>
                    <a:lnTo>
                      <a:pt x="76" y="6"/>
                    </a:lnTo>
                    <a:lnTo>
                      <a:pt x="72" y="6"/>
                    </a:lnTo>
                    <a:lnTo>
                      <a:pt x="70" y="6"/>
                    </a:lnTo>
                    <a:lnTo>
                      <a:pt x="70" y="4"/>
                    </a:lnTo>
                    <a:lnTo>
                      <a:pt x="68" y="4"/>
                    </a:lnTo>
                    <a:lnTo>
                      <a:pt x="66"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5" name="Freeform 224">
                <a:extLst>
                  <a:ext uri="{FF2B5EF4-FFF2-40B4-BE49-F238E27FC236}">
                    <a16:creationId xmlns:a16="http://schemas.microsoft.com/office/drawing/2014/main" id="{4263A1DE-9E60-48CB-9EC3-1FAEAE8F7C59}"/>
                  </a:ext>
                </a:extLst>
              </p:cNvPr>
              <p:cNvSpPr>
                <a:spLocks noChangeAspect="1"/>
              </p:cNvSpPr>
              <p:nvPr/>
            </p:nvSpPr>
            <p:spPr bwMode="auto">
              <a:xfrm>
                <a:off x="8244053" y="4504972"/>
                <a:ext cx="36176" cy="31392"/>
              </a:xfrm>
              <a:custGeom>
                <a:avLst/>
                <a:gdLst/>
                <a:ahLst/>
                <a:cxnLst>
                  <a:cxn ang="0">
                    <a:pos x="20" y="2"/>
                  </a:cxn>
                  <a:cxn ang="0">
                    <a:pos x="20" y="2"/>
                  </a:cxn>
                  <a:cxn ang="0">
                    <a:pos x="20" y="2"/>
                  </a:cxn>
                  <a:cxn ang="0">
                    <a:pos x="20" y="2"/>
                  </a:cxn>
                  <a:cxn ang="0">
                    <a:pos x="18" y="2"/>
                  </a:cxn>
                  <a:cxn ang="0">
                    <a:pos x="18" y="0"/>
                  </a:cxn>
                  <a:cxn ang="0">
                    <a:pos x="16" y="0"/>
                  </a:cxn>
                  <a:cxn ang="0">
                    <a:pos x="14" y="0"/>
                  </a:cxn>
                  <a:cxn ang="0">
                    <a:pos x="14" y="0"/>
                  </a:cxn>
                  <a:cxn ang="0">
                    <a:pos x="10" y="0"/>
                  </a:cxn>
                  <a:cxn ang="0">
                    <a:pos x="8" y="2"/>
                  </a:cxn>
                  <a:cxn ang="0">
                    <a:pos x="6" y="4"/>
                  </a:cxn>
                  <a:cxn ang="0">
                    <a:pos x="4" y="6"/>
                  </a:cxn>
                  <a:cxn ang="0">
                    <a:pos x="2" y="8"/>
                  </a:cxn>
                  <a:cxn ang="0">
                    <a:pos x="2" y="10"/>
                  </a:cxn>
                  <a:cxn ang="0">
                    <a:pos x="0" y="14"/>
                  </a:cxn>
                  <a:cxn ang="0">
                    <a:pos x="0" y="16"/>
                  </a:cxn>
                  <a:cxn ang="0">
                    <a:pos x="0" y="16"/>
                  </a:cxn>
                  <a:cxn ang="0">
                    <a:pos x="0" y="18"/>
                  </a:cxn>
                  <a:cxn ang="0">
                    <a:pos x="0" y="18"/>
                  </a:cxn>
                  <a:cxn ang="0">
                    <a:pos x="0" y="18"/>
                  </a:cxn>
                  <a:cxn ang="0">
                    <a:pos x="2" y="18"/>
                  </a:cxn>
                  <a:cxn ang="0">
                    <a:pos x="4" y="18"/>
                  </a:cxn>
                  <a:cxn ang="0">
                    <a:pos x="6" y="18"/>
                  </a:cxn>
                  <a:cxn ang="0">
                    <a:pos x="8" y="18"/>
                  </a:cxn>
                  <a:cxn ang="0">
                    <a:pos x="10" y="16"/>
                  </a:cxn>
                  <a:cxn ang="0">
                    <a:pos x="10" y="16"/>
                  </a:cxn>
                  <a:cxn ang="0">
                    <a:pos x="12" y="16"/>
                  </a:cxn>
                  <a:cxn ang="0">
                    <a:pos x="14" y="16"/>
                  </a:cxn>
                  <a:cxn ang="0">
                    <a:pos x="14" y="16"/>
                  </a:cxn>
                  <a:cxn ang="0">
                    <a:pos x="14" y="16"/>
                  </a:cxn>
                  <a:cxn ang="0">
                    <a:pos x="14" y="16"/>
                  </a:cxn>
                  <a:cxn ang="0">
                    <a:pos x="14" y="16"/>
                  </a:cxn>
                  <a:cxn ang="0">
                    <a:pos x="16" y="16"/>
                  </a:cxn>
                  <a:cxn ang="0">
                    <a:pos x="18" y="16"/>
                  </a:cxn>
                  <a:cxn ang="0">
                    <a:pos x="20" y="16"/>
                  </a:cxn>
                  <a:cxn ang="0">
                    <a:pos x="20" y="12"/>
                  </a:cxn>
                  <a:cxn ang="0">
                    <a:pos x="20" y="10"/>
                  </a:cxn>
                  <a:cxn ang="0">
                    <a:pos x="20" y="10"/>
                  </a:cxn>
                  <a:cxn ang="0">
                    <a:pos x="22" y="8"/>
                  </a:cxn>
                  <a:cxn ang="0">
                    <a:pos x="22" y="8"/>
                  </a:cxn>
                  <a:cxn ang="0">
                    <a:pos x="22" y="8"/>
                  </a:cxn>
                  <a:cxn ang="0">
                    <a:pos x="22" y="8"/>
                  </a:cxn>
                  <a:cxn ang="0">
                    <a:pos x="20" y="2"/>
                  </a:cxn>
                  <a:cxn ang="0">
                    <a:pos x="20" y="2"/>
                  </a:cxn>
                  <a:cxn ang="0">
                    <a:pos x="20" y="2"/>
                  </a:cxn>
                </a:cxnLst>
                <a:rect l="0" t="0" r="r" b="b"/>
                <a:pathLst>
                  <a:path w="22" h="18">
                    <a:moveTo>
                      <a:pt x="20" y="2"/>
                    </a:moveTo>
                    <a:lnTo>
                      <a:pt x="20" y="2"/>
                    </a:lnTo>
                    <a:lnTo>
                      <a:pt x="18" y="2"/>
                    </a:lnTo>
                    <a:lnTo>
                      <a:pt x="18" y="0"/>
                    </a:lnTo>
                    <a:lnTo>
                      <a:pt x="16" y="0"/>
                    </a:lnTo>
                    <a:lnTo>
                      <a:pt x="14" y="0"/>
                    </a:lnTo>
                    <a:lnTo>
                      <a:pt x="10" y="0"/>
                    </a:lnTo>
                    <a:lnTo>
                      <a:pt x="8" y="2"/>
                    </a:lnTo>
                    <a:lnTo>
                      <a:pt x="6" y="4"/>
                    </a:lnTo>
                    <a:lnTo>
                      <a:pt x="4" y="6"/>
                    </a:lnTo>
                    <a:lnTo>
                      <a:pt x="2" y="8"/>
                    </a:lnTo>
                    <a:lnTo>
                      <a:pt x="2" y="10"/>
                    </a:lnTo>
                    <a:lnTo>
                      <a:pt x="0" y="14"/>
                    </a:lnTo>
                    <a:lnTo>
                      <a:pt x="0" y="16"/>
                    </a:lnTo>
                    <a:lnTo>
                      <a:pt x="0" y="18"/>
                    </a:lnTo>
                    <a:lnTo>
                      <a:pt x="2" y="18"/>
                    </a:lnTo>
                    <a:lnTo>
                      <a:pt x="4" y="18"/>
                    </a:lnTo>
                    <a:lnTo>
                      <a:pt x="6" y="18"/>
                    </a:lnTo>
                    <a:lnTo>
                      <a:pt x="8" y="18"/>
                    </a:lnTo>
                    <a:lnTo>
                      <a:pt x="10" y="16"/>
                    </a:lnTo>
                    <a:lnTo>
                      <a:pt x="12" y="16"/>
                    </a:lnTo>
                    <a:lnTo>
                      <a:pt x="14" y="16"/>
                    </a:lnTo>
                    <a:lnTo>
                      <a:pt x="16" y="16"/>
                    </a:lnTo>
                    <a:lnTo>
                      <a:pt x="18" y="16"/>
                    </a:lnTo>
                    <a:lnTo>
                      <a:pt x="20" y="16"/>
                    </a:lnTo>
                    <a:lnTo>
                      <a:pt x="20" y="12"/>
                    </a:lnTo>
                    <a:lnTo>
                      <a:pt x="20" y="10"/>
                    </a:lnTo>
                    <a:lnTo>
                      <a:pt x="22" y="8"/>
                    </a:lnTo>
                    <a:lnTo>
                      <a:pt x="20"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6" name="Freeform 234">
                <a:extLst>
                  <a:ext uri="{FF2B5EF4-FFF2-40B4-BE49-F238E27FC236}">
                    <a16:creationId xmlns:a16="http://schemas.microsoft.com/office/drawing/2014/main" id="{D1FA8770-79F9-44E5-95EC-1B9210C9EF03}"/>
                  </a:ext>
                </a:extLst>
              </p:cNvPr>
              <p:cNvSpPr>
                <a:spLocks noChangeAspect="1"/>
              </p:cNvSpPr>
              <p:nvPr/>
            </p:nvSpPr>
            <p:spPr bwMode="auto">
              <a:xfrm>
                <a:off x="2329286" y="2827281"/>
                <a:ext cx="9866" cy="10464"/>
              </a:xfrm>
              <a:custGeom>
                <a:avLst/>
                <a:gdLst/>
                <a:ahLst/>
                <a:cxnLst>
                  <a:cxn ang="0">
                    <a:pos x="0" y="4"/>
                  </a:cxn>
                  <a:cxn ang="0">
                    <a:pos x="0" y="4"/>
                  </a:cxn>
                  <a:cxn ang="0">
                    <a:pos x="0" y="4"/>
                  </a:cxn>
                  <a:cxn ang="0">
                    <a:pos x="0" y="6"/>
                  </a:cxn>
                  <a:cxn ang="0">
                    <a:pos x="0" y="6"/>
                  </a:cxn>
                  <a:cxn ang="0">
                    <a:pos x="2" y="6"/>
                  </a:cxn>
                  <a:cxn ang="0">
                    <a:pos x="2" y="6"/>
                  </a:cxn>
                  <a:cxn ang="0">
                    <a:pos x="4" y="6"/>
                  </a:cxn>
                  <a:cxn ang="0">
                    <a:pos x="4" y="6"/>
                  </a:cxn>
                  <a:cxn ang="0">
                    <a:pos x="6" y="6"/>
                  </a:cxn>
                  <a:cxn ang="0">
                    <a:pos x="6" y="6"/>
                  </a:cxn>
                  <a:cxn ang="0">
                    <a:pos x="6" y="4"/>
                  </a:cxn>
                  <a:cxn ang="0">
                    <a:pos x="6" y="4"/>
                  </a:cxn>
                  <a:cxn ang="0">
                    <a:pos x="6" y="2"/>
                  </a:cxn>
                  <a:cxn ang="0">
                    <a:pos x="4" y="2"/>
                  </a:cxn>
                  <a:cxn ang="0">
                    <a:pos x="4" y="0"/>
                  </a:cxn>
                  <a:cxn ang="0">
                    <a:pos x="4" y="0"/>
                  </a:cxn>
                  <a:cxn ang="0">
                    <a:pos x="2" y="0"/>
                  </a:cxn>
                  <a:cxn ang="0">
                    <a:pos x="2" y="0"/>
                  </a:cxn>
                  <a:cxn ang="0">
                    <a:pos x="0" y="0"/>
                  </a:cxn>
                  <a:cxn ang="0">
                    <a:pos x="0" y="2"/>
                  </a:cxn>
                  <a:cxn ang="0">
                    <a:pos x="0" y="2"/>
                  </a:cxn>
                  <a:cxn ang="0">
                    <a:pos x="0" y="4"/>
                  </a:cxn>
                  <a:cxn ang="0">
                    <a:pos x="0" y="4"/>
                  </a:cxn>
                </a:cxnLst>
                <a:rect l="0" t="0" r="r" b="b"/>
                <a:pathLst>
                  <a:path w="6" h="6">
                    <a:moveTo>
                      <a:pt x="0" y="4"/>
                    </a:moveTo>
                    <a:lnTo>
                      <a:pt x="0" y="4"/>
                    </a:lnTo>
                    <a:lnTo>
                      <a:pt x="0" y="6"/>
                    </a:lnTo>
                    <a:lnTo>
                      <a:pt x="2" y="6"/>
                    </a:lnTo>
                    <a:lnTo>
                      <a:pt x="4" y="6"/>
                    </a:lnTo>
                    <a:lnTo>
                      <a:pt x="6" y="6"/>
                    </a:lnTo>
                    <a:lnTo>
                      <a:pt x="6" y="4"/>
                    </a:lnTo>
                    <a:lnTo>
                      <a:pt x="6" y="2"/>
                    </a:lnTo>
                    <a:lnTo>
                      <a:pt x="4" y="2"/>
                    </a:lnTo>
                    <a:lnTo>
                      <a:pt x="4" y="0"/>
                    </a:lnTo>
                    <a:lnTo>
                      <a:pt x="2" y="0"/>
                    </a:lnTo>
                    <a:lnTo>
                      <a:pt x="0" y="0"/>
                    </a:lnTo>
                    <a:lnTo>
                      <a:pt x="0" y="2"/>
                    </a:lnTo>
                    <a:lnTo>
                      <a:pt x="0"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17" name="Freeform 238">
                <a:extLst>
                  <a:ext uri="{FF2B5EF4-FFF2-40B4-BE49-F238E27FC236}">
                    <a16:creationId xmlns:a16="http://schemas.microsoft.com/office/drawing/2014/main" id="{BC25CD9C-BE52-46D8-9A17-63EE3777A26F}"/>
                  </a:ext>
                </a:extLst>
              </p:cNvPr>
              <p:cNvSpPr>
                <a:spLocks noChangeAspect="1"/>
              </p:cNvSpPr>
              <p:nvPr/>
            </p:nvSpPr>
            <p:spPr bwMode="auto">
              <a:xfrm>
                <a:off x="2329286" y="2827281"/>
                <a:ext cx="9866" cy="10464"/>
              </a:xfrm>
              <a:custGeom>
                <a:avLst/>
                <a:gdLst/>
                <a:ahLst/>
                <a:cxnLst>
                  <a:cxn ang="0">
                    <a:pos x="0" y="4"/>
                  </a:cxn>
                  <a:cxn ang="0">
                    <a:pos x="0" y="4"/>
                  </a:cxn>
                  <a:cxn ang="0">
                    <a:pos x="0" y="4"/>
                  </a:cxn>
                  <a:cxn ang="0">
                    <a:pos x="0" y="6"/>
                  </a:cxn>
                  <a:cxn ang="0">
                    <a:pos x="0" y="6"/>
                  </a:cxn>
                  <a:cxn ang="0">
                    <a:pos x="2" y="6"/>
                  </a:cxn>
                  <a:cxn ang="0">
                    <a:pos x="2" y="6"/>
                  </a:cxn>
                  <a:cxn ang="0">
                    <a:pos x="4" y="6"/>
                  </a:cxn>
                  <a:cxn ang="0">
                    <a:pos x="4" y="6"/>
                  </a:cxn>
                  <a:cxn ang="0">
                    <a:pos x="6" y="6"/>
                  </a:cxn>
                  <a:cxn ang="0">
                    <a:pos x="6" y="6"/>
                  </a:cxn>
                  <a:cxn ang="0">
                    <a:pos x="6" y="4"/>
                  </a:cxn>
                  <a:cxn ang="0">
                    <a:pos x="6" y="4"/>
                  </a:cxn>
                  <a:cxn ang="0">
                    <a:pos x="6" y="2"/>
                  </a:cxn>
                  <a:cxn ang="0">
                    <a:pos x="4" y="2"/>
                  </a:cxn>
                  <a:cxn ang="0">
                    <a:pos x="4" y="0"/>
                  </a:cxn>
                  <a:cxn ang="0">
                    <a:pos x="4" y="0"/>
                  </a:cxn>
                  <a:cxn ang="0">
                    <a:pos x="2" y="0"/>
                  </a:cxn>
                  <a:cxn ang="0">
                    <a:pos x="2" y="0"/>
                  </a:cxn>
                  <a:cxn ang="0">
                    <a:pos x="0" y="0"/>
                  </a:cxn>
                  <a:cxn ang="0">
                    <a:pos x="0" y="2"/>
                  </a:cxn>
                  <a:cxn ang="0">
                    <a:pos x="0" y="2"/>
                  </a:cxn>
                  <a:cxn ang="0">
                    <a:pos x="0" y="4"/>
                  </a:cxn>
                  <a:cxn ang="0">
                    <a:pos x="0" y="4"/>
                  </a:cxn>
                </a:cxnLst>
                <a:rect l="0" t="0" r="r" b="b"/>
                <a:pathLst>
                  <a:path w="6" h="6">
                    <a:moveTo>
                      <a:pt x="0" y="4"/>
                    </a:moveTo>
                    <a:lnTo>
                      <a:pt x="0" y="4"/>
                    </a:lnTo>
                    <a:lnTo>
                      <a:pt x="0" y="6"/>
                    </a:lnTo>
                    <a:lnTo>
                      <a:pt x="2" y="6"/>
                    </a:lnTo>
                    <a:lnTo>
                      <a:pt x="4" y="6"/>
                    </a:lnTo>
                    <a:lnTo>
                      <a:pt x="6" y="6"/>
                    </a:lnTo>
                    <a:lnTo>
                      <a:pt x="6" y="4"/>
                    </a:lnTo>
                    <a:lnTo>
                      <a:pt x="6" y="2"/>
                    </a:lnTo>
                    <a:lnTo>
                      <a:pt x="4" y="2"/>
                    </a:lnTo>
                    <a:lnTo>
                      <a:pt x="4" y="0"/>
                    </a:lnTo>
                    <a:lnTo>
                      <a:pt x="2" y="0"/>
                    </a:lnTo>
                    <a:lnTo>
                      <a:pt x="0" y="0"/>
                    </a:lnTo>
                    <a:lnTo>
                      <a:pt x="0" y="2"/>
                    </a:lnTo>
                    <a:lnTo>
                      <a:pt x="0"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nvGrpSpPr>
              <p:cNvPr id="118" name="Group 117">
                <a:extLst>
                  <a:ext uri="{FF2B5EF4-FFF2-40B4-BE49-F238E27FC236}">
                    <a16:creationId xmlns:a16="http://schemas.microsoft.com/office/drawing/2014/main" id="{9C9E31A5-4801-433E-BB39-1D88F1E1EC98}"/>
                  </a:ext>
                </a:extLst>
              </p:cNvPr>
              <p:cNvGrpSpPr/>
              <p:nvPr/>
            </p:nvGrpSpPr>
            <p:grpSpPr>
              <a:xfrm>
                <a:off x="1859000" y="3587648"/>
                <a:ext cx="1578586" cy="2516539"/>
                <a:chOff x="1549073" y="3133415"/>
                <a:chExt cx="1906021" cy="3038894"/>
              </a:xfrm>
              <a:grpFill/>
            </p:grpSpPr>
            <p:sp>
              <p:nvSpPr>
                <p:cNvPr id="130" name="Freeform 10">
                  <a:extLst>
                    <a:ext uri="{FF2B5EF4-FFF2-40B4-BE49-F238E27FC236}">
                      <a16:creationId xmlns:a16="http://schemas.microsoft.com/office/drawing/2014/main" id="{63BA9D48-8476-4D60-94AD-781624F82105}"/>
                    </a:ext>
                  </a:extLst>
                </p:cNvPr>
                <p:cNvSpPr>
                  <a:spLocks noChangeAspect="1"/>
                </p:cNvSpPr>
                <p:nvPr/>
              </p:nvSpPr>
              <p:spPr bwMode="auto">
                <a:xfrm>
                  <a:off x="1549073" y="3217655"/>
                  <a:ext cx="138980" cy="168476"/>
                </a:xfrm>
                <a:custGeom>
                  <a:avLst/>
                  <a:gdLst/>
                  <a:ahLst/>
                  <a:cxnLst>
                    <a:cxn ang="0">
                      <a:pos x="64" y="38"/>
                    </a:cxn>
                    <a:cxn ang="0">
                      <a:pos x="62" y="38"/>
                    </a:cxn>
                    <a:cxn ang="0">
                      <a:pos x="60" y="38"/>
                    </a:cxn>
                    <a:cxn ang="0">
                      <a:pos x="54" y="38"/>
                    </a:cxn>
                    <a:cxn ang="0">
                      <a:pos x="54" y="30"/>
                    </a:cxn>
                    <a:cxn ang="0">
                      <a:pos x="56" y="12"/>
                    </a:cxn>
                    <a:cxn ang="0">
                      <a:pos x="58" y="2"/>
                    </a:cxn>
                    <a:cxn ang="0">
                      <a:pos x="58" y="0"/>
                    </a:cxn>
                    <a:cxn ang="0">
                      <a:pos x="44" y="0"/>
                    </a:cxn>
                    <a:cxn ang="0">
                      <a:pos x="34" y="0"/>
                    </a:cxn>
                    <a:cxn ang="0">
                      <a:pos x="30" y="0"/>
                    </a:cxn>
                    <a:cxn ang="0">
                      <a:pos x="28" y="0"/>
                    </a:cxn>
                    <a:cxn ang="0">
                      <a:pos x="28" y="6"/>
                    </a:cxn>
                    <a:cxn ang="0">
                      <a:pos x="28" y="12"/>
                    </a:cxn>
                    <a:cxn ang="0">
                      <a:pos x="22" y="12"/>
                    </a:cxn>
                    <a:cxn ang="0">
                      <a:pos x="20" y="12"/>
                    </a:cxn>
                    <a:cxn ang="0">
                      <a:pos x="22" y="14"/>
                    </a:cxn>
                    <a:cxn ang="0">
                      <a:pos x="22" y="16"/>
                    </a:cxn>
                    <a:cxn ang="0">
                      <a:pos x="26" y="20"/>
                    </a:cxn>
                    <a:cxn ang="0">
                      <a:pos x="30" y="20"/>
                    </a:cxn>
                    <a:cxn ang="0">
                      <a:pos x="32" y="24"/>
                    </a:cxn>
                    <a:cxn ang="0">
                      <a:pos x="32" y="26"/>
                    </a:cxn>
                    <a:cxn ang="0">
                      <a:pos x="34" y="26"/>
                    </a:cxn>
                    <a:cxn ang="0">
                      <a:pos x="36" y="28"/>
                    </a:cxn>
                    <a:cxn ang="0">
                      <a:pos x="32" y="30"/>
                    </a:cxn>
                    <a:cxn ang="0">
                      <a:pos x="32" y="32"/>
                    </a:cxn>
                    <a:cxn ang="0">
                      <a:pos x="32" y="34"/>
                    </a:cxn>
                    <a:cxn ang="0">
                      <a:pos x="20" y="34"/>
                    </a:cxn>
                    <a:cxn ang="0">
                      <a:pos x="14" y="34"/>
                    </a:cxn>
                    <a:cxn ang="0">
                      <a:pos x="12" y="34"/>
                    </a:cxn>
                    <a:cxn ang="0">
                      <a:pos x="8" y="40"/>
                    </a:cxn>
                    <a:cxn ang="0">
                      <a:pos x="4" y="44"/>
                    </a:cxn>
                    <a:cxn ang="0">
                      <a:pos x="4" y="46"/>
                    </a:cxn>
                    <a:cxn ang="0">
                      <a:pos x="4" y="54"/>
                    </a:cxn>
                    <a:cxn ang="0">
                      <a:pos x="2" y="64"/>
                    </a:cxn>
                    <a:cxn ang="0">
                      <a:pos x="0" y="64"/>
                    </a:cxn>
                    <a:cxn ang="0">
                      <a:pos x="2" y="68"/>
                    </a:cxn>
                    <a:cxn ang="0">
                      <a:pos x="10" y="72"/>
                    </a:cxn>
                    <a:cxn ang="0">
                      <a:pos x="16" y="76"/>
                    </a:cxn>
                    <a:cxn ang="0">
                      <a:pos x="26" y="76"/>
                    </a:cxn>
                    <a:cxn ang="0">
                      <a:pos x="28" y="76"/>
                    </a:cxn>
                    <a:cxn ang="0">
                      <a:pos x="32" y="78"/>
                    </a:cxn>
                    <a:cxn ang="0">
                      <a:pos x="38" y="74"/>
                    </a:cxn>
                    <a:cxn ang="0">
                      <a:pos x="42" y="70"/>
                    </a:cxn>
                    <a:cxn ang="0">
                      <a:pos x="44" y="68"/>
                    </a:cxn>
                    <a:cxn ang="0">
                      <a:pos x="44" y="68"/>
                    </a:cxn>
                    <a:cxn ang="0">
                      <a:pos x="50" y="66"/>
                    </a:cxn>
                    <a:cxn ang="0">
                      <a:pos x="54" y="60"/>
                    </a:cxn>
                    <a:cxn ang="0">
                      <a:pos x="54" y="56"/>
                    </a:cxn>
                    <a:cxn ang="0">
                      <a:pos x="56" y="54"/>
                    </a:cxn>
                    <a:cxn ang="0">
                      <a:pos x="60" y="48"/>
                    </a:cxn>
                    <a:cxn ang="0">
                      <a:pos x="68" y="44"/>
                    </a:cxn>
                    <a:cxn ang="0">
                      <a:pos x="70" y="40"/>
                    </a:cxn>
                    <a:cxn ang="0">
                      <a:pos x="66" y="36"/>
                    </a:cxn>
                  </a:cxnLst>
                  <a:rect l="0" t="0" r="r" b="b"/>
                  <a:pathLst>
                    <a:path w="70" h="80">
                      <a:moveTo>
                        <a:pt x="66" y="36"/>
                      </a:moveTo>
                      <a:lnTo>
                        <a:pt x="66" y="38"/>
                      </a:lnTo>
                      <a:lnTo>
                        <a:pt x="64" y="38"/>
                      </a:lnTo>
                      <a:lnTo>
                        <a:pt x="64" y="40"/>
                      </a:lnTo>
                      <a:lnTo>
                        <a:pt x="62" y="40"/>
                      </a:lnTo>
                      <a:lnTo>
                        <a:pt x="62" y="38"/>
                      </a:lnTo>
                      <a:lnTo>
                        <a:pt x="60" y="38"/>
                      </a:lnTo>
                      <a:lnTo>
                        <a:pt x="58" y="38"/>
                      </a:lnTo>
                      <a:lnTo>
                        <a:pt x="56" y="38"/>
                      </a:lnTo>
                      <a:lnTo>
                        <a:pt x="54" y="38"/>
                      </a:lnTo>
                      <a:lnTo>
                        <a:pt x="54" y="30"/>
                      </a:lnTo>
                      <a:lnTo>
                        <a:pt x="56" y="24"/>
                      </a:lnTo>
                      <a:lnTo>
                        <a:pt x="56" y="20"/>
                      </a:lnTo>
                      <a:lnTo>
                        <a:pt x="56" y="16"/>
                      </a:lnTo>
                      <a:lnTo>
                        <a:pt x="56" y="12"/>
                      </a:lnTo>
                      <a:lnTo>
                        <a:pt x="58" y="10"/>
                      </a:lnTo>
                      <a:lnTo>
                        <a:pt x="58" y="6"/>
                      </a:lnTo>
                      <a:lnTo>
                        <a:pt x="58" y="4"/>
                      </a:lnTo>
                      <a:lnTo>
                        <a:pt x="58" y="2"/>
                      </a:lnTo>
                      <a:lnTo>
                        <a:pt x="58" y="0"/>
                      </a:lnTo>
                      <a:lnTo>
                        <a:pt x="54" y="0"/>
                      </a:lnTo>
                      <a:lnTo>
                        <a:pt x="48" y="0"/>
                      </a:lnTo>
                      <a:lnTo>
                        <a:pt x="44" y="0"/>
                      </a:lnTo>
                      <a:lnTo>
                        <a:pt x="40" y="0"/>
                      </a:lnTo>
                      <a:lnTo>
                        <a:pt x="38" y="0"/>
                      </a:lnTo>
                      <a:lnTo>
                        <a:pt x="36" y="0"/>
                      </a:lnTo>
                      <a:lnTo>
                        <a:pt x="34" y="0"/>
                      </a:lnTo>
                      <a:lnTo>
                        <a:pt x="32" y="0"/>
                      </a:lnTo>
                      <a:lnTo>
                        <a:pt x="30" y="0"/>
                      </a:lnTo>
                      <a:lnTo>
                        <a:pt x="28" y="0"/>
                      </a:lnTo>
                      <a:lnTo>
                        <a:pt x="28" y="2"/>
                      </a:lnTo>
                      <a:lnTo>
                        <a:pt x="28" y="4"/>
                      </a:lnTo>
                      <a:lnTo>
                        <a:pt x="28" y="6"/>
                      </a:lnTo>
                      <a:lnTo>
                        <a:pt x="28" y="8"/>
                      </a:lnTo>
                      <a:lnTo>
                        <a:pt x="28" y="10"/>
                      </a:lnTo>
                      <a:lnTo>
                        <a:pt x="28" y="12"/>
                      </a:lnTo>
                      <a:lnTo>
                        <a:pt x="26" y="12"/>
                      </a:lnTo>
                      <a:lnTo>
                        <a:pt x="24" y="12"/>
                      </a:lnTo>
                      <a:lnTo>
                        <a:pt x="22" y="12"/>
                      </a:lnTo>
                      <a:lnTo>
                        <a:pt x="20" y="12"/>
                      </a:lnTo>
                      <a:lnTo>
                        <a:pt x="18" y="12"/>
                      </a:lnTo>
                      <a:lnTo>
                        <a:pt x="20" y="12"/>
                      </a:lnTo>
                      <a:lnTo>
                        <a:pt x="22" y="14"/>
                      </a:lnTo>
                      <a:lnTo>
                        <a:pt x="22" y="16"/>
                      </a:lnTo>
                      <a:lnTo>
                        <a:pt x="24" y="18"/>
                      </a:lnTo>
                      <a:lnTo>
                        <a:pt x="24" y="20"/>
                      </a:lnTo>
                      <a:lnTo>
                        <a:pt x="26" y="20"/>
                      </a:lnTo>
                      <a:lnTo>
                        <a:pt x="28" y="20"/>
                      </a:lnTo>
                      <a:lnTo>
                        <a:pt x="30" y="20"/>
                      </a:lnTo>
                      <a:lnTo>
                        <a:pt x="32" y="22"/>
                      </a:lnTo>
                      <a:lnTo>
                        <a:pt x="32" y="24"/>
                      </a:lnTo>
                      <a:lnTo>
                        <a:pt x="32" y="26"/>
                      </a:lnTo>
                      <a:lnTo>
                        <a:pt x="34" y="26"/>
                      </a:lnTo>
                      <a:lnTo>
                        <a:pt x="36" y="26"/>
                      </a:lnTo>
                      <a:lnTo>
                        <a:pt x="36" y="28"/>
                      </a:lnTo>
                      <a:lnTo>
                        <a:pt x="34" y="30"/>
                      </a:lnTo>
                      <a:lnTo>
                        <a:pt x="32" y="30"/>
                      </a:lnTo>
                      <a:lnTo>
                        <a:pt x="32" y="32"/>
                      </a:lnTo>
                      <a:lnTo>
                        <a:pt x="32" y="34"/>
                      </a:lnTo>
                      <a:lnTo>
                        <a:pt x="30" y="34"/>
                      </a:lnTo>
                      <a:lnTo>
                        <a:pt x="26" y="34"/>
                      </a:lnTo>
                      <a:lnTo>
                        <a:pt x="22" y="34"/>
                      </a:lnTo>
                      <a:lnTo>
                        <a:pt x="20" y="34"/>
                      </a:lnTo>
                      <a:lnTo>
                        <a:pt x="18" y="34"/>
                      </a:lnTo>
                      <a:lnTo>
                        <a:pt x="16" y="34"/>
                      </a:lnTo>
                      <a:lnTo>
                        <a:pt x="14" y="34"/>
                      </a:lnTo>
                      <a:lnTo>
                        <a:pt x="12" y="34"/>
                      </a:lnTo>
                      <a:lnTo>
                        <a:pt x="10" y="36"/>
                      </a:lnTo>
                      <a:lnTo>
                        <a:pt x="8" y="38"/>
                      </a:lnTo>
                      <a:lnTo>
                        <a:pt x="8" y="40"/>
                      </a:lnTo>
                      <a:lnTo>
                        <a:pt x="6" y="44"/>
                      </a:lnTo>
                      <a:lnTo>
                        <a:pt x="4" y="44"/>
                      </a:lnTo>
                      <a:lnTo>
                        <a:pt x="4" y="46"/>
                      </a:lnTo>
                      <a:lnTo>
                        <a:pt x="4" y="48"/>
                      </a:lnTo>
                      <a:lnTo>
                        <a:pt x="4" y="50"/>
                      </a:lnTo>
                      <a:lnTo>
                        <a:pt x="4" y="52"/>
                      </a:lnTo>
                      <a:lnTo>
                        <a:pt x="4" y="54"/>
                      </a:lnTo>
                      <a:lnTo>
                        <a:pt x="4" y="60"/>
                      </a:lnTo>
                      <a:lnTo>
                        <a:pt x="4" y="62"/>
                      </a:lnTo>
                      <a:lnTo>
                        <a:pt x="2" y="64"/>
                      </a:lnTo>
                      <a:lnTo>
                        <a:pt x="0" y="64"/>
                      </a:lnTo>
                      <a:lnTo>
                        <a:pt x="0" y="66"/>
                      </a:lnTo>
                      <a:lnTo>
                        <a:pt x="2" y="68"/>
                      </a:lnTo>
                      <a:lnTo>
                        <a:pt x="4" y="68"/>
                      </a:lnTo>
                      <a:lnTo>
                        <a:pt x="6" y="70"/>
                      </a:lnTo>
                      <a:lnTo>
                        <a:pt x="8" y="70"/>
                      </a:lnTo>
                      <a:lnTo>
                        <a:pt x="10" y="72"/>
                      </a:lnTo>
                      <a:lnTo>
                        <a:pt x="12" y="74"/>
                      </a:lnTo>
                      <a:lnTo>
                        <a:pt x="14" y="76"/>
                      </a:lnTo>
                      <a:lnTo>
                        <a:pt x="16" y="76"/>
                      </a:lnTo>
                      <a:lnTo>
                        <a:pt x="18" y="76"/>
                      </a:lnTo>
                      <a:lnTo>
                        <a:pt x="20" y="76"/>
                      </a:lnTo>
                      <a:lnTo>
                        <a:pt x="24" y="76"/>
                      </a:lnTo>
                      <a:lnTo>
                        <a:pt x="26" y="76"/>
                      </a:lnTo>
                      <a:lnTo>
                        <a:pt x="28" y="76"/>
                      </a:lnTo>
                      <a:lnTo>
                        <a:pt x="30" y="78"/>
                      </a:lnTo>
                      <a:lnTo>
                        <a:pt x="32" y="80"/>
                      </a:lnTo>
                      <a:lnTo>
                        <a:pt x="32" y="78"/>
                      </a:lnTo>
                      <a:lnTo>
                        <a:pt x="34" y="76"/>
                      </a:lnTo>
                      <a:lnTo>
                        <a:pt x="36" y="74"/>
                      </a:lnTo>
                      <a:lnTo>
                        <a:pt x="38" y="74"/>
                      </a:lnTo>
                      <a:lnTo>
                        <a:pt x="40" y="74"/>
                      </a:lnTo>
                      <a:lnTo>
                        <a:pt x="40" y="72"/>
                      </a:lnTo>
                      <a:lnTo>
                        <a:pt x="42" y="72"/>
                      </a:lnTo>
                      <a:lnTo>
                        <a:pt x="42" y="70"/>
                      </a:lnTo>
                      <a:lnTo>
                        <a:pt x="44" y="70"/>
                      </a:lnTo>
                      <a:lnTo>
                        <a:pt x="44" y="68"/>
                      </a:lnTo>
                      <a:lnTo>
                        <a:pt x="46" y="66"/>
                      </a:lnTo>
                      <a:lnTo>
                        <a:pt x="48" y="66"/>
                      </a:lnTo>
                      <a:lnTo>
                        <a:pt x="50" y="66"/>
                      </a:lnTo>
                      <a:lnTo>
                        <a:pt x="52" y="64"/>
                      </a:lnTo>
                      <a:lnTo>
                        <a:pt x="54" y="60"/>
                      </a:lnTo>
                      <a:lnTo>
                        <a:pt x="54" y="58"/>
                      </a:lnTo>
                      <a:lnTo>
                        <a:pt x="54" y="56"/>
                      </a:lnTo>
                      <a:lnTo>
                        <a:pt x="54" y="54"/>
                      </a:lnTo>
                      <a:lnTo>
                        <a:pt x="56" y="54"/>
                      </a:lnTo>
                      <a:lnTo>
                        <a:pt x="56" y="52"/>
                      </a:lnTo>
                      <a:lnTo>
                        <a:pt x="56" y="50"/>
                      </a:lnTo>
                      <a:lnTo>
                        <a:pt x="58" y="50"/>
                      </a:lnTo>
                      <a:lnTo>
                        <a:pt x="60" y="48"/>
                      </a:lnTo>
                      <a:lnTo>
                        <a:pt x="62" y="46"/>
                      </a:lnTo>
                      <a:lnTo>
                        <a:pt x="64" y="46"/>
                      </a:lnTo>
                      <a:lnTo>
                        <a:pt x="66" y="44"/>
                      </a:lnTo>
                      <a:lnTo>
                        <a:pt x="68" y="44"/>
                      </a:lnTo>
                      <a:lnTo>
                        <a:pt x="68" y="42"/>
                      </a:lnTo>
                      <a:lnTo>
                        <a:pt x="70" y="42"/>
                      </a:lnTo>
                      <a:lnTo>
                        <a:pt x="70" y="40"/>
                      </a:lnTo>
                      <a:lnTo>
                        <a:pt x="66" y="3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1" name="Freeform 16">
                  <a:extLst>
                    <a:ext uri="{FF2B5EF4-FFF2-40B4-BE49-F238E27FC236}">
                      <a16:creationId xmlns:a16="http://schemas.microsoft.com/office/drawing/2014/main" id="{1419C9E8-A119-4671-B9F6-FED3FC80AC33}"/>
                    </a:ext>
                  </a:extLst>
                </p:cNvPr>
                <p:cNvSpPr>
                  <a:spLocks noChangeAspect="1"/>
                </p:cNvSpPr>
                <p:nvPr/>
              </p:nvSpPr>
              <p:spPr bwMode="auto">
                <a:xfrm>
                  <a:off x="1743645" y="3487217"/>
                  <a:ext cx="111184" cy="113722"/>
                </a:xfrm>
                <a:custGeom>
                  <a:avLst/>
                  <a:gdLst/>
                  <a:ahLst/>
                  <a:cxnLst>
                    <a:cxn ang="0">
                      <a:pos x="54" y="46"/>
                    </a:cxn>
                    <a:cxn ang="0">
                      <a:pos x="54" y="42"/>
                    </a:cxn>
                    <a:cxn ang="0">
                      <a:pos x="50" y="40"/>
                    </a:cxn>
                    <a:cxn ang="0">
                      <a:pos x="50" y="38"/>
                    </a:cxn>
                    <a:cxn ang="0">
                      <a:pos x="50" y="34"/>
                    </a:cxn>
                    <a:cxn ang="0">
                      <a:pos x="56" y="32"/>
                    </a:cxn>
                    <a:cxn ang="0">
                      <a:pos x="48" y="24"/>
                    </a:cxn>
                    <a:cxn ang="0">
                      <a:pos x="44" y="16"/>
                    </a:cxn>
                    <a:cxn ang="0">
                      <a:pos x="42" y="14"/>
                    </a:cxn>
                    <a:cxn ang="0">
                      <a:pos x="42" y="10"/>
                    </a:cxn>
                    <a:cxn ang="0">
                      <a:pos x="42" y="8"/>
                    </a:cxn>
                    <a:cxn ang="0">
                      <a:pos x="36" y="10"/>
                    </a:cxn>
                    <a:cxn ang="0">
                      <a:pos x="30" y="8"/>
                    </a:cxn>
                    <a:cxn ang="0">
                      <a:pos x="30" y="4"/>
                    </a:cxn>
                    <a:cxn ang="0">
                      <a:pos x="26" y="2"/>
                    </a:cxn>
                    <a:cxn ang="0">
                      <a:pos x="20" y="2"/>
                    </a:cxn>
                    <a:cxn ang="0">
                      <a:pos x="20" y="4"/>
                    </a:cxn>
                    <a:cxn ang="0">
                      <a:pos x="16" y="2"/>
                    </a:cxn>
                    <a:cxn ang="0">
                      <a:pos x="8" y="0"/>
                    </a:cxn>
                    <a:cxn ang="0">
                      <a:pos x="6" y="0"/>
                    </a:cxn>
                    <a:cxn ang="0">
                      <a:pos x="2" y="6"/>
                    </a:cxn>
                    <a:cxn ang="0">
                      <a:pos x="2" y="6"/>
                    </a:cxn>
                    <a:cxn ang="0">
                      <a:pos x="6" y="10"/>
                    </a:cxn>
                    <a:cxn ang="0">
                      <a:pos x="4" y="12"/>
                    </a:cxn>
                    <a:cxn ang="0">
                      <a:pos x="0" y="18"/>
                    </a:cxn>
                    <a:cxn ang="0">
                      <a:pos x="4" y="24"/>
                    </a:cxn>
                    <a:cxn ang="0">
                      <a:pos x="8" y="26"/>
                    </a:cxn>
                    <a:cxn ang="0">
                      <a:pos x="10" y="26"/>
                    </a:cxn>
                    <a:cxn ang="0">
                      <a:pos x="16" y="30"/>
                    </a:cxn>
                    <a:cxn ang="0">
                      <a:pos x="18" y="28"/>
                    </a:cxn>
                    <a:cxn ang="0">
                      <a:pos x="16" y="24"/>
                    </a:cxn>
                    <a:cxn ang="0">
                      <a:pos x="14" y="22"/>
                    </a:cxn>
                    <a:cxn ang="0">
                      <a:pos x="8" y="18"/>
                    </a:cxn>
                    <a:cxn ang="0">
                      <a:pos x="12" y="18"/>
                    </a:cxn>
                    <a:cxn ang="0">
                      <a:pos x="20" y="24"/>
                    </a:cxn>
                    <a:cxn ang="0">
                      <a:pos x="22" y="26"/>
                    </a:cxn>
                    <a:cxn ang="0">
                      <a:pos x="22" y="30"/>
                    </a:cxn>
                    <a:cxn ang="0">
                      <a:pos x="24" y="32"/>
                    </a:cxn>
                    <a:cxn ang="0">
                      <a:pos x="30" y="34"/>
                    </a:cxn>
                    <a:cxn ang="0">
                      <a:pos x="34" y="38"/>
                    </a:cxn>
                    <a:cxn ang="0">
                      <a:pos x="36" y="42"/>
                    </a:cxn>
                    <a:cxn ang="0">
                      <a:pos x="36" y="46"/>
                    </a:cxn>
                    <a:cxn ang="0">
                      <a:pos x="36" y="50"/>
                    </a:cxn>
                    <a:cxn ang="0">
                      <a:pos x="44" y="54"/>
                    </a:cxn>
                    <a:cxn ang="0">
                      <a:pos x="44" y="50"/>
                    </a:cxn>
                    <a:cxn ang="0">
                      <a:pos x="42" y="48"/>
                    </a:cxn>
                    <a:cxn ang="0">
                      <a:pos x="48" y="54"/>
                    </a:cxn>
                    <a:cxn ang="0">
                      <a:pos x="48" y="54"/>
                    </a:cxn>
                    <a:cxn ang="0">
                      <a:pos x="50" y="52"/>
                    </a:cxn>
                  </a:cxnLst>
                  <a:rect l="0" t="0" r="r" b="b"/>
                  <a:pathLst>
                    <a:path w="56" h="54">
                      <a:moveTo>
                        <a:pt x="50" y="48"/>
                      </a:moveTo>
                      <a:lnTo>
                        <a:pt x="50" y="48"/>
                      </a:lnTo>
                      <a:lnTo>
                        <a:pt x="52" y="48"/>
                      </a:lnTo>
                      <a:lnTo>
                        <a:pt x="54" y="46"/>
                      </a:lnTo>
                      <a:lnTo>
                        <a:pt x="54" y="44"/>
                      </a:lnTo>
                      <a:lnTo>
                        <a:pt x="54" y="42"/>
                      </a:lnTo>
                      <a:lnTo>
                        <a:pt x="52" y="42"/>
                      </a:lnTo>
                      <a:lnTo>
                        <a:pt x="50" y="40"/>
                      </a:lnTo>
                      <a:lnTo>
                        <a:pt x="50" y="38"/>
                      </a:lnTo>
                      <a:lnTo>
                        <a:pt x="48" y="38"/>
                      </a:lnTo>
                      <a:lnTo>
                        <a:pt x="48" y="36"/>
                      </a:lnTo>
                      <a:lnTo>
                        <a:pt x="48" y="34"/>
                      </a:lnTo>
                      <a:lnTo>
                        <a:pt x="50" y="34"/>
                      </a:lnTo>
                      <a:lnTo>
                        <a:pt x="54" y="32"/>
                      </a:lnTo>
                      <a:lnTo>
                        <a:pt x="56" y="32"/>
                      </a:lnTo>
                      <a:lnTo>
                        <a:pt x="54" y="30"/>
                      </a:lnTo>
                      <a:lnTo>
                        <a:pt x="52" y="28"/>
                      </a:lnTo>
                      <a:lnTo>
                        <a:pt x="50" y="26"/>
                      </a:lnTo>
                      <a:lnTo>
                        <a:pt x="48" y="24"/>
                      </a:lnTo>
                      <a:lnTo>
                        <a:pt x="48" y="22"/>
                      </a:lnTo>
                      <a:lnTo>
                        <a:pt x="46" y="20"/>
                      </a:lnTo>
                      <a:lnTo>
                        <a:pt x="44" y="16"/>
                      </a:lnTo>
                      <a:lnTo>
                        <a:pt x="44" y="14"/>
                      </a:lnTo>
                      <a:lnTo>
                        <a:pt x="42" y="14"/>
                      </a:lnTo>
                      <a:lnTo>
                        <a:pt x="42" y="12"/>
                      </a:lnTo>
                      <a:lnTo>
                        <a:pt x="42" y="10"/>
                      </a:lnTo>
                      <a:lnTo>
                        <a:pt x="42" y="8"/>
                      </a:lnTo>
                      <a:lnTo>
                        <a:pt x="38" y="8"/>
                      </a:lnTo>
                      <a:lnTo>
                        <a:pt x="36" y="10"/>
                      </a:lnTo>
                      <a:lnTo>
                        <a:pt x="34" y="10"/>
                      </a:lnTo>
                      <a:lnTo>
                        <a:pt x="32" y="10"/>
                      </a:lnTo>
                      <a:lnTo>
                        <a:pt x="32" y="8"/>
                      </a:lnTo>
                      <a:lnTo>
                        <a:pt x="30" y="8"/>
                      </a:lnTo>
                      <a:lnTo>
                        <a:pt x="30" y="6"/>
                      </a:lnTo>
                      <a:lnTo>
                        <a:pt x="30" y="4"/>
                      </a:lnTo>
                      <a:lnTo>
                        <a:pt x="28" y="4"/>
                      </a:lnTo>
                      <a:lnTo>
                        <a:pt x="26" y="2"/>
                      </a:lnTo>
                      <a:lnTo>
                        <a:pt x="24" y="2"/>
                      </a:lnTo>
                      <a:lnTo>
                        <a:pt x="22" y="2"/>
                      </a:lnTo>
                      <a:lnTo>
                        <a:pt x="20" y="2"/>
                      </a:lnTo>
                      <a:lnTo>
                        <a:pt x="20" y="4"/>
                      </a:lnTo>
                      <a:lnTo>
                        <a:pt x="18" y="4"/>
                      </a:lnTo>
                      <a:lnTo>
                        <a:pt x="16" y="2"/>
                      </a:lnTo>
                      <a:lnTo>
                        <a:pt x="12" y="0"/>
                      </a:lnTo>
                      <a:lnTo>
                        <a:pt x="10" y="0"/>
                      </a:lnTo>
                      <a:lnTo>
                        <a:pt x="8" y="0"/>
                      </a:lnTo>
                      <a:lnTo>
                        <a:pt x="6" y="0"/>
                      </a:lnTo>
                      <a:lnTo>
                        <a:pt x="4" y="2"/>
                      </a:lnTo>
                      <a:lnTo>
                        <a:pt x="4" y="4"/>
                      </a:lnTo>
                      <a:lnTo>
                        <a:pt x="2" y="6"/>
                      </a:lnTo>
                      <a:lnTo>
                        <a:pt x="2" y="8"/>
                      </a:lnTo>
                      <a:lnTo>
                        <a:pt x="4" y="8"/>
                      </a:lnTo>
                      <a:lnTo>
                        <a:pt x="6" y="10"/>
                      </a:lnTo>
                      <a:lnTo>
                        <a:pt x="4" y="12"/>
                      </a:lnTo>
                      <a:lnTo>
                        <a:pt x="2" y="14"/>
                      </a:lnTo>
                      <a:lnTo>
                        <a:pt x="0" y="16"/>
                      </a:lnTo>
                      <a:lnTo>
                        <a:pt x="0" y="18"/>
                      </a:lnTo>
                      <a:lnTo>
                        <a:pt x="0" y="20"/>
                      </a:lnTo>
                      <a:lnTo>
                        <a:pt x="2" y="22"/>
                      </a:lnTo>
                      <a:lnTo>
                        <a:pt x="4" y="24"/>
                      </a:lnTo>
                      <a:lnTo>
                        <a:pt x="6" y="24"/>
                      </a:lnTo>
                      <a:lnTo>
                        <a:pt x="6" y="26"/>
                      </a:lnTo>
                      <a:lnTo>
                        <a:pt x="8" y="26"/>
                      </a:lnTo>
                      <a:lnTo>
                        <a:pt x="10" y="26"/>
                      </a:lnTo>
                      <a:lnTo>
                        <a:pt x="12" y="28"/>
                      </a:lnTo>
                      <a:lnTo>
                        <a:pt x="12" y="30"/>
                      </a:lnTo>
                      <a:lnTo>
                        <a:pt x="14" y="30"/>
                      </a:lnTo>
                      <a:lnTo>
                        <a:pt x="16" y="30"/>
                      </a:lnTo>
                      <a:lnTo>
                        <a:pt x="16" y="32"/>
                      </a:lnTo>
                      <a:lnTo>
                        <a:pt x="18" y="30"/>
                      </a:lnTo>
                      <a:lnTo>
                        <a:pt x="18" y="28"/>
                      </a:lnTo>
                      <a:lnTo>
                        <a:pt x="18" y="26"/>
                      </a:lnTo>
                      <a:lnTo>
                        <a:pt x="16" y="26"/>
                      </a:lnTo>
                      <a:lnTo>
                        <a:pt x="16" y="24"/>
                      </a:lnTo>
                      <a:lnTo>
                        <a:pt x="14" y="22"/>
                      </a:lnTo>
                      <a:lnTo>
                        <a:pt x="12" y="20"/>
                      </a:lnTo>
                      <a:lnTo>
                        <a:pt x="10" y="20"/>
                      </a:lnTo>
                      <a:lnTo>
                        <a:pt x="10" y="18"/>
                      </a:lnTo>
                      <a:lnTo>
                        <a:pt x="8" y="18"/>
                      </a:lnTo>
                      <a:lnTo>
                        <a:pt x="10" y="18"/>
                      </a:lnTo>
                      <a:lnTo>
                        <a:pt x="12" y="18"/>
                      </a:lnTo>
                      <a:lnTo>
                        <a:pt x="14" y="20"/>
                      </a:lnTo>
                      <a:lnTo>
                        <a:pt x="18" y="20"/>
                      </a:lnTo>
                      <a:lnTo>
                        <a:pt x="20" y="22"/>
                      </a:lnTo>
                      <a:lnTo>
                        <a:pt x="20" y="24"/>
                      </a:lnTo>
                      <a:lnTo>
                        <a:pt x="22" y="24"/>
                      </a:lnTo>
                      <a:lnTo>
                        <a:pt x="22" y="26"/>
                      </a:lnTo>
                      <a:lnTo>
                        <a:pt x="22" y="28"/>
                      </a:lnTo>
                      <a:lnTo>
                        <a:pt x="22" y="30"/>
                      </a:lnTo>
                      <a:lnTo>
                        <a:pt x="22" y="32"/>
                      </a:lnTo>
                      <a:lnTo>
                        <a:pt x="24" y="32"/>
                      </a:lnTo>
                      <a:lnTo>
                        <a:pt x="26" y="32"/>
                      </a:lnTo>
                      <a:lnTo>
                        <a:pt x="28" y="32"/>
                      </a:lnTo>
                      <a:lnTo>
                        <a:pt x="30" y="34"/>
                      </a:lnTo>
                      <a:lnTo>
                        <a:pt x="32" y="34"/>
                      </a:lnTo>
                      <a:lnTo>
                        <a:pt x="34" y="36"/>
                      </a:lnTo>
                      <a:lnTo>
                        <a:pt x="34" y="38"/>
                      </a:lnTo>
                      <a:lnTo>
                        <a:pt x="36" y="40"/>
                      </a:lnTo>
                      <a:lnTo>
                        <a:pt x="36" y="42"/>
                      </a:lnTo>
                      <a:lnTo>
                        <a:pt x="36" y="44"/>
                      </a:lnTo>
                      <a:lnTo>
                        <a:pt x="36" y="46"/>
                      </a:lnTo>
                      <a:lnTo>
                        <a:pt x="36" y="48"/>
                      </a:lnTo>
                      <a:lnTo>
                        <a:pt x="36" y="50"/>
                      </a:lnTo>
                      <a:lnTo>
                        <a:pt x="40" y="52"/>
                      </a:lnTo>
                      <a:lnTo>
                        <a:pt x="42" y="54"/>
                      </a:lnTo>
                      <a:lnTo>
                        <a:pt x="44" y="54"/>
                      </a:lnTo>
                      <a:lnTo>
                        <a:pt x="46" y="54"/>
                      </a:lnTo>
                      <a:lnTo>
                        <a:pt x="44" y="52"/>
                      </a:lnTo>
                      <a:lnTo>
                        <a:pt x="44" y="50"/>
                      </a:lnTo>
                      <a:lnTo>
                        <a:pt x="42" y="50"/>
                      </a:lnTo>
                      <a:lnTo>
                        <a:pt x="42" y="48"/>
                      </a:lnTo>
                      <a:lnTo>
                        <a:pt x="44" y="50"/>
                      </a:lnTo>
                      <a:lnTo>
                        <a:pt x="46" y="52"/>
                      </a:lnTo>
                      <a:lnTo>
                        <a:pt x="48" y="54"/>
                      </a:lnTo>
                      <a:lnTo>
                        <a:pt x="50" y="54"/>
                      </a:lnTo>
                      <a:lnTo>
                        <a:pt x="50" y="52"/>
                      </a:lnTo>
                      <a:lnTo>
                        <a:pt x="50" y="4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2" name="Freeform 17">
                  <a:extLst>
                    <a:ext uri="{FF2B5EF4-FFF2-40B4-BE49-F238E27FC236}">
                      <a16:creationId xmlns:a16="http://schemas.microsoft.com/office/drawing/2014/main" id="{7CCDA5C8-D68B-4217-AC1D-46D3D1B40254}"/>
                    </a:ext>
                  </a:extLst>
                </p:cNvPr>
                <p:cNvSpPr>
                  <a:spLocks noChangeAspect="1"/>
                </p:cNvSpPr>
                <p:nvPr/>
              </p:nvSpPr>
              <p:spPr bwMode="auto">
                <a:xfrm>
                  <a:off x="1688053" y="3327165"/>
                  <a:ext cx="178690" cy="193747"/>
                </a:xfrm>
                <a:custGeom>
                  <a:avLst/>
                  <a:gdLst/>
                  <a:ahLst/>
                  <a:cxnLst>
                    <a:cxn ang="0">
                      <a:pos x="88" y="0"/>
                    </a:cxn>
                    <a:cxn ang="0">
                      <a:pos x="82" y="0"/>
                    </a:cxn>
                    <a:cxn ang="0">
                      <a:pos x="80" y="0"/>
                    </a:cxn>
                    <a:cxn ang="0">
                      <a:pos x="74" y="2"/>
                    </a:cxn>
                    <a:cxn ang="0">
                      <a:pos x="68" y="4"/>
                    </a:cxn>
                    <a:cxn ang="0">
                      <a:pos x="60" y="0"/>
                    </a:cxn>
                    <a:cxn ang="0">
                      <a:pos x="56" y="2"/>
                    </a:cxn>
                    <a:cxn ang="0">
                      <a:pos x="54" y="8"/>
                    </a:cxn>
                    <a:cxn ang="0">
                      <a:pos x="48" y="8"/>
                    </a:cxn>
                    <a:cxn ang="0">
                      <a:pos x="48" y="12"/>
                    </a:cxn>
                    <a:cxn ang="0">
                      <a:pos x="46" y="16"/>
                    </a:cxn>
                    <a:cxn ang="0">
                      <a:pos x="38" y="20"/>
                    </a:cxn>
                    <a:cxn ang="0">
                      <a:pos x="34" y="18"/>
                    </a:cxn>
                    <a:cxn ang="0">
                      <a:pos x="30" y="18"/>
                    </a:cxn>
                    <a:cxn ang="0">
                      <a:pos x="28" y="24"/>
                    </a:cxn>
                    <a:cxn ang="0">
                      <a:pos x="24" y="24"/>
                    </a:cxn>
                    <a:cxn ang="0">
                      <a:pos x="16" y="24"/>
                    </a:cxn>
                    <a:cxn ang="0">
                      <a:pos x="18" y="32"/>
                    </a:cxn>
                    <a:cxn ang="0">
                      <a:pos x="14" y="36"/>
                    </a:cxn>
                    <a:cxn ang="0">
                      <a:pos x="14" y="38"/>
                    </a:cxn>
                    <a:cxn ang="0">
                      <a:pos x="10" y="40"/>
                    </a:cxn>
                    <a:cxn ang="0">
                      <a:pos x="2" y="40"/>
                    </a:cxn>
                    <a:cxn ang="0">
                      <a:pos x="2" y="42"/>
                    </a:cxn>
                    <a:cxn ang="0">
                      <a:pos x="10" y="52"/>
                    </a:cxn>
                    <a:cxn ang="0">
                      <a:pos x="12" y="56"/>
                    </a:cxn>
                    <a:cxn ang="0">
                      <a:pos x="14" y="60"/>
                    </a:cxn>
                    <a:cxn ang="0">
                      <a:pos x="20" y="70"/>
                    </a:cxn>
                    <a:cxn ang="0">
                      <a:pos x="32" y="82"/>
                    </a:cxn>
                    <a:cxn ang="0">
                      <a:pos x="38" y="82"/>
                    </a:cxn>
                    <a:cxn ang="0">
                      <a:pos x="38" y="80"/>
                    </a:cxn>
                    <a:cxn ang="0">
                      <a:pos x="34" y="78"/>
                    </a:cxn>
                    <a:cxn ang="0">
                      <a:pos x="36" y="76"/>
                    </a:cxn>
                    <a:cxn ang="0">
                      <a:pos x="38" y="72"/>
                    </a:cxn>
                    <a:cxn ang="0">
                      <a:pos x="36" y="70"/>
                    </a:cxn>
                    <a:cxn ang="0">
                      <a:pos x="32" y="72"/>
                    </a:cxn>
                    <a:cxn ang="0">
                      <a:pos x="32" y="64"/>
                    </a:cxn>
                    <a:cxn ang="0">
                      <a:pos x="32" y="62"/>
                    </a:cxn>
                    <a:cxn ang="0">
                      <a:pos x="42" y="66"/>
                    </a:cxn>
                    <a:cxn ang="0">
                      <a:pos x="52" y="76"/>
                    </a:cxn>
                    <a:cxn ang="0">
                      <a:pos x="54" y="84"/>
                    </a:cxn>
                    <a:cxn ang="0">
                      <a:pos x="60" y="86"/>
                    </a:cxn>
                    <a:cxn ang="0">
                      <a:pos x="64" y="88"/>
                    </a:cxn>
                    <a:cxn ang="0">
                      <a:pos x="70" y="92"/>
                    </a:cxn>
                    <a:cxn ang="0">
                      <a:pos x="74" y="88"/>
                    </a:cxn>
                    <a:cxn ang="0">
                      <a:pos x="70" y="80"/>
                    </a:cxn>
                    <a:cxn ang="0">
                      <a:pos x="72" y="72"/>
                    </a:cxn>
                    <a:cxn ang="0">
                      <a:pos x="74" y="64"/>
                    </a:cxn>
                    <a:cxn ang="0">
                      <a:pos x="74" y="58"/>
                    </a:cxn>
                    <a:cxn ang="0">
                      <a:pos x="74" y="50"/>
                    </a:cxn>
                    <a:cxn ang="0">
                      <a:pos x="74" y="46"/>
                    </a:cxn>
                    <a:cxn ang="0">
                      <a:pos x="80" y="54"/>
                    </a:cxn>
                    <a:cxn ang="0">
                      <a:pos x="80" y="42"/>
                    </a:cxn>
                    <a:cxn ang="0">
                      <a:pos x="82" y="34"/>
                    </a:cxn>
                    <a:cxn ang="0">
                      <a:pos x="82" y="30"/>
                    </a:cxn>
                    <a:cxn ang="0">
                      <a:pos x="84" y="20"/>
                    </a:cxn>
                    <a:cxn ang="0">
                      <a:pos x="90" y="12"/>
                    </a:cxn>
                    <a:cxn ang="0">
                      <a:pos x="90" y="4"/>
                    </a:cxn>
                  </a:cxnLst>
                  <a:rect l="0" t="0" r="r" b="b"/>
                  <a:pathLst>
                    <a:path w="90" h="92">
                      <a:moveTo>
                        <a:pt x="90" y="4"/>
                      </a:moveTo>
                      <a:lnTo>
                        <a:pt x="90" y="2"/>
                      </a:lnTo>
                      <a:lnTo>
                        <a:pt x="88" y="2"/>
                      </a:lnTo>
                      <a:lnTo>
                        <a:pt x="88" y="0"/>
                      </a:lnTo>
                      <a:lnTo>
                        <a:pt x="86" y="0"/>
                      </a:lnTo>
                      <a:lnTo>
                        <a:pt x="82" y="0"/>
                      </a:lnTo>
                      <a:lnTo>
                        <a:pt x="80" y="0"/>
                      </a:lnTo>
                      <a:lnTo>
                        <a:pt x="78" y="0"/>
                      </a:lnTo>
                      <a:lnTo>
                        <a:pt x="76" y="0"/>
                      </a:lnTo>
                      <a:lnTo>
                        <a:pt x="74" y="0"/>
                      </a:lnTo>
                      <a:lnTo>
                        <a:pt x="74" y="2"/>
                      </a:lnTo>
                      <a:lnTo>
                        <a:pt x="72" y="2"/>
                      </a:lnTo>
                      <a:lnTo>
                        <a:pt x="72" y="4"/>
                      </a:lnTo>
                      <a:lnTo>
                        <a:pt x="70" y="4"/>
                      </a:lnTo>
                      <a:lnTo>
                        <a:pt x="68" y="4"/>
                      </a:lnTo>
                      <a:lnTo>
                        <a:pt x="66" y="4"/>
                      </a:lnTo>
                      <a:lnTo>
                        <a:pt x="64" y="2"/>
                      </a:lnTo>
                      <a:lnTo>
                        <a:pt x="62" y="0"/>
                      </a:lnTo>
                      <a:lnTo>
                        <a:pt x="60" y="0"/>
                      </a:lnTo>
                      <a:lnTo>
                        <a:pt x="58" y="0"/>
                      </a:lnTo>
                      <a:lnTo>
                        <a:pt x="56" y="2"/>
                      </a:lnTo>
                      <a:lnTo>
                        <a:pt x="56" y="4"/>
                      </a:lnTo>
                      <a:lnTo>
                        <a:pt x="56" y="6"/>
                      </a:lnTo>
                      <a:lnTo>
                        <a:pt x="56" y="8"/>
                      </a:lnTo>
                      <a:lnTo>
                        <a:pt x="54" y="8"/>
                      </a:lnTo>
                      <a:lnTo>
                        <a:pt x="52" y="8"/>
                      </a:lnTo>
                      <a:lnTo>
                        <a:pt x="50" y="8"/>
                      </a:lnTo>
                      <a:lnTo>
                        <a:pt x="48" y="8"/>
                      </a:lnTo>
                      <a:lnTo>
                        <a:pt x="48" y="10"/>
                      </a:lnTo>
                      <a:lnTo>
                        <a:pt x="48" y="12"/>
                      </a:lnTo>
                      <a:lnTo>
                        <a:pt x="48" y="14"/>
                      </a:lnTo>
                      <a:lnTo>
                        <a:pt x="46" y="16"/>
                      </a:lnTo>
                      <a:lnTo>
                        <a:pt x="44" y="18"/>
                      </a:lnTo>
                      <a:lnTo>
                        <a:pt x="42" y="20"/>
                      </a:lnTo>
                      <a:lnTo>
                        <a:pt x="40" y="20"/>
                      </a:lnTo>
                      <a:lnTo>
                        <a:pt x="38" y="20"/>
                      </a:lnTo>
                      <a:lnTo>
                        <a:pt x="36" y="20"/>
                      </a:lnTo>
                      <a:lnTo>
                        <a:pt x="34" y="20"/>
                      </a:lnTo>
                      <a:lnTo>
                        <a:pt x="34" y="18"/>
                      </a:lnTo>
                      <a:lnTo>
                        <a:pt x="34" y="16"/>
                      </a:lnTo>
                      <a:lnTo>
                        <a:pt x="32" y="16"/>
                      </a:lnTo>
                      <a:lnTo>
                        <a:pt x="30" y="16"/>
                      </a:lnTo>
                      <a:lnTo>
                        <a:pt x="30" y="18"/>
                      </a:lnTo>
                      <a:lnTo>
                        <a:pt x="30" y="20"/>
                      </a:lnTo>
                      <a:lnTo>
                        <a:pt x="28" y="20"/>
                      </a:lnTo>
                      <a:lnTo>
                        <a:pt x="28" y="22"/>
                      </a:lnTo>
                      <a:lnTo>
                        <a:pt x="28" y="24"/>
                      </a:lnTo>
                      <a:lnTo>
                        <a:pt x="26" y="24"/>
                      </a:lnTo>
                      <a:lnTo>
                        <a:pt x="24" y="24"/>
                      </a:lnTo>
                      <a:lnTo>
                        <a:pt x="22" y="24"/>
                      </a:lnTo>
                      <a:lnTo>
                        <a:pt x="20" y="24"/>
                      </a:lnTo>
                      <a:lnTo>
                        <a:pt x="18" y="24"/>
                      </a:lnTo>
                      <a:lnTo>
                        <a:pt x="16" y="24"/>
                      </a:lnTo>
                      <a:lnTo>
                        <a:pt x="16" y="26"/>
                      </a:lnTo>
                      <a:lnTo>
                        <a:pt x="16" y="28"/>
                      </a:lnTo>
                      <a:lnTo>
                        <a:pt x="16" y="30"/>
                      </a:lnTo>
                      <a:lnTo>
                        <a:pt x="18" y="32"/>
                      </a:lnTo>
                      <a:lnTo>
                        <a:pt x="18" y="34"/>
                      </a:lnTo>
                      <a:lnTo>
                        <a:pt x="16" y="34"/>
                      </a:lnTo>
                      <a:lnTo>
                        <a:pt x="14" y="34"/>
                      </a:lnTo>
                      <a:lnTo>
                        <a:pt x="14" y="36"/>
                      </a:lnTo>
                      <a:lnTo>
                        <a:pt x="12" y="36"/>
                      </a:lnTo>
                      <a:lnTo>
                        <a:pt x="14" y="36"/>
                      </a:lnTo>
                      <a:lnTo>
                        <a:pt x="14" y="38"/>
                      </a:lnTo>
                      <a:lnTo>
                        <a:pt x="14" y="40"/>
                      </a:lnTo>
                      <a:lnTo>
                        <a:pt x="12" y="40"/>
                      </a:lnTo>
                      <a:lnTo>
                        <a:pt x="10" y="40"/>
                      </a:lnTo>
                      <a:lnTo>
                        <a:pt x="8" y="40"/>
                      </a:lnTo>
                      <a:lnTo>
                        <a:pt x="6" y="40"/>
                      </a:lnTo>
                      <a:lnTo>
                        <a:pt x="4" y="40"/>
                      </a:lnTo>
                      <a:lnTo>
                        <a:pt x="2" y="40"/>
                      </a:lnTo>
                      <a:lnTo>
                        <a:pt x="0" y="40"/>
                      </a:lnTo>
                      <a:lnTo>
                        <a:pt x="2" y="42"/>
                      </a:lnTo>
                      <a:lnTo>
                        <a:pt x="4" y="44"/>
                      </a:lnTo>
                      <a:lnTo>
                        <a:pt x="6" y="48"/>
                      </a:lnTo>
                      <a:lnTo>
                        <a:pt x="8" y="50"/>
                      </a:lnTo>
                      <a:lnTo>
                        <a:pt x="10" y="52"/>
                      </a:lnTo>
                      <a:lnTo>
                        <a:pt x="10" y="54"/>
                      </a:lnTo>
                      <a:lnTo>
                        <a:pt x="12" y="56"/>
                      </a:lnTo>
                      <a:lnTo>
                        <a:pt x="14" y="58"/>
                      </a:lnTo>
                      <a:lnTo>
                        <a:pt x="14" y="60"/>
                      </a:lnTo>
                      <a:lnTo>
                        <a:pt x="14" y="62"/>
                      </a:lnTo>
                      <a:lnTo>
                        <a:pt x="16" y="64"/>
                      </a:lnTo>
                      <a:lnTo>
                        <a:pt x="16" y="66"/>
                      </a:lnTo>
                      <a:lnTo>
                        <a:pt x="18" y="68"/>
                      </a:lnTo>
                      <a:lnTo>
                        <a:pt x="20" y="70"/>
                      </a:lnTo>
                      <a:lnTo>
                        <a:pt x="24" y="74"/>
                      </a:lnTo>
                      <a:lnTo>
                        <a:pt x="28" y="78"/>
                      </a:lnTo>
                      <a:lnTo>
                        <a:pt x="30" y="78"/>
                      </a:lnTo>
                      <a:lnTo>
                        <a:pt x="32" y="80"/>
                      </a:lnTo>
                      <a:lnTo>
                        <a:pt x="32" y="82"/>
                      </a:lnTo>
                      <a:lnTo>
                        <a:pt x="34" y="82"/>
                      </a:lnTo>
                      <a:lnTo>
                        <a:pt x="36" y="82"/>
                      </a:lnTo>
                      <a:lnTo>
                        <a:pt x="38" y="82"/>
                      </a:lnTo>
                      <a:lnTo>
                        <a:pt x="38" y="80"/>
                      </a:lnTo>
                      <a:lnTo>
                        <a:pt x="36" y="80"/>
                      </a:lnTo>
                      <a:lnTo>
                        <a:pt x="34" y="78"/>
                      </a:lnTo>
                      <a:lnTo>
                        <a:pt x="34" y="76"/>
                      </a:lnTo>
                      <a:lnTo>
                        <a:pt x="36" y="76"/>
                      </a:lnTo>
                      <a:lnTo>
                        <a:pt x="38" y="76"/>
                      </a:lnTo>
                      <a:lnTo>
                        <a:pt x="40" y="76"/>
                      </a:lnTo>
                      <a:lnTo>
                        <a:pt x="40" y="74"/>
                      </a:lnTo>
                      <a:lnTo>
                        <a:pt x="38" y="72"/>
                      </a:lnTo>
                      <a:lnTo>
                        <a:pt x="36" y="70"/>
                      </a:lnTo>
                      <a:lnTo>
                        <a:pt x="34" y="72"/>
                      </a:lnTo>
                      <a:lnTo>
                        <a:pt x="32" y="72"/>
                      </a:lnTo>
                      <a:lnTo>
                        <a:pt x="32" y="70"/>
                      </a:lnTo>
                      <a:lnTo>
                        <a:pt x="32" y="66"/>
                      </a:lnTo>
                      <a:lnTo>
                        <a:pt x="32" y="64"/>
                      </a:lnTo>
                      <a:lnTo>
                        <a:pt x="32" y="62"/>
                      </a:lnTo>
                      <a:lnTo>
                        <a:pt x="34" y="62"/>
                      </a:lnTo>
                      <a:lnTo>
                        <a:pt x="36" y="64"/>
                      </a:lnTo>
                      <a:lnTo>
                        <a:pt x="38" y="64"/>
                      </a:lnTo>
                      <a:lnTo>
                        <a:pt x="42" y="66"/>
                      </a:lnTo>
                      <a:lnTo>
                        <a:pt x="44" y="70"/>
                      </a:lnTo>
                      <a:lnTo>
                        <a:pt x="48" y="72"/>
                      </a:lnTo>
                      <a:lnTo>
                        <a:pt x="50" y="74"/>
                      </a:lnTo>
                      <a:lnTo>
                        <a:pt x="52" y="76"/>
                      </a:lnTo>
                      <a:lnTo>
                        <a:pt x="54" y="80"/>
                      </a:lnTo>
                      <a:lnTo>
                        <a:pt x="54" y="82"/>
                      </a:lnTo>
                      <a:lnTo>
                        <a:pt x="54" y="84"/>
                      </a:lnTo>
                      <a:lnTo>
                        <a:pt x="56" y="84"/>
                      </a:lnTo>
                      <a:lnTo>
                        <a:pt x="58" y="86"/>
                      </a:lnTo>
                      <a:lnTo>
                        <a:pt x="60" y="86"/>
                      </a:lnTo>
                      <a:lnTo>
                        <a:pt x="62" y="86"/>
                      </a:lnTo>
                      <a:lnTo>
                        <a:pt x="62" y="88"/>
                      </a:lnTo>
                      <a:lnTo>
                        <a:pt x="64" y="88"/>
                      </a:lnTo>
                      <a:lnTo>
                        <a:pt x="64" y="90"/>
                      </a:lnTo>
                      <a:lnTo>
                        <a:pt x="66" y="90"/>
                      </a:lnTo>
                      <a:lnTo>
                        <a:pt x="68" y="92"/>
                      </a:lnTo>
                      <a:lnTo>
                        <a:pt x="70" y="92"/>
                      </a:lnTo>
                      <a:lnTo>
                        <a:pt x="72" y="90"/>
                      </a:lnTo>
                      <a:lnTo>
                        <a:pt x="74" y="90"/>
                      </a:lnTo>
                      <a:lnTo>
                        <a:pt x="78" y="88"/>
                      </a:lnTo>
                      <a:lnTo>
                        <a:pt x="76" y="88"/>
                      </a:lnTo>
                      <a:lnTo>
                        <a:pt x="74" y="88"/>
                      </a:lnTo>
                      <a:lnTo>
                        <a:pt x="74" y="86"/>
                      </a:lnTo>
                      <a:lnTo>
                        <a:pt x="72" y="86"/>
                      </a:lnTo>
                      <a:lnTo>
                        <a:pt x="72" y="84"/>
                      </a:lnTo>
                      <a:lnTo>
                        <a:pt x="70" y="82"/>
                      </a:lnTo>
                      <a:lnTo>
                        <a:pt x="70" y="80"/>
                      </a:lnTo>
                      <a:lnTo>
                        <a:pt x="70" y="78"/>
                      </a:lnTo>
                      <a:lnTo>
                        <a:pt x="70" y="76"/>
                      </a:lnTo>
                      <a:lnTo>
                        <a:pt x="70" y="74"/>
                      </a:lnTo>
                      <a:lnTo>
                        <a:pt x="72" y="74"/>
                      </a:lnTo>
                      <a:lnTo>
                        <a:pt x="72" y="72"/>
                      </a:lnTo>
                      <a:lnTo>
                        <a:pt x="74" y="72"/>
                      </a:lnTo>
                      <a:lnTo>
                        <a:pt x="74" y="70"/>
                      </a:lnTo>
                      <a:lnTo>
                        <a:pt x="74" y="66"/>
                      </a:lnTo>
                      <a:lnTo>
                        <a:pt x="74" y="64"/>
                      </a:lnTo>
                      <a:lnTo>
                        <a:pt x="74" y="62"/>
                      </a:lnTo>
                      <a:lnTo>
                        <a:pt x="74" y="58"/>
                      </a:lnTo>
                      <a:lnTo>
                        <a:pt x="74" y="56"/>
                      </a:lnTo>
                      <a:lnTo>
                        <a:pt x="74" y="54"/>
                      </a:lnTo>
                      <a:lnTo>
                        <a:pt x="74" y="52"/>
                      </a:lnTo>
                      <a:lnTo>
                        <a:pt x="74" y="50"/>
                      </a:lnTo>
                      <a:lnTo>
                        <a:pt x="74" y="48"/>
                      </a:lnTo>
                      <a:lnTo>
                        <a:pt x="74" y="46"/>
                      </a:lnTo>
                      <a:lnTo>
                        <a:pt x="76" y="50"/>
                      </a:lnTo>
                      <a:lnTo>
                        <a:pt x="78" y="50"/>
                      </a:lnTo>
                      <a:lnTo>
                        <a:pt x="78" y="52"/>
                      </a:lnTo>
                      <a:lnTo>
                        <a:pt x="80" y="54"/>
                      </a:lnTo>
                      <a:lnTo>
                        <a:pt x="80" y="50"/>
                      </a:lnTo>
                      <a:lnTo>
                        <a:pt x="80" y="46"/>
                      </a:lnTo>
                      <a:lnTo>
                        <a:pt x="80" y="42"/>
                      </a:lnTo>
                      <a:lnTo>
                        <a:pt x="82" y="40"/>
                      </a:lnTo>
                      <a:lnTo>
                        <a:pt x="82" y="38"/>
                      </a:lnTo>
                      <a:lnTo>
                        <a:pt x="82" y="36"/>
                      </a:lnTo>
                      <a:lnTo>
                        <a:pt x="82" y="34"/>
                      </a:lnTo>
                      <a:lnTo>
                        <a:pt x="82" y="32"/>
                      </a:lnTo>
                      <a:lnTo>
                        <a:pt x="82" y="30"/>
                      </a:lnTo>
                      <a:lnTo>
                        <a:pt x="82" y="28"/>
                      </a:lnTo>
                      <a:lnTo>
                        <a:pt x="82" y="26"/>
                      </a:lnTo>
                      <a:lnTo>
                        <a:pt x="84" y="20"/>
                      </a:lnTo>
                      <a:lnTo>
                        <a:pt x="86" y="18"/>
                      </a:lnTo>
                      <a:lnTo>
                        <a:pt x="86" y="16"/>
                      </a:lnTo>
                      <a:lnTo>
                        <a:pt x="88" y="16"/>
                      </a:lnTo>
                      <a:lnTo>
                        <a:pt x="88" y="14"/>
                      </a:lnTo>
                      <a:lnTo>
                        <a:pt x="90" y="12"/>
                      </a:lnTo>
                      <a:lnTo>
                        <a:pt x="90" y="10"/>
                      </a:lnTo>
                      <a:lnTo>
                        <a:pt x="90" y="8"/>
                      </a:lnTo>
                      <a:lnTo>
                        <a:pt x="90" y="6"/>
                      </a:lnTo>
                      <a:lnTo>
                        <a:pt x="90"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3" name="Freeform 21">
                  <a:extLst>
                    <a:ext uri="{FF2B5EF4-FFF2-40B4-BE49-F238E27FC236}">
                      <a16:creationId xmlns:a16="http://schemas.microsoft.com/office/drawing/2014/main" id="{BF516DE5-0AD1-4BAD-8661-F4D86AFDF8D1}"/>
                    </a:ext>
                  </a:extLst>
                </p:cNvPr>
                <p:cNvSpPr>
                  <a:spLocks noChangeAspect="1"/>
                </p:cNvSpPr>
                <p:nvPr/>
              </p:nvSpPr>
              <p:spPr bwMode="auto">
                <a:xfrm>
                  <a:off x="1612605" y="3352436"/>
                  <a:ext cx="83388" cy="58967"/>
                </a:xfrm>
                <a:custGeom>
                  <a:avLst/>
                  <a:gdLst/>
                  <a:ahLst/>
                  <a:cxnLst>
                    <a:cxn ang="0">
                      <a:pos x="42" y="20"/>
                    </a:cxn>
                    <a:cxn ang="0">
                      <a:pos x="42" y="16"/>
                    </a:cxn>
                    <a:cxn ang="0">
                      <a:pos x="42" y="12"/>
                    </a:cxn>
                    <a:cxn ang="0">
                      <a:pos x="42" y="10"/>
                    </a:cxn>
                    <a:cxn ang="0">
                      <a:pos x="42" y="10"/>
                    </a:cxn>
                    <a:cxn ang="0">
                      <a:pos x="40" y="10"/>
                    </a:cxn>
                    <a:cxn ang="0">
                      <a:pos x="38" y="10"/>
                    </a:cxn>
                    <a:cxn ang="0">
                      <a:pos x="34" y="10"/>
                    </a:cxn>
                    <a:cxn ang="0">
                      <a:pos x="32" y="12"/>
                    </a:cxn>
                    <a:cxn ang="0">
                      <a:pos x="28" y="12"/>
                    </a:cxn>
                    <a:cxn ang="0">
                      <a:pos x="28" y="10"/>
                    </a:cxn>
                    <a:cxn ang="0">
                      <a:pos x="26" y="8"/>
                    </a:cxn>
                    <a:cxn ang="0">
                      <a:pos x="26" y="6"/>
                    </a:cxn>
                    <a:cxn ang="0">
                      <a:pos x="26" y="6"/>
                    </a:cxn>
                    <a:cxn ang="0">
                      <a:pos x="24" y="6"/>
                    </a:cxn>
                    <a:cxn ang="0">
                      <a:pos x="22" y="6"/>
                    </a:cxn>
                    <a:cxn ang="0">
                      <a:pos x="20" y="4"/>
                    </a:cxn>
                    <a:cxn ang="0">
                      <a:pos x="18" y="0"/>
                    </a:cxn>
                    <a:cxn ang="0">
                      <a:pos x="14" y="2"/>
                    </a:cxn>
                    <a:cxn ang="0">
                      <a:pos x="12" y="2"/>
                    </a:cxn>
                    <a:cxn ang="0">
                      <a:pos x="12" y="4"/>
                    </a:cxn>
                    <a:cxn ang="0">
                      <a:pos x="12" y="4"/>
                    </a:cxn>
                    <a:cxn ang="0">
                      <a:pos x="12" y="4"/>
                    </a:cxn>
                    <a:cxn ang="0">
                      <a:pos x="12" y="6"/>
                    </a:cxn>
                    <a:cxn ang="0">
                      <a:pos x="8" y="8"/>
                    </a:cxn>
                    <a:cxn ang="0">
                      <a:pos x="6" y="10"/>
                    </a:cxn>
                    <a:cxn ang="0">
                      <a:pos x="4" y="10"/>
                    </a:cxn>
                    <a:cxn ang="0">
                      <a:pos x="2" y="14"/>
                    </a:cxn>
                    <a:cxn ang="0">
                      <a:pos x="2" y="16"/>
                    </a:cxn>
                    <a:cxn ang="0">
                      <a:pos x="6" y="18"/>
                    </a:cxn>
                    <a:cxn ang="0">
                      <a:pos x="8" y="20"/>
                    </a:cxn>
                    <a:cxn ang="0">
                      <a:pos x="14" y="20"/>
                    </a:cxn>
                    <a:cxn ang="0">
                      <a:pos x="16" y="20"/>
                    </a:cxn>
                    <a:cxn ang="0">
                      <a:pos x="18" y="20"/>
                    </a:cxn>
                    <a:cxn ang="0">
                      <a:pos x="20" y="22"/>
                    </a:cxn>
                    <a:cxn ang="0">
                      <a:pos x="22" y="24"/>
                    </a:cxn>
                    <a:cxn ang="0">
                      <a:pos x="24" y="24"/>
                    </a:cxn>
                    <a:cxn ang="0">
                      <a:pos x="26" y="24"/>
                    </a:cxn>
                    <a:cxn ang="0">
                      <a:pos x="28" y="24"/>
                    </a:cxn>
                    <a:cxn ang="0">
                      <a:pos x="30" y="24"/>
                    </a:cxn>
                    <a:cxn ang="0">
                      <a:pos x="30" y="24"/>
                    </a:cxn>
                    <a:cxn ang="0">
                      <a:pos x="34" y="26"/>
                    </a:cxn>
                    <a:cxn ang="0">
                      <a:pos x="34" y="28"/>
                    </a:cxn>
                    <a:cxn ang="0">
                      <a:pos x="36" y="28"/>
                    </a:cxn>
                    <a:cxn ang="0">
                      <a:pos x="38" y="24"/>
                    </a:cxn>
                    <a:cxn ang="0">
                      <a:pos x="40" y="22"/>
                    </a:cxn>
                    <a:cxn ang="0">
                      <a:pos x="40" y="20"/>
                    </a:cxn>
                    <a:cxn ang="0">
                      <a:pos x="42" y="22"/>
                    </a:cxn>
                    <a:cxn ang="0">
                      <a:pos x="42" y="22"/>
                    </a:cxn>
                    <a:cxn ang="0">
                      <a:pos x="42" y="22"/>
                    </a:cxn>
                    <a:cxn ang="0">
                      <a:pos x="42" y="22"/>
                    </a:cxn>
                  </a:cxnLst>
                  <a:rect l="0" t="0" r="r" b="b"/>
                  <a:pathLst>
                    <a:path w="42" h="28">
                      <a:moveTo>
                        <a:pt x="42" y="22"/>
                      </a:moveTo>
                      <a:lnTo>
                        <a:pt x="42" y="20"/>
                      </a:lnTo>
                      <a:lnTo>
                        <a:pt x="42" y="18"/>
                      </a:lnTo>
                      <a:lnTo>
                        <a:pt x="42" y="16"/>
                      </a:lnTo>
                      <a:lnTo>
                        <a:pt x="42" y="14"/>
                      </a:lnTo>
                      <a:lnTo>
                        <a:pt x="42" y="12"/>
                      </a:lnTo>
                      <a:lnTo>
                        <a:pt x="42" y="10"/>
                      </a:lnTo>
                      <a:lnTo>
                        <a:pt x="40" y="10"/>
                      </a:lnTo>
                      <a:lnTo>
                        <a:pt x="38" y="10"/>
                      </a:lnTo>
                      <a:lnTo>
                        <a:pt x="36" y="10"/>
                      </a:lnTo>
                      <a:lnTo>
                        <a:pt x="34" y="10"/>
                      </a:lnTo>
                      <a:lnTo>
                        <a:pt x="32" y="12"/>
                      </a:lnTo>
                      <a:lnTo>
                        <a:pt x="30" y="12"/>
                      </a:lnTo>
                      <a:lnTo>
                        <a:pt x="28" y="12"/>
                      </a:lnTo>
                      <a:lnTo>
                        <a:pt x="28" y="10"/>
                      </a:lnTo>
                      <a:lnTo>
                        <a:pt x="26" y="8"/>
                      </a:lnTo>
                      <a:lnTo>
                        <a:pt x="26" y="6"/>
                      </a:lnTo>
                      <a:lnTo>
                        <a:pt x="24" y="6"/>
                      </a:lnTo>
                      <a:lnTo>
                        <a:pt x="22" y="6"/>
                      </a:lnTo>
                      <a:lnTo>
                        <a:pt x="20" y="6"/>
                      </a:lnTo>
                      <a:lnTo>
                        <a:pt x="20" y="4"/>
                      </a:lnTo>
                      <a:lnTo>
                        <a:pt x="18" y="2"/>
                      </a:lnTo>
                      <a:lnTo>
                        <a:pt x="18" y="0"/>
                      </a:lnTo>
                      <a:lnTo>
                        <a:pt x="16" y="2"/>
                      </a:lnTo>
                      <a:lnTo>
                        <a:pt x="14" y="2"/>
                      </a:lnTo>
                      <a:lnTo>
                        <a:pt x="12" y="2"/>
                      </a:lnTo>
                      <a:lnTo>
                        <a:pt x="12" y="4"/>
                      </a:lnTo>
                      <a:lnTo>
                        <a:pt x="12" y="6"/>
                      </a:lnTo>
                      <a:lnTo>
                        <a:pt x="10" y="6"/>
                      </a:lnTo>
                      <a:lnTo>
                        <a:pt x="8" y="8"/>
                      </a:lnTo>
                      <a:lnTo>
                        <a:pt x="6" y="10"/>
                      </a:lnTo>
                      <a:lnTo>
                        <a:pt x="4" y="10"/>
                      </a:lnTo>
                      <a:lnTo>
                        <a:pt x="2" y="12"/>
                      </a:lnTo>
                      <a:lnTo>
                        <a:pt x="2" y="14"/>
                      </a:lnTo>
                      <a:lnTo>
                        <a:pt x="0" y="14"/>
                      </a:lnTo>
                      <a:lnTo>
                        <a:pt x="2" y="16"/>
                      </a:lnTo>
                      <a:lnTo>
                        <a:pt x="4" y="18"/>
                      </a:lnTo>
                      <a:lnTo>
                        <a:pt x="6" y="18"/>
                      </a:lnTo>
                      <a:lnTo>
                        <a:pt x="8" y="20"/>
                      </a:lnTo>
                      <a:lnTo>
                        <a:pt x="10" y="20"/>
                      </a:lnTo>
                      <a:lnTo>
                        <a:pt x="14" y="20"/>
                      </a:lnTo>
                      <a:lnTo>
                        <a:pt x="16" y="20"/>
                      </a:lnTo>
                      <a:lnTo>
                        <a:pt x="18" y="20"/>
                      </a:lnTo>
                      <a:lnTo>
                        <a:pt x="20" y="22"/>
                      </a:lnTo>
                      <a:lnTo>
                        <a:pt x="22" y="24"/>
                      </a:lnTo>
                      <a:lnTo>
                        <a:pt x="24" y="24"/>
                      </a:lnTo>
                      <a:lnTo>
                        <a:pt x="26" y="24"/>
                      </a:lnTo>
                      <a:lnTo>
                        <a:pt x="28" y="24"/>
                      </a:lnTo>
                      <a:lnTo>
                        <a:pt x="30" y="24"/>
                      </a:lnTo>
                      <a:lnTo>
                        <a:pt x="32" y="26"/>
                      </a:lnTo>
                      <a:lnTo>
                        <a:pt x="34" y="26"/>
                      </a:lnTo>
                      <a:lnTo>
                        <a:pt x="34" y="28"/>
                      </a:lnTo>
                      <a:lnTo>
                        <a:pt x="36" y="28"/>
                      </a:lnTo>
                      <a:lnTo>
                        <a:pt x="36" y="26"/>
                      </a:lnTo>
                      <a:lnTo>
                        <a:pt x="38" y="24"/>
                      </a:lnTo>
                      <a:lnTo>
                        <a:pt x="38" y="22"/>
                      </a:lnTo>
                      <a:lnTo>
                        <a:pt x="40" y="22"/>
                      </a:lnTo>
                      <a:lnTo>
                        <a:pt x="40" y="20"/>
                      </a:lnTo>
                      <a:lnTo>
                        <a:pt x="42" y="2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4" name="Freeform 22">
                  <a:extLst>
                    <a:ext uri="{FF2B5EF4-FFF2-40B4-BE49-F238E27FC236}">
                      <a16:creationId xmlns:a16="http://schemas.microsoft.com/office/drawing/2014/main" id="{08117041-AD0B-4FC3-9156-AB38C0CE2824}"/>
                    </a:ext>
                  </a:extLst>
                </p:cNvPr>
                <p:cNvSpPr>
                  <a:spLocks noChangeAspect="1"/>
                </p:cNvSpPr>
                <p:nvPr/>
              </p:nvSpPr>
              <p:spPr bwMode="auto">
                <a:xfrm>
                  <a:off x="1656285" y="3192383"/>
                  <a:ext cx="51622" cy="105298"/>
                </a:xfrm>
                <a:custGeom>
                  <a:avLst/>
                  <a:gdLst/>
                  <a:ahLst/>
                  <a:cxnLst>
                    <a:cxn ang="0">
                      <a:pos x="26" y="8"/>
                    </a:cxn>
                    <a:cxn ang="0">
                      <a:pos x="24" y="6"/>
                    </a:cxn>
                    <a:cxn ang="0">
                      <a:pos x="22" y="4"/>
                    </a:cxn>
                    <a:cxn ang="0">
                      <a:pos x="20" y="4"/>
                    </a:cxn>
                    <a:cxn ang="0">
                      <a:pos x="20" y="2"/>
                    </a:cxn>
                    <a:cxn ang="0">
                      <a:pos x="18" y="0"/>
                    </a:cxn>
                    <a:cxn ang="0">
                      <a:pos x="18" y="0"/>
                    </a:cxn>
                    <a:cxn ang="0">
                      <a:pos x="18" y="0"/>
                    </a:cxn>
                    <a:cxn ang="0">
                      <a:pos x="18" y="2"/>
                    </a:cxn>
                    <a:cxn ang="0">
                      <a:pos x="16" y="6"/>
                    </a:cxn>
                    <a:cxn ang="0">
                      <a:pos x="14" y="8"/>
                    </a:cxn>
                    <a:cxn ang="0">
                      <a:pos x="12" y="10"/>
                    </a:cxn>
                    <a:cxn ang="0">
                      <a:pos x="10" y="10"/>
                    </a:cxn>
                    <a:cxn ang="0">
                      <a:pos x="8" y="10"/>
                    </a:cxn>
                    <a:cxn ang="0">
                      <a:pos x="8" y="8"/>
                    </a:cxn>
                    <a:cxn ang="0">
                      <a:pos x="8" y="8"/>
                    </a:cxn>
                    <a:cxn ang="0">
                      <a:pos x="6" y="8"/>
                    </a:cxn>
                    <a:cxn ang="0">
                      <a:pos x="4" y="12"/>
                    </a:cxn>
                    <a:cxn ang="0">
                      <a:pos x="4" y="12"/>
                    </a:cxn>
                    <a:cxn ang="0">
                      <a:pos x="2" y="24"/>
                    </a:cxn>
                    <a:cxn ang="0">
                      <a:pos x="2" y="34"/>
                    </a:cxn>
                    <a:cxn ang="0">
                      <a:pos x="0" y="40"/>
                    </a:cxn>
                    <a:cxn ang="0">
                      <a:pos x="0" y="44"/>
                    </a:cxn>
                    <a:cxn ang="0">
                      <a:pos x="0" y="48"/>
                    </a:cxn>
                    <a:cxn ang="0">
                      <a:pos x="0" y="50"/>
                    </a:cxn>
                    <a:cxn ang="0">
                      <a:pos x="0" y="50"/>
                    </a:cxn>
                    <a:cxn ang="0">
                      <a:pos x="2" y="50"/>
                    </a:cxn>
                    <a:cxn ang="0">
                      <a:pos x="4" y="50"/>
                    </a:cxn>
                    <a:cxn ang="0">
                      <a:pos x="6" y="50"/>
                    </a:cxn>
                    <a:cxn ang="0">
                      <a:pos x="6" y="46"/>
                    </a:cxn>
                    <a:cxn ang="0">
                      <a:pos x="8" y="42"/>
                    </a:cxn>
                    <a:cxn ang="0">
                      <a:pos x="10" y="40"/>
                    </a:cxn>
                    <a:cxn ang="0">
                      <a:pos x="10" y="40"/>
                    </a:cxn>
                    <a:cxn ang="0">
                      <a:pos x="12" y="40"/>
                    </a:cxn>
                    <a:cxn ang="0">
                      <a:pos x="14" y="42"/>
                    </a:cxn>
                    <a:cxn ang="0">
                      <a:pos x="14" y="42"/>
                    </a:cxn>
                    <a:cxn ang="0">
                      <a:pos x="14" y="40"/>
                    </a:cxn>
                    <a:cxn ang="0">
                      <a:pos x="16" y="38"/>
                    </a:cxn>
                    <a:cxn ang="0">
                      <a:pos x="18" y="36"/>
                    </a:cxn>
                    <a:cxn ang="0">
                      <a:pos x="20" y="32"/>
                    </a:cxn>
                    <a:cxn ang="0">
                      <a:pos x="20" y="26"/>
                    </a:cxn>
                    <a:cxn ang="0">
                      <a:pos x="20" y="22"/>
                    </a:cxn>
                    <a:cxn ang="0">
                      <a:pos x="20" y="20"/>
                    </a:cxn>
                    <a:cxn ang="0">
                      <a:pos x="24" y="14"/>
                    </a:cxn>
                    <a:cxn ang="0">
                      <a:pos x="26" y="10"/>
                    </a:cxn>
                    <a:cxn ang="0">
                      <a:pos x="26" y="8"/>
                    </a:cxn>
                  </a:cxnLst>
                  <a:rect l="0" t="0" r="r" b="b"/>
                  <a:pathLst>
                    <a:path w="26" h="50">
                      <a:moveTo>
                        <a:pt x="26" y="8"/>
                      </a:moveTo>
                      <a:lnTo>
                        <a:pt x="26" y="8"/>
                      </a:lnTo>
                      <a:lnTo>
                        <a:pt x="26" y="6"/>
                      </a:lnTo>
                      <a:lnTo>
                        <a:pt x="24" y="6"/>
                      </a:lnTo>
                      <a:lnTo>
                        <a:pt x="22" y="4"/>
                      </a:lnTo>
                      <a:lnTo>
                        <a:pt x="20" y="4"/>
                      </a:lnTo>
                      <a:lnTo>
                        <a:pt x="20" y="2"/>
                      </a:lnTo>
                      <a:lnTo>
                        <a:pt x="18" y="2"/>
                      </a:lnTo>
                      <a:lnTo>
                        <a:pt x="18" y="0"/>
                      </a:lnTo>
                      <a:lnTo>
                        <a:pt x="18" y="2"/>
                      </a:lnTo>
                      <a:lnTo>
                        <a:pt x="18" y="4"/>
                      </a:lnTo>
                      <a:lnTo>
                        <a:pt x="16" y="6"/>
                      </a:lnTo>
                      <a:lnTo>
                        <a:pt x="16" y="8"/>
                      </a:lnTo>
                      <a:lnTo>
                        <a:pt x="14" y="8"/>
                      </a:lnTo>
                      <a:lnTo>
                        <a:pt x="12" y="10"/>
                      </a:lnTo>
                      <a:lnTo>
                        <a:pt x="10" y="10"/>
                      </a:lnTo>
                      <a:lnTo>
                        <a:pt x="8" y="10"/>
                      </a:lnTo>
                      <a:lnTo>
                        <a:pt x="8" y="8"/>
                      </a:lnTo>
                      <a:lnTo>
                        <a:pt x="6" y="8"/>
                      </a:lnTo>
                      <a:lnTo>
                        <a:pt x="6" y="10"/>
                      </a:lnTo>
                      <a:lnTo>
                        <a:pt x="4" y="12"/>
                      </a:lnTo>
                      <a:lnTo>
                        <a:pt x="4" y="18"/>
                      </a:lnTo>
                      <a:lnTo>
                        <a:pt x="2" y="24"/>
                      </a:lnTo>
                      <a:lnTo>
                        <a:pt x="2" y="30"/>
                      </a:lnTo>
                      <a:lnTo>
                        <a:pt x="2" y="34"/>
                      </a:lnTo>
                      <a:lnTo>
                        <a:pt x="2" y="38"/>
                      </a:lnTo>
                      <a:lnTo>
                        <a:pt x="0" y="40"/>
                      </a:lnTo>
                      <a:lnTo>
                        <a:pt x="0" y="42"/>
                      </a:lnTo>
                      <a:lnTo>
                        <a:pt x="0" y="44"/>
                      </a:lnTo>
                      <a:lnTo>
                        <a:pt x="0" y="46"/>
                      </a:lnTo>
                      <a:lnTo>
                        <a:pt x="0" y="48"/>
                      </a:lnTo>
                      <a:lnTo>
                        <a:pt x="0" y="50"/>
                      </a:lnTo>
                      <a:lnTo>
                        <a:pt x="2" y="50"/>
                      </a:lnTo>
                      <a:lnTo>
                        <a:pt x="4" y="50"/>
                      </a:lnTo>
                      <a:lnTo>
                        <a:pt x="6" y="50"/>
                      </a:lnTo>
                      <a:lnTo>
                        <a:pt x="6" y="46"/>
                      </a:lnTo>
                      <a:lnTo>
                        <a:pt x="8" y="44"/>
                      </a:lnTo>
                      <a:lnTo>
                        <a:pt x="8" y="42"/>
                      </a:lnTo>
                      <a:lnTo>
                        <a:pt x="10" y="40"/>
                      </a:lnTo>
                      <a:lnTo>
                        <a:pt x="12" y="40"/>
                      </a:lnTo>
                      <a:lnTo>
                        <a:pt x="12" y="42"/>
                      </a:lnTo>
                      <a:lnTo>
                        <a:pt x="14" y="42"/>
                      </a:lnTo>
                      <a:lnTo>
                        <a:pt x="14" y="40"/>
                      </a:lnTo>
                      <a:lnTo>
                        <a:pt x="16" y="40"/>
                      </a:lnTo>
                      <a:lnTo>
                        <a:pt x="16" y="38"/>
                      </a:lnTo>
                      <a:lnTo>
                        <a:pt x="18" y="38"/>
                      </a:lnTo>
                      <a:lnTo>
                        <a:pt x="18" y="36"/>
                      </a:lnTo>
                      <a:lnTo>
                        <a:pt x="20" y="34"/>
                      </a:lnTo>
                      <a:lnTo>
                        <a:pt x="20" y="32"/>
                      </a:lnTo>
                      <a:lnTo>
                        <a:pt x="20" y="30"/>
                      </a:lnTo>
                      <a:lnTo>
                        <a:pt x="20" y="26"/>
                      </a:lnTo>
                      <a:lnTo>
                        <a:pt x="20" y="24"/>
                      </a:lnTo>
                      <a:lnTo>
                        <a:pt x="20" y="22"/>
                      </a:lnTo>
                      <a:lnTo>
                        <a:pt x="20" y="20"/>
                      </a:lnTo>
                      <a:lnTo>
                        <a:pt x="22" y="18"/>
                      </a:lnTo>
                      <a:lnTo>
                        <a:pt x="24" y="14"/>
                      </a:lnTo>
                      <a:lnTo>
                        <a:pt x="24" y="12"/>
                      </a:lnTo>
                      <a:lnTo>
                        <a:pt x="26" y="10"/>
                      </a:lnTo>
                      <a:lnTo>
                        <a:pt x="26" y="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5" name="Freeform 23">
                  <a:extLst>
                    <a:ext uri="{FF2B5EF4-FFF2-40B4-BE49-F238E27FC236}">
                      <a16:creationId xmlns:a16="http://schemas.microsoft.com/office/drawing/2014/main" id="{5940C57D-C4C5-4CBD-BE45-77AC666E7E8D}"/>
                    </a:ext>
                  </a:extLst>
                </p:cNvPr>
                <p:cNvSpPr>
                  <a:spLocks noChangeAspect="1"/>
                </p:cNvSpPr>
                <p:nvPr/>
              </p:nvSpPr>
              <p:spPr bwMode="auto">
                <a:xfrm>
                  <a:off x="1648345" y="3289257"/>
                  <a:ext cx="206486" cy="126358"/>
                </a:xfrm>
                <a:custGeom>
                  <a:avLst/>
                  <a:gdLst/>
                  <a:ahLst/>
                  <a:cxnLst>
                    <a:cxn ang="0">
                      <a:pos x="36" y="56"/>
                    </a:cxn>
                    <a:cxn ang="0">
                      <a:pos x="40" y="54"/>
                    </a:cxn>
                    <a:cxn ang="0">
                      <a:pos x="38" y="50"/>
                    </a:cxn>
                    <a:cxn ang="0">
                      <a:pos x="40" y="44"/>
                    </a:cxn>
                    <a:cxn ang="0">
                      <a:pos x="46" y="44"/>
                    </a:cxn>
                    <a:cxn ang="0">
                      <a:pos x="48" y="44"/>
                    </a:cxn>
                    <a:cxn ang="0">
                      <a:pos x="52" y="40"/>
                    </a:cxn>
                    <a:cxn ang="0">
                      <a:pos x="54" y="42"/>
                    </a:cxn>
                    <a:cxn ang="0">
                      <a:pos x="62" y="40"/>
                    </a:cxn>
                    <a:cxn ang="0">
                      <a:pos x="66" y="34"/>
                    </a:cxn>
                    <a:cxn ang="0">
                      <a:pos x="68" y="32"/>
                    </a:cxn>
                    <a:cxn ang="0">
                      <a:pos x="72" y="30"/>
                    </a:cxn>
                    <a:cxn ang="0">
                      <a:pos x="72" y="28"/>
                    </a:cxn>
                    <a:cxn ang="0">
                      <a:pos x="76" y="24"/>
                    </a:cxn>
                    <a:cxn ang="0">
                      <a:pos x="82" y="28"/>
                    </a:cxn>
                    <a:cxn ang="0">
                      <a:pos x="88" y="24"/>
                    </a:cxn>
                    <a:cxn ang="0">
                      <a:pos x="92" y="24"/>
                    </a:cxn>
                    <a:cxn ang="0">
                      <a:pos x="100" y="24"/>
                    </a:cxn>
                    <a:cxn ang="0">
                      <a:pos x="102" y="22"/>
                    </a:cxn>
                    <a:cxn ang="0">
                      <a:pos x="104" y="20"/>
                    </a:cxn>
                    <a:cxn ang="0">
                      <a:pos x="100" y="14"/>
                    </a:cxn>
                    <a:cxn ang="0">
                      <a:pos x="96" y="12"/>
                    </a:cxn>
                    <a:cxn ang="0">
                      <a:pos x="94" y="12"/>
                    </a:cxn>
                    <a:cxn ang="0">
                      <a:pos x="86" y="6"/>
                    </a:cxn>
                    <a:cxn ang="0">
                      <a:pos x="82" y="6"/>
                    </a:cxn>
                    <a:cxn ang="0">
                      <a:pos x="78" y="2"/>
                    </a:cxn>
                    <a:cxn ang="0">
                      <a:pos x="70" y="2"/>
                    </a:cxn>
                    <a:cxn ang="0">
                      <a:pos x="68" y="4"/>
                    </a:cxn>
                    <a:cxn ang="0">
                      <a:pos x="60" y="0"/>
                    </a:cxn>
                    <a:cxn ang="0">
                      <a:pos x="54" y="6"/>
                    </a:cxn>
                    <a:cxn ang="0">
                      <a:pos x="48" y="8"/>
                    </a:cxn>
                    <a:cxn ang="0">
                      <a:pos x="44" y="6"/>
                    </a:cxn>
                    <a:cxn ang="0">
                      <a:pos x="40" y="4"/>
                    </a:cxn>
                    <a:cxn ang="0">
                      <a:pos x="34" y="6"/>
                    </a:cxn>
                    <a:cxn ang="0">
                      <a:pos x="30" y="6"/>
                    </a:cxn>
                    <a:cxn ang="0">
                      <a:pos x="28" y="2"/>
                    </a:cxn>
                    <a:cxn ang="0">
                      <a:pos x="22" y="4"/>
                    </a:cxn>
                    <a:cxn ang="0">
                      <a:pos x="20" y="6"/>
                    </a:cxn>
                    <a:cxn ang="0">
                      <a:pos x="14" y="12"/>
                    </a:cxn>
                    <a:cxn ang="0">
                      <a:pos x="6" y="18"/>
                    </a:cxn>
                    <a:cxn ang="0">
                      <a:pos x="4" y="22"/>
                    </a:cxn>
                    <a:cxn ang="0">
                      <a:pos x="2" y="28"/>
                    </a:cxn>
                    <a:cxn ang="0">
                      <a:pos x="0" y="34"/>
                    </a:cxn>
                    <a:cxn ang="0">
                      <a:pos x="6" y="36"/>
                    </a:cxn>
                    <a:cxn ang="0">
                      <a:pos x="8" y="38"/>
                    </a:cxn>
                    <a:cxn ang="0">
                      <a:pos x="10" y="42"/>
                    </a:cxn>
                    <a:cxn ang="0">
                      <a:pos x="18" y="40"/>
                    </a:cxn>
                    <a:cxn ang="0">
                      <a:pos x="24" y="40"/>
                    </a:cxn>
                    <a:cxn ang="0">
                      <a:pos x="24" y="50"/>
                    </a:cxn>
                    <a:cxn ang="0">
                      <a:pos x="26" y="52"/>
                    </a:cxn>
                    <a:cxn ang="0">
                      <a:pos x="30" y="54"/>
                    </a:cxn>
                    <a:cxn ang="0">
                      <a:pos x="30" y="58"/>
                    </a:cxn>
                    <a:cxn ang="0">
                      <a:pos x="32" y="58"/>
                    </a:cxn>
                  </a:cxnLst>
                  <a:rect l="0" t="0" r="r" b="b"/>
                  <a:pathLst>
                    <a:path w="104" h="60">
                      <a:moveTo>
                        <a:pt x="36" y="58"/>
                      </a:moveTo>
                      <a:lnTo>
                        <a:pt x="36" y="58"/>
                      </a:lnTo>
                      <a:lnTo>
                        <a:pt x="36" y="56"/>
                      </a:lnTo>
                      <a:lnTo>
                        <a:pt x="36" y="54"/>
                      </a:lnTo>
                      <a:lnTo>
                        <a:pt x="38" y="54"/>
                      </a:lnTo>
                      <a:lnTo>
                        <a:pt x="40" y="54"/>
                      </a:lnTo>
                      <a:lnTo>
                        <a:pt x="40" y="52"/>
                      </a:lnTo>
                      <a:lnTo>
                        <a:pt x="38" y="50"/>
                      </a:lnTo>
                      <a:lnTo>
                        <a:pt x="38" y="48"/>
                      </a:lnTo>
                      <a:lnTo>
                        <a:pt x="38" y="46"/>
                      </a:lnTo>
                      <a:lnTo>
                        <a:pt x="38" y="44"/>
                      </a:lnTo>
                      <a:lnTo>
                        <a:pt x="40" y="44"/>
                      </a:lnTo>
                      <a:lnTo>
                        <a:pt x="42" y="44"/>
                      </a:lnTo>
                      <a:lnTo>
                        <a:pt x="44" y="44"/>
                      </a:lnTo>
                      <a:lnTo>
                        <a:pt x="46" y="44"/>
                      </a:lnTo>
                      <a:lnTo>
                        <a:pt x="48" y="44"/>
                      </a:lnTo>
                      <a:lnTo>
                        <a:pt x="48" y="42"/>
                      </a:lnTo>
                      <a:lnTo>
                        <a:pt x="50" y="40"/>
                      </a:lnTo>
                      <a:lnTo>
                        <a:pt x="52" y="40"/>
                      </a:lnTo>
                      <a:lnTo>
                        <a:pt x="54" y="40"/>
                      </a:lnTo>
                      <a:lnTo>
                        <a:pt x="54" y="42"/>
                      </a:lnTo>
                      <a:lnTo>
                        <a:pt x="56" y="42"/>
                      </a:lnTo>
                      <a:lnTo>
                        <a:pt x="58" y="42"/>
                      </a:lnTo>
                      <a:lnTo>
                        <a:pt x="60" y="40"/>
                      </a:lnTo>
                      <a:lnTo>
                        <a:pt x="62" y="40"/>
                      </a:lnTo>
                      <a:lnTo>
                        <a:pt x="64" y="38"/>
                      </a:lnTo>
                      <a:lnTo>
                        <a:pt x="66" y="36"/>
                      </a:lnTo>
                      <a:lnTo>
                        <a:pt x="66" y="34"/>
                      </a:lnTo>
                      <a:lnTo>
                        <a:pt x="66" y="32"/>
                      </a:lnTo>
                      <a:lnTo>
                        <a:pt x="68" y="32"/>
                      </a:lnTo>
                      <a:lnTo>
                        <a:pt x="70" y="30"/>
                      </a:lnTo>
                      <a:lnTo>
                        <a:pt x="72" y="30"/>
                      </a:lnTo>
                      <a:lnTo>
                        <a:pt x="72" y="28"/>
                      </a:lnTo>
                      <a:lnTo>
                        <a:pt x="74" y="26"/>
                      </a:lnTo>
                      <a:lnTo>
                        <a:pt x="74" y="24"/>
                      </a:lnTo>
                      <a:lnTo>
                        <a:pt x="76" y="24"/>
                      </a:lnTo>
                      <a:lnTo>
                        <a:pt x="78" y="24"/>
                      </a:lnTo>
                      <a:lnTo>
                        <a:pt x="80" y="26"/>
                      </a:lnTo>
                      <a:lnTo>
                        <a:pt x="82" y="28"/>
                      </a:lnTo>
                      <a:lnTo>
                        <a:pt x="84" y="28"/>
                      </a:lnTo>
                      <a:lnTo>
                        <a:pt x="86" y="28"/>
                      </a:lnTo>
                      <a:lnTo>
                        <a:pt x="88" y="26"/>
                      </a:lnTo>
                      <a:lnTo>
                        <a:pt x="88" y="24"/>
                      </a:lnTo>
                      <a:lnTo>
                        <a:pt x="90" y="24"/>
                      </a:lnTo>
                      <a:lnTo>
                        <a:pt x="92" y="24"/>
                      </a:lnTo>
                      <a:lnTo>
                        <a:pt x="94" y="24"/>
                      </a:lnTo>
                      <a:lnTo>
                        <a:pt x="96" y="24"/>
                      </a:lnTo>
                      <a:lnTo>
                        <a:pt x="98" y="24"/>
                      </a:lnTo>
                      <a:lnTo>
                        <a:pt x="100" y="24"/>
                      </a:lnTo>
                      <a:lnTo>
                        <a:pt x="102" y="22"/>
                      </a:lnTo>
                      <a:lnTo>
                        <a:pt x="104" y="22"/>
                      </a:lnTo>
                      <a:lnTo>
                        <a:pt x="104" y="20"/>
                      </a:lnTo>
                      <a:lnTo>
                        <a:pt x="102" y="18"/>
                      </a:lnTo>
                      <a:lnTo>
                        <a:pt x="102" y="16"/>
                      </a:lnTo>
                      <a:lnTo>
                        <a:pt x="100" y="14"/>
                      </a:lnTo>
                      <a:lnTo>
                        <a:pt x="98" y="14"/>
                      </a:lnTo>
                      <a:lnTo>
                        <a:pt x="96" y="14"/>
                      </a:lnTo>
                      <a:lnTo>
                        <a:pt x="96" y="12"/>
                      </a:lnTo>
                      <a:lnTo>
                        <a:pt x="94" y="12"/>
                      </a:lnTo>
                      <a:lnTo>
                        <a:pt x="92" y="10"/>
                      </a:lnTo>
                      <a:lnTo>
                        <a:pt x="90" y="10"/>
                      </a:lnTo>
                      <a:lnTo>
                        <a:pt x="88" y="8"/>
                      </a:lnTo>
                      <a:lnTo>
                        <a:pt x="86" y="6"/>
                      </a:lnTo>
                      <a:lnTo>
                        <a:pt x="84" y="6"/>
                      </a:lnTo>
                      <a:lnTo>
                        <a:pt x="82" y="6"/>
                      </a:lnTo>
                      <a:lnTo>
                        <a:pt x="80" y="6"/>
                      </a:lnTo>
                      <a:lnTo>
                        <a:pt x="80" y="4"/>
                      </a:lnTo>
                      <a:lnTo>
                        <a:pt x="78" y="2"/>
                      </a:lnTo>
                      <a:lnTo>
                        <a:pt x="76" y="2"/>
                      </a:lnTo>
                      <a:lnTo>
                        <a:pt x="74" y="2"/>
                      </a:lnTo>
                      <a:lnTo>
                        <a:pt x="72" y="2"/>
                      </a:lnTo>
                      <a:lnTo>
                        <a:pt x="70" y="2"/>
                      </a:lnTo>
                      <a:lnTo>
                        <a:pt x="68" y="4"/>
                      </a:lnTo>
                      <a:lnTo>
                        <a:pt x="66" y="2"/>
                      </a:lnTo>
                      <a:lnTo>
                        <a:pt x="64" y="2"/>
                      </a:lnTo>
                      <a:lnTo>
                        <a:pt x="62" y="2"/>
                      </a:lnTo>
                      <a:lnTo>
                        <a:pt x="62" y="0"/>
                      </a:lnTo>
                      <a:lnTo>
                        <a:pt x="60" y="0"/>
                      </a:lnTo>
                      <a:lnTo>
                        <a:pt x="58" y="0"/>
                      </a:lnTo>
                      <a:lnTo>
                        <a:pt x="58" y="2"/>
                      </a:lnTo>
                      <a:lnTo>
                        <a:pt x="56" y="2"/>
                      </a:lnTo>
                      <a:lnTo>
                        <a:pt x="54" y="4"/>
                      </a:lnTo>
                      <a:lnTo>
                        <a:pt x="54" y="6"/>
                      </a:lnTo>
                      <a:lnTo>
                        <a:pt x="52" y="6"/>
                      </a:lnTo>
                      <a:lnTo>
                        <a:pt x="52" y="8"/>
                      </a:lnTo>
                      <a:lnTo>
                        <a:pt x="50" y="8"/>
                      </a:lnTo>
                      <a:lnTo>
                        <a:pt x="48" y="8"/>
                      </a:lnTo>
                      <a:lnTo>
                        <a:pt x="46" y="6"/>
                      </a:lnTo>
                      <a:lnTo>
                        <a:pt x="44" y="6"/>
                      </a:lnTo>
                      <a:lnTo>
                        <a:pt x="42" y="6"/>
                      </a:lnTo>
                      <a:lnTo>
                        <a:pt x="40" y="4"/>
                      </a:lnTo>
                      <a:lnTo>
                        <a:pt x="38" y="4"/>
                      </a:lnTo>
                      <a:lnTo>
                        <a:pt x="36" y="4"/>
                      </a:lnTo>
                      <a:lnTo>
                        <a:pt x="34" y="6"/>
                      </a:lnTo>
                      <a:lnTo>
                        <a:pt x="32" y="6"/>
                      </a:lnTo>
                      <a:lnTo>
                        <a:pt x="30" y="6"/>
                      </a:lnTo>
                      <a:lnTo>
                        <a:pt x="30" y="4"/>
                      </a:lnTo>
                      <a:lnTo>
                        <a:pt x="30" y="2"/>
                      </a:lnTo>
                      <a:lnTo>
                        <a:pt x="28" y="2"/>
                      </a:lnTo>
                      <a:lnTo>
                        <a:pt x="26" y="2"/>
                      </a:lnTo>
                      <a:lnTo>
                        <a:pt x="24" y="4"/>
                      </a:lnTo>
                      <a:lnTo>
                        <a:pt x="22" y="4"/>
                      </a:lnTo>
                      <a:lnTo>
                        <a:pt x="22" y="6"/>
                      </a:lnTo>
                      <a:lnTo>
                        <a:pt x="20" y="6"/>
                      </a:lnTo>
                      <a:lnTo>
                        <a:pt x="20" y="8"/>
                      </a:lnTo>
                      <a:lnTo>
                        <a:pt x="18" y="8"/>
                      </a:lnTo>
                      <a:lnTo>
                        <a:pt x="18" y="10"/>
                      </a:lnTo>
                      <a:lnTo>
                        <a:pt x="16" y="10"/>
                      </a:lnTo>
                      <a:lnTo>
                        <a:pt x="14" y="12"/>
                      </a:lnTo>
                      <a:lnTo>
                        <a:pt x="12" y="12"/>
                      </a:lnTo>
                      <a:lnTo>
                        <a:pt x="10" y="14"/>
                      </a:lnTo>
                      <a:lnTo>
                        <a:pt x="8" y="14"/>
                      </a:lnTo>
                      <a:lnTo>
                        <a:pt x="8" y="16"/>
                      </a:lnTo>
                      <a:lnTo>
                        <a:pt x="6" y="18"/>
                      </a:lnTo>
                      <a:lnTo>
                        <a:pt x="6" y="20"/>
                      </a:lnTo>
                      <a:lnTo>
                        <a:pt x="4" y="20"/>
                      </a:lnTo>
                      <a:lnTo>
                        <a:pt x="4" y="22"/>
                      </a:lnTo>
                      <a:lnTo>
                        <a:pt x="4" y="24"/>
                      </a:lnTo>
                      <a:lnTo>
                        <a:pt x="4" y="26"/>
                      </a:lnTo>
                      <a:lnTo>
                        <a:pt x="2" y="28"/>
                      </a:lnTo>
                      <a:lnTo>
                        <a:pt x="2" y="30"/>
                      </a:lnTo>
                      <a:lnTo>
                        <a:pt x="0" y="32"/>
                      </a:lnTo>
                      <a:lnTo>
                        <a:pt x="0" y="34"/>
                      </a:lnTo>
                      <a:lnTo>
                        <a:pt x="2" y="34"/>
                      </a:lnTo>
                      <a:lnTo>
                        <a:pt x="2" y="36"/>
                      </a:lnTo>
                      <a:lnTo>
                        <a:pt x="4" y="36"/>
                      </a:lnTo>
                      <a:lnTo>
                        <a:pt x="6" y="36"/>
                      </a:lnTo>
                      <a:lnTo>
                        <a:pt x="8" y="36"/>
                      </a:lnTo>
                      <a:lnTo>
                        <a:pt x="8" y="38"/>
                      </a:lnTo>
                      <a:lnTo>
                        <a:pt x="8" y="40"/>
                      </a:lnTo>
                      <a:lnTo>
                        <a:pt x="10" y="40"/>
                      </a:lnTo>
                      <a:lnTo>
                        <a:pt x="10" y="42"/>
                      </a:lnTo>
                      <a:lnTo>
                        <a:pt x="12" y="42"/>
                      </a:lnTo>
                      <a:lnTo>
                        <a:pt x="14" y="42"/>
                      </a:lnTo>
                      <a:lnTo>
                        <a:pt x="16" y="40"/>
                      </a:lnTo>
                      <a:lnTo>
                        <a:pt x="18" y="40"/>
                      </a:lnTo>
                      <a:lnTo>
                        <a:pt x="20" y="40"/>
                      </a:lnTo>
                      <a:lnTo>
                        <a:pt x="22" y="40"/>
                      </a:lnTo>
                      <a:lnTo>
                        <a:pt x="24" y="40"/>
                      </a:lnTo>
                      <a:lnTo>
                        <a:pt x="24" y="42"/>
                      </a:lnTo>
                      <a:lnTo>
                        <a:pt x="24" y="44"/>
                      </a:lnTo>
                      <a:lnTo>
                        <a:pt x="24" y="46"/>
                      </a:lnTo>
                      <a:lnTo>
                        <a:pt x="24" y="48"/>
                      </a:lnTo>
                      <a:lnTo>
                        <a:pt x="24" y="50"/>
                      </a:lnTo>
                      <a:lnTo>
                        <a:pt x="24" y="52"/>
                      </a:lnTo>
                      <a:lnTo>
                        <a:pt x="26" y="52"/>
                      </a:lnTo>
                      <a:lnTo>
                        <a:pt x="28" y="52"/>
                      </a:lnTo>
                      <a:lnTo>
                        <a:pt x="30" y="54"/>
                      </a:lnTo>
                      <a:lnTo>
                        <a:pt x="30" y="56"/>
                      </a:lnTo>
                      <a:lnTo>
                        <a:pt x="30" y="58"/>
                      </a:lnTo>
                      <a:lnTo>
                        <a:pt x="30" y="60"/>
                      </a:lnTo>
                      <a:lnTo>
                        <a:pt x="30" y="58"/>
                      </a:lnTo>
                      <a:lnTo>
                        <a:pt x="32" y="58"/>
                      </a:lnTo>
                      <a:lnTo>
                        <a:pt x="34" y="58"/>
                      </a:lnTo>
                      <a:lnTo>
                        <a:pt x="36" y="5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6" name="Freeform 24">
                  <a:extLst>
                    <a:ext uri="{FF2B5EF4-FFF2-40B4-BE49-F238E27FC236}">
                      <a16:creationId xmlns:a16="http://schemas.microsoft.com/office/drawing/2014/main" id="{30B85130-1909-4DA2-AFFE-E66873AC7151}"/>
                    </a:ext>
                  </a:extLst>
                </p:cNvPr>
                <p:cNvSpPr>
                  <a:spLocks noChangeAspect="1"/>
                </p:cNvSpPr>
                <p:nvPr/>
              </p:nvSpPr>
              <p:spPr bwMode="auto">
                <a:xfrm>
                  <a:off x="2561646" y="3596726"/>
                  <a:ext cx="154864" cy="294834"/>
                </a:xfrm>
                <a:custGeom>
                  <a:avLst/>
                  <a:gdLst/>
                  <a:ahLst/>
                  <a:cxnLst>
                    <a:cxn ang="0">
                      <a:pos x="14" y="14"/>
                    </a:cxn>
                    <a:cxn ang="0">
                      <a:pos x="14" y="24"/>
                    </a:cxn>
                    <a:cxn ang="0">
                      <a:pos x="18" y="24"/>
                    </a:cxn>
                    <a:cxn ang="0">
                      <a:pos x="16" y="30"/>
                    </a:cxn>
                    <a:cxn ang="0">
                      <a:pos x="2" y="34"/>
                    </a:cxn>
                    <a:cxn ang="0">
                      <a:pos x="6" y="38"/>
                    </a:cxn>
                    <a:cxn ang="0">
                      <a:pos x="2" y="44"/>
                    </a:cxn>
                    <a:cxn ang="0">
                      <a:pos x="0" y="50"/>
                    </a:cxn>
                    <a:cxn ang="0">
                      <a:pos x="10" y="62"/>
                    </a:cxn>
                    <a:cxn ang="0">
                      <a:pos x="16" y="64"/>
                    </a:cxn>
                    <a:cxn ang="0">
                      <a:pos x="18" y="60"/>
                    </a:cxn>
                    <a:cxn ang="0">
                      <a:pos x="22" y="64"/>
                    </a:cxn>
                    <a:cxn ang="0">
                      <a:pos x="20" y="74"/>
                    </a:cxn>
                    <a:cxn ang="0">
                      <a:pos x="22" y="78"/>
                    </a:cxn>
                    <a:cxn ang="0">
                      <a:pos x="26" y="78"/>
                    </a:cxn>
                    <a:cxn ang="0">
                      <a:pos x="26" y="84"/>
                    </a:cxn>
                    <a:cxn ang="0">
                      <a:pos x="30" y="86"/>
                    </a:cxn>
                    <a:cxn ang="0">
                      <a:pos x="24" y="94"/>
                    </a:cxn>
                    <a:cxn ang="0">
                      <a:pos x="24" y="102"/>
                    </a:cxn>
                    <a:cxn ang="0">
                      <a:pos x="22" y="106"/>
                    </a:cxn>
                    <a:cxn ang="0">
                      <a:pos x="22" y="116"/>
                    </a:cxn>
                    <a:cxn ang="0">
                      <a:pos x="26" y="124"/>
                    </a:cxn>
                    <a:cxn ang="0">
                      <a:pos x="28" y="130"/>
                    </a:cxn>
                    <a:cxn ang="0">
                      <a:pos x="34" y="136"/>
                    </a:cxn>
                    <a:cxn ang="0">
                      <a:pos x="38" y="138"/>
                    </a:cxn>
                    <a:cxn ang="0">
                      <a:pos x="38" y="140"/>
                    </a:cxn>
                    <a:cxn ang="0">
                      <a:pos x="48" y="140"/>
                    </a:cxn>
                    <a:cxn ang="0">
                      <a:pos x="50" y="134"/>
                    </a:cxn>
                    <a:cxn ang="0">
                      <a:pos x="56" y="134"/>
                    </a:cxn>
                    <a:cxn ang="0">
                      <a:pos x="58" y="130"/>
                    </a:cxn>
                    <a:cxn ang="0">
                      <a:pos x="64" y="130"/>
                    </a:cxn>
                    <a:cxn ang="0">
                      <a:pos x="66" y="126"/>
                    </a:cxn>
                    <a:cxn ang="0">
                      <a:pos x="74" y="126"/>
                    </a:cxn>
                    <a:cxn ang="0">
                      <a:pos x="78" y="126"/>
                    </a:cxn>
                    <a:cxn ang="0">
                      <a:pos x="76" y="120"/>
                    </a:cxn>
                    <a:cxn ang="0">
                      <a:pos x="68" y="108"/>
                    </a:cxn>
                    <a:cxn ang="0">
                      <a:pos x="68" y="98"/>
                    </a:cxn>
                    <a:cxn ang="0">
                      <a:pos x="66" y="98"/>
                    </a:cxn>
                    <a:cxn ang="0">
                      <a:pos x="60" y="96"/>
                    </a:cxn>
                    <a:cxn ang="0">
                      <a:pos x="56" y="88"/>
                    </a:cxn>
                    <a:cxn ang="0">
                      <a:pos x="56" y="80"/>
                    </a:cxn>
                    <a:cxn ang="0">
                      <a:pos x="58" y="78"/>
                    </a:cxn>
                    <a:cxn ang="0">
                      <a:pos x="60" y="68"/>
                    </a:cxn>
                    <a:cxn ang="0">
                      <a:pos x="72" y="64"/>
                    </a:cxn>
                    <a:cxn ang="0">
                      <a:pos x="68" y="56"/>
                    </a:cxn>
                    <a:cxn ang="0">
                      <a:pos x="72" y="50"/>
                    </a:cxn>
                    <a:cxn ang="0">
                      <a:pos x="72" y="42"/>
                    </a:cxn>
                    <a:cxn ang="0">
                      <a:pos x="66" y="42"/>
                    </a:cxn>
                    <a:cxn ang="0">
                      <a:pos x="64" y="38"/>
                    </a:cxn>
                    <a:cxn ang="0">
                      <a:pos x="62" y="36"/>
                    </a:cxn>
                    <a:cxn ang="0">
                      <a:pos x="50" y="32"/>
                    </a:cxn>
                    <a:cxn ang="0">
                      <a:pos x="46" y="40"/>
                    </a:cxn>
                    <a:cxn ang="0">
                      <a:pos x="48" y="32"/>
                    </a:cxn>
                    <a:cxn ang="0">
                      <a:pos x="50" y="22"/>
                    </a:cxn>
                    <a:cxn ang="0">
                      <a:pos x="44" y="10"/>
                    </a:cxn>
                    <a:cxn ang="0">
                      <a:pos x="34" y="4"/>
                    </a:cxn>
                    <a:cxn ang="0">
                      <a:pos x="28" y="0"/>
                    </a:cxn>
                    <a:cxn ang="0">
                      <a:pos x="24" y="6"/>
                    </a:cxn>
                    <a:cxn ang="0">
                      <a:pos x="22" y="10"/>
                    </a:cxn>
                  </a:cxnLst>
                  <a:rect l="0" t="0" r="r" b="b"/>
                  <a:pathLst>
                    <a:path w="78" h="140">
                      <a:moveTo>
                        <a:pt x="20" y="10"/>
                      </a:moveTo>
                      <a:lnTo>
                        <a:pt x="20" y="10"/>
                      </a:lnTo>
                      <a:lnTo>
                        <a:pt x="18" y="12"/>
                      </a:lnTo>
                      <a:lnTo>
                        <a:pt x="16" y="12"/>
                      </a:lnTo>
                      <a:lnTo>
                        <a:pt x="14" y="14"/>
                      </a:lnTo>
                      <a:lnTo>
                        <a:pt x="14" y="16"/>
                      </a:lnTo>
                      <a:lnTo>
                        <a:pt x="14" y="18"/>
                      </a:lnTo>
                      <a:lnTo>
                        <a:pt x="14" y="22"/>
                      </a:lnTo>
                      <a:lnTo>
                        <a:pt x="14" y="24"/>
                      </a:lnTo>
                      <a:lnTo>
                        <a:pt x="16" y="24"/>
                      </a:lnTo>
                      <a:lnTo>
                        <a:pt x="18" y="24"/>
                      </a:lnTo>
                      <a:lnTo>
                        <a:pt x="18" y="26"/>
                      </a:lnTo>
                      <a:lnTo>
                        <a:pt x="18" y="28"/>
                      </a:lnTo>
                      <a:lnTo>
                        <a:pt x="18" y="30"/>
                      </a:lnTo>
                      <a:lnTo>
                        <a:pt x="16" y="30"/>
                      </a:lnTo>
                      <a:lnTo>
                        <a:pt x="14" y="32"/>
                      </a:lnTo>
                      <a:lnTo>
                        <a:pt x="12" y="32"/>
                      </a:lnTo>
                      <a:lnTo>
                        <a:pt x="6" y="32"/>
                      </a:lnTo>
                      <a:lnTo>
                        <a:pt x="4" y="32"/>
                      </a:lnTo>
                      <a:lnTo>
                        <a:pt x="2" y="34"/>
                      </a:lnTo>
                      <a:lnTo>
                        <a:pt x="2" y="36"/>
                      </a:lnTo>
                      <a:lnTo>
                        <a:pt x="4" y="36"/>
                      </a:lnTo>
                      <a:lnTo>
                        <a:pt x="4" y="38"/>
                      </a:lnTo>
                      <a:lnTo>
                        <a:pt x="6" y="38"/>
                      </a:lnTo>
                      <a:lnTo>
                        <a:pt x="6" y="40"/>
                      </a:lnTo>
                      <a:lnTo>
                        <a:pt x="6" y="42"/>
                      </a:lnTo>
                      <a:lnTo>
                        <a:pt x="4" y="44"/>
                      </a:lnTo>
                      <a:lnTo>
                        <a:pt x="2" y="44"/>
                      </a:lnTo>
                      <a:lnTo>
                        <a:pt x="0" y="46"/>
                      </a:lnTo>
                      <a:lnTo>
                        <a:pt x="0" y="48"/>
                      </a:lnTo>
                      <a:lnTo>
                        <a:pt x="0" y="50"/>
                      </a:lnTo>
                      <a:lnTo>
                        <a:pt x="2" y="54"/>
                      </a:lnTo>
                      <a:lnTo>
                        <a:pt x="4" y="54"/>
                      </a:lnTo>
                      <a:lnTo>
                        <a:pt x="6" y="56"/>
                      </a:lnTo>
                      <a:lnTo>
                        <a:pt x="8" y="58"/>
                      </a:lnTo>
                      <a:lnTo>
                        <a:pt x="8" y="60"/>
                      </a:lnTo>
                      <a:lnTo>
                        <a:pt x="10" y="62"/>
                      </a:lnTo>
                      <a:lnTo>
                        <a:pt x="12" y="62"/>
                      </a:lnTo>
                      <a:lnTo>
                        <a:pt x="14" y="62"/>
                      </a:lnTo>
                      <a:lnTo>
                        <a:pt x="16" y="62"/>
                      </a:lnTo>
                      <a:lnTo>
                        <a:pt x="16" y="64"/>
                      </a:lnTo>
                      <a:lnTo>
                        <a:pt x="18" y="62"/>
                      </a:lnTo>
                      <a:lnTo>
                        <a:pt x="18" y="60"/>
                      </a:lnTo>
                      <a:lnTo>
                        <a:pt x="20" y="62"/>
                      </a:lnTo>
                      <a:lnTo>
                        <a:pt x="22" y="64"/>
                      </a:lnTo>
                      <a:lnTo>
                        <a:pt x="22" y="66"/>
                      </a:lnTo>
                      <a:lnTo>
                        <a:pt x="24" y="68"/>
                      </a:lnTo>
                      <a:lnTo>
                        <a:pt x="22" y="70"/>
                      </a:lnTo>
                      <a:lnTo>
                        <a:pt x="22" y="72"/>
                      </a:lnTo>
                      <a:lnTo>
                        <a:pt x="20" y="74"/>
                      </a:lnTo>
                      <a:lnTo>
                        <a:pt x="20" y="76"/>
                      </a:lnTo>
                      <a:lnTo>
                        <a:pt x="20" y="78"/>
                      </a:lnTo>
                      <a:lnTo>
                        <a:pt x="22" y="78"/>
                      </a:lnTo>
                      <a:lnTo>
                        <a:pt x="24" y="78"/>
                      </a:lnTo>
                      <a:lnTo>
                        <a:pt x="26" y="78"/>
                      </a:lnTo>
                      <a:lnTo>
                        <a:pt x="26" y="80"/>
                      </a:lnTo>
                      <a:lnTo>
                        <a:pt x="26" y="82"/>
                      </a:lnTo>
                      <a:lnTo>
                        <a:pt x="26" y="84"/>
                      </a:lnTo>
                      <a:lnTo>
                        <a:pt x="28" y="84"/>
                      </a:lnTo>
                      <a:lnTo>
                        <a:pt x="30" y="86"/>
                      </a:lnTo>
                      <a:lnTo>
                        <a:pt x="30" y="88"/>
                      </a:lnTo>
                      <a:lnTo>
                        <a:pt x="28" y="88"/>
                      </a:lnTo>
                      <a:lnTo>
                        <a:pt x="26" y="92"/>
                      </a:lnTo>
                      <a:lnTo>
                        <a:pt x="24" y="92"/>
                      </a:lnTo>
                      <a:lnTo>
                        <a:pt x="24" y="94"/>
                      </a:lnTo>
                      <a:lnTo>
                        <a:pt x="24" y="98"/>
                      </a:lnTo>
                      <a:lnTo>
                        <a:pt x="24" y="100"/>
                      </a:lnTo>
                      <a:lnTo>
                        <a:pt x="24" y="102"/>
                      </a:lnTo>
                      <a:lnTo>
                        <a:pt x="24" y="104"/>
                      </a:lnTo>
                      <a:lnTo>
                        <a:pt x="22" y="104"/>
                      </a:lnTo>
                      <a:lnTo>
                        <a:pt x="22" y="106"/>
                      </a:lnTo>
                      <a:lnTo>
                        <a:pt x="20" y="110"/>
                      </a:lnTo>
                      <a:lnTo>
                        <a:pt x="20" y="112"/>
                      </a:lnTo>
                      <a:lnTo>
                        <a:pt x="20" y="114"/>
                      </a:lnTo>
                      <a:lnTo>
                        <a:pt x="22" y="116"/>
                      </a:lnTo>
                      <a:lnTo>
                        <a:pt x="24" y="118"/>
                      </a:lnTo>
                      <a:lnTo>
                        <a:pt x="26" y="120"/>
                      </a:lnTo>
                      <a:lnTo>
                        <a:pt x="26" y="124"/>
                      </a:lnTo>
                      <a:lnTo>
                        <a:pt x="26" y="126"/>
                      </a:lnTo>
                      <a:lnTo>
                        <a:pt x="26" y="128"/>
                      </a:lnTo>
                      <a:lnTo>
                        <a:pt x="28" y="130"/>
                      </a:lnTo>
                      <a:lnTo>
                        <a:pt x="30" y="132"/>
                      </a:lnTo>
                      <a:lnTo>
                        <a:pt x="32" y="134"/>
                      </a:lnTo>
                      <a:lnTo>
                        <a:pt x="32" y="136"/>
                      </a:lnTo>
                      <a:lnTo>
                        <a:pt x="34" y="136"/>
                      </a:lnTo>
                      <a:lnTo>
                        <a:pt x="36" y="136"/>
                      </a:lnTo>
                      <a:lnTo>
                        <a:pt x="38" y="138"/>
                      </a:lnTo>
                      <a:lnTo>
                        <a:pt x="38" y="140"/>
                      </a:lnTo>
                      <a:lnTo>
                        <a:pt x="40" y="140"/>
                      </a:lnTo>
                      <a:lnTo>
                        <a:pt x="44" y="140"/>
                      </a:lnTo>
                      <a:lnTo>
                        <a:pt x="46" y="140"/>
                      </a:lnTo>
                      <a:lnTo>
                        <a:pt x="48" y="140"/>
                      </a:lnTo>
                      <a:lnTo>
                        <a:pt x="48" y="138"/>
                      </a:lnTo>
                      <a:lnTo>
                        <a:pt x="48" y="136"/>
                      </a:lnTo>
                      <a:lnTo>
                        <a:pt x="48" y="134"/>
                      </a:lnTo>
                      <a:lnTo>
                        <a:pt x="50" y="134"/>
                      </a:lnTo>
                      <a:lnTo>
                        <a:pt x="52" y="132"/>
                      </a:lnTo>
                      <a:lnTo>
                        <a:pt x="54" y="132"/>
                      </a:lnTo>
                      <a:lnTo>
                        <a:pt x="56" y="132"/>
                      </a:lnTo>
                      <a:lnTo>
                        <a:pt x="56" y="134"/>
                      </a:lnTo>
                      <a:lnTo>
                        <a:pt x="56" y="132"/>
                      </a:lnTo>
                      <a:lnTo>
                        <a:pt x="56" y="130"/>
                      </a:lnTo>
                      <a:lnTo>
                        <a:pt x="58" y="130"/>
                      </a:lnTo>
                      <a:lnTo>
                        <a:pt x="60" y="130"/>
                      </a:lnTo>
                      <a:lnTo>
                        <a:pt x="62" y="130"/>
                      </a:lnTo>
                      <a:lnTo>
                        <a:pt x="64" y="130"/>
                      </a:lnTo>
                      <a:lnTo>
                        <a:pt x="64" y="128"/>
                      </a:lnTo>
                      <a:lnTo>
                        <a:pt x="66" y="126"/>
                      </a:lnTo>
                      <a:lnTo>
                        <a:pt x="68" y="124"/>
                      </a:lnTo>
                      <a:lnTo>
                        <a:pt x="70" y="124"/>
                      </a:lnTo>
                      <a:lnTo>
                        <a:pt x="72" y="124"/>
                      </a:lnTo>
                      <a:lnTo>
                        <a:pt x="72" y="126"/>
                      </a:lnTo>
                      <a:lnTo>
                        <a:pt x="74" y="126"/>
                      </a:lnTo>
                      <a:lnTo>
                        <a:pt x="76" y="126"/>
                      </a:lnTo>
                      <a:lnTo>
                        <a:pt x="78" y="126"/>
                      </a:lnTo>
                      <a:lnTo>
                        <a:pt x="78" y="124"/>
                      </a:lnTo>
                      <a:lnTo>
                        <a:pt x="76" y="122"/>
                      </a:lnTo>
                      <a:lnTo>
                        <a:pt x="76" y="120"/>
                      </a:lnTo>
                      <a:lnTo>
                        <a:pt x="74" y="118"/>
                      </a:lnTo>
                      <a:lnTo>
                        <a:pt x="72" y="116"/>
                      </a:lnTo>
                      <a:lnTo>
                        <a:pt x="72" y="112"/>
                      </a:lnTo>
                      <a:lnTo>
                        <a:pt x="70" y="110"/>
                      </a:lnTo>
                      <a:lnTo>
                        <a:pt x="68" y="110"/>
                      </a:lnTo>
                      <a:lnTo>
                        <a:pt x="68" y="108"/>
                      </a:lnTo>
                      <a:lnTo>
                        <a:pt x="68" y="106"/>
                      </a:lnTo>
                      <a:lnTo>
                        <a:pt x="68" y="104"/>
                      </a:lnTo>
                      <a:lnTo>
                        <a:pt x="68" y="102"/>
                      </a:lnTo>
                      <a:lnTo>
                        <a:pt x="68" y="100"/>
                      </a:lnTo>
                      <a:lnTo>
                        <a:pt x="68" y="98"/>
                      </a:lnTo>
                      <a:lnTo>
                        <a:pt x="68" y="96"/>
                      </a:lnTo>
                      <a:lnTo>
                        <a:pt x="66" y="98"/>
                      </a:lnTo>
                      <a:lnTo>
                        <a:pt x="64" y="100"/>
                      </a:lnTo>
                      <a:lnTo>
                        <a:pt x="62" y="98"/>
                      </a:lnTo>
                      <a:lnTo>
                        <a:pt x="60" y="96"/>
                      </a:lnTo>
                      <a:lnTo>
                        <a:pt x="60" y="94"/>
                      </a:lnTo>
                      <a:lnTo>
                        <a:pt x="58" y="92"/>
                      </a:lnTo>
                      <a:lnTo>
                        <a:pt x="58" y="90"/>
                      </a:lnTo>
                      <a:lnTo>
                        <a:pt x="56" y="88"/>
                      </a:lnTo>
                      <a:lnTo>
                        <a:pt x="54" y="86"/>
                      </a:lnTo>
                      <a:lnTo>
                        <a:pt x="54" y="84"/>
                      </a:lnTo>
                      <a:lnTo>
                        <a:pt x="54" y="82"/>
                      </a:lnTo>
                      <a:lnTo>
                        <a:pt x="56" y="80"/>
                      </a:lnTo>
                      <a:lnTo>
                        <a:pt x="58" y="80"/>
                      </a:lnTo>
                      <a:lnTo>
                        <a:pt x="58" y="78"/>
                      </a:lnTo>
                      <a:lnTo>
                        <a:pt x="58" y="76"/>
                      </a:lnTo>
                      <a:lnTo>
                        <a:pt x="58" y="72"/>
                      </a:lnTo>
                      <a:lnTo>
                        <a:pt x="58" y="70"/>
                      </a:lnTo>
                      <a:lnTo>
                        <a:pt x="58" y="68"/>
                      </a:lnTo>
                      <a:lnTo>
                        <a:pt x="60" y="68"/>
                      </a:lnTo>
                      <a:lnTo>
                        <a:pt x="60" y="66"/>
                      </a:lnTo>
                      <a:lnTo>
                        <a:pt x="62" y="66"/>
                      </a:lnTo>
                      <a:lnTo>
                        <a:pt x="66" y="66"/>
                      </a:lnTo>
                      <a:lnTo>
                        <a:pt x="70" y="66"/>
                      </a:lnTo>
                      <a:lnTo>
                        <a:pt x="72" y="66"/>
                      </a:lnTo>
                      <a:lnTo>
                        <a:pt x="72" y="64"/>
                      </a:lnTo>
                      <a:lnTo>
                        <a:pt x="70" y="62"/>
                      </a:lnTo>
                      <a:lnTo>
                        <a:pt x="70" y="60"/>
                      </a:lnTo>
                      <a:lnTo>
                        <a:pt x="68" y="58"/>
                      </a:lnTo>
                      <a:lnTo>
                        <a:pt x="68" y="56"/>
                      </a:lnTo>
                      <a:lnTo>
                        <a:pt x="70" y="54"/>
                      </a:lnTo>
                      <a:lnTo>
                        <a:pt x="70" y="52"/>
                      </a:lnTo>
                      <a:lnTo>
                        <a:pt x="72" y="52"/>
                      </a:lnTo>
                      <a:lnTo>
                        <a:pt x="72" y="50"/>
                      </a:lnTo>
                      <a:lnTo>
                        <a:pt x="72" y="48"/>
                      </a:lnTo>
                      <a:lnTo>
                        <a:pt x="72" y="46"/>
                      </a:lnTo>
                      <a:lnTo>
                        <a:pt x="72" y="42"/>
                      </a:lnTo>
                      <a:lnTo>
                        <a:pt x="70" y="42"/>
                      </a:lnTo>
                      <a:lnTo>
                        <a:pt x="68" y="42"/>
                      </a:lnTo>
                      <a:lnTo>
                        <a:pt x="66" y="42"/>
                      </a:lnTo>
                      <a:lnTo>
                        <a:pt x="64" y="42"/>
                      </a:lnTo>
                      <a:lnTo>
                        <a:pt x="64" y="40"/>
                      </a:lnTo>
                      <a:lnTo>
                        <a:pt x="64" y="38"/>
                      </a:lnTo>
                      <a:lnTo>
                        <a:pt x="64" y="36"/>
                      </a:lnTo>
                      <a:lnTo>
                        <a:pt x="62" y="36"/>
                      </a:lnTo>
                      <a:lnTo>
                        <a:pt x="60" y="34"/>
                      </a:lnTo>
                      <a:lnTo>
                        <a:pt x="56" y="32"/>
                      </a:lnTo>
                      <a:lnTo>
                        <a:pt x="54" y="32"/>
                      </a:lnTo>
                      <a:lnTo>
                        <a:pt x="52" y="30"/>
                      </a:lnTo>
                      <a:lnTo>
                        <a:pt x="50" y="32"/>
                      </a:lnTo>
                      <a:lnTo>
                        <a:pt x="48" y="34"/>
                      </a:lnTo>
                      <a:lnTo>
                        <a:pt x="48" y="36"/>
                      </a:lnTo>
                      <a:lnTo>
                        <a:pt x="46" y="38"/>
                      </a:lnTo>
                      <a:lnTo>
                        <a:pt x="46" y="40"/>
                      </a:lnTo>
                      <a:lnTo>
                        <a:pt x="46" y="38"/>
                      </a:lnTo>
                      <a:lnTo>
                        <a:pt x="48" y="34"/>
                      </a:lnTo>
                      <a:lnTo>
                        <a:pt x="48" y="32"/>
                      </a:lnTo>
                      <a:lnTo>
                        <a:pt x="48" y="30"/>
                      </a:lnTo>
                      <a:lnTo>
                        <a:pt x="48" y="26"/>
                      </a:lnTo>
                      <a:lnTo>
                        <a:pt x="50" y="24"/>
                      </a:lnTo>
                      <a:lnTo>
                        <a:pt x="50" y="22"/>
                      </a:lnTo>
                      <a:lnTo>
                        <a:pt x="48" y="20"/>
                      </a:lnTo>
                      <a:lnTo>
                        <a:pt x="48" y="18"/>
                      </a:lnTo>
                      <a:lnTo>
                        <a:pt x="48" y="16"/>
                      </a:lnTo>
                      <a:lnTo>
                        <a:pt x="46" y="14"/>
                      </a:lnTo>
                      <a:lnTo>
                        <a:pt x="46" y="12"/>
                      </a:lnTo>
                      <a:lnTo>
                        <a:pt x="44" y="10"/>
                      </a:lnTo>
                      <a:lnTo>
                        <a:pt x="44" y="8"/>
                      </a:lnTo>
                      <a:lnTo>
                        <a:pt x="42" y="6"/>
                      </a:lnTo>
                      <a:lnTo>
                        <a:pt x="40" y="6"/>
                      </a:lnTo>
                      <a:lnTo>
                        <a:pt x="38" y="6"/>
                      </a:lnTo>
                      <a:lnTo>
                        <a:pt x="34" y="4"/>
                      </a:lnTo>
                      <a:lnTo>
                        <a:pt x="32" y="2"/>
                      </a:lnTo>
                      <a:lnTo>
                        <a:pt x="30" y="2"/>
                      </a:lnTo>
                      <a:lnTo>
                        <a:pt x="28" y="2"/>
                      </a:lnTo>
                      <a:lnTo>
                        <a:pt x="28" y="0"/>
                      </a:lnTo>
                      <a:lnTo>
                        <a:pt x="26" y="2"/>
                      </a:lnTo>
                      <a:lnTo>
                        <a:pt x="26" y="4"/>
                      </a:lnTo>
                      <a:lnTo>
                        <a:pt x="24" y="6"/>
                      </a:lnTo>
                      <a:lnTo>
                        <a:pt x="22" y="10"/>
                      </a:lnTo>
                      <a:lnTo>
                        <a:pt x="20"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7" name="Freeform 25">
                  <a:extLst>
                    <a:ext uri="{FF2B5EF4-FFF2-40B4-BE49-F238E27FC236}">
                      <a16:creationId xmlns:a16="http://schemas.microsoft.com/office/drawing/2014/main" id="{BBA76492-B1DA-4767-9D7A-124B1A03FF56}"/>
                    </a:ext>
                  </a:extLst>
                </p:cNvPr>
                <p:cNvSpPr>
                  <a:spLocks noChangeAspect="1"/>
                </p:cNvSpPr>
                <p:nvPr/>
              </p:nvSpPr>
              <p:spPr bwMode="auto">
                <a:xfrm>
                  <a:off x="1842917" y="3550396"/>
                  <a:ext cx="190602" cy="101086"/>
                </a:xfrm>
                <a:custGeom>
                  <a:avLst/>
                  <a:gdLst/>
                  <a:ahLst/>
                  <a:cxnLst>
                    <a:cxn ang="0">
                      <a:pos x="76" y="20"/>
                    </a:cxn>
                    <a:cxn ang="0">
                      <a:pos x="78" y="22"/>
                    </a:cxn>
                    <a:cxn ang="0">
                      <a:pos x="84" y="26"/>
                    </a:cxn>
                    <a:cxn ang="0">
                      <a:pos x="88" y="28"/>
                    </a:cxn>
                    <a:cxn ang="0">
                      <a:pos x="80" y="24"/>
                    </a:cxn>
                    <a:cxn ang="0">
                      <a:pos x="78" y="26"/>
                    </a:cxn>
                    <a:cxn ang="0">
                      <a:pos x="78" y="36"/>
                    </a:cxn>
                    <a:cxn ang="0">
                      <a:pos x="82" y="44"/>
                    </a:cxn>
                    <a:cxn ang="0">
                      <a:pos x="86" y="40"/>
                    </a:cxn>
                    <a:cxn ang="0">
                      <a:pos x="86" y="38"/>
                    </a:cxn>
                    <a:cxn ang="0">
                      <a:pos x="90" y="38"/>
                    </a:cxn>
                    <a:cxn ang="0">
                      <a:pos x="96" y="34"/>
                    </a:cxn>
                    <a:cxn ang="0">
                      <a:pos x="96" y="28"/>
                    </a:cxn>
                    <a:cxn ang="0">
                      <a:pos x="92" y="26"/>
                    </a:cxn>
                    <a:cxn ang="0">
                      <a:pos x="94" y="20"/>
                    </a:cxn>
                    <a:cxn ang="0">
                      <a:pos x="88" y="16"/>
                    </a:cxn>
                    <a:cxn ang="0">
                      <a:pos x="86" y="12"/>
                    </a:cxn>
                    <a:cxn ang="0">
                      <a:pos x="80" y="4"/>
                    </a:cxn>
                    <a:cxn ang="0">
                      <a:pos x="70" y="4"/>
                    </a:cxn>
                    <a:cxn ang="0">
                      <a:pos x="66" y="2"/>
                    </a:cxn>
                    <a:cxn ang="0">
                      <a:pos x="64" y="0"/>
                    </a:cxn>
                    <a:cxn ang="0">
                      <a:pos x="56" y="0"/>
                    </a:cxn>
                    <a:cxn ang="0">
                      <a:pos x="50" y="8"/>
                    </a:cxn>
                    <a:cxn ang="0">
                      <a:pos x="46" y="6"/>
                    </a:cxn>
                    <a:cxn ang="0">
                      <a:pos x="40" y="8"/>
                    </a:cxn>
                    <a:cxn ang="0">
                      <a:pos x="32" y="16"/>
                    </a:cxn>
                    <a:cxn ang="0">
                      <a:pos x="24" y="14"/>
                    </a:cxn>
                    <a:cxn ang="0">
                      <a:pos x="20" y="10"/>
                    </a:cxn>
                    <a:cxn ang="0">
                      <a:pos x="18" y="12"/>
                    </a:cxn>
                    <a:cxn ang="0">
                      <a:pos x="16" y="12"/>
                    </a:cxn>
                    <a:cxn ang="0">
                      <a:pos x="10" y="10"/>
                    </a:cxn>
                    <a:cxn ang="0">
                      <a:pos x="10" y="4"/>
                    </a:cxn>
                    <a:cxn ang="0">
                      <a:pos x="4" y="2"/>
                    </a:cxn>
                    <a:cxn ang="0">
                      <a:pos x="0" y="6"/>
                    </a:cxn>
                    <a:cxn ang="0">
                      <a:pos x="2" y="10"/>
                    </a:cxn>
                    <a:cxn ang="0">
                      <a:pos x="6" y="12"/>
                    </a:cxn>
                    <a:cxn ang="0">
                      <a:pos x="2" y="16"/>
                    </a:cxn>
                    <a:cxn ang="0">
                      <a:pos x="0" y="22"/>
                    </a:cxn>
                    <a:cxn ang="0">
                      <a:pos x="0" y="24"/>
                    </a:cxn>
                    <a:cxn ang="0">
                      <a:pos x="2" y="26"/>
                    </a:cxn>
                    <a:cxn ang="0">
                      <a:pos x="10" y="24"/>
                    </a:cxn>
                    <a:cxn ang="0">
                      <a:pos x="12" y="28"/>
                    </a:cxn>
                    <a:cxn ang="0">
                      <a:pos x="16" y="28"/>
                    </a:cxn>
                    <a:cxn ang="0">
                      <a:pos x="20" y="28"/>
                    </a:cxn>
                    <a:cxn ang="0">
                      <a:pos x="20" y="32"/>
                    </a:cxn>
                    <a:cxn ang="0">
                      <a:pos x="24" y="38"/>
                    </a:cxn>
                    <a:cxn ang="0">
                      <a:pos x="28" y="36"/>
                    </a:cxn>
                    <a:cxn ang="0">
                      <a:pos x="28" y="30"/>
                    </a:cxn>
                    <a:cxn ang="0">
                      <a:pos x="30" y="30"/>
                    </a:cxn>
                    <a:cxn ang="0">
                      <a:pos x="32" y="30"/>
                    </a:cxn>
                    <a:cxn ang="0">
                      <a:pos x="34" y="42"/>
                    </a:cxn>
                    <a:cxn ang="0">
                      <a:pos x="36" y="48"/>
                    </a:cxn>
                    <a:cxn ang="0">
                      <a:pos x="48" y="42"/>
                    </a:cxn>
                    <a:cxn ang="0">
                      <a:pos x="46" y="40"/>
                    </a:cxn>
                    <a:cxn ang="0">
                      <a:pos x="38" y="30"/>
                    </a:cxn>
                    <a:cxn ang="0">
                      <a:pos x="42" y="26"/>
                    </a:cxn>
                    <a:cxn ang="0">
                      <a:pos x="52" y="18"/>
                    </a:cxn>
                    <a:cxn ang="0">
                      <a:pos x="60" y="12"/>
                    </a:cxn>
                    <a:cxn ang="0">
                      <a:pos x="72" y="16"/>
                    </a:cxn>
                  </a:cxnLst>
                  <a:rect l="0" t="0" r="r" b="b"/>
                  <a:pathLst>
                    <a:path w="96" h="48">
                      <a:moveTo>
                        <a:pt x="72" y="16"/>
                      </a:moveTo>
                      <a:lnTo>
                        <a:pt x="72" y="16"/>
                      </a:lnTo>
                      <a:lnTo>
                        <a:pt x="74" y="18"/>
                      </a:lnTo>
                      <a:lnTo>
                        <a:pt x="76" y="20"/>
                      </a:lnTo>
                      <a:lnTo>
                        <a:pt x="76" y="22"/>
                      </a:lnTo>
                      <a:lnTo>
                        <a:pt x="78" y="22"/>
                      </a:lnTo>
                      <a:lnTo>
                        <a:pt x="80" y="22"/>
                      </a:lnTo>
                      <a:lnTo>
                        <a:pt x="82" y="24"/>
                      </a:lnTo>
                      <a:lnTo>
                        <a:pt x="84" y="26"/>
                      </a:lnTo>
                      <a:lnTo>
                        <a:pt x="86" y="26"/>
                      </a:lnTo>
                      <a:lnTo>
                        <a:pt x="86" y="28"/>
                      </a:lnTo>
                      <a:lnTo>
                        <a:pt x="88" y="28"/>
                      </a:lnTo>
                      <a:lnTo>
                        <a:pt x="84" y="26"/>
                      </a:lnTo>
                      <a:lnTo>
                        <a:pt x="82" y="26"/>
                      </a:lnTo>
                      <a:lnTo>
                        <a:pt x="80" y="24"/>
                      </a:lnTo>
                      <a:lnTo>
                        <a:pt x="78" y="24"/>
                      </a:lnTo>
                      <a:lnTo>
                        <a:pt x="78" y="26"/>
                      </a:lnTo>
                      <a:lnTo>
                        <a:pt x="78" y="28"/>
                      </a:lnTo>
                      <a:lnTo>
                        <a:pt x="78" y="30"/>
                      </a:lnTo>
                      <a:lnTo>
                        <a:pt x="78" y="32"/>
                      </a:lnTo>
                      <a:lnTo>
                        <a:pt x="78" y="34"/>
                      </a:lnTo>
                      <a:lnTo>
                        <a:pt x="78" y="36"/>
                      </a:lnTo>
                      <a:lnTo>
                        <a:pt x="78" y="38"/>
                      </a:lnTo>
                      <a:lnTo>
                        <a:pt x="80" y="40"/>
                      </a:lnTo>
                      <a:lnTo>
                        <a:pt x="82" y="44"/>
                      </a:lnTo>
                      <a:lnTo>
                        <a:pt x="84" y="44"/>
                      </a:lnTo>
                      <a:lnTo>
                        <a:pt x="84" y="42"/>
                      </a:lnTo>
                      <a:lnTo>
                        <a:pt x="86" y="40"/>
                      </a:lnTo>
                      <a:lnTo>
                        <a:pt x="86" y="38"/>
                      </a:lnTo>
                      <a:lnTo>
                        <a:pt x="88" y="38"/>
                      </a:lnTo>
                      <a:lnTo>
                        <a:pt x="90" y="38"/>
                      </a:lnTo>
                      <a:lnTo>
                        <a:pt x="92" y="38"/>
                      </a:lnTo>
                      <a:lnTo>
                        <a:pt x="94" y="36"/>
                      </a:lnTo>
                      <a:lnTo>
                        <a:pt x="96" y="34"/>
                      </a:lnTo>
                      <a:lnTo>
                        <a:pt x="96" y="32"/>
                      </a:lnTo>
                      <a:lnTo>
                        <a:pt x="96" y="30"/>
                      </a:lnTo>
                      <a:lnTo>
                        <a:pt x="96" y="28"/>
                      </a:lnTo>
                      <a:lnTo>
                        <a:pt x="94" y="28"/>
                      </a:lnTo>
                      <a:lnTo>
                        <a:pt x="92" y="26"/>
                      </a:lnTo>
                      <a:lnTo>
                        <a:pt x="92" y="24"/>
                      </a:lnTo>
                      <a:lnTo>
                        <a:pt x="92" y="22"/>
                      </a:lnTo>
                      <a:lnTo>
                        <a:pt x="92" y="20"/>
                      </a:lnTo>
                      <a:lnTo>
                        <a:pt x="94" y="20"/>
                      </a:lnTo>
                      <a:lnTo>
                        <a:pt x="92" y="18"/>
                      </a:lnTo>
                      <a:lnTo>
                        <a:pt x="90" y="16"/>
                      </a:lnTo>
                      <a:lnTo>
                        <a:pt x="88" y="16"/>
                      </a:lnTo>
                      <a:lnTo>
                        <a:pt x="88" y="14"/>
                      </a:lnTo>
                      <a:lnTo>
                        <a:pt x="86" y="12"/>
                      </a:lnTo>
                      <a:lnTo>
                        <a:pt x="86" y="10"/>
                      </a:lnTo>
                      <a:lnTo>
                        <a:pt x="86" y="8"/>
                      </a:lnTo>
                      <a:lnTo>
                        <a:pt x="84" y="8"/>
                      </a:lnTo>
                      <a:lnTo>
                        <a:pt x="82" y="6"/>
                      </a:lnTo>
                      <a:lnTo>
                        <a:pt x="80" y="4"/>
                      </a:lnTo>
                      <a:lnTo>
                        <a:pt x="78" y="4"/>
                      </a:lnTo>
                      <a:lnTo>
                        <a:pt x="76" y="4"/>
                      </a:lnTo>
                      <a:lnTo>
                        <a:pt x="74" y="4"/>
                      </a:lnTo>
                      <a:lnTo>
                        <a:pt x="72" y="4"/>
                      </a:lnTo>
                      <a:lnTo>
                        <a:pt x="70" y="4"/>
                      </a:lnTo>
                      <a:lnTo>
                        <a:pt x="68" y="4"/>
                      </a:lnTo>
                      <a:lnTo>
                        <a:pt x="66" y="4"/>
                      </a:lnTo>
                      <a:lnTo>
                        <a:pt x="66" y="2"/>
                      </a:lnTo>
                      <a:lnTo>
                        <a:pt x="66" y="0"/>
                      </a:lnTo>
                      <a:lnTo>
                        <a:pt x="64" y="0"/>
                      </a:lnTo>
                      <a:lnTo>
                        <a:pt x="62" y="0"/>
                      </a:lnTo>
                      <a:lnTo>
                        <a:pt x="60" y="0"/>
                      </a:lnTo>
                      <a:lnTo>
                        <a:pt x="58" y="0"/>
                      </a:lnTo>
                      <a:lnTo>
                        <a:pt x="56" y="0"/>
                      </a:lnTo>
                      <a:lnTo>
                        <a:pt x="54" y="2"/>
                      </a:lnTo>
                      <a:lnTo>
                        <a:pt x="52" y="4"/>
                      </a:lnTo>
                      <a:lnTo>
                        <a:pt x="52" y="6"/>
                      </a:lnTo>
                      <a:lnTo>
                        <a:pt x="50" y="6"/>
                      </a:lnTo>
                      <a:lnTo>
                        <a:pt x="50" y="8"/>
                      </a:lnTo>
                      <a:lnTo>
                        <a:pt x="48" y="8"/>
                      </a:lnTo>
                      <a:lnTo>
                        <a:pt x="46" y="6"/>
                      </a:lnTo>
                      <a:lnTo>
                        <a:pt x="44" y="6"/>
                      </a:lnTo>
                      <a:lnTo>
                        <a:pt x="42" y="6"/>
                      </a:lnTo>
                      <a:lnTo>
                        <a:pt x="42" y="8"/>
                      </a:lnTo>
                      <a:lnTo>
                        <a:pt x="40" y="8"/>
                      </a:lnTo>
                      <a:lnTo>
                        <a:pt x="40" y="10"/>
                      </a:lnTo>
                      <a:lnTo>
                        <a:pt x="36" y="12"/>
                      </a:lnTo>
                      <a:lnTo>
                        <a:pt x="34" y="14"/>
                      </a:lnTo>
                      <a:lnTo>
                        <a:pt x="32" y="16"/>
                      </a:lnTo>
                      <a:lnTo>
                        <a:pt x="30" y="16"/>
                      </a:lnTo>
                      <a:lnTo>
                        <a:pt x="28" y="16"/>
                      </a:lnTo>
                      <a:lnTo>
                        <a:pt x="26" y="16"/>
                      </a:lnTo>
                      <a:lnTo>
                        <a:pt x="24" y="14"/>
                      </a:lnTo>
                      <a:lnTo>
                        <a:pt x="22" y="12"/>
                      </a:lnTo>
                      <a:lnTo>
                        <a:pt x="22" y="10"/>
                      </a:lnTo>
                      <a:lnTo>
                        <a:pt x="20" y="10"/>
                      </a:lnTo>
                      <a:lnTo>
                        <a:pt x="18" y="12"/>
                      </a:lnTo>
                      <a:lnTo>
                        <a:pt x="16" y="12"/>
                      </a:lnTo>
                      <a:lnTo>
                        <a:pt x="14" y="12"/>
                      </a:lnTo>
                      <a:lnTo>
                        <a:pt x="12" y="12"/>
                      </a:lnTo>
                      <a:lnTo>
                        <a:pt x="12" y="10"/>
                      </a:lnTo>
                      <a:lnTo>
                        <a:pt x="10" y="10"/>
                      </a:lnTo>
                      <a:lnTo>
                        <a:pt x="10" y="8"/>
                      </a:lnTo>
                      <a:lnTo>
                        <a:pt x="10" y="6"/>
                      </a:lnTo>
                      <a:lnTo>
                        <a:pt x="10" y="4"/>
                      </a:lnTo>
                      <a:lnTo>
                        <a:pt x="10" y="2"/>
                      </a:lnTo>
                      <a:lnTo>
                        <a:pt x="8" y="2"/>
                      </a:lnTo>
                      <a:lnTo>
                        <a:pt x="6" y="0"/>
                      </a:lnTo>
                      <a:lnTo>
                        <a:pt x="4" y="2"/>
                      </a:lnTo>
                      <a:lnTo>
                        <a:pt x="0" y="2"/>
                      </a:lnTo>
                      <a:lnTo>
                        <a:pt x="0" y="4"/>
                      </a:lnTo>
                      <a:lnTo>
                        <a:pt x="0" y="6"/>
                      </a:lnTo>
                      <a:lnTo>
                        <a:pt x="0" y="8"/>
                      </a:lnTo>
                      <a:lnTo>
                        <a:pt x="0" y="10"/>
                      </a:lnTo>
                      <a:lnTo>
                        <a:pt x="2" y="10"/>
                      </a:lnTo>
                      <a:lnTo>
                        <a:pt x="4" y="10"/>
                      </a:lnTo>
                      <a:lnTo>
                        <a:pt x="4" y="12"/>
                      </a:lnTo>
                      <a:lnTo>
                        <a:pt x="6" y="12"/>
                      </a:lnTo>
                      <a:lnTo>
                        <a:pt x="4" y="14"/>
                      </a:lnTo>
                      <a:lnTo>
                        <a:pt x="4" y="16"/>
                      </a:lnTo>
                      <a:lnTo>
                        <a:pt x="2" y="16"/>
                      </a:lnTo>
                      <a:lnTo>
                        <a:pt x="2" y="18"/>
                      </a:lnTo>
                      <a:lnTo>
                        <a:pt x="2" y="20"/>
                      </a:lnTo>
                      <a:lnTo>
                        <a:pt x="0" y="20"/>
                      </a:lnTo>
                      <a:lnTo>
                        <a:pt x="0" y="22"/>
                      </a:lnTo>
                      <a:lnTo>
                        <a:pt x="0" y="24"/>
                      </a:lnTo>
                      <a:lnTo>
                        <a:pt x="0" y="26"/>
                      </a:lnTo>
                      <a:lnTo>
                        <a:pt x="2" y="26"/>
                      </a:lnTo>
                      <a:lnTo>
                        <a:pt x="4" y="26"/>
                      </a:lnTo>
                      <a:lnTo>
                        <a:pt x="6" y="24"/>
                      </a:lnTo>
                      <a:lnTo>
                        <a:pt x="8" y="24"/>
                      </a:lnTo>
                      <a:lnTo>
                        <a:pt x="10" y="24"/>
                      </a:lnTo>
                      <a:lnTo>
                        <a:pt x="12" y="26"/>
                      </a:lnTo>
                      <a:lnTo>
                        <a:pt x="12" y="28"/>
                      </a:lnTo>
                      <a:lnTo>
                        <a:pt x="14" y="28"/>
                      </a:lnTo>
                      <a:lnTo>
                        <a:pt x="16" y="28"/>
                      </a:lnTo>
                      <a:lnTo>
                        <a:pt x="18" y="28"/>
                      </a:lnTo>
                      <a:lnTo>
                        <a:pt x="20" y="28"/>
                      </a:lnTo>
                      <a:lnTo>
                        <a:pt x="20" y="30"/>
                      </a:lnTo>
                      <a:lnTo>
                        <a:pt x="20" y="32"/>
                      </a:lnTo>
                      <a:lnTo>
                        <a:pt x="20" y="34"/>
                      </a:lnTo>
                      <a:lnTo>
                        <a:pt x="20" y="36"/>
                      </a:lnTo>
                      <a:lnTo>
                        <a:pt x="22" y="38"/>
                      </a:lnTo>
                      <a:lnTo>
                        <a:pt x="24" y="38"/>
                      </a:lnTo>
                      <a:lnTo>
                        <a:pt x="26" y="36"/>
                      </a:lnTo>
                      <a:lnTo>
                        <a:pt x="28" y="36"/>
                      </a:lnTo>
                      <a:lnTo>
                        <a:pt x="28" y="34"/>
                      </a:lnTo>
                      <a:lnTo>
                        <a:pt x="28" y="32"/>
                      </a:lnTo>
                      <a:lnTo>
                        <a:pt x="28" y="30"/>
                      </a:lnTo>
                      <a:lnTo>
                        <a:pt x="30" y="30"/>
                      </a:lnTo>
                      <a:lnTo>
                        <a:pt x="32" y="30"/>
                      </a:lnTo>
                      <a:lnTo>
                        <a:pt x="32" y="32"/>
                      </a:lnTo>
                      <a:lnTo>
                        <a:pt x="32" y="36"/>
                      </a:lnTo>
                      <a:lnTo>
                        <a:pt x="32" y="40"/>
                      </a:lnTo>
                      <a:lnTo>
                        <a:pt x="34" y="42"/>
                      </a:lnTo>
                      <a:lnTo>
                        <a:pt x="34" y="44"/>
                      </a:lnTo>
                      <a:lnTo>
                        <a:pt x="34" y="46"/>
                      </a:lnTo>
                      <a:lnTo>
                        <a:pt x="36" y="46"/>
                      </a:lnTo>
                      <a:lnTo>
                        <a:pt x="36" y="48"/>
                      </a:lnTo>
                      <a:lnTo>
                        <a:pt x="38" y="48"/>
                      </a:lnTo>
                      <a:lnTo>
                        <a:pt x="42" y="46"/>
                      </a:lnTo>
                      <a:lnTo>
                        <a:pt x="44" y="44"/>
                      </a:lnTo>
                      <a:lnTo>
                        <a:pt x="46" y="42"/>
                      </a:lnTo>
                      <a:lnTo>
                        <a:pt x="48" y="42"/>
                      </a:lnTo>
                      <a:lnTo>
                        <a:pt x="48" y="40"/>
                      </a:lnTo>
                      <a:lnTo>
                        <a:pt x="46" y="40"/>
                      </a:lnTo>
                      <a:lnTo>
                        <a:pt x="44" y="38"/>
                      </a:lnTo>
                      <a:lnTo>
                        <a:pt x="42" y="36"/>
                      </a:lnTo>
                      <a:lnTo>
                        <a:pt x="40" y="34"/>
                      </a:lnTo>
                      <a:lnTo>
                        <a:pt x="38" y="32"/>
                      </a:lnTo>
                      <a:lnTo>
                        <a:pt x="38" y="30"/>
                      </a:lnTo>
                      <a:lnTo>
                        <a:pt x="38" y="28"/>
                      </a:lnTo>
                      <a:lnTo>
                        <a:pt x="40" y="26"/>
                      </a:lnTo>
                      <a:lnTo>
                        <a:pt x="42" y="26"/>
                      </a:lnTo>
                      <a:lnTo>
                        <a:pt x="44" y="24"/>
                      </a:lnTo>
                      <a:lnTo>
                        <a:pt x="46" y="22"/>
                      </a:lnTo>
                      <a:lnTo>
                        <a:pt x="50" y="22"/>
                      </a:lnTo>
                      <a:lnTo>
                        <a:pt x="50" y="20"/>
                      </a:lnTo>
                      <a:lnTo>
                        <a:pt x="52" y="18"/>
                      </a:lnTo>
                      <a:lnTo>
                        <a:pt x="54" y="14"/>
                      </a:lnTo>
                      <a:lnTo>
                        <a:pt x="56" y="14"/>
                      </a:lnTo>
                      <a:lnTo>
                        <a:pt x="56" y="12"/>
                      </a:lnTo>
                      <a:lnTo>
                        <a:pt x="58" y="12"/>
                      </a:lnTo>
                      <a:lnTo>
                        <a:pt x="60" y="12"/>
                      </a:lnTo>
                      <a:lnTo>
                        <a:pt x="62" y="12"/>
                      </a:lnTo>
                      <a:lnTo>
                        <a:pt x="66" y="14"/>
                      </a:lnTo>
                      <a:lnTo>
                        <a:pt x="70" y="14"/>
                      </a:lnTo>
                      <a:lnTo>
                        <a:pt x="72" y="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8" name="Freeform 26">
                  <a:extLst>
                    <a:ext uri="{FF2B5EF4-FFF2-40B4-BE49-F238E27FC236}">
                      <a16:creationId xmlns:a16="http://schemas.microsoft.com/office/drawing/2014/main" id="{16E8C83A-45E3-4DEE-93B4-9E0C8FCE499B}"/>
                    </a:ext>
                  </a:extLst>
                </p:cNvPr>
                <p:cNvSpPr>
                  <a:spLocks noChangeAspect="1"/>
                </p:cNvSpPr>
                <p:nvPr/>
              </p:nvSpPr>
              <p:spPr bwMode="auto">
                <a:xfrm>
                  <a:off x="1962044" y="3436674"/>
                  <a:ext cx="409001" cy="669693"/>
                </a:xfrm>
                <a:custGeom>
                  <a:avLst/>
                  <a:gdLst/>
                  <a:ahLst/>
                  <a:cxnLst>
                    <a:cxn ang="0">
                      <a:pos x="24" y="224"/>
                    </a:cxn>
                    <a:cxn ang="0">
                      <a:pos x="36" y="232"/>
                    </a:cxn>
                    <a:cxn ang="0">
                      <a:pos x="50" y="232"/>
                    </a:cxn>
                    <a:cxn ang="0">
                      <a:pos x="78" y="248"/>
                    </a:cxn>
                    <a:cxn ang="0">
                      <a:pos x="88" y="260"/>
                    </a:cxn>
                    <a:cxn ang="0">
                      <a:pos x="94" y="272"/>
                    </a:cxn>
                    <a:cxn ang="0">
                      <a:pos x="100" y="284"/>
                    </a:cxn>
                    <a:cxn ang="0">
                      <a:pos x="120" y="280"/>
                    </a:cxn>
                    <a:cxn ang="0">
                      <a:pos x="140" y="284"/>
                    </a:cxn>
                    <a:cxn ang="0">
                      <a:pos x="150" y="296"/>
                    </a:cxn>
                    <a:cxn ang="0">
                      <a:pos x="148" y="312"/>
                    </a:cxn>
                    <a:cxn ang="0">
                      <a:pos x="156" y="318"/>
                    </a:cxn>
                    <a:cxn ang="0">
                      <a:pos x="158" y="294"/>
                    </a:cxn>
                    <a:cxn ang="0">
                      <a:pos x="162" y="272"/>
                    </a:cxn>
                    <a:cxn ang="0">
                      <a:pos x="162" y="258"/>
                    </a:cxn>
                    <a:cxn ang="0">
                      <a:pos x="152" y="242"/>
                    </a:cxn>
                    <a:cxn ang="0">
                      <a:pos x="158" y="226"/>
                    </a:cxn>
                    <a:cxn ang="0">
                      <a:pos x="168" y="220"/>
                    </a:cxn>
                    <a:cxn ang="0">
                      <a:pos x="158" y="216"/>
                    </a:cxn>
                    <a:cxn ang="0">
                      <a:pos x="168" y="206"/>
                    </a:cxn>
                    <a:cxn ang="0">
                      <a:pos x="182" y="200"/>
                    </a:cxn>
                    <a:cxn ang="0">
                      <a:pos x="196" y="198"/>
                    </a:cxn>
                    <a:cxn ang="0">
                      <a:pos x="202" y="210"/>
                    </a:cxn>
                    <a:cxn ang="0">
                      <a:pos x="206" y="210"/>
                    </a:cxn>
                    <a:cxn ang="0">
                      <a:pos x="200" y="190"/>
                    </a:cxn>
                    <a:cxn ang="0">
                      <a:pos x="190" y="182"/>
                    </a:cxn>
                    <a:cxn ang="0">
                      <a:pos x="194" y="164"/>
                    </a:cxn>
                    <a:cxn ang="0">
                      <a:pos x="190" y="150"/>
                    </a:cxn>
                    <a:cxn ang="0">
                      <a:pos x="194" y="128"/>
                    </a:cxn>
                    <a:cxn ang="0">
                      <a:pos x="192" y="118"/>
                    </a:cxn>
                    <a:cxn ang="0">
                      <a:pos x="178" y="120"/>
                    </a:cxn>
                    <a:cxn ang="0">
                      <a:pos x="162" y="120"/>
                    </a:cxn>
                    <a:cxn ang="0">
                      <a:pos x="150" y="106"/>
                    </a:cxn>
                    <a:cxn ang="0">
                      <a:pos x="130" y="104"/>
                    </a:cxn>
                    <a:cxn ang="0">
                      <a:pos x="116" y="96"/>
                    </a:cxn>
                    <a:cxn ang="0">
                      <a:pos x="118" y="80"/>
                    </a:cxn>
                    <a:cxn ang="0">
                      <a:pos x="110" y="60"/>
                    </a:cxn>
                    <a:cxn ang="0">
                      <a:pos x="110" y="52"/>
                    </a:cxn>
                    <a:cxn ang="0">
                      <a:pos x="112" y="38"/>
                    </a:cxn>
                    <a:cxn ang="0">
                      <a:pos x="128" y="16"/>
                    </a:cxn>
                    <a:cxn ang="0">
                      <a:pos x="142" y="2"/>
                    </a:cxn>
                    <a:cxn ang="0">
                      <a:pos x="122" y="12"/>
                    </a:cxn>
                    <a:cxn ang="0">
                      <a:pos x="106" y="22"/>
                    </a:cxn>
                    <a:cxn ang="0">
                      <a:pos x="90" y="24"/>
                    </a:cxn>
                    <a:cxn ang="0">
                      <a:pos x="86" y="30"/>
                    </a:cxn>
                    <a:cxn ang="0">
                      <a:pos x="66" y="38"/>
                    </a:cxn>
                    <a:cxn ang="0">
                      <a:pos x="64" y="56"/>
                    </a:cxn>
                    <a:cxn ang="0">
                      <a:pos x="54" y="62"/>
                    </a:cxn>
                    <a:cxn ang="0">
                      <a:pos x="42" y="74"/>
                    </a:cxn>
                    <a:cxn ang="0">
                      <a:pos x="40" y="86"/>
                    </a:cxn>
                    <a:cxn ang="0">
                      <a:pos x="32" y="78"/>
                    </a:cxn>
                    <a:cxn ang="0">
                      <a:pos x="30" y="92"/>
                    </a:cxn>
                    <a:cxn ang="0">
                      <a:pos x="26" y="104"/>
                    </a:cxn>
                    <a:cxn ang="0">
                      <a:pos x="28" y="116"/>
                    </a:cxn>
                    <a:cxn ang="0">
                      <a:pos x="34" y="130"/>
                    </a:cxn>
                    <a:cxn ang="0">
                      <a:pos x="32" y="142"/>
                    </a:cxn>
                    <a:cxn ang="0">
                      <a:pos x="26" y="160"/>
                    </a:cxn>
                    <a:cxn ang="0">
                      <a:pos x="24" y="180"/>
                    </a:cxn>
                    <a:cxn ang="0">
                      <a:pos x="16" y="190"/>
                    </a:cxn>
                    <a:cxn ang="0">
                      <a:pos x="4" y="202"/>
                    </a:cxn>
                  </a:cxnLst>
                  <a:rect l="0" t="0" r="r" b="b"/>
                  <a:pathLst>
                    <a:path w="206" h="318">
                      <a:moveTo>
                        <a:pt x="8" y="216"/>
                      </a:moveTo>
                      <a:lnTo>
                        <a:pt x="12" y="218"/>
                      </a:lnTo>
                      <a:lnTo>
                        <a:pt x="14" y="220"/>
                      </a:lnTo>
                      <a:lnTo>
                        <a:pt x="14" y="222"/>
                      </a:lnTo>
                      <a:lnTo>
                        <a:pt x="16" y="222"/>
                      </a:lnTo>
                      <a:lnTo>
                        <a:pt x="18" y="222"/>
                      </a:lnTo>
                      <a:lnTo>
                        <a:pt x="20" y="222"/>
                      </a:lnTo>
                      <a:lnTo>
                        <a:pt x="22" y="222"/>
                      </a:lnTo>
                      <a:lnTo>
                        <a:pt x="24" y="224"/>
                      </a:lnTo>
                      <a:lnTo>
                        <a:pt x="24" y="226"/>
                      </a:lnTo>
                      <a:lnTo>
                        <a:pt x="26" y="226"/>
                      </a:lnTo>
                      <a:lnTo>
                        <a:pt x="26" y="228"/>
                      </a:lnTo>
                      <a:lnTo>
                        <a:pt x="26" y="230"/>
                      </a:lnTo>
                      <a:lnTo>
                        <a:pt x="28" y="230"/>
                      </a:lnTo>
                      <a:lnTo>
                        <a:pt x="30" y="232"/>
                      </a:lnTo>
                      <a:lnTo>
                        <a:pt x="32" y="232"/>
                      </a:lnTo>
                      <a:lnTo>
                        <a:pt x="34" y="232"/>
                      </a:lnTo>
                      <a:lnTo>
                        <a:pt x="34" y="230"/>
                      </a:lnTo>
                      <a:lnTo>
                        <a:pt x="36" y="230"/>
                      </a:lnTo>
                      <a:lnTo>
                        <a:pt x="36" y="232"/>
                      </a:lnTo>
                      <a:lnTo>
                        <a:pt x="38" y="232"/>
                      </a:lnTo>
                      <a:lnTo>
                        <a:pt x="40" y="234"/>
                      </a:lnTo>
                      <a:lnTo>
                        <a:pt x="42" y="234"/>
                      </a:lnTo>
                      <a:lnTo>
                        <a:pt x="44" y="234"/>
                      </a:lnTo>
                      <a:lnTo>
                        <a:pt x="44" y="232"/>
                      </a:lnTo>
                      <a:lnTo>
                        <a:pt x="44" y="230"/>
                      </a:lnTo>
                      <a:lnTo>
                        <a:pt x="44" y="228"/>
                      </a:lnTo>
                      <a:lnTo>
                        <a:pt x="46" y="230"/>
                      </a:lnTo>
                      <a:lnTo>
                        <a:pt x="48" y="230"/>
                      </a:lnTo>
                      <a:lnTo>
                        <a:pt x="50" y="230"/>
                      </a:lnTo>
                      <a:lnTo>
                        <a:pt x="50" y="232"/>
                      </a:lnTo>
                      <a:lnTo>
                        <a:pt x="52" y="234"/>
                      </a:lnTo>
                      <a:lnTo>
                        <a:pt x="52" y="236"/>
                      </a:lnTo>
                      <a:lnTo>
                        <a:pt x="54" y="236"/>
                      </a:lnTo>
                      <a:lnTo>
                        <a:pt x="56" y="238"/>
                      </a:lnTo>
                      <a:lnTo>
                        <a:pt x="58" y="238"/>
                      </a:lnTo>
                      <a:lnTo>
                        <a:pt x="62" y="238"/>
                      </a:lnTo>
                      <a:lnTo>
                        <a:pt x="64" y="238"/>
                      </a:lnTo>
                      <a:lnTo>
                        <a:pt x="66" y="240"/>
                      </a:lnTo>
                      <a:lnTo>
                        <a:pt x="68" y="242"/>
                      </a:lnTo>
                      <a:lnTo>
                        <a:pt x="72" y="244"/>
                      </a:lnTo>
                      <a:lnTo>
                        <a:pt x="74" y="246"/>
                      </a:lnTo>
                      <a:lnTo>
                        <a:pt x="76" y="246"/>
                      </a:lnTo>
                      <a:lnTo>
                        <a:pt x="78" y="248"/>
                      </a:lnTo>
                      <a:lnTo>
                        <a:pt x="80" y="248"/>
                      </a:lnTo>
                      <a:lnTo>
                        <a:pt x="80" y="252"/>
                      </a:lnTo>
                      <a:lnTo>
                        <a:pt x="82" y="254"/>
                      </a:lnTo>
                      <a:lnTo>
                        <a:pt x="82" y="256"/>
                      </a:lnTo>
                      <a:lnTo>
                        <a:pt x="82" y="258"/>
                      </a:lnTo>
                      <a:lnTo>
                        <a:pt x="84" y="258"/>
                      </a:lnTo>
                      <a:lnTo>
                        <a:pt x="86" y="258"/>
                      </a:lnTo>
                      <a:lnTo>
                        <a:pt x="86" y="260"/>
                      </a:lnTo>
                      <a:lnTo>
                        <a:pt x="88" y="260"/>
                      </a:lnTo>
                      <a:lnTo>
                        <a:pt x="88" y="262"/>
                      </a:lnTo>
                      <a:lnTo>
                        <a:pt x="90" y="262"/>
                      </a:lnTo>
                      <a:lnTo>
                        <a:pt x="92" y="262"/>
                      </a:lnTo>
                      <a:lnTo>
                        <a:pt x="92" y="264"/>
                      </a:lnTo>
                      <a:lnTo>
                        <a:pt x="92" y="266"/>
                      </a:lnTo>
                      <a:lnTo>
                        <a:pt x="94" y="268"/>
                      </a:lnTo>
                      <a:lnTo>
                        <a:pt x="94" y="270"/>
                      </a:lnTo>
                      <a:lnTo>
                        <a:pt x="94" y="272"/>
                      </a:lnTo>
                      <a:lnTo>
                        <a:pt x="96" y="272"/>
                      </a:lnTo>
                      <a:lnTo>
                        <a:pt x="98" y="272"/>
                      </a:lnTo>
                      <a:lnTo>
                        <a:pt x="100" y="272"/>
                      </a:lnTo>
                      <a:lnTo>
                        <a:pt x="100" y="274"/>
                      </a:lnTo>
                      <a:lnTo>
                        <a:pt x="100" y="276"/>
                      </a:lnTo>
                      <a:lnTo>
                        <a:pt x="100" y="278"/>
                      </a:lnTo>
                      <a:lnTo>
                        <a:pt x="100" y="280"/>
                      </a:lnTo>
                      <a:lnTo>
                        <a:pt x="100" y="282"/>
                      </a:lnTo>
                      <a:lnTo>
                        <a:pt x="100" y="284"/>
                      </a:lnTo>
                      <a:lnTo>
                        <a:pt x="102" y="284"/>
                      </a:lnTo>
                      <a:lnTo>
                        <a:pt x="108" y="286"/>
                      </a:lnTo>
                      <a:lnTo>
                        <a:pt x="110" y="286"/>
                      </a:lnTo>
                      <a:lnTo>
                        <a:pt x="112" y="286"/>
                      </a:lnTo>
                      <a:lnTo>
                        <a:pt x="114" y="286"/>
                      </a:lnTo>
                      <a:lnTo>
                        <a:pt x="116" y="286"/>
                      </a:lnTo>
                      <a:lnTo>
                        <a:pt x="118" y="286"/>
                      </a:lnTo>
                      <a:lnTo>
                        <a:pt x="118" y="284"/>
                      </a:lnTo>
                      <a:lnTo>
                        <a:pt x="118" y="282"/>
                      </a:lnTo>
                      <a:lnTo>
                        <a:pt x="120" y="280"/>
                      </a:lnTo>
                      <a:lnTo>
                        <a:pt x="122" y="280"/>
                      </a:lnTo>
                      <a:lnTo>
                        <a:pt x="124" y="280"/>
                      </a:lnTo>
                      <a:lnTo>
                        <a:pt x="126" y="282"/>
                      </a:lnTo>
                      <a:lnTo>
                        <a:pt x="128" y="282"/>
                      </a:lnTo>
                      <a:lnTo>
                        <a:pt x="130" y="284"/>
                      </a:lnTo>
                      <a:lnTo>
                        <a:pt x="132" y="284"/>
                      </a:lnTo>
                      <a:lnTo>
                        <a:pt x="134" y="284"/>
                      </a:lnTo>
                      <a:lnTo>
                        <a:pt x="136" y="282"/>
                      </a:lnTo>
                      <a:lnTo>
                        <a:pt x="138" y="280"/>
                      </a:lnTo>
                      <a:lnTo>
                        <a:pt x="138" y="282"/>
                      </a:lnTo>
                      <a:lnTo>
                        <a:pt x="140" y="282"/>
                      </a:lnTo>
                      <a:lnTo>
                        <a:pt x="140" y="284"/>
                      </a:lnTo>
                      <a:lnTo>
                        <a:pt x="142" y="284"/>
                      </a:lnTo>
                      <a:lnTo>
                        <a:pt x="142" y="286"/>
                      </a:lnTo>
                      <a:lnTo>
                        <a:pt x="144" y="286"/>
                      </a:lnTo>
                      <a:lnTo>
                        <a:pt x="146" y="286"/>
                      </a:lnTo>
                      <a:lnTo>
                        <a:pt x="148" y="286"/>
                      </a:lnTo>
                      <a:lnTo>
                        <a:pt x="150" y="286"/>
                      </a:lnTo>
                      <a:lnTo>
                        <a:pt x="152" y="288"/>
                      </a:lnTo>
                      <a:lnTo>
                        <a:pt x="152" y="290"/>
                      </a:lnTo>
                      <a:lnTo>
                        <a:pt x="152" y="292"/>
                      </a:lnTo>
                      <a:lnTo>
                        <a:pt x="152" y="294"/>
                      </a:lnTo>
                      <a:lnTo>
                        <a:pt x="152" y="296"/>
                      </a:lnTo>
                      <a:lnTo>
                        <a:pt x="150" y="296"/>
                      </a:lnTo>
                      <a:lnTo>
                        <a:pt x="150" y="298"/>
                      </a:lnTo>
                      <a:lnTo>
                        <a:pt x="148" y="298"/>
                      </a:lnTo>
                      <a:lnTo>
                        <a:pt x="146" y="300"/>
                      </a:lnTo>
                      <a:lnTo>
                        <a:pt x="146" y="302"/>
                      </a:lnTo>
                      <a:lnTo>
                        <a:pt x="144" y="304"/>
                      </a:lnTo>
                      <a:lnTo>
                        <a:pt x="144" y="306"/>
                      </a:lnTo>
                      <a:lnTo>
                        <a:pt x="144" y="308"/>
                      </a:lnTo>
                      <a:lnTo>
                        <a:pt x="144" y="310"/>
                      </a:lnTo>
                      <a:lnTo>
                        <a:pt x="144" y="312"/>
                      </a:lnTo>
                      <a:lnTo>
                        <a:pt x="146" y="312"/>
                      </a:lnTo>
                      <a:lnTo>
                        <a:pt x="148" y="312"/>
                      </a:lnTo>
                      <a:lnTo>
                        <a:pt x="150" y="312"/>
                      </a:lnTo>
                      <a:lnTo>
                        <a:pt x="150" y="314"/>
                      </a:lnTo>
                      <a:lnTo>
                        <a:pt x="152" y="314"/>
                      </a:lnTo>
                      <a:lnTo>
                        <a:pt x="152" y="316"/>
                      </a:lnTo>
                      <a:lnTo>
                        <a:pt x="152" y="318"/>
                      </a:lnTo>
                      <a:lnTo>
                        <a:pt x="154" y="318"/>
                      </a:lnTo>
                      <a:lnTo>
                        <a:pt x="156" y="318"/>
                      </a:lnTo>
                      <a:lnTo>
                        <a:pt x="158" y="316"/>
                      </a:lnTo>
                      <a:lnTo>
                        <a:pt x="158" y="314"/>
                      </a:lnTo>
                      <a:lnTo>
                        <a:pt x="158" y="312"/>
                      </a:lnTo>
                      <a:lnTo>
                        <a:pt x="158" y="308"/>
                      </a:lnTo>
                      <a:lnTo>
                        <a:pt x="158" y="304"/>
                      </a:lnTo>
                      <a:lnTo>
                        <a:pt x="158" y="302"/>
                      </a:lnTo>
                      <a:lnTo>
                        <a:pt x="158" y="300"/>
                      </a:lnTo>
                      <a:lnTo>
                        <a:pt x="158" y="298"/>
                      </a:lnTo>
                      <a:lnTo>
                        <a:pt x="158" y="296"/>
                      </a:lnTo>
                      <a:lnTo>
                        <a:pt x="158" y="294"/>
                      </a:lnTo>
                      <a:lnTo>
                        <a:pt x="158" y="292"/>
                      </a:lnTo>
                      <a:lnTo>
                        <a:pt x="160" y="290"/>
                      </a:lnTo>
                      <a:lnTo>
                        <a:pt x="160" y="286"/>
                      </a:lnTo>
                      <a:lnTo>
                        <a:pt x="160" y="284"/>
                      </a:lnTo>
                      <a:lnTo>
                        <a:pt x="162" y="284"/>
                      </a:lnTo>
                      <a:lnTo>
                        <a:pt x="162" y="282"/>
                      </a:lnTo>
                      <a:lnTo>
                        <a:pt x="162" y="280"/>
                      </a:lnTo>
                      <a:lnTo>
                        <a:pt x="162" y="278"/>
                      </a:lnTo>
                      <a:lnTo>
                        <a:pt x="162" y="276"/>
                      </a:lnTo>
                      <a:lnTo>
                        <a:pt x="162" y="274"/>
                      </a:lnTo>
                      <a:lnTo>
                        <a:pt x="162" y="272"/>
                      </a:lnTo>
                      <a:lnTo>
                        <a:pt x="162" y="270"/>
                      </a:lnTo>
                      <a:lnTo>
                        <a:pt x="162" y="268"/>
                      </a:lnTo>
                      <a:lnTo>
                        <a:pt x="164" y="266"/>
                      </a:lnTo>
                      <a:lnTo>
                        <a:pt x="164" y="264"/>
                      </a:lnTo>
                      <a:lnTo>
                        <a:pt x="166" y="264"/>
                      </a:lnTo>
                      <a:lnTo>
                        <a:pt x="164" y="262"/>
                      </a:lnTo>
                      <a:lnTo>
                        <a:pt x="164" y="260"/>
                      </a:lnTo>
                      <a:lnTo>
                        <a:pt x="162" y="258"/>
                      </a:lnTo>
                      <a:lnTo>
                        <a:pt x="162" y="256"/>
                      </a:lnTo>
                      <a:lnTo>
                        <a:pt x="160" y="256"/>
                      </a:lnTo>
                      <a:lnTo>
                        <a:pt x="160" y="254"/>
                      </a:lnTo>
                      <a:lnTo>
                        <a:pt x="160" y="250"/>
                      </a:lnTo>
                      <a:lnTo>
                        <a:pt x="160" y="248"/>
                      </a:lnTo>
                      <a:lnTo>
                        <a:pt x="158" y="248"/>
                      </a:lnTo>
                      <a:lnTo>
                        <a:pt x="158" y="246"/>
                      </a:lnTo>
                      <a:lnTo>
                        <a:pt x="156" y="244"/>
                      </a:lnTo>
                      <a:lnTo>
                        <a:pt x="154" y="244"/>
                      </a:lnTo>
                      <a:lnTo>
                        <a:pt x="152" y="242"/>
                      </a:lnTo>
                      <a:lnTo>
                        <a:pt x="152" y="240"/>
                      </a:lnTo>
                      <a:lnTo>
                        <a:pt x="152" y="238"/>
                      </a:lnTo>
                      <a:lnTo>
                        <a:pt x="152" y="236"/>
                      </a:lnTo>
                      <a:lnTo>
                        <a:pt x="152" y="234"/>
                      </a:lnTo>
                      <a:lnTo>
                        <a:pt x="152" y="232"/>
                      </a:lnTo>
                      <a:lnTo>
                        <a:pt x="152" y="230"/>
                      </a:lnTo>
                      <a:lnTo>
                        <a:pt x="152" y="228"/>
                      </a:lnTo>
                      <a:lnTo>
                        <a:pt x="152" y="226"/>
                      </a:lnTo>
                      <a:lnTo>
                        <a:pt x="156" y="226"/>
                      </a:lnTo>
                      <a:lnTo>
                        <a:pt x="158" y="226"/>
                      </a:lnTo>
                      <a:lnTo>
                        <a:pt x="160" y="226"/>
                      </a:lnTo>
                      <a:lnTo>
                        <a:pt x="162" y="226"/>
                      </a:lnTo>
                      <a:lnTo>
                        <a:pt x="164" y="226"/>
                      </a:lnTo>
                      <a:lnTo>
                        <a:pt x="168" y="226"/>
                      </a:lnTo>
                      <a:lnTo>
                        <a:pt x="170" y="224"/>
                      </a:lnTo>
                      <a:lnTo>
                        <a:pt x="168" y="222"/>
                      </a:lnTo>
                      <a:lnTo>
                        <a:pt x="168" y="220"/>
                      </a:lnTo>
                      <a:lnTo>
                        <a:pt x="166" y="220"/>
                      </a:lnTo>
                      <a:lnTo>
                        <a:pt x="166" y="218"/>
                      </a:lnTo>
                      <a:lnTo>
                        <a:pt x="164" y="218"/>
                      </a:lnTo>
                      <a:lnTo>
                        <a:pt x="162" y="220"/>
                      </a:lnTo>
                      <a:lnTo>
                        <a:pt x="160" y="218"/>
                      </a:lnTo>
                      <a:lnTo>
                        <a:pt x="158" y="218"/>
                      </a:lnTo>
                      <a:lnTo>
                        <a:pt x="158" y="216"/>
                      </a:lnTo>
                      <a:lnTo>
                        <a:pt x="158" y="214"/>
                      </a:lnTo>
                      <a:lnTo>
                        <a:pt x="158" y="212"/>
                      </a:lnTo>
                      <a:lnTo>
                        <a:pt x="156" y="210"/>
                      </a:lnTo>
                      <a:lnTo>
                        <a:pt x="156" y="208"/>
                      </a:lnTo>
                      <a:lnTo>
                        <a:pt x="156" y="206"/>
                      </a:lnTo>
                      <a:lnTo>
                        <a:pt x="158" y="204"/>
                      </a:lnTo>
                      <a:lnTo>
                        <a:pt x="160" y="204"/>
                      </a:lnTo>
                      <a:lnTo>
                        <a:pt x="162" y="204"/>
                      </a:lnTo>
                      <a:lnTo>
                        <a:pt x="164" y="206"/>
                      </a:lnTo>
                      <a:lnTo>
                        <a:pt x="166" y="206"/>
                      </a:lnTo>
                      <a:lnTo>
                        <a:pt x="168" y="206"/>
                      </a:lnTo>
                      <a:lnTo>
                        <a:pt x="172" y="206"/>
                      </a:lnTo>
                      <a:lnTo>
                        <a:pt x="174" y="206"/>
                      </a:lnTo>
                      <a:lnTo>
                        <a:pt x="176" y="206"/>
                      </a:lnTo>
                      <a:lnTo>
                        <a:pt x="178" y="206"/>
                      </a:lnTo>
                      <a:lnTo>
                        <a:pt x="180" y="206"/>
                      </a:lnTo>
                      <a:lnTo>
                        <a:pt x="182" y="206"/>
                      </a:lnTo>
                      <a:lnTo>
                        <a:pt x="182" y="204"/>
                      </a:lnTo>
                      <a:lnTo>
                        <a:pt x="182" y="202"/>
                      </a:lnTo>
                      <a:lnTo>
                        <a:pt x="182" y="200"/>
                      </a:lnTo>
                      <a:lnTo>
                        <a:pt x="184" y="200"/>
                      </a:lnTo>
                      <a:lnTo>
                        <a:pt x="186" y="200"/>
                      </a:lnTo>
                      <a:lnTo>
                        <a:pt x="186" y="202"/>
                      </a:lnTo>
                      <a:lnTo>
                        <a:pt x="188" y="202"/>
                      </a:lnTo>
                      <a:lnTo>
                        <a:pt x="188" y="204"/>
                      </a:lnTo>
                      <a:lnTo>
                        <a:pt x="190" y="204"/>
                      </a:lnTo>
                      <a:lnTo>
                        <a:pt x="192" y="202"/>
                      </a:lnTo>
                      <a:lnTo>
                        <a:pt x="194" y="202"/>
                      </a:lnTo>
                      <a:lnTo>
                        <a:pt x="194" y="200"/>
                      </a:lnTo>
                      <a:lnTo>
                        <a:pt x="196" y="198"/>
                      </a:lnTo>
                      <a:lnTo>
                        <a:pt x="198" y="198"/>
                      </a:lnTo>
                      <a:lnTo>
                        <a:pt x="200" y="198"/>
                      </a:lnTo>
                      <a:lnTo>
                        <a:pt x="200" y="200"/>
                      </a:lnTo>
                      <a:lnTo>
                        <a:pt x="198" y="200"/>
                      </a:lnTo>
                      <a:lnTo>
                        <a:pt x="198" y="202"/>
                      </a:lnTo>
                      <a:lnTo>
                        <a:pt x="200" y="202"/>
                      </a:lnTo>
                      <a:lnTo>
                        <a:pt x="200" y="204"/>
                      </a:lnTo>
                      <a:lnTo>
                        <a:pt x="200" y="206"/>
                      </a:lnTo>
                      <a:lnTo>
                        <a:pt x="200" y="208"/>
                      </a:lnTo>
                      <a:lnTo>
                        <a:pt x="202" y="210"/>
                      </a:lnTo>
                      <a:lnTo>
                        <a:pt x="202" y="212"/>
                      </a:lnTo>
                      <a:lnTo>
                        <a:pt x="202" y="214"/>
                      </a:lnTo>
                      <a:lnTo>
                        <a:pt x="202" y="216"/>
                      </a:lnTo>
                      <a:lnTo>
                        <a:pt x="204" y="216"/>
                      </a:lnTo>
                      <a:lnTo>
                        <a:pt x="206" y="216"/>
                      </a:lnTo>
                      <a:lnTo>
                        <a:pt x="206" y="214"/>
                      </a:lnTo>
                      <a:lnTo>
                        <a:pt x="206" y="212"/>
                      </a:lnTo>
                      <a:lnTo>
                        <a:pt x="206" y="210"/>
                      </a:lnTo>
                      <a:lnTo>
                        <a:pt x="206" y="208"/>
                      </a:lnTo>
                      <a:lnTo>
                        <a:pt x="204" y="206"/>
                      </a:lnTo>
                      <a:lnTo>
                        <a:pt x="204" y="204"/>
                      </a:lnTo>
                      <a:lnTo>
                        <a:pt x="204" y="202"/>
                      </a:lnTo>
                      <a:lnTo>
                        <a:pt x="202" y="202"/>
                      </a:lnTo>
                      <a:lnTo>
                        <a:pt x="202" y="200"/>
                      </a:lnTo>
                      <a:lnTo>
                        <a:pt x="202" y="198"/>
                      </a:lnTo>
                      <a:lnTo>
                        <a:pt x="202" y="196"/>
                      </a:lnTo>
                      <a:lnTo>
                        <a:pt x="200" y="194"/>
                      </a:lnTo>
                      <a:lnTo>
                        <a:pt x="200" y="192"/>
                      </a:lnTo>
                      <a:lnTo>
                        <a:pt x="200" y="190"/>
                      </a:lnTo>
                      <a:lnTo>
                        <a:pt x="198" y="188"/>
                      </a:lnTo>
                      <a:lnTo>
                        <a:pt x="196" y="188"/>
                      </a:lnTo>
                      <a:lnTo>
                        <a:pt x="196" y="186"/>
                      </a:lnTo>
                      <a:lnTo>
                        <a:pt x="194" y="186"/>
                      </a:lnTo>
                      <a:lnTo>
                        <a:pt x="192" y="184"/>
                      </a:lnTo>
                      <a:lnTo>
                        <a:pt x="190" y="184"/>
                      </a:lnTo>
                      <a:lnTo>
                        <a:pt x="188" y="184"/>
                      </a:lnTo>
                      <a:lnTo>
                        <a:pt x="190" y="184"/>
                      </a:lnTo>
                      <a:lnTo>
                        <a:pt x="190" y="182"/>
                      </a:lnTo>
                      <a:lnTo>
                        <a:pt x="192" y="180"/>
                      </a:lnTo>
                      <a:lnTo>
                        <a:pt x="194" y="180"/>
                      </a:lnTo>
                      <a:lnTo>
                        <a:pt x="196" y="178"/>
                      </a:lnTo>
                      <a:lnTo>
                        <a:pt x="198" y="176"/>
                      </a:lnTo>
                      <a:lnTo>
                        <a:pt x="200" y="176"/>
                      </a:lnTo>
                      <a:lnTo>
                        <a:pt x="200" y="174"/>
                      </a:lnTo>
                      <a:lnTo>
                        <a:pt x="200" y="172"/>
                      </a:lnTo>
                      <a:lnTo>
                        <a:pt x="198" y="170"/>
                      </a:lnTo>
                      <a:lnTo>
                        <a:pt x="196" y="168"/>
                      </a:lnTo>
                      <a:lnTo>
                        <a:pt x="196" y="166"/>
                      </a:lnTo>
                      <a:lnTo>
                        <a:pt x="194" y="166"/>
                      </a:lnTo>
                      <a:lnTo>
                        <a:pt x="194" y="164"/>
                      </a:lnTo>
                      <a:lnTo>
                        <a:pt x="194" y="162"/>
                      </a:lnTo>
                      <a:lnTo>
                        <a:pt x="194" y="160"/>
                      </a:lnTo>
                      <a:lnTo>
                        <a:pt x="192" y="160"/>
                      </a:lnTo>
                      <a:lnTo>
                        <a:pt x="192" y="158"/>
                      </a:lnTo>
                      <a:lnTo>
                        <a:pt x="190" y="158"/>
                      </a:lnTo>
                      <a:lnTo>
                        <a:pt x="190" y="156"/>
                      </a:lnTo>
                      <a:lnTo>
                        <a:pt x="190" y="154"/>
                      </a:lnTo>
                      <a:lnTo>
                        <a:pt x="190" y="150"/>
                      </a:lnTo>
                      <a:lnTo>
                        <a:pt x="190" y="148"/>
                      </a:lnTo>
                      <a:lnTo>
                        <a:pt x="190" y="146"/>
                      </a:lnTo>
                      <a:lnTo>
                        <a:pt x="190" y="142"/>
                      </a:lnTo>
                      <a:lnTo>
                        <a:pt x="190" y="140"/>
                      </a:lnTo>
                      <a:lnTo>
                        <a:pt x="190" y="138"/>
                      </a:lnTo>
                      <a:lnTo>
                        <a:pt x="190" y="136"/>
                      </a:lnTo>
                      <a:lnTo>
                        <a:pt x="192" y="134"/>
                      </a:lnTo>
                      <a:lnTo>
                        <a:pt x="194" y="132"/>
                      </a:lnTo>
                      <a:lnTo>
                        <a:pt x="194" y="130"/>
                      </a:lnTo>
                      <a:lnTo>
                        <a:pt x="194" y="128"/>
                      </a:lnTo>
                      <a:lnTo>
                        <a:pt x="194" y="126"/>
                      </a:lnTo>
                      <a:lnTo>
                        <a:pt x="196" y="126"/>
                      </a:lnTo>
                      <a:lnTo>
                        <a:pt x="198" y="124"/>
                      </a:lnTo>
                      <a:lnTo>
                        <a:pt x="200" y="122"/>
                      </a:lnTo>
                      <a:lnTo>
                        <a:pt x="200" y="120"/>
                      </a:lnTo>
                      <a:lnTo>
                        <a:pt x="200" y="118"/>
                      </a:lnTo>
                      <a:lnTo>
                        <a:pt x="198" y="118"/>
                      </a:lnTo>
                      <a:lnTo>
                        <a:pt x="196" y="118"/>
                      </a:lnTo>
                      <a:lnTo>
                        <a:pt x="194" y="118"/>
                      </a:lnTo>
                      <a:lnTo>
                        <a:pt x="192" y="118"/>
                      </a:lnTo>
                      <a:lnTo>
                        <a:pt x="190" y="120"/>
                      </a:lnTo>
                      <a:lnTo>
                        <a:pt x="188" y="120"/>
                      </a:lnTo>
                      <a:lnTo>
                        <a:pt x="186" y="120"/>
                      </a:lnTo>
                      <a:lnTo>
                        <a:pt x="184" y="120"/>
                      </a:lnTo>
                      <a:lnTo>
                        <a:pt x="182" y="120"/>
                      </a:lnTo>
                      <a:lnTo>
                        <a:pt x="182" y="122"/>
                      </a:lnTo>
                      <a:lnTo>
                        <a:pt x="180" y="122"/>
                      </a:lnTo>
                      <a:lnTo>
                        <a:pt x="178" y="120"/>
                      </a:lnTo>
                      <a:lnTo>
                        <a:pt x="176" y="120"/>
                      </a:lnTo>
                      <a:lnTo>
                        <a:pt x="174" y="118"/>
                      </a:lnTo>
                      <a:lnTo>
                        <a:pt x="172" y="118"/>
                      </a:lnTo>
                      <a:lnTo>
                        <a:pt x="170" y="120"/>
                      </a:lnTo>
                      <a:lnTo>
                        <a:pt x="170" y="122"/>
                      </a:lnTo>
                      <a:lnTo>
                        <a:pt x="168" y="122"/>
                      </a:lnTo>
                      <a:lnTo>
                        <a:pt x="166" y="122"/>
                      </a:lnTo>
                      <a:lnTo>
                        <a:pt x="164" y="122"/>
                      </a:lnTo>
                      <a:lnTo>
                        <a:pt x="164" y="120"/>
                      </a:lnTo>
                      <a:lnTo>
                        <a:pt x="162" y="120"/>
                      </a:lnTo>
                      <a:lnTo>
                        <a:pt x="162" y="118"/>
                      </a:lnTo>
                      <a:lnTo>
                        <a:pt x="160" y="116"/>
                      </a:lnTo>
                      <a:lnTo>
                        <a:pt x="158" y="112"/>
                      </a:lnTo>
                      <a:lnTo>
                        <a:pt x="158" y="110"/>
                      </a:lnTo>
                      <a:lnTo>
                        <a:pt x="156" y="108"/>
                      </a:lnTo>
                      <a:lnTo>
                        <a:pt x="156" y="106"/>
                      </a:lnTo>
                      <a:lnTo>
                        <a:pt x="154" y="106"/>
                      </a:lnTo>
                      <a:lnTo>
                        <a:pt x="152" y="106"/>
                      </a:lnTo>
                      <a:lnTo>
                        <a:pt x="150" y="106"/>
                      </a:lnTo>
                      <a:lnTo>
                        <a:pt x="148" y="106"/>
                      </a:lnTo>
                      <a:lnTo>
                        <a:pt x="148" y="104"/>
                      </a:lnTo>
                      <a:lnTo>
                        <a:pt x="146" y="104"/>
                      </a:lnTo>
                      <a:lnTo>
                        <a:pt x="144" y="102"/>
                      </a:lnTo>
                      <a:lnTo>
                        <a:pt x="142" y="104"/>
                      </a:lnTo>
                      <a:lnTo>
                        <a:pt x="140" y="104"/>
                      </a:lnTo>
                      <a:lnTo>
                        <a:pt x="140" y="106"/>
                      </a:lnTo>
                      <a:lnTo>
                        <a:pt x="138" y="106"/>
                      </a:lnTo>
                      <a:lnTo>
                        <a:pt x="136" y="104"/>
                      </a:lnTo>
                      <a:lnTo>
                        <a:pt x="132" y="104"/>
                      </a:lnTo>
                      <a:lnTo>
                        <a:pt x="130" y="104"/>
                      </a:lnTo>
                      <a:lnTo>
                        <a:pt x="128" y="104"/>
                      </a:lnTo>
                      <a:lnTo>
                        <a:pt x="126" y="104"/>
                      </a:lnTo>
                      <a:lnTo>
                        <a:pt x="124" y="104"/>
                      </a:lnTo>
                      <a:lnTo>
                        <a:pt x="122" y="104"/>
                      </a:lnTo>
                      <a:lnTo>
                        <a:pt x="120" y="104"/>
                      </a:lnTo>
                      <a:lnTo>
                        <a:pt x="120" y="102"/>
                      </a:lnTo>
                      <a:lnTo>
                        <a:pt x="118" y="100"/>
                      </a:lnTo>
                      <a:lnTo>
                        <a:pt x="118" y="98"/>
                      </a:lnTo>
                      <a:lnTo>
                        <a:pt x="118" y="96"/>
                      </a:lnTo>
                      <a:lnTo>
                        <a:pt x="116" y="96"/>
                      </a:lnTo>
                      <a:lnTo>
                        <a:pt x="114" y="96"/>
                      </a:lnTo>
                      <a:lnTo>
                        <a:pt x="114" y="92"/>
                      </a:lnTo>
                      <a:lnTo>
                        <a:pt x="114" y="90"/>
                      </a:lnTo>
                      <a:lnTo>
                        <a:pt x="116" y="88"/>
                      </a:lnTo>
                      <a:lnTo>
                        <a:pt x="116" y="86"/>
                      </a:lnTo>
                      <a:lnTo>
                        <a:pt x="116" y="84"/>
                      </a:lnTo>
                      <a:lnTo>
                        <a:pt x="118" y="84"/>
                      </a:lnTo>
                      <a:lnTo>
                        <a:pt x="118" y="82"/>
                      </a:lnTo>
                      <a:lnTo>
                        <a:pt x="118" y="80"/>
                      </a:lnTo>
                      <a:lnTo>
                        <a:pt x="118" y="78"/>
                      </a:lnTo>
                      <a:lnTo>
                        <a:pt x="116" y="76"/>
                      </a:lnTo>
                      <a:lnTo>
                        <a:pt x="114" y="74"/>
                      </a:lnTo>
                      <a:lnTo>
                        <a:pt x="112" y="74"/>
                      </a:lnTo>
                      <a:lnTo>
                        <a:pt x="112" y="72"/>
                      </a:lnTo>
                      <a:lnTo>
                        <a:pt x="112" y="70"/>
                      </a:lnTo>
                      <a:lnTo>
                        <a:pt x="112" y="68"/>
                      </a:lnTo>
                      <a:lnTo>
                        <a:pt x="112" y="64"/>
                      </a:lnTo>
                      <a:lnTo>
                        <a:pt x="112" y="62"/>
                      </a:lnTo>
                      <a:lnTo>
                        <a:pt x="112" y="60"/>
                      </a:lnTo>
                      <a:lnTo>
                        <a:pt x="110" y="60"/>
                      </a:lnTo>
                      <a:lnTo>
                        <a:pt x="108" y="60"/>
                      </a:lnTo>
                      <a:lnTo>
                        <a:pt x="106" y="60"/>
                      </a:lnTo>
                      <a:lnTo>
                        <a:pt x="106" y="62"/>
                      </a:lnTo>
                      <a:lnTo>
                        <a:pt x="104" y="62"/>
                      </a:lnTo>
                      <a:lnTo>
                        <a:pt x="102" y="62"/>
                      </a:lnTo>
                      <a:lnTo>
                        <a:pt x="102" y="60"/>
                      </a:lnTo>
                      <a:lnTo>
                        <a:pt x="102" y="58"/>
                      </a:lnTo>
                      <a:lnTo>
                        <a:pt x="104" y="58"/>
                      </a:lnTo>
                      <a:lnTo>
                        <a:pt x="106" y="56"/>
                      </a:lnTo>
                      <a:lnTo>
                        <a:pt x="106" y="54"/>
                      </a:lnTo>
                      <a:lnTo>
                        <a:pt x="108" y="52"/>
                      </a:lnTo>
                      <a:lnTo>
                        <a:pt x="110" y="52"/>
                      </a:lnTo>
                      <a:lnTo>
                        <a:pt x="110" y="50"/>
                      </a:lnTo>
                      <a:lnTo>
                        <a:pt x="110" y="48"/>
                      </a:lnTo>
                      <a:lnTo>
                        <a:pt x="110" y="46"/>
                      </a:lnTo>
                      <a:lnTo>
                        <a:pt x="110" y="44"/>
                      </a:lnTo>
                      <a:lnTo>
                        <a:pt x="112" y="42"/>
                      </a:lnTo>
                      <a:lnTo>
                        <a:pt x="112" y="40"/>
                      </a:lnTo>
                      <a:lnTo>
                        <a:pt x="112" y="38"/>
                      </a:lnTo>
                      <a:lnTo>
                        <a:pt x="112" y="34"/>
                      </a:lnTo>
                      <a:lnTo>
                        <a:pt x="114" y="32"/>
                      </a:lnTo>
                      <a:lnTo>
                        <a:pt x="114" y="30"/>
                      </a:lnTo>
                      <a:lnTo>
                        <a:pt x="116" y="28"/>
                      </a:lnTo>
                      <a:lnTo>
                        <a:pt x="118" y="26"/>
                      </a:lnTo>
                      <a:lnTo>
                        <a:pt x="120" y="24"/>
                      </a:lnTo>
                      <a:lnTo>
                        <a:pt x="124" y="24"/>
                      </a:lnTo>
                      <a:lnTo>
                        <a:pt x="126" y="24"/>
                      </a:lnTo>
                      <a:lnTo>
                        <a:pt x="126" y="22"/>
                      </a:lnTo>
                      <a:lnTo>
                        <a:pt x="128" y="20"/>
                      </a:lnTo>
                      <a:lnTo>
                        <a:pt x="128" y="18"/>
                      </a:lnTo>
                      <a:lnTo>
                        <a:pt x="128" y="16"/>
                      </a:lnTo>
                      <a:lnTo>
                        <a:pt x="130" y="16"/>
                      </a:lnTo>
                      <a:lnTo>
                        <a:pt x="132" y="16"/>
                      </a:lnTo>
                      <a:lnTo>
                        <a:pt x="134" y="14"/>
                      </a:lnTo>
                      <a:lnTo>
                        <a:pt x="136" y="14"/>
                      </a:lnTo>
                      <a:lnTo>
                        <a:pt x="136" y="12"/>
                      </a:lnTo>
                      <a:lnTo>
                        <a:pt x="138" y="12"/>
                      </a:lnTo>
                      <a:lnTo>
                        <a:pt x="140" y="12"/>
                      </a:lnTo>
                      <a:lnTo>
                        <a:pt x="140" y="10"/>
                      </a:lnTo>
                      <a:lnTo>
                        <a:pt x="142" y="8"/>
                      </a:lnTo>
                      <a:lnTo>
                        <a:pt x="142" y="6"/>
                      </a:lnTo>
                      <a:lnTo>
                        <a:pt x="144" y="4"/>
                      </a:lnTo>
                      <a:lnTo>
                        <a:pt x="142" y="2"/>
                      </a:lnTo>
                      <a:lnTo>
                        <a:pt x="140" y="0"/>
                      </a:lnTo>
                      <a:lnTo>
                        <a:pt x="138" y="0"/>
                      </a:lnTo>
                      <a:lnTo>
                        <a:pt x="136" y="0"/>
                      </a:lnTo>
                      <a:lnTo>
                        <a:pt x="134" y="0"/>
                      </a:lnTo>
                      <a:lnTo>
                        <a:pt x="130" y="2"/>
                      </a:lnTo>
                      <a:lnTo>
                        <a:pt x="128" y="2"/>
                      </a:lnTo>
                      <a:lnTo>
                        <a:pt x="126" y="2"/>
                      </a:lnTo>
                      <a:lnTo>
                        <a:pt x="126" y="4"/>
                      </a:lnTo>
                      <a:lnTo>
                        <a:pt x="124" y="6"/>
                      </a:lnTo>
                      <a:lnTo>
                        <a:pt x="124" y="8"/>
                      </a:lnTo>
                      <a:lnTo>
                        <a:pt x="124" y="10"/>
                      </a:lnTo>
                      <a:lnTo>
                        <a:pt x="122" y="12"/>
                      </a:lnTo>
                      <a:lnTo>
                        <a:pt x="120" y="12"/>
                      </a:lnTo>
                      <a:lnTo>
                        <a:pt x="120" y="14"/>
                      </a:lnTo>
                      <a:lnTo>
                        <a:pt x="118" y="14"/>
                      </a:lnTo>
                      <a:lnTo>
                        <a:pt x="114" y="12"/>
                      </a:lnTo>
                      <a:lnTo>
                        <a:pt x="112" y="12"/>
                      </a:lnTo>
                      <a:lnTo>
                        <a:pt x="112" y="14"/>
                      </a:lnTo>
                      <a:lnTo>
                        <a:pt x="110" y="16"/>
                      </a:lnTo>
                      <a:lnTo>
                        <a:pt x="108" y="18"/>
                      </a:lnTo>
                      <a:lnTo>
                        <a:pt x="106" y="20"/>
                      </a:lnTo>
                      <a:lnTo>
                        <a:pt x="106" y="22"/>
                      </a:lnTo>
                      <a:lnTo>
                        <a:pt x="102" y="22"/>
                      </a:lnTo>
                      <a:lnTo>
                        <a:pt x="100" y="22"/>
                      </a:lnTo>
                      <a:lnTo>
                        <a:pt x="98" y="22"/>
                      </a:lnTo>
                      <a:lnTo>
                        <a:pt x="96" y="22"/>
                      </a:lnTo>
                      <a:lnTo>
                        <a:pt x="94" y="20"/>
                      </a:lnTo>
                      <a:lnTo>
                        <a:pt x="92" y="20"/>
                      </a:lnTo>
                      <a:lnTo>
                        <a:pt x="92" y="22"/>
                      </a:lnTo>
                      <a:lnTo>
                        <a:pt x="90" y="22"/>
                      </a:lnTo>
                      <a:lnTo>
                        <a:pt x="90" y="24"/>
                      </a:lnTo>
                      <a:lnTo>
                        <a:pt x="90" y="26"/>
                      </a:lnTo>
                      <a:lnTo>
                        <a:pt x="90" y="28"/>
                      </a:lnTo>
                      <a:lnTo>
                        <a:pt x="88" y="28"/>
                      </a:lnTo>
                      <a:lnTo>
                        <a:pt x="88" y="30"/>
                      </a:lnTo>
                      <a:lnTo>
                        <a:pt x="88" y="32"/>
                      </a:lnTo>
                      <a:lnTo>
                        <a:pt x="86" y="32"/>
                      </a:lnTo>
                      <a:lnTo>
                        <a:pt x="84" y="32"/>
                      </a:lnTo>
                      <a:lnTo>
                        <a:pt x="86" y="30"/>
                      </a:lnTo>
                      <a:lnTo>
                        <a:pt x="84" y="28"/>
                      </a:lnTo>
                      <a:lnTo>
                        <a:pt x="82" y="28"/>
                      </a:lnTo>
                      <a:lnTo>
                        <a:pt x="80" y="28"/>
                      </a:lnTo>
                      <a:lnTo>
                        <a:pt x="78" y="28"/>
                      </a:lnTo>
                      <a:lnTo>
                        <a:pt x="76" y="30"/>
                      </a:lnTo>
                      <a:lnTo>
                        <a:pt x="74" y="30"/>
                      </a:lnTo>
                      <a:lnTo>
                        <a:pt x="72" y="30"/>
                      </a:lnTo>
                      <a:lnTo>
                        <a:pt x="72" y="32"/>
                      </a:lnTo>
                      <a:lnTo>
                        <a:pt x="70" y="34"/>
                      </a:lnTo>
                      <a:lnTo>
                        <a:pt x="66" y="36"/>
                      </a:lnTo>
                      <a:lnTo>
                        <a:pt x="66" y="38"/>
                      </a:lnTo>
                      <a:lnTo>
                        <a:pt x="64" y="38"/>
                      </a:lnTo>
                      <a:lnTo>
                        <a:pt x="64" y="40"/>
                      </a:lnTo>
                      <a:lnTo>
                        <a:pt x="66" y="42"/>
                      </a:lnTo>
                      <a:lnTo>
                        <a:pt x="66" y="44"/>
                      </a:lnTo>
                      <a:lnTo>
                        <a:pt x="66" y="46"/>
                      </a:lnTo>
                      <a:lnTo>
                        <a:pt x="64" y="48"/>
                      </a:lnTo>
                      <a:lnTo>
                        <a:pt x="64" y="50"/>
                      </a:lnTo>
                      <a:lnTo>
                        <a:pt x="64" y="52"/>
                      </a:lnTo>
                      <a:lnTo>
                        <a:pt x="64" y="54"/>
                      </a:lnTo>
                      <a:lnTo>
                        <a:pt x="64" y="56"/>
                      </a:lnTo>
                      <a:lnTo>
                        <a:pt x="64" y="58"/>
                      </a:lnTo>
                      <a:lnTo>
                        <a:pt x="66" y="58"/>
                      </a:lnTo>
                      <a:lnTo>
                        <a:pt x="64" y="58"/>
                      </a:lnTo>
                      <a:lnTo>
                        <a:pt x="62" y="58"/>
                      </a:lnTo>
                      <a:lnTo>
                        <a:pt x="60" y="58"/>
                      </a:lnTo>
                      <a:lnTo>
                        <a:pt x="58" y="58"/>
                      </a:lnTo>
                      <a:lnTo>
                        <a:pt x="56" y="60"/>
                      </a:lnTo>
                      <a:lnTo>
                        <a:pt x="54" y="62"/>
                      </a:lnTo>
                      <a:lnTo>
                        <a:pt x="54" y="64"/>
                      </a:lnTo>
                      <a:lnTo>
                        <a:pt x="52" y="68"/>
                      </a:lnTo>
                      <a:lnTo>
                        <a:pt x="50" y="68"/>
                      </a:lnTo>
                      <a:lnTo>
                        <a:pt x="48" y="70"/>
                      </a:lnTo>
                      <a:lnTo>
                        <a:pt x="46" y="70"/>
                      </a:lnTo>
                      <a:lnTo>
                        <a:pt x="44" y="72"/>
                      </a:lnTo>
                      <a:lnTo>
                        <a:pt x="42" y="72"/>
                      </a:lnTo>
                      <a:lnTo>
                        <a:pt x="40" y="72"/>
                      </a:lnTo>
                      <a:lnTo>
                        <a:pt x="42" y="74"/>
                      </a:lnTo>
                      <a:lnTo>
                        <a:pt x="42" y="76"/>
                      </a:lnTo>
                      <a:lnTo>
                        <a:pt x="42" y="78"/>
                      </a:lnTo>
                      <a:lnTo>
                        <a:pt x="44" y="78"/>
                      </a:lnTo>
                      <a:lnTo>
                        <a:pt x="44" y="80"/>
                      </a:lnTo>
                      <a:lnTo>
                        <a:pt x="44" y="82"/>
                      </a:lnTo>
                      <a:lnTo>
                        <a:pt x="44" y="84"/>
                      </a:lnTo>
                      <a:lnTo>
                        <a:pt x="44" y="86"/>
                      </a:lnTo>
                      <a:lnTo>
                        <a:pt x="42" y="86"/>
                      </a:lnTo>
                      <a:lnTo>
                        <a:pt x="40" y="86"/>
                      </a:lnTo>
                      <a:lnTo>
                        <a:pt x="40" y="82"/>
                      </a:lnTo>
                      <a:lnTo>
                        <a:pt x="40" y="80"/>
                      </a:lnTo>
                      <a:lnTo>
                        <a:pt x="40" y="78"/>
                      </a:lnTo>
                      <a:lnTo>
                        <a:pt x="38" y="78"/>
                      </a:lnTo>
                      <a:lnTo>
                        <a:pt x="38" y="76"/>
                      </a:lnTo>
                      <a:lnTo>
                        <a:pt x="36" y="74"/>
                      </a:lnTo>
                      <a:lnTo>
                        <a:pt x="34" y="74"/>
                      </a:lnTo>
                      <a:lnTo>
                        <a:pt x="32" y="74"/>
                      </a:lnTo>
                      <a:lnTo>
                        <a:pt x="32" y="76"/>
                      </a:lnTo>
                      <a:lnTo>
                        <a:pt x="32" y="78"/>
                      </a:lnTo>
                      <a:lnTo>
                        <a:pt x="32" y="80"/>
                      </a:lnTo>
                      <a:lnTo>
                        <a:pt x="34" y="82"/>
                      </a:lnTo>
                      <a:lnTo>
                        <a:pt x="36" y="82"/>
                      </a:lnTo>
                      <a:lnTo>
                        <a:pt x="36" y="84"/>
                      </a:lnTo>
                      <a:lnTo>
                        <a:pt x="36" y="86"/>
                      </a:lnTo>
                      <a:lnTo>
                        <a:pt x="36" y="88"/>
                      </a:lnTo>
                      <a:lnTo>
                        <a:pt x="34" y="90"/>
                      </a:lnTo>
                      <a:lnTo>
                        <a:pt x="34" y="92"/>
                      </a:lnTo>
                      <a:lnTo>
                        <a:pt x="32" y="92"/>
                      </a:lnTo>
                      <a:lnTo>
                        <a:pt x="30" y="92"/>
                      </a:lnTo>
                      <a:lnTo>
                        <a:pt x="28" y="92"/>
                      </a:lnTo>
                      <a:lnTo>
                        <a:pt x="28" y="90"/>
                      </a:lnTo>
                      <a:lnTo>
                        <a:pt x="26" y="94"/>
                      </a:lnTo>
                      <a:lnTo>
                        <a:pt x="24" y="96"/>
                      </a:lnTo>
                      <a:lnTo>
                        <a:pt x="24" y="98"/>
                      </a:lnTo>
                      <a:lnTo>
                        <a:pt x="24" y="100"/>
                      </a:lnTo>
                      <a:lnTo>
                        <a:pt x="26" y="102"/>
                      </a:lnTo>
                      <a:lnTo>
                        <a:pt x="26" y="104"/>
                      </a:lnTo>
                      <a:lnTo>
                        <a:pt x="26" y="106"/>
                      </a:lnTo>
                      <a:lnTo>
                        <a:pt x="28" y="108"/>
                      </a:lnTo>
                      <a:lnTo>
                        <a:pt x="30" y="110"/>
                      </a:lnTo>
                      <a:lnTo>
                        <a:pt x="32" y="112"/>
                      </a:lnTo>
                      <a:lnTo>
                        <a:pt x="32" y="114"/>
                      </a:lnTo>
                      <a:lnTo>
                        <a:pt x="30" y="116"/>
                      </a:lnTo>
                      <a:lnTo>
                        <a:pt x="28" y="116"/>
                      </a:lnTo>
                      <a:lnTo>
                        <a:pt x="28" y="118"/>
                      </a:lnTo>
                      <a:lnTo>
                        <a:pt x="30" y="120"/>
                      </a:lnTo>
                      <a:lnTo>
                        <a:pt x="30" y="122"/>
                      </a:lnTo>
                      <a:lnTo>
                        <a:pt x="32" y="122"/>
                      </a:lnTo>
                      <a:lnTo>
                        <a:pt x="32" y="126"/>
                      </a:lnTo>
                      <a:lnTo>
                        <a:pt x="32" y="128"/>
                      </a:lnTo>
                      <a:lnTo>
                        <a:pt x="32" y="130"/>
                      </a:lnTo>
                      <a:lnTo>
                        <a:pt x="34" y="130"/>
                      </a:lnTo>
                      <a:lnTo>
                        <a:pt x="32" y="130"/>
                      </a:lnTo>
                      <a:lnTo>
                        <a:pt x="30" y="130"/>
                      </a:lnTo>
                      <a:lnTo>
                        <a:pt x="28" y="130"/>
                      </a:lnTo>
                      <a:lnTo>
                        <a:pt x="28" y="132"/>
                      </a:lnTo>
                      <a:lnTo>
                        <a:pt x="30" y="134"/>
                      </a:lnTo>
                      <a:lnTo>
                        <a:pt x="30" y="136"/>
                      </a:lnTo>
                      <a:lnTo>
                        <a:pt x="32" y="136"/>
                      </a:lnTo>
                      <a:lnTo>
                        <a:pt x="32" y="138"/>
                      </a:lnTo>
                      <a:lnTo>
                        <a:pt x="32" y="140"/>
                      </a:lnTo>
                      <a:lnTo>
                        <a:pt x="32" y="142"/>
                      </a:lnTo>
                      <a:lnTo>
                        <a:pt x="32" y="144"/>
                      </a:lnTo>
                      <a:lnTo>
                        <a:pt x="32" y="146"/>
                      </a:lnTo>
                      <a:lnTo>
                        <a:pt x="32" y="148"/>
                      </a:lnTo>
                      <a:lnTo>
                        <a:pt x="32" y="150"/>
                      </a:lnTo>
                      <a:lnTo>
                        <a:pt x="30" y="150"/>
                      </a:lnTo>
                      <a:lnTo>
                        <a:pt x="30" y="152"/>
                      </a:lnTo>
                      <a:lnTo>
                        <a:pt x="28" y="154"/>
                      </a:lnTo>
                      <a:lnTo>
                        <a:pt x="26" y="156"/>
                      </a:lnTo>
                      <a:lnTo>
                        <a:pt x="26" y="158"/>
                      </a:lnTo>
                      <a:lnTo>
                        <a:pt x="26" y="160"/>
                      </a:lnTo>
                      <a:lnTo>
                        <a:pt x="28" y="162"/>
                      </a:lnTo>
                      <a:lnTo>
                        <a:pt x="30" y="164"/>
                      </a:lnTo>
                      <a:lnTo>
                        <a:pt x="32" y="166"/>
                      </a:lnTo>
                      <a:lnTo>
                        <a:pt x="34" y="168"/>
                      </a:lnTo>
                      <a:lnTo>
                        <a:pt x="32" y="170"/>
                      </a:lnTo>
                      <a:lnTo>
                        <a:pt x="32" y="172"/>
                      </a:lnTo>
                      <a:lnTo>
                        <a:pt x="30" y="174"/>
                      </a:lnTo>
                      <a:lnTo>
                        <a:pt x="28" y="176"/>
                      </a:lnTo>
                      <a:lnTo>
                        <a:pt x="26" y="178"/>
                      </a:lnTo>
                      <a:lnTo>
                        <a:pt x="24" y="178"/>
                      </a:lnTo>
                      <a:lnTo>
                        <a:pt x="24" y="180"/>
                      </a:lnTo>
                      <a:lnTo>
                        <a:pt x="24" y="182"/>
                      </a:lnTo>
                      <a:lnTo>
                        <a:pt x="26" y="182"/>
                      </a:lnTo>
                      <a:lnTo>
                        <a:pt x="24" y="184"/>
                      </a:lnTo>
                      <a:lnTo>
                        <a:pt x="22" y="186"/>
                      </a:lnTo>
                      <a:lnTo>
                        <a:pt x="22" y="188"/>
                      </a:lnTo>
                      <a:lnTo>
                        <a:pt x="20" y="188"/>
                      </a:lnTo>
                      <a:lnTo>
                        <a:pt x="18" y="188"/>
                      </a:lnTo>
                      <a:lnTo>
                        <a:pt x="16" y="188"/>
                      </a:lnTo>
                      <a:lnTo>
                        <a:pt x="16" y="190"/>
                      </a:lnTo>
                      <a:lnTo>
                        <a:pt x="12" y="190"/>
                      </a:lnTo>
                      <a:lnTo>
                        <a:pt x="10" y="192"/>
                      </a:lnTo>
                      <a:lnTo>
                        <a:pt x="8" y="194"/>
                      </a:lnTo>
                      <a:lnTo>
                        <a:pt x="8" y="196"/>
                      </a:lnTo>
                      <a:lnTo>
                        <a:pt x="8" y="198"/>
                      </a:lnTo>
                      <a:lnTo>
                        <a:pt x="8" y="200"/>
                      </a:lnTo>
                      <a:lnTo>
                        <a:pt x="8" y="202"/>
                      </a:lnTo>
                      <a:lnTo>
                        <a:pt x="10" y="202"/>
                      </a:lnTo>
                      <a:lnTo>
                        <a:pt x="10" y="204"/>
                      </a:lnTo>
                      <a:lnTo>
                        <a:pt x="10" y="202"/>
                      </a:lnTo>
                      <a:lnTo>
                        <a:pt x="8" y="202"/>
                      </a:lnTo>
                      <a:lnTo>
                        <a:pt x="6" y="202"/>
                      </a:lnTo>
                      <a:lnTo>
                        <a:pt x="4" y="202"/>
                      </a:lnTo>
                      <a:lnTo>
                        <a:pt x="2" y="202"/>
                      </a:lnTo>
                      <a:lnTo>
                        <a:pt x="0" y="204"/>
                      </a:lnTo>
                      <a:lnTo>
                        <a:pt x="0" y="206"/>
                      </a:lnTo>
                      <a:lnTo>
                        <a:pt x="0" y="208"/>
                      </a:lnTo>
                      <a:lnTo>
                        <a:pt x="2" y="210"/>
                      </a:lnTo>
                      <a:lnTo>
                        <a:pt x="4" y="212"/>
                      </a:lnTo>
                      <a:lnTo>
                        <a:pt x="6" y="214"/>
                      </a:lnTo>
                      <a:lnTo>
                        <a:pt x="8" y="2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39" name="Freeform 27">
                  <a:extLst>
                    <a:ext uri="{FF2B5EF4-FFF2-40B4-BE49-F238E27FC236}">
                      <a16:creationId xmlns:a16="http://schemas.microsoft.com/office/drawing/2014/main" id="{444FF64A-CBED-40A7-A975-E08EEEA91BF8}"/>
                    </a:ext>
                  </a:extLst>
                </p:cNvPr>
                <p:cNvSpPr>
                  <a:spLocks noChangeAspect="1"/>
                </p:cNvSpPr>
                <p:nvPr/>
              </p:nvSpPr>
              <p:spPr bwMode="auto">
                <a:xfrm>
                  <a:off x="2565616" y="4717095"/>
                  <a:ext cx="285903" cy="343271"/>
                </a:xfrm>
                <a:custGeom>
                  <a:avLst/>
                  <a:gdLst/>
                  <a:ahLst/>
                  <a:cxnLst>
                    <a:cxn ang="0">
                      <a:pos x="118" y="162"/>
                    </a:cxn>
                    <a:cxn ang="0">
                      <a:pos x="118" y="158"/>
                    </a:cxn>
                    <a:cxn ang="0">
                      <a:pos x="124" y="158"/>
                    </a:cxn>
                    <a:cxn ang="0">
                      <a:pos x="128" y="156"/>
                    </a:cxn>
                    <a:cxn ang="0">
                      <a:pos x="132" y="148"/>
                    </a:cxn>
                    <a:cxn ang="0">
                      <a:pos x="142" y="142"/>
                    </a:cxn>
                    <a:cxn ang="0">
                      <a:pos x="142" y="128"/>
                    </a:cxn>
                    <a:cxn ang="0">
                      <a:pos x="142" y="120"/>
                    </a:cxn>
                    <a:cxn ang="0">
                      <a:pos x="142" y="118"/>
                    </a:cxn>
                    <a:cxn ang="0">
                      <a:pos x="142" y="110"/>
                    </a:cxn>
                    <a:cxn ang="0">
                      <a:pos x="144" y="100"/>
                    </a:cxn>
                    <a:cxn ang="0">
                      <a:pos x="142" y="90"/>
                    </a:cxn>
                    <a:cxn ang="0">
                      <a:pos x="132" y="90"/>
                    </a:cxn>
                    <a:cxn ang="0">
                      <a:pos x="124" y="90"/>
                    </a:cxn>
                    <a:cxn ang="0">
                      <a:pos x="120" y="74"/>
                    </a:cxn>
                    <a:cxn ang="0">
                      <a:pos x="118" y="60"/>
                    </a:cxn>
                    <a:cxn ang="0">
                      <a:pos x="106" y="58"/>
                    </a:cxn>
                    <a:cxn ang="0">
                      <a:pos x="88" y="58"/>
                    </a:cxn>
                    <a:cxn ang="0">
                      <a:pos x="76" y="50"/>
                    </a:cxn>
                    <a:cxn ang="0">
                      <a:pos x="78" y="34"/>
                    </a:cxn>
                    <a:cxn ang="0">
                      <a:pos x="74" y="32"/>
                    </a:cxn>
                    <a:cxn ang="0">
                      <a:pos x="74" y="26"/>
                    </a:cxn>
                    <a:cxn ang="0">
                      <a:pos x="70" y="20"/>
                    </a:cxn>
                    <a:cxn ang="0">
                      <a:pos x="66" y="12"/>
                    </a:cxn>
                    <a:cxn ang="0">
                      <a:pos x="56" y="4"/>
                    </a:cxn>
                    <a:cxn ang="0">
                      <a:pos x="50" y="2"/>
                    </a:cxn>
                    <a:cxn ang="0">
                      <a:pos x="38" y="4"/>
                    </a:cxn>
                    <a:cxn ang="0">
                      <a:pos x="30" y="6"/>
                    </a:cxn>
                    <a:cxn ang="0">
                      <a:pos x="14" y="8"/>
                    </a:cxn>
                    <a:cxn ang="0">
                      <a:pos x="10" y="8"/>
                    </a:cxn>
                    <a:cxn ang="0">
                      <a:pos x="8" y="16"/>
                    </a:cxn>
                    <a:cxn ang="0">
                      <a:pos x="4" y="20"/>
                    </a:cxn>
                    <a:cxn ang="0">
                      <a:pos x="2" y="26"/>
                    </a:cxn>
                    <a:cxn ang="0">
                      <a:pos x="4" y="36"/>
                    </a:cxn>
                    <a:cxn ang="0">
                      <a:pos x="2" y="54"/>
                    </a:cxn>
                    <a:cxn ang="0">
                      <a:pos x="4" y="60"/>
                    </a:cxn>
                    <a:cxn ang="0">
                      <a:pos x="8" y="64"/>
                    </a:cxn>
                    <a:cxn ang="0">
                      <a:pos x="14" y="72"/>
                    </a:cxn>
                    <a:cxn ang="0">
                      <a:pos x="26" y="82"/>
                    </a:cxn>
                    <a:cxn ang="0">
                      <a:pos x="30" y="88"/>
                    </a:cxn>
                    <a:cxn ang="0">
                      <a:pos x="32" y="90"/>
                    </a:cxn>
                    <a:cxn ang="0">
                      <a:pos x="46" y="94"/>
                    </a:cxn>
                    <a:cxn ang="0">
                      <a:pos x="56" y="98"/>
                    </a:cxn>
                    <a:cxn ang="0">
                      <a:pos x="60" y="102"/>
                    </a:cxn>
                    <a:cxn ang="0">
                      <a:pos x="76" y="110"/>
                    </a:cxn>
                    <a:cxn ang="0">
                      <a:pos x="86" y="112"/>
                    </a:cxn>
                    <a:cxn ang="0">
                      <a:pos x="92" y="116"/>
                    </a:cxn>
                    <a:cxn ang="0">
                      <a:pos x="88" y="124"/>
                    </a:cxn>
                    <a:cxn ang="0">
                      <a:pos x="92" y="130"/>
                    </a:cxn>
                    <a:cxn ang="0">
                      <a:pos x="84" y="132"/>
                    </a:cxn>
                    <a:cxn ang="0">
                      <a:pos x="84" y="140"/>
                    </a:cxn>
                    <a:cxn ang="0">
                      <a:pos x="82" y="146"/>
                    </a:cxn>
                    <a:cxn ang="0">
                      <a:pos x="82" y="154"/>
                    </a:cxn>
                    <a:cxn ang="0">
                      <a:pos x="92" y="154"/>
                    </a:cxn>
                    <a:cxn ang="0">
                      <a:pos x="110" y="158"/>
                    </a:cxn>
                    <a:cxn ang="0">
                      <a:pos x="116" y="158"/>
                    </a:cxn>
                  </a:cxnLst>
                  <a:rect l="0" t="0" r="r" b="b"/>
                  <a:pathLst>
                    <a:path w="144" h="162">
                      <a:moveTo>
                        <a:pt x="116" y="158"/>
                      </a:moveTo>
                      <a:lnTo>
                        <a:pt x="118" y="160"/>
                      </a:lnTo>
                      <a:lnTo>
                        <a:pt x="118" y="162"/>
                      </a:lnTo>
                      <a:lnTo>
                        <a:pt x="118" y="160"/>
                      </a:lnTo>
                      <a:lnTo>
                        <a:pt x="118" y="158"/>
                      </a:lnTo>
                      <a:lnTo>
                        <a:pt x="120" y="156"/>
                      </a:lnTo>
                      <a:lnTo>
                        <a:pt x="122" y="156"/>
                      </a:lnTo>
                      <a:lnTo>
                        <a:pt x="124" y="158"/>
                      </a:lnTo>
                      <a:lnTo>
                        <a:pt x="126" y="158"/>
                      </a:lnTo>
                      <a:lnTo>
                        <a:pt x="128" y="156"/>
                      </a:lnTo>
                      <a:lnTo>
                        <a:pt x="128" y="152"/>
                      </a:lnTo>
                      <a:lnTo>
                        <a:pt x="130" y="152"/>
                      </a:lnTo>
                      <a:lnTo>
                        <a:pt x="130" y="150"/>
                      </a:lnTo>
                      <a:lnTo>
                        <a:pt x="132" y="148"/>
                      </a:lnTo>
                      <a:lnTo>
                        <a:pt x="134" y="148"/>
                      </a:lnTo>
                      <a:lnTo>
                        <a:pt x="136" y="148"/>
                      </a:lnTo>
                      <a:lnTo>
                        <a:pt x="138" y="146"/>
                      </a:lnTo>
                      <a:lnTo>
                        <a:pt x="140" y="144"/>
                      </a:lnTo>
                      <a:lnTo>
                        <a:pt x="140" y="142"/>
                      </a:lnTo>
                      <a:lnTo>
                        <a:pt x="142" y="142"/>
                      </a:lnTo>
                      <a:lnTo>
                        <a:pt x="142" y="140"/>
                      </a:lnTo>
                      <a:lnTo>
                        <a:pt x="142" y="138"/>
                      </a:lnTo>
                      <a:lnTo>
                        <a:pt x="142" y="136"/>
                      </a:lnTo>
                      <a:lnTo>
                        <a:pt x="142" y="134"/>
                      </a:lnTo>
                      <a:lnTo>
                        <a:pt x="142" y="130"/>
                      </a:lnTo>
                      <a:lnTo>
                        <a:pt x="142" y="128"/>
                      </a:lnTo>
                      <a:lnTo>
                        <a:pt x="142" y="126"/>
                      </a:lnTo>
                      <a:lnTo>
                        <a:pt x="142" y="124"/>
                      </a:lnTo>
                      <a:lnTo>
                        <a:pt x="142" y="122"/>
                      </a:lnTo>
                      <a:lnTo>
                        <a:pt x="142" y="120"/>
                      </a:lnTo>
                      <a:lnTo>
                        <a:pt x="142" y="118"/>
                      </a:lnTo>
                      <a:lnTo>
                        <a:pt x="142" y="116"/>
                      </a:lnTo>
                      <a:lnTo>
                        <a:pt x="142" y="114"/>
                      </a:lnTo>
                      <a:lnTo>
                        <a:pt x="142" y="112"/>
                      </a:lnTo>
                      <a:lnTo>
                        <a:pt x="142" y="110"/>
                      </a:lnTo>
                      <a:lnTo>
                        <a:pt x="142" y="108"/>
                      </a:lnTo>
                      <a:lnTo>
                        <a:pt x="144" y="106"/>
                      </a:lnTo>
                      <a:lnTo>
                        <a:pt x="144" y="104"/>
                      </a:lnTo>
                      <a:lnTo>
                        <a:pt x="144" y="102"/>
                      </a:lnTo>
                      <a:lnTo>
                        <a:pt x="144" y="100"/>
                      </a:lnTo>
                      <a:lnTo>
                        <a:pt x="144" y="96"/>
                      </a:lnTo>
                      <a:lnTo>
                        <a:pt x="144" y="94"/>
                      </a:lnTo>
                      <a:lnTo>
                        <a:pt x="144" y="92"/>
                      </a:lnTo>
                      <a:lnTo>
                        <a:pt x="142" y="90"/>
                      </a:lnTo>
                      <a:lnTo>
                        <a:pt x="140" y="90"/>
                      </a:lnTo>
                      <a:lnTo>
                        <a:pt x="138" y="88"/>
                      </a:lnTo>
                      <a:lnTo>
                        <a:pt x="136" y="88"/>
                      </a:lnTo>
                      <a:lnTo>
                        <a:pt x="134" y="88"/>
                      </a:lnTo>
                      <a:lnTo>
                        <a:pt x="134" y="90"/>
                      </a:lnTo>
                      <a:lnTo>
                        <a:pt x="132" y="90"/>
                      </a:lnTo>
                      <a:lnTo>
                        <a:pt x="130" y="92"/>
                      </a:lnTo>
                      <a:lnTo>
                        <a:pt x="128" y="92"/>
                      </a:lnTo>
                      <a:lnTo>
                        <a:pt x="126" y="92"/>
                      </a:lnTo>
                      <a:lnTo>
                        <a:pt x="124" y="90"/>
                      </a:lnTo>
                      <a:lnTo>
                        <a:pt x="124" y="88"/>
                      </a:lnTo>
                      <a:lnTo>
                        <a:pt x="122" y="86"/>
                      </a:lnTo>
                      <a:lnTo>
                        <a:pt x="122" y="84"/>
                      </a:lnTo>
                      <a:lnTo>
                        <a:pt x="122" y="82"/>
                      </a:lnTo>
                      <a:lnTo>
                        <a:pt x="120" y="76"/>
                      </a:lnTo>
                      <a:lnTo>
                        <a:pt x="120" y="74"/>
                      </a:lnTo>
                      <a:lnTo>
                        <a:pt x="118" y="70"/>
                      </a:lnTo>
                      <a:lnTo>
                        <a:pt x="118" y="68"/>
                      </a:lnTo>
                      <a:lnTo>
                        <a:pt x="118" y="66"/>
                      </a:lnTo>
                      <a:lnTo>
                        <a:pt x="118" y="64"/>
                      </a:lnTo>
                      <a:lnTo>
                        <a:pt x="118" y="62"/>
                      </a:lnTo>
                      <a:lnTo>
                        <a:pt x="118" y="60"/>
                      </a:lnTo>
                      <a:lnTo>
                        <a:pt x="116" y="58"/>
                      </a:lnTo>
                      <a:lnTo>
                        <a:pt x="114" y="58"/>
                      </a:lnTo>
                      <a:lnTo>
                        <a:pt x="110" y="58"/>
                      </a:lnTo>
                      <a:lnTo>
                        <a:pt x="106" y="58"/>
                      </a:lnTo>
                      <a:lnTo>
                        <a:pt x="104" y="58"/>
                      </a:lnTo>
                      <a:lnTo>
                        <a:pt x="102" y="58"/>
                      </a:lnTo>
                      <a:lnTo>
                        <a:pt x="100" y="58"/>
                      </a:lnTo>
                      <a:lnTo>
                        <a:pt x="96" y="58"/>
                      </a:lnTo>
                      <a:lnTo>
                        <a:pt x="92" y="58"/>
                      </a:lnTo>
                      <a:lnTo>
                        <a:pt x="88" y="58"/>
                      </a:lnTo>
                      <a:lnTo>
                        <a:pt x="84" y="56"/>
                      </a:lnTo>
                      <a:lnTo>
                        <a:pt x="80" y="54"/>
                      </a:lnTo>
                      <a:lnTo>
                        <a:pt x="78" y="54"/>
                      </a:lnTo>
                      <a:lnTo>
                        <a:pt x="76" y="52"/>
                      </a:lnTo>
                      <a:lnTo>
                        <a:pt x="76" y="50"/>
                      </a:lnTo>
                      <a:lnTo>
                        <a:pt x="76" y="46"/>
                      </a:lnTo>
                      <a:lnTo>
                        <a:pt x="76" y="44"/>
                      </a:lnTo>
                      <a:lnTo>
                        <a:pt x="76" y="42"/>
                      </a:lnTo>
                      <a:lnTo>
                        <a:pt x="76" y="38"/>
                      </a:lnTo>
                      <a:lnTo>
                        <a:pt x="78" y="36"/>
                      </a:lnTo>
                      <a:lnTo>
                        <a:pt x="78" y="34"/>
                      </a:lnTo>
                      <a:lnTo>
                        <a:pt x="78" y="32"/>
                      </a:lnTo>
                      <a:lnTo>
                        <a:pt x="76" y="32"/>
                      </a:lnTo>
                      <a:lnTo>
                        <a:pt x="74" y="32"/>
                      </a:lnTo>
                      <a:lnTo>
                        <a:pt x="74" y="30"/>
                      </a:lnTo>
                      <a:lnTo>
                        <a:pt x="74" y="28"/>
                      </a:lnTo>
                      <a:lnTo>
                        <a:pt x="74" y="26"/>
                      </a:lnTo>
                      <a:lnTo>
                        <a:pt x="74" y="24"/>
                      </a:lnTo>
                      <a:lnTo>
                        <a:pt x="74" y="22"/>
                      </a:lnTo>
                      <a:lnTo>
                        <a:pt x="72" y="22"/>
                      </a:lnTo>
                      <a:lnTo>
                        <a:pt x="70" y="22"/>
                      </a:lnTo>
                      <a:lnTo>
                        <a:pt x="70" y="20"/>
                      </a:lnTo>
                      <a:lnTo>
                        <a:pt x="70" y="18"/>
                      </a:lnTo>
                      <a:lnTo>
                        <a:pt x="68" y="14"/>
                      </a:lnTo>
                      <a:lnTo>
                        <a:pt x="68" y="12"/>
                      </a:lnTo>
                      <a:lnTo>
                        <a:pt x="66" y="12"/>
                      </a:lnTo>
                      <a:lnTo>
                        <a:pt x="64" y="10"/>
                      </a:lnTo>
                      <a:lnTo>
                        <a:pt x="62" y="8"/>
                      </a:lnTo>
                      <a:lnTo>
                        <a:pt x="60" y="6"/>
                      </a:lnTo>
                      <a:lnTo>
                        <a:pt x="58" y="6"/>
                      </a:lnTo>
                      <a:lnTo>
                        <a:pt x="56" y="4"/>
                      </a:lnTo>
                      <a:lnTo>
                        <a:pt x="54" y="2"/>
                      </a:lnTo>
                      <a:lnTo>
                        <a:pt x="54" y="0"/>
                      </a:lnTo>
                      <a:lnTo>
                        <a:pt x="50" y="2"/>
                      </a:lnTo>
                      <a:lnTo>
                        <a:pt x="46" y="2"/>
                      </a:lnTo>
                      <a:lnTo>
                        <a:pt x="42" y="2"/>
                      </a:lnTo>
                      <a:lnTo>
                        <a:pt x="40" y="4"/>
                      </a:lnTo>
                      <a:lnTo>
                        <a:pt x="38" y="4"/>
                      </a:lnTo>
                      <a:lnTo>
                        <a:pt x="36" y="4"/>
                      </a:lnTo>
                      <a:lnTo>
                        <a:pt x="34" y="4"/>
                      </a:lnTo>
                      <a:lnTo>
                        <a:pt x="30" y="6"/>
                      </a:lnTo>
                      <a:lnTo>
                        <a:pt x="26" y="6"/>
                      </a:lnTo>
                      <a:lnTo>
                        <a:pt x="22" y="6"/>
                      </a:lnTo>
                      <a:lnTo>
                        <a:pt x="20" y="6"/>
                      </a:lnTo>
                      <a:lnTo>
                        <a:pt x="18" y="8"/>
                      </a:lnTo>
                      <a:lnTo>
                        <a:pt x="16" y="8"/>
                      </a:lnTo>
                      <a:lnTo>
                        <a:pt x="14" y="8"/>
                      </a:lnTo>
                      <a:lnTo>
                        <a:pt x="12" y="8"/>
                      </a:lnTo>
                      <a:lnTo>
                        <a:pt x="10" y="8"/>
                      </a:lnTo>
                      <a:lnTo>
                        <a:pt x="10" y="10"/>
                      </a:lnTo>
                      <a:lnTo>
                        <a:pt x="8" y="12"/>
                      </a:lnTo>
                      <a:lnTo>
                        <a:pt x="8" y="14"/>
                      </a:lnTo>
                      <a:lnTo>
                        <a:pt x="8" y="16"/>
                      </a:lnTo>
                      <a:lnTo>
                        <a:pt x="6" y="18"/>
                      </a:lnTo>
                      <a:lnTo>
                        <a:pt x="4" y="20"/>
                      </a:lnTo>
                      <a:lnTo>
                        <a:pt x="2" y="20"/>
                      </a:lnTo>
                      <a:lnTo>
                        <a:pt x="2" y="22"/>
                      </a:lnTo>
                      <a:lnTo>
                        <a:pt x="0" y="22"/>
                      </a:lnTo>
                      <a:lnTo>
                        <a:pt x="0" y="24"/>
                      </a:lnTo>
                      <a:lnTo>
                        <a:pt x="2" y="26"/>
                      </a:lnTo>
                      <a:lnTo>
                        <a:pt x="4" y="30"/>
                      </a:lnTo>
                      <a:lnTo>
                        <a:pt x="4" y="32"/>
                      </a:lnTo>
                      <a:lnTo>
                        <a:pt x="4" y="34"/>
                      </a:lnTo>
                      <a:lnTo>
                        <a:pt x="4" y="36"/>
                      </a:lnTo>
                      <a:lnTo>
                        <a:pt x="4" y="38"/>
                      </a:lnTo>
                      <a:lnTo>
                        <a:pt x="4" y="40"/>
                      </a:lnTo>
                      <a:lnTo>
                        <a:pt x="4" y="42"/>
                      </a:lnTo>
                      <a:lnTo>
                        <a:pt x="4" y="46"/>
                      </a:lnTo>
                      <a:lnTo>
                        <a:pt x="4" y="52"/>
                      </a:lnTo>
                      <a:lnTo>
                        <a:pt x="2" y="54"/>
                      </a:lnTo>
                      <a:lnTo>
                        <a:pt x="2" y="56"/>
                      </a:lnTo>
                      <a:lnTo>
                        <a:pt x="2" y="58"/>
                      </a:lnTo>
                      <a:lnTo>
                        <a:pt x="2" y="60"/>
                      </a:lnTo>
                      <a:lnTo>
                        <a:pt x="4" y="60"/>
                      </a:lnTo>
                      <a:lnTo>
                        <a:pt x="6" y="62"/>
                      </a:lnTo>
                      <a:lnTo>
                        <a:pt x="6" y="64"/>
                      </a:lnTo>
                      <a:lnTo>
                        <a:pt x="8" y="64"/>
                      </a:lnTo>
                      <a:lnTo>
                        <a:pt x="8" y="66"/>
                      </a:lnTo>
                      <a:lnTo>
                        <a:pt x="10" y="68"/>
                      </a:lnTo>
                      <a:lnTo>
                        <a:pt x="12" y="70"/>
                      </a:lnTo>
                      <a:lnTo>
                        <a:pt x="14" y="72"/>
                      </a:lnTo>
                      <a:lnTo>
                        <a:pt x="16" y="74"/>
                      </a:lnTo>
                      <a:lnTo>
                        <a:pt x="16" y="76"/>
                      </a:lnTo>
                      <a:lnTo>
                        <a:pt x="18" y="76"/>
                      </a:lnTo>
                      <a:lnTo>
                        <a:pt x="20" y="78"/>
                      </a:lnTo>
                      <a:lnTo>
                        <a:pt x="24" y="80"/>
                      </a:lnTo>
                      <a:lnTo>
                        <a:pt x="26" y="82"/>
                      </a:lnTo>
                      <a:lnTo>
                        <a:pt x="28" y="82"/>
                      </a:lnTo>
                      <a:lnTo>
                        <a:pt x="28" y="84"/>
                      </a:lnTo>
                      <a:lnTo>
                        <a:pt x="30" y="86"/>
                      </a:lnTo>
                      <a:lnTo>
                        <a:pt x="30" y="88"/>
                      </a:lnTo>
                      <a:lnTo>
                        <a:pt x="30" y="90"/>
                      </a:lnTo>
                      <a:lnTo>
                        <a:pt x="32" y="90"/>
                      </a:lnTo>
                      <a:lnTo>
                        <a:pt x="34" y="92"/>
                      </a:lnTo>
                      <a:lnTo>
                        <a:pt x="38" y="92"/>
                      </a:lnTo>
                      <a:lnTo>
                        <a:pt x="40" y="92"/>
                      </a:lnTo>
                      <a:lnTo>
                        <a:pt x="42" y="94"/>
                      </a:lnTo>
                      <a:lnTo>
                        <a:pt x="46" y="94"/>
                      </a:lnTo>
                      <a:lnTo>
                        <a:pt x="48" y="94"/>
                      </a:lnTo>
                      <a:lnTo>
                        <a:pt x="50" y="94"/>
                      </a:lnTo>
                      <a:lnTo>
                        <a:pt x="52" y="94"/>
                      </a:lnTo>
                      <a:lnTo>
                        <a:pt x="54" y="96"/>
                      </a:lnTo>
                      <a:lnTo>
                        <a:pt x="56" y="98"/>
                      </a:lnTo>
                      <a:lnTo>
                        <a:pt x="58" y="100"/>
                      </a:lnTo>
                      <a:lnTo>
                        <a:pt x="60" y="100"/>
                      </a:lnTo>
                      <a:lnTo>
                        <a:pt x="60" y="102"/>
                      </a:lnTo>
                      <a:lnTo>
                        <a:pt x="64" y="102"/>
                      </a:lnTo>
                      <a:lnTo>
                        <a:pt x="68" y="104"/>
                      </a:lnTo>
                      <a:lnTo>
                        <a:pt x="70" y="106"/>
                      </a:lnTo>
                      <a:lnTo>
                        <a:pt x="74" y="108"/>
                      </a:lnTo>
                      <a:lnTo>
                        <a:pt x="74" y="110"/>
                      </a:lnTo>
                      <a:lnTo>
                        <a:pt x="76" y="110"/>
                      </a:lnTo>
                      <a:lnTo>
                        <a:pt x="78" y="110"/>
                      </a:lnTo>
                      <a:lnTo>
                        <a:pt x="80" y="112"/>
                      </a:lnTo>
                      <a:lnTo>
                        <a:pt x="84" y="112"/>
                      </a:lnTo>
                      <a:lnTo>
                        <a:pt x="86" y="112"/>
                      </a:lnTo>
                      <a:lnTo>
                        <a:pt x="88" y="114"/>
                      </a:lnTo>
                      <a:lnTo>
                        <a:pt x="90" y="114"/>
                      </a:lnTo>
                      <a:lnTo>
                        <a:pt x="92" y="116"/>
                      </a:lnTo>
                      <a:lnTo>
                        <a:pt x="90" y="118"/>
                      </a:lnTo>
                      <a:lnTo>
                        <a:pt x="90" y="122"/>
                      </a:lnTo>
                      <a:lnTo>
                        <a:pt x="88" y="122"/>
                      </a:lnTo>
                      <a:lnTo>
                        <a:pt x="88" y="124"/>
                      </a:lnTo>
                      <a:lnTo>
                        <a:pt x="88" y="126"/>
                      </a:lnTo>
                      <a:lnTo>
                        <a:pt x="90" y="126"/>
                      </a:lnTo>
                      <a:lnTo>
                        <a:pt x="90" y="128"/>
                      </a:lnTo>
                      <a:lnTo>
                        <a:pt x="92" y="130"/>
                      </a:lnTo>
                      <a:lnTo>
                        <a:pt x="90" y="130"/>
                      </a:lnTo>
                      <a:lnTo>
                        <a:pt x="90" y="132"/>
                      </a:lnTo>
                      <a:lnTo>
                        <a:pt x="88" y="132"/>
                      </a:lnTo>
                      <a:lnTo>
                        <a:pt x="86" y="132"/>
                      </a:lnTo>
                      <a:lnTo>
                        <a:pt x="84" y="132"/>
                      </a:lnTo>
                      <a:lnTo>
                        <a:pt x="84" y="136"/>
                      </a:lnTo>
                      <a:lnTo>
                        <a:pt x="84" y="138"/>
                      </a:lnTo>
                      <a:lnTo>
                        <a:pt x="84" y="140"/>
                      </a:lnTo>
                      <a:lnTo>
                        <a:pt x="84" y="142"/>
                      </a:lnTo>
                      <a:lnTo>
                        <a:pt x="82" y="144"/>
                      </a:lnTo>
                      <a:lnTo>
                        <a:pt x="82" y="146"/>
                      </a:lnTo>
                      <a:lnTo>
                        <a:pt x="80" y="148"/>
                      </a:lnTo>
                      <a:lnTo>
                        <a:pt x="80" y="150"/>
                      </a:lnTo>
                      <a:lnTo>
                        <a:pt x="78" y="152"/>
                      </a:lnTo>
                      <a:lnTo>
                        <a:pt x="80" y="152"/>
                      </a:lnTo>
                      <a:lnTo>
                        <a:pt x="80" y="154"/>
                      </a:lnTo>
                      <a:lnTo>
                        <a:pt x="82" y="154"/>
                      </a:lnTo>
                      <a:lnTo>
                        <a:pt x="84" y="154"/>
                      </a:lnTo>
                      <a:lnTo>
                        <a:pt x="88" y="152"/>
                      </a:lnTo>
                      <a:lnTo>
                        <a:pt x="90" y="152"/>
                      </a:lnTo>
                      <a:lnTo>
                        <a:pt x="92" y="154"/>
                      </a:lnTo>
                      <a:lnTo>
                        <a:pt x="94" y="156"/>
                      </a:lnTo>
                      <a:lnTo>
                        <a:pt x="98" y="156"/>
                      </a:lnTo>
                      <a:lnTo>
                        <a:pt x="100" y="158"/>
                      </a:lnTo>
                      <a:lnTo>
                        <a:pt x="102" y="158"/>
                      </a:lnTo>
                      <a:lnTo>
                        <a:pt x="106" y="158"/>
                      </a:lnTo>
                      <a:lnTo>
                        <a:pt x="110" y="158"/>
                      </a:lnTo>
                      <a:lnTo>
                        <a:pt x="112" y="158"/>
                      </a:lnTo>
                      <a:lnTo>
                        <a:pt x="114" y="158"/>
                      </a:lnTo>
                      <a:lnTo>
                        <a:pt x="116" y="15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0" name="Freeform 28">
                  <a:extLst>
                    <a:ext uri="{FF2B5EF4-FFF2-40B4-BE49-F238E27FC236}">
                      <a16:creationId xmlns:a16="http://schemas.microsoft.com/office/drawing/2014/main" id="{7B19BF12-0300-4D6C-8228-3AFEAD8FB073}"/>
                    </a:ext>
                  </a:extLst>
                </p:cNvPr>
                <p:cNvSpPr>
                  <a:spLocks noChangeAspect="1"/>
                </p:cNvSpPr>
                <p:nvPr/>
              </p:nvSpPr>
              <p:spPr bwMode="auto">
                <a:xfrm>
                  <a:off x="2768132" y="5161450"/>
                  <a:ext cx="174719" cy="189536"/>
                </a:xfrm>
                <a:custGeom>
                  <a:avLst/>
                  <a:gdLst/>
                  <a:ahLst/>
                  <a:cxnLst>
                    <a:cxn ang="0">
                      <a:pos x="36" y="88"/>
                    </a:cxn>
                    <a:cxn ang="0">
                      <a:pos x="50" y="88"/>
                    </a:cxn>
                    <a:cxn ang="0">
                      <a:pos x="66" y="90"/>
                    </a:cxn>
                    <a:cxn ang="0">
                      <a:pos x="76" y="88"/>
                    </a:cxn>
                    <a:cxn ang="0">
                      <a:pos x="84" y="80"/>
                    </a:cxn>
                    <a:cxn ang="0">
                      <a:pos x="88" y="70"/>
                    </a:cxn>
                    <a:cxn ang="0">
                      <a:pos x="84" y="70"/>
                    </a:cxn>
                    <a:cxn ang="0">
                      <a:pos x="84" y="66"/>
                    </a:cxn>
                    <a:cxn ang="0">
                      <a:pos x="84" y="62"/>
                    </a:cxn>
                    <a:cxn ang="0">
                      <a:pos x="82" y="62"/>
                    </a:cxn>
                    <a:cxn ang="0">
                      <a:pos x="82" y="56"/>
                    </a:cxn>
                    <a:cxn ang="0">
                      <a:pos x="86" y="48"/>
                    </a:cxn>
                    <a:cxn ang="0">
                      <a:pos x="82" y="46"/>
                    </a:cxn>
                    <a:cxn ang="0">
                      <a:pos x="76" y="42"/>
                    </a:cxn>
                    <a:cxn ang="0">
                      <a:pos x="72" y="34"/>
                    </a:cxn>
                    <a:cxn ang="0">
                      <a:pos x="70" y="34"/>
                    </a:cxn>
                    <a:cxn ang="0">
                      <a:pos x="62" y="30"/>
                    </a:cxn>
                    <a:cxn ang="0">
                      <a:pos x="58" y="26"/>
                    </a:cxn>
                    <a:cxn ang="0">
                      <a:pos x="54" y="22"/>
                    </a:cxn>
                    <a:cxn ang="0">
                      <a:pos x="52" y="22"/>
                    </a:cxn>
                    <a:cxn ang="0">
                      <a:pos x="46" y="18"/>
                    </a:cxn>
                    <a:cxn ang="0">
                      <a:pos x="40" y="14"/>
                    </a:cxn>
                    <a:cxn ang="0">
                      <a:pos x="38" y="16"/>
                    </a:cxn>
                    <a:cxn ang="0">
                      <a:pos x="34" y="16"/>
                    </a:cxn>
                    <a:cxn ang="0">
                      <a:pos x="32" y="10"/>
                    </a:cxn>
                    <a:cxn ang="0">
                      <a:pos x="28" y="8"/>
                    </a:cxn>
                    <a:cxn ang="0">
                      <a:pos x="20" y="2"/>
                    </a:cxn>
                    <a:cxn ang="0">
                      <a:pos x="14" y="0"/>
                    </a:cxn>
                    <a:cxn ang="0">
                      <a:pos x="12" y="2"/>
                    </a:cxn>
                    <a:cxn ang="0">
                      <a:pos x="6" y="2"/>
                    </a:cxn>
                    <a:cxn ang="0">
                      <a:pos x="4" y="2"/>
                    </a:cxn>
                    <a:cxn ang="0">
                      <a:pos x="0" y="6"/>
                    </a:cxn>
                    <a:cxn ang="0">
                      <a:pos x="2" y="10"/>
                    </a:cxn>
                    <a:cxn ang="0">
                      <a:pos x="8" y="12"/>
                    </a:cxn>
                    <a:cxn ang="0">
                      <a:pos x="2" y="14"/>
                    </a:cxn>
                    <a:cxn ang="0">
                      <a:pos x="0" y="16"/>
                    </a:cxn>
                    <a:cxn ang="0">
                      <a:pos x="0" y="24"/>
                    </a:cxn>
                    <a:cxn ang="0">
                      <a:pos x="4" y="26"/>
                    </a:cxn>
                    <a:cxn ang="0">
                      <a:pos x="6" y="28"/>
                    </a:cxn>
                    <a:cxn ang="0">
                      <a:pos x="6" y="28"/>
                    </a:cxn>
                    <a:cxn ang="0">
                      <a:pos x="2" y="30"/>
                    </a:cxn>
                    <a:cxn ang="0">
                      <a:pos x="2" y="34"/>
                    </a:cxn>
                    <a:cxn ang="0">
                      <a:pos x="6" y="40"/>
                    </a:cxn>
                    <a:cxn ang="0">
                      <a:pos x="4" y="42"/>
                    </a:cxn>
                    <a:cxn ang="0">
                      <a:pos x="4" y="44"/>
                    </a:cxn>
                    <a:cxn ang="0">
                      <a:pos x="8" y="50"/>
                    </a:cxn>
                    <a:cxn ang="0">
                      <a:pos x="10" y="54"/>
                    </a:cxn>
                    <a:cxn ang="0">
                      <a:pos x="4" y="54"/>
                    </a:cxn>
                    <a:cxn ang="0">
                      <a:pos x="2" y="58"/>
                    </a:cxn>
                    <a:cxn ang="0">
                      <a:pos x="2" y="66"/>
                    </a:cxn>
                    <a:cxn ang="0">
                      <a:pos x="2" y="66"/>
                    </a:cxn>
                    <a:cxn ang="0">
                      <a:pos x="8" y="74"/>
                    </a:cxn>
                    <a:cxn ang="0">
                      <a:pos x="10" y="74"/>
                    </a:cxn>
                    <a:cxn ang="0">
                      <a:pos x="16" y="80"/>
                    </a:cxn>
                    <a:cxn ang="0">
                      <a:pos x="20" y="84"/>
                    </a:cxn>
                    <a:cxn ang="0">
                      <a:pos x="26" y="84"/>
                    </a:cxn>
                    <a:cxn ang="0">
                      <a:pos x="30" y="84"/>
                    </a:cxn>
                    <a:cxn ang="0">
                      <a:pos x="34" y="88"/>
                    </a:cxn>
                  </a:cxnLst>
                  <a:rect l="0" t="0" r="r" b="b"/>
                  <a:pathLst>
                    <a:path w="88" h="90">
                      <a:moveTo>
                        <a:pt x="34" y="88"/>
                      </a:moveTo>
                      <a:lnTo>
                        <a:pt x="34" y="88"/>
                      </a:lnTo>
                      <a:lnTo>
                        <a:pt x="36" y="88"/>
                      </a:lnTo>
                      <a:lnTo>
                        <a:pt x="40" y="88"/>
                      </a:lnTo>
                      <a:lnTo>
                        <a:pt x="42" y="88"/>
                      </a:lnTo>
                      <a:lnTo>
                        <a:pt x="46" y="88"/>
                      </a:lnTo>
                      <a:lnTo>
                        <a:pt x="50" y="88"/>
                      </a:lnTo>
                      <a:lnTo>
                        <a:pt x="54" y="90"/>
                      </a:lnTo>
                      <a:lnTo>
                        <a:pt x="58" y="90"/>
                      </a:lnTo>
                      <a:lnTo>
                        <a:pt x="62" y="90"/>
                      </a:lnTo>
                      <a:lnTo>
                        <a:pt x="66" y="90"/>
                      </a:lnTo>
                      <a:lnTo>
                        <a:pt x="68" y="90"/>
                      </a:lnTo>
                      <a:lnTo>
                        <a:pt x="72" y="90"/>
                      </a:lnTo>
                      <a:lnTo>
                        <a:pt x="74" y="88"/>
                      </a:lnTo>
                      <a:lnTo>
                        <a:pt x="76" y="88"/>
                      </a:lnTo>
                      <a:lnTo>
                        <a:pt x="78" y="86"/>
                      </a:lnTo>
                      <a:lnTo>
                        <a:pt x="80" y="84"/>
                      </a:lnTo>
                      <a:lnTo>
                        <a:pt x="82" y="82"/>
                      </a:lnTo>
                      <a:lnTo>
                        <a:pt x="84" y="80"/>
                      </a:lnTo>
                      <a:lnTo>
                        <a:pt x="84" y="76"/>
                      </a:lnTo>
                      <a:lnTo>
                        <a:pt x="86" y="74"/>
                      </a:lnTo>
                      <a:lnTo>
                        <a:pt x="86" y="72"/>
                      </a:lnTo>
                      <a:lnTo>
                        <a:pt x="88" y="70"/>
                      </a:lnTo>
                      <a:lnTo>
                        <a:pt x="86" y="70"/>
                      </a:lnTo>
                      <a:lnTo>
                        <a:pt x="84" y="70"/>
                      </a:lnTo>
                      <a:lnTo>
                        <a:pt x="84" y="66"/>
                      </a:lnTo>
                      <a:lnTo>
                        <a:pt x="84" y="64"/>
                      </a:lnTo>
                      <a:lnTo>
                        <a:pt x="84" y="62"/>
                      </a:lnTo>
                      <a:lnTo>
                        <a:pt x="82" y="62"/>
                      </a:lnTo>
                      <a:lnTo>
                        <a:pt x="82" y="60"/>
                      </a:lnTo>
                      <a:lnTo>
                        <a:pt x="82" y="58"/>
                      </a:lnTo>
                      <a:lnTo>
                        <a:pt x="82" y="56"/>
                      </a:lnTo>
                      <a:lnTo>
                        <a:pt x="84" y="54"/>
                      </a:lnTo>
                      <a:lnTo>
                        <a:pt x="84" y="50"/>
                      </a:lnTo>
                      <a:lnTo>
                        <a:pt x="86" y="50"/>
                      </a:lnTo>
                      <a:lnTo>
                        <a:pt x="86" y="48"/>
                      </a:lnTo>
                      <a:lnTo>
                        <a:pt x="86" y="46"/>
                      </a:lnTo>
                      <a:lnTo>
                        <a:pt x="84" y="46"/>
                      </a:lnTo>
                      <a:lnTo>
                        <a:pt x="82" y="46"/>
                      </a:lnTo>
                      <a:lnTo>
                        <a:pt x="80" y="44"/>
                      </a:lnTo>
                      <a:lnTo>
                        <a:pt x="78" y="44"/>
                      </a:lnTo>
                      <a:lnTo>
                        <a:pt x="76" y="42"/>
                      </a:lnTo>
                      <a:lnTo>
                        <a:pt x="74" y="40"/>
                      </a:lnTo>
                      <a:lnTo>
                        <a:pt x="74" y="38"/>
                      </a:lnTo>
                      <a:lnTo>
                        <a:pt x="72" y="36"/>
                      </a:lnTo>
                      <a:lnTo>
                        <a:pt x="72" y="34"/>
                      </a:lnTo>
                      <a:lnTo>
                        <a:pt x="70" y="34"/>
                      </a:lnTo>
                      <a:lnTo>
                        <a:pt x="68" y="34"/>
                      </a:lnTo>
                      <a:lnTo>
                        <a:pt x="64" y="32"/>
                      </a:lnTo>
                      <a:lnTo>
                        <a:pt x="62" y="30"/>
                      </a:lnTo>
                      <a:lnTo>
                        <a:pt x="62" y="28"/>
                      </a:lnTo>
                      <a:lnTo>
                        <a:pt x="60" y="26"/>
                      </a:lnTo>
                      <a:lnTo>
                        <a:pt x="58" y="26"/>
                      </a:lnTo>
                      <a:lnTo>
                        <a:pt x="56" y="24"/>
                      </a:lnTo>
                      <a:lnTo>
                        <a:pt x="54" y="24"/>
                      </a:lnTo>
                      <a:lnTo>
                        <a:pt x="54" y="22"/>
                      </a:lnTo>
                      <a:lnTo>
                        <a:pt x="52" y="22"/>
                      </a:lnTo>
                      <a:lnTo>
                        <a:pt x="50" y="22"/>
                      </a:lnTo>
                      <a:lnTo>
                        <a:pt x="48" y="20"/>
                      </a:lnTo>
                      <a:lnTo>
                        <a:pt x="46" y="18"/>
                      </a:lnTo>
                      <a:lnTo>
                        <a:pt x="44" y="16"/>
                      </a:lnTo>
                      <a:lnTo>
                        <a:pt x="42" y="14"/>
                      </a:lnTo>
                      <a:lnTo>
                        <a:pt x="40" y="14"/>
                      </a:lnTo>
                      <a:lnTo>
                        <a:pt x="38" y="16"/>
                      </a:lnTo>
                      <a:lnTo>
                        <a:pt x="38" y="18"/>
                      </a:lnTo>
                      <a:lnTo>
                        <a:pt x="36" y="18"/>
                      </a:lnTo>
                      <a:lnTo>
                        <a:pt x="34" y="16"/>
                      </a:lnTo>
                      <a:lnTo>
                        <a:pt x="32" y="14"/>
                      </a:lnTo>
                      <a:lnTo>
                        <a:pt x="32" y="12"/>
                      </a:lnTo>
                      <a:lnTo>
                        <a:pt x="32" y="10"/>
                      </a:lnTo>
                      <a:lnTo>
                        <a:pt x="30" y="10"/>
                      </a:lnTo>
                      <a:lnTo>
                        <a:pt x="30" y="8"/>
                      </a:lnTo>
                      <a:lnTo>
                        <a:pt x="28" y="8"/>
                      </a:lnTo>
                      <a:lnTo>
                        <a:pt x="28" y="6"/>
                      </a:lnTo>
                      <a:lnTo>
                        <a:pt x="26" y="4"/>
                      </a:lnTo>
                      <a:lnTo>
                        <a:pt x="24" y="2"/>
                      </a:lnTo>
                      <a:lnTo>
                        <a:pt x="20" y="2"/>
                      </a:lnTo>
                      <a:lnTo>
                        <a:pt x="18" y="0"/>
                      </a:lnTo>
                      <a:lnTo>
                        <a:pt x="16" y="0"/>
                      </a:lnTo>
                      <a:lnTo>
                        <a:pt x="14" y="0"/>
                      </a:lnTo>
                      <a:lnTo>
                        <a:pt x="12" y="0"/>
                      </a:lnTo>
                      <a:lnTo>
                        <a:pt x="12" y="2"/>
                      </a:lnTo>
                      <a:lnTo>
                        <a:pt x="10" y="2"/>
                      </a:lnTo>
                      <a:lnTo>
                        <a:pt x="8" y="2"/>
                      </a:lnTo>
                      <a:lnTo>
                        <a:pt x="6" y="2"/>
                      </a:lnTo>
                      <a:lnTo>
                        <a:pt x="4" y="2"/>
                      </a:lnTo>
                      <a:lnTo>
                        <a:pt x="2" y="4"/>
                      </a:lnTo>
                      <a:lnTo>
                        <a:pt x="0" y="6"/>
                      </a:lnTo>
                      <a:lnTo>
                        <a:pt x="0" y="8"/>
                      </a:lnTo>
                      <a:lnTo>
                        <a:pt x="2" y="8"/>
                      </a:lnTo>
                      <a:lnTo>
                        <a:pt x="2" y="10"/>
                      </a:lnTo>
                      <a:lnTo>
                        <a:pt x="4" y="10"/>
                      </a:lnTo>
                      <a:lnTo>
                        <a:pt x="6" y="12"/>
                      </a:lnTo>
                      <a:lnTo>
                        <a:pt x="8" y="12"/>
                      </a:lnTo>
                      <a:lnTo>
                        <a:pt x="6" y="14"/>
                      </a:lnTo>
                      <a:lnTo>
                        <a:pt x="4" y="14"/>
                      </a:lnTo>
                      <a:lnTo>
                        <a:pt x="2" y="14"/>
                      </a:lnTo>
                      <a:lnTo>
                        <a:pt x="2" y="16"/>
                      </a:lnTo>
                      <a:lnTo>
                        <a:pt x="0" y="16"/>
                      </a:lnTo>
                      <a:lnTo>
                        <a:pt x="0" y="18"/>
                      </a:lnTo>
                      <a:lnTo>
                        <a:pt x="0" y="22"/>
                      </a:lnTo>
                      <a:lnTo>
                        <a:pt x="0" y="24"/>
                      </a:lnTo>
                      <a:lnTo>
                        <a:pt x="0" y="26"/>
                      </a:lnTo>
                      <a:lnTo>
                        <a:pt x="4" y="26"/>
                      </a:lnTo>
                      <a:lnTo>
                        <a:pt x="6" y="28"/>
                      </a:lnTo>
                      <a:lnTo>
                        <a:pt x="8" y="28"/>
                      </a:lnTo>
                      <a:lnTo>
                        <a:pt x="6" y="28"/>
                      </a:lnTo>
                      <a:lnTo>
                        <a:pt x="4" y="28"/>
                      </a:lnTo>
                      <a:lnTo>
                        <a:pt x="2" y="28"/>
                      </a:lnTo>
                      <a:lnTo>
                        <a:pt x="2" y="30"/>
                      </a:lnTo>
                      <a:lnTo>
                        <a:pt x="0" y="30"/>
                      </a:lnTo>
                      <a:lnTo>
                        <a:pt x="0" y="32"/>
                      </a:lnTo>
                      <a:lnTo>
                        <a:pt x="2" y="34"/>
                      </a:lnTo>
                      <a:lnTo>
                        <a:pt x="4" y="36"/>
                      </a:lnTo>
                      <a:lnTo>
                        <a:pt x="4" y="38"/>
                      </a:lnTo>
                      <a:lnTo>
                        <a:pt x="6" y="38"/>
                      </a:lnTo>
                      <a:lnTo>
                        <a:pt x="6" y="40"/>
                      </a:lnTo>
                      <a:lnTo>
                        <a:pt x="4" y="40"/>
                      </a:lnTo>
                      <a:lnTo>
                        <a:pt x="4" y="42"/>
                      </a:lnTo>
                      <a:lnTo>
                        <a:pt x="4" y="44"/>
                      </a:lnTo>
                      <a:lnTo>
                        <a:pt x="6" y="46"/>
                      </a:lnTo>
                      <a:lnTo>
                        <a:pt x="6" y="48"/>
                      </a:lnTo>
                      <a:lnTo>
                        <a:pt x="8" y="50"/>
                      </a:lnTo>
                      <a:lnTo>
                        <a:pt x="10" y="50"/>
                      </a:lnTo>
                      <a:lnTo>
                        <a:pt x="10" y="52"/>
                      </a:lnTo>
                      <a:lnTo>
                        <a:pt x="10" y="54"/>
                      </a:lnTo>
                      <a:lnTo>
                        <a:pt x="8" y="54"/>
                      </a:lnTo>
                      <a:lnTo>
                        <a:pt x="6" y="54"/>
                      </a:lnTo>
                      <a:lnTo>
                        <a:pt x="4" y="54"/>
                      </a:lnTo>
                      <a:lnTo>
                        <a:pt x="2" y="54"/>
                      </a:lnTo>
                      <a:lnTo>
                        <a:pt x="2" y="58"/>
                      </a:lnTo>
                      <a:lnTo>
                        <a:pt x="2" y="62"/>
                      </a:lnTo>
                      <a:lnTo>
                        <a:pt x="2" y="64"/>
                      </a:lnTo>
                      <a:lnTo>
                        <a:pt x="2" y="66"/>
                      </a:lnTo>
                      <a:lnTo>
                        <a:pt x="4" y="70"/>
                      </a:lnTo>
                      <a:lnTo>
                        <a:pt x="6" y="72"/>
                      </a:lnTo>
                      <a:lnTo>
                        <a:pt x="8" y="74"/>
                      </a:lnTo>
                      <a:lnTo>
                        <a:pt x="8" y="76"/>
                      </a:lnTo>
                      <a:lnTo>
                        <a:pt x="10" y="74"/>
                      </a:lnTo>
                      <a:lnTo>
                        <a:pt x="12" y="76"/>
                      </a:lnTo>
                      <a:lnTo>
                        <a:pt x="14" y="78"/>
                      </a:lnTo>
                      <a:lnTo>
                        <a:pt x="16" y="80"/>
                      </a:lnTo>
                      <a:lnTo>
                        <a:pt x="16" y="82"/>
                      </a:lnTo>
                      <a:lnTo>
                        <a:pt x="18" y="82"/>
                      </a:lnTo>
                      <a:lnTo>
                        <a:pt x="20" y="84"/>
                      </a:lnTo>
                      <a:lnTo>
                        <a:pt x="24" y="84"/>
                      </a:lnTo>
                      <a:lnTo>
                        <a:pt x="26" y="84"/>
                      </a:lnTo>
                      <a:lnTo>
                        <a:pt x="28" y="84"/>
                      </a:lnTo>
                      <a:lnTo>
                        <a:pt x="30" y="84"/>
                      </a:lnTo>
                      <a:lnTo>
                        <a:pt x="34" y="8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1" name="Freeform 29">
                  <a:extLst>
                    <a:ext uri="{FF2B5EF4-FFF2-40B4-BE49-F238E27FC236}">
                      <a16:creationId xmlns:a16="http://schemas.microsoft.com/office/drawing/2014/main" id="{A3A53864-81D6-40A2-BA9D-13323EBD8B7D}"/>
                    </a:ext>
                  </a:extLst>
                </p:cNvPr>
                <p:cNvSpPr>
                  <a:spLocks noChangeAspect="1"/>
                </p:cNvSpPr>
                <p:nvPr/>
              </p:nvSpPr>
              <p:spPr bwMode="auto">
                <a:xfrm>
                  <a:off x="2367073" y="4822393"/>
                  <a:ext cx="516214" cy="1227771"/>
                </a:xfrm>
                <a:custGeom>
                  <a:avLst/>
                  <a:gdLst/>
                  <a:ahLst/>
                  <a:cxnLst>
                    <a:cxn ang="0">
                      <a:pos x="238" y="114"/>
                    </a:cxn>
                    <a:cxn ang="0">
                      <a:pos x="260" y="88"/>
                    </a:cxn>
                    <a:cxn ang="0">
                      <a:pos x="242" y="74"/>
                    </a:cxn>
                    <a:cxn ang="0">
                      <a:pos x="226" y="108"/>
                    </a:cxn>
                    <a:cxn ang="0">
                      <a:pos x="202" y="108"/>
                    </a:cxn>
                    <a:cxn ang="0">
                      <a:pos x="186" y="82"/>
                    </a:cxn>
                    <a:cxn ang="0">
                      <a:pos x="186" y="62"/>
                    </a:cxn>
                    <a:cxn ang="0">
                      <a:pos x="144" y="44"/>
                    </a:cxn>
                    <a:cxn ang="0">
                      <a:pos x="110" y="16"/>
                    </a:cxn>
                    <a:cxn ang="0">
                      <a:pos x="78" y="4"/>
                    </a:cxn>
                    <a:cxn ang="0">
                      <a:pos x="66" y="6"/>
                    </a:cxn>
                    <a:cxn ang="0">
                      <a:pos x="32" y="8"/>
                    </a:cxn>
                    <a:cxn ang="0">
                      <a:pos x="26" y="18"/>
                    </a:cxn>
                    <a:cxn ang="0">
                      <a:pos x="14" y="50"/>
                    </a:cxn>
                    <a:cxn ang="0">
                      <a:pos x="18" y="80"/>
                    </a:cxn>
                    <a:cxn ang="0">
                      <a:pos x="12" y="100"/>
                    </a:cxn>
                    <a:cxn ang="0">
                      <a:pos x="4" y="138"/>
                    </a:cxn>
                    <a:cxn ang="0">
                      <a:pos x="2" y="168"/>
                    </a:cxn>
                    <a:cxn ang="0">
                      <a:pos x="4" y="190"/>
                    </a:cxn>
                    <a:cxn ang="0">
                      <a:pos x="16" y="212"/>
                    </a:cxn>
                    <a:cxn ang="0">
                      <a:pos x="26" y="234"/>
                    </a:cxn>
                    <a:cxn ang="0">
                      <a:pos x="22" y="262"/>
                    </a:cxn>
                    <a:cxn ang="0">
                      <a:pos x="18" y="282"/>
                    </a:cxn>
                    <a:cxn ang="0">
                      <a:pos x="30" y="316"/>
                    </a:cxn>
                    <a:cxn ang="0">
                      <a:pos x="28" y="340"/>
                    </a:cxn>
                    <a:cxn ang="0">
                      <a:pos x="32" y="362"/>
                    </a:cxn>
                    <a:cxn ang="0">
                      <a:pos x="42" y="390"/>
                    </a:cxn>
                    <a:cxn ang="0">
                      <a:pos x="50" y="416"/>
                    </a:cxn>
                    <a:cxn ang="0">
                      <a:pos x="66" y="434"/>
                    </a:cxn>
                    <a:cxn ang="0">
                      <a:pos x="70" y="446"/>
                    </a:cxn>
                    <a:cxn ang="0">
                      <a:pos x="74" y="468"/>
                    </a:cxn>
                    <a:cxn ang="0">
                      <a:pos x="76" y="488"/>
                    </a:cxn>
                    <a:cxn ang="0">
                      <a:pos x="76" y="508"/>
                    </a:cxn>
                    <a:cxn ang="0">
                      <a:pos x="74" y="526"/>
                    </a:cxn>
                    <a:cxn ang="0">
                      <a:pos x="88" y="550"/>
                    </a:cxn>
                    <a:cxn ang="0">
                      <a:pos x="110" y="566"/>
                    </a:cxn>
                    <a:cxn ang="0">
                      <a:pos x="144" y="574"/>
                    </a:cxn>
                    <a:cxn ang="0">
                      <a:pos x="160" y="576"/>
                    </a:cxn>
                    <a:cxn ang="0">
                      <a:pos x="158" y="566"/>
                    </a:cxn>
                    <a:cxn ang="0">
                      <a:pos x="148" y="544"/>
                    </a:cxn>
                    <a:cxn ang="0">
                      <a:pos x="146" y="536"/>
                    </a:cxn>
                    <a:cxn ang="0">
                      <a:pos x="158" y="522"/>
                    </a:cxn>
                    <a:cxn ang="0">
                      <a:pos x="170" y="496"/>
                    </a:cxn>
                    <a:cxn ang="0">
                      <a:pos x="158" y="480"/>
                    </a:cxn>
                    <a:cxn ang="0">
                      <a:pos x="140" y="450"/>
                    </a:cxn>
                    <a:cxn ang="0">
                      <a:pos x="158" y="444"/>
                    </a:cxn>
                    <a:cxn ang="0">
                      <a:pos x="156" y="424"/>
                    </a:cxn>
                    <a:cxn ang="0">
                      <a:pos x="154" y="402"/>
                    </a:cxn>
                    <a:cxn ang="0">
                      <a:pos x="168" y="388"/>
                    </a:cxn>
                    <a:cxn ang="0">
                      <a:pos x="146" y="390"/>
                    </a:cxn>
                    <a:cxn ang="0">
                      <a:pos x="150" y="366"/>
                    </a:cxn>
                    <a:cxn ang="0">
                      <a:pos x="176" y="354"/>
                    </a:cxn>
                    <a:cxn ang="0">
                      <a:pos x="170" y="330"/>
                    </a:cxn>
                    <a:cxn ang="0">
                      <a:pos x="178" y="332"/>
                    </a:cxn>
                    <a:cxn ang="0">
                      <a:pos x="204" y="328"/>
                    </a:cxn>
                    <a:cxn ang="0">
                      <a:pos x="246" y="304"/>
                    </a:cxn>
                    <a:cxn ang="0">
                      <a:pos x="246" y="280"/>
                    </a:cxn>
                    <a:cxn ang="0">
                      <a:pos x="234" y="256"/>
                    </a:cxn>
                    <a:cxn ang="0">
                      <a:pos x="204" y="220"/>
                    </a:cxn>
                    <a:cxn ang="0">
                      <a:pos x="208" y="200"/>
                    </a:cxn>
                    <a:cxn ang="0">
                      <a:pos x="204" y="180"/>
                    </a:cxn>
                    <a:cxn ang="0">
                      <a:pos x="208" y="162"/>
                    </a:cxn>
                    <a:cxn ang="0">
                      <a:pos x="224" y="136"/>
                    </a:cxn>
                  </a:cxnLst>
                  <a:rect l="0" t="0" r="r" b="b"/>
                  <a:pathLst>
                    <a:path w="260" h="582">
                      <a:moveTo>
                        <a:pt x="226" y="128"/>
                      </a:moveTo>
                      <a:lnTo>
                        <a:pt x="228" y="126"/>
                      </a:lnTo>
                      <a:lnTo>
                        <a:pt x="230" y="126"/>
                      </a:lnTo>
                      <a:lnTo>
                        <a:pt x="232" y="126"/>
                      </a:lnTo>
                      <a:lnTo>
                        <a:pt x="234" y="124"/>
                      </a:lnTo>
                      <a:lnTo>
                        <a:pt x="234" y="122"/>
                      </a:lnTo>
                      <a:lnTo>
                        <a:pt x="234" y="120"/>
                      </a:lnTo>
                      <a:lnTo>
                        <a:pt x="236" y="120"/>
                      </a:lnTo>
                      <a:lnTo>
                        <a:pt x="236" y="118"/>
                      </a:lnTo>
                      <a:lnTo>
                        <a:pt x="236" y="116"/>
                      </a:lnTo>
                      <a:lnTo>
                        <a:pt x="236" y="114"/>
                      </a:lnTo>
                      <a:lnTo>
                        <a:pt x="238" y="114"/>
                      </a:lnTo>
                      <a:lnTo>
                        <a:pt x="240" y="114"/>
                      </a:lnTo>
                      <a:lnTo>
                        <a:pt x="242" y="114"/>
                      </a:lnTo>
                      <a:lnTo>
                        <a:pt x="244" y="114"/>
                      </a:lnTo>
                      <a:lnTo>
                        <a:pt x="244" y="112"/>
                      </a:lnTo>
                      <a:lnTo>
                        <a:pt x="244" y="110"/>
                      </a:lnTo>
                      <a:lnTo>
                        <a:pt x="246" y="108"/>
                      </a:lnTo>
                      <a:lnTo>
                        <a:pt x="248" y="106"/>
                      </a:lnTo>
                      <a:lnTo>
                        <a:pt x="250" y="106"/>
                      </a:lnTo>
                      <a:lnTo>
                        <a:pt x="254" y="104"/>
                      </a:lnTo>
                      <a:lnTo>
                        <a:pt x="258" y="104"/>
                      </a:lnTo>
                      <a:lnTo>
                        <a:pt x="260" y="102"/>
                      </a:lnTo>
                      <a:lnTo>
                        <a:pt x="260" y="100"/>
                      </a:lnTo>
                      <a:lnTo>
                        <a:pt x="260" y="98"/>
                      </a:lnTo>
                      <a:lnTo>
                        <a:pt x="260" y="96"/>
                      </a:lnTo>
                      <a:lnTo>
                        <a:pt x="260" y="92"/>
                      </a:lnTo>
                      <a:lnTo>
                        <a:pt x="260" y="90"/>
                      </a:lnTo>
                      <a:lnTo>
                        <a:pt x="260" y="88"/>
                      </a:lnTo>
                      <a:lnTo>
                        <a:pt x="260" y="84"/>
                      </a:lnTo>
                      <a:lnTo>
                        <a:pt x="260" y="82"/>
                      </a:lnTo>
                      <a:lnTo>
                        <a:pt x="258" y="82"/>
                      </a:lnTo>
                      <a:lnTo>
                        <a:pt x="258" y="80"/>
                      </a:lnTo>
                      <a:lnTo>
                        <a:pt x="256" y="80"/>
                      </a:lnTo>
                      <a:lnTo>
                        <a:pt x="254" y="78"/>
                      </a:lnTo>
                      <a:lnTo>
                        <a:pt x="254" y="76"/>
                      </a:lnTo>
                      <a:lnTo>
                        <a:pt x="254" y="74"/>
                      </a:lnTo>
                      <a:lnTo>
                        <a:pt x="252" y="72"/>
                      </a:lnTo>
                      <a:lnTo>
                        <a:pt x="252" y="70"/>
                      </a:lnTo>
                      <a:lnTo>
                        <a:pt x="250" y="70"/>
                      </a:lnTo>
                      <a:lnTo>
                        <a:pt x="248" y="70"/>
                      </a:lnTo>
                      <a:lnTo>
                        <a:pt x="246" y="72"/>
                      </a:lnTo>
                      <a:lnTo>
                        <a:pt x="244" y="72"/>
                      </a:lnTo>
                      <a:lnTo>
                        <a:pt x="242" y="74"/>
                      </a:lnTo>
                      <a:lnTo>
                        <a:pt x="242" y="76"/>
                      </a:lnTo>
                      <a:lnTo>
                        <a:pt x="242" y="78"/>
                      </a:lnTo>
                      <a:lnTo>
                        <a:pt x="242" y="80"/>
                      </a:lnTo>
                      <a:lnTo>
                        <a:pt x="242" y="84"/>
                      </a:lnTo>
                      <a:lnTo>
                        <a:pt x="242" y="86"/>
                      </a:lnTo>
                      <a:lnTo>
                        <a:pt x="242" y="88"/>
                      </a:lnTo>
                      <a:lnTo>
                        <a:pt x="242" y="90"/>
                      </a:lnTo>
                      <a:lnTo>
                        <a:pt x="242" y="92"/>
                      </a:lnTo>
                      <a:lnTo>
                        <a:pt x="240" y="94"/>
                      </a:lnTo>
                      <a:lnTo>
                        <a:pt x="238" y="96"/>
                      </a:lnTo>
                      <a:lnTo>
                        <a:pt x="236" y="96"/>
                      </a:lnTo>
                      <a:lnTo>
                        <a:pt x="236" y="98"/>
                      </a:lnTo>
                      <a:lnTo>
                        <a:pt x="234" y="98"/>
                      </a:lnTo>
                      <a:lnTo>
                        <a:pt x="232" y="98"/>
                      </a:lnTo>
                      <a:lnTo>
                        <a:pt x="232" y="100"/>
                      </a:lnTo>
                      <a:lnTo>
                        <a:pt x="230" y="100"/>
                      </a:lnTo>
                      <a:lnTo>
                        <a:pt x="230" y="102"/>
                      </a:lnTo>
                      <a:lnTo>
                        <a:pt x="228" y="106"/>
                      </a:lnTo>
                      <a:lnTo>
                        <a:pt x="228" y="108"/>
                      </a:lnTo>
                      <a:lnTo>
                        <a:pt x="226" y="108"/>
                      </a:lnTo>
                      <a:lnTo>
                        <a:pt x="224" y="108"/>
                      </a:lnTo>
                      <a:lnTo>
                        <a:pt x="224" y="106"/>
                      </a:lnTo>
                      <a:lnTo>
                        <a:pt x="222" y="106"/>
                      </a:lnTo>
                      <a:lnTo>
                        <a:pt x="220" y="106"/>
                      </a:lnTo>
                      <a:lnTo>
                        <a:pt x="220" y="108"/>
                      </a:lnTo>
                      <a:lnTo>
                        <a:pt x="220" y="110"/>
                      </a:lnTo>
                      <a:lnTo>
                        <a:pt x="218" y="112"/>
                      </a:lnTo>
                      <a:lnTo>
                        <a:pt x="218" y="110"/>
                      </a:lnTo>
                      <a:lnTo>
                        <a:pt x="218" y="108"/>
                      </a:lnTo>
                      <a:lnTo>
                        <a:pt x="216" y="108"/>
                      </a:lnTo>
                      <a:lnTo>
                        <a:pt x="214" y="108"/>
                      </a:lnTo>
                      <a:lnTo>
                        <a:pt x="212" y="108"/>
                      </a:lnTo>
                      <a:lnTo>
                        <a:pt x="210" y="108"/>
                      </a:lnTo>
                      <a:lnTo>
                        <a:pt x="208" y="108"/>
                      </a:lnTo>
                      <a:lnTo>
                        <a:pt x="202" y="108"/>
                      </a:lnTo>
                      <a:lnTo>
                        <a:pt x="200" y="108"/>
                      </a:lnTo>
                      <a:lnTo>
                        <a:pt x="198" y="106"/>
                      </a:lnTo>
                      <a:lnTo>
                        <a:pt x="196" y="104"/>
                      </a:lnTo>
                      <a:lnTo>
                        <a:pt x="194" y="104"/>
                      </a:lnTo>
                      <a:lnTo>
                        <a:pt x="192" y="102"/>
                      </a:lnTo>
                      <a:lnTo>
                        <a:pt x="190" y="102"/>
                      </a:lnTo>
                      <a:lnTo>
                        <a:pt x="188" y="102"/>
                      </a:lnTo>
                      <a:lnTo>
                        <a:pt x="186" y="104"/>
                      </a:lnTo>
                      <a:lnTo>
                        <a:pt x="184" y="104"/>
                      </a:lnTo>
                      <a:lnTo>
                        <a:pt x="182" y="104"/>
                      </a:lnTo>
                      <a:lnTo>
                        <a:pt x="180" y="102"/>
                      </a:lnTo>
                      <a:lnTo>
                        <a:pt x="180" y="100"/>
                      </a:lnTo>
                      <a:lnTo>
                        <a:pt x="182" y="98"/>
                      </a:lnTo>
                      <a:lnTo>
                        <a:pt x="182" y="96"/>
                      </a:lnTo>
                      <a:lnTo>
                        <a:pt x="184" y="94"/>
                      </a:lnTo>
                      <a:lnTo>
                        <a:pt x="184" y="92"/>
                      </a:lnTo>
                      <a:lnTo>
                        <a:pt x="186" y="90"/>
                      </a:lnTo>
                      <a:lnTo>
                        <a:pt x="186" y="88"/>
                      </a:lnTo>
                      <a:lnTo>
                        <a:pt x="186" y="86"/>
                      </a:lnTo>
                      <a:lnTo>
                        <a:pt x="186" y="84"/>
                      </a:lnTo>
                      <a:lnTo>
                        <a:pt x="186" y="82"/>
                      </a:lnTo>
                      <a:lnTo>
                        <a:pt x="188" y="82"/>
                      </a:lnTo>
                      <a:lnTo>
                        <a:pt x="190" y="82"/>
                      </a:lnTo>
                      <a:lnTo>
                        <a:pt x="192" y="80"/>
                      </a:lnTo>
                      <a:lnTo>
                        <a:pt x="192" y="78"/>
                      </a:lnTo>
                      <a:lnTo>
                        <a:pt x="190" y="76"/>
                      </a:lnTo>
                      <a:lnTo>
                        <a:pt x="190" y="74"/>
                      </a:lnTo>
                      <a:lnTo>
                        <a:pt x="188" y="74"/>
                      </a:lnTo>
                      <a:lnTo>
                        <a:pt x="190" y="74"/>
                      </a:lnTo>
                      <a:lnTo>
                        <a:pt x="190" y="72"/>
                      </a:lnTo>
                      <a:lnTo>
                        <a:pt x="190" y="70"/>
                      </a:lnTo>
                      <a:lnTo>
                        <a:pt x="192" y="68"/>
                      </a:lnTo>
                      <a:lnTo>
                        <a:pt x="192" y="66"/>
                      </a:lnTo>
                      <a:lnTo>
                        <a:pt x="192" y="64"/>
                      </a:lnTo>
                      <a:lnTo>
                        <a:pt x="190" y="64"/>
                      </a:lnTo>
                      <a:lnTo>
                        <a:pt x="186" y="62"/>
                      </a:lnTo>
                      <a:lnTo>
                        <a:pt x="184" y="62"/>
                      </a:lnTo>
                      <a:lnTo>
                        <a:pt x="182" y="60"/>
                      </a:lnTo>
                      <a:lnTo>
                        <a:pt x="180" y="60"/>
                      </a:lnTo>
                      <a:lnTo>
                        <a:pt x="178" y="60"/>
                      </a:lnTo>
                      <a:lnTo>
                        <a:pt x="176" y="60"/>
                      </a:lnTo>
                      <a:lnTo>
                        <a:pt x="174" y="58"/>
                      </a:lnTo>
                      <a:lnTo>
                        <a:pt x="172" y="56"/>
                      </a:lnTo>
                      <a:lnTo>
                        <a:pt x="168" y="54"/>
                      </a:lnTo>
                      <a:lnTo>
                        <a:pt x="164" y="52"/>
                      </a:lnTo>
                      <a:lnTo>
                        <a:pt x="162" y="52"/>
                      </a:lnTo>
                      <a:lnTo>
                        <a:pt x="160" y="50"/>
                      </a:lnTo>
                      <a:lnTo>
                        <a:pt x="158" y="50"/>
                      </a:lnTo>
                      <a:lnTo>
                        <a:pt x="158" y="48"/>
                      </a:lnTo>
                      <a:lnTo>
                        <a:pt x="156" y="48"/>
                      </a:lnTo>
                      <a:lnTo>
                        <a:pt x="154" y="46"/>
                      </a:lnTo>
                      <a:lnTo>
                        <a:pt x="152" y="44"/>
                      </a:lnTo>
                      <a:lnTo>
                        <a:pt x="150" y="44"/>
                      </a:lnTo>
                      <a:lnTo>
                        <a:pt x="148" y="44"/>
                      </a:lnTo>
                      <a:lnTo>
                        <a:pt x="146" y="44"/>
                      </a:lnTo>
                      <a:lnTo>
                        <a:pt x="144" y="44"/>
                      </a:lnTo>
                      <a:lnTo>
                        <a:pt x="142" y="42"/>
                      </a:lnTo>
                      <a:lnTo>
                        <a:pt x="138" y="42"/>
                      </a:lnTo>
                      <a:lnTo>
                        <a:pt x="136" y="40"/>
                      </a:lnTo>
                      <a:lnTo>
                        <a:pt x="134" y="40"/>
                      </a:lnTo>
                      <a:lnTo>
                        <a:pt x="132" y="38"/>
                      </a:lnTo>
                      <a:lnTo>
                        <a:pt x="132" y="36"/>
                      </a:lnTo>
                      <a:lnTo>
                        <a:pt x="130" y="36"/>
                      </a:lnTo>
                      <a:lnTo>
                        <a:pt x="130" y="34"/>
                      </a:lnTo>
                      <a:lnTo>
                        <a:pt x="130" y="32"/>
                      </a:lnTo>
                      <a:lnTo>
                        <a:pt x="128" y="32"/>
                      </a:lnTo>
                      <a:lnTo>
                        <a:pt x="126" y="32"/>
                      </a:lnTo>
                      <a:lnTo>
                        <a:pt x="124" y="30"/>
                      </a:lnTo>
                      <a:lnTo>
                        <a:pt x="122" y="28"/>
                      </a:lnTo>
                      <a:lnTo>
                        <a:pt x="120" y="26"/>
                      </a:lnTo>
                      <a:lnTo>
                        <a:pt x="118" y="26"/>
                      </a:lnTo>
                      <a:lnTo>
                        <a:pt x="116" y="24"/>
                      </a:lnTo>
                      <a:lnTo>
                        <a:pt x="114" y="22"/>
                      </a:lnTo>
                      <a:lnTo>
                        <a:pt x="114" y="20"/>
                      </a:lnTo>
                      <a:lnTo>
                        <a:pt x="112" y="18"/>
                      </a:lnTo>
                      <a:lnTo>
                        <a:pt x="110" y="16"/>
                      </a:lnTo>
                      <a:lnTo>
                        <a:pt x="108" y="14"/>
                      </a:lnTo>
                      <a:lnTo>
                        <a:pt x="106" y="12"/>
                      </a:lnTo>
                      <a:lnTo>
                        <a:pt x="106" y="10"/>
                      </a:lnTo>
                      <a:lnTo>
                        <a:pt x="104" y="10"/>
                      </a:lnTo>
                      <a:lnTo>
                        <a:pt x="104" y="8"/>
                      </a:lnTo>
                      <a:lnTo>
                        <a:pt x="100" y="6"/>
                      </a:lnTo>
                      <a:lnTo>
                        <a:pt x="98" y="6"/>
                      </a:lnTo>
                      <a:lnTo>
                        <a:pt x="98" y="4"/>
                      </a:lnTo>
                      <a:lnTo>
                        <a:pt x="96" y="4"/>
                      </a:lnTo>
                      <a:lnTo>
                        <a:pt x="96" y="2"/>
                      </a:lnTo>
                      <a:lnTo>
                        <a:pt x="92" y="2"/>
                      </a:lnTo>
                      <a:lnTo>
                        <a:pt x="90" y="4"/>
                      </a:lnTo>
                      <a:lnTo>
                        <a:pt x="88" y="4"/>
                      </a:lnTo>
                      <a:lnTo>
                        <a:pt x="84" y="4"/>
                      </a:lnTo>
                      <a:lnTo>
                        <a:pt x="82" y="4"/>
                      </a:lnTo>
                      <a:lnTo>
                        <a:pt x="80" y="4"/>
                      </a:lnTo>
                      <a:lnTo>
                        <a:pt x="78" y="4"/>
                      </a:lnTo>
                      <a:lnTo>
                        <a:pt x="76" y="4"/>
                      </a:lnTo>
                      <a:lnTo>
                        <a:pt x="76" y="8"/>
                      </a:lnTo>
                      <a:lnTo>
                        <a:pt x="76" y="10"/>
                      </a:lnTo>
                      <a:lnTo>
                        <a:pt x="76" y="12"/>
                      </a:lnTo>
                      <a:lnTo>
                        <a:pt x="76" y="16"/>
                      </a:lnTo>
                      <a:lnTo>
                        <a:pt x="76" y="18"/>
                      </a:lnTo>
                      <a:lnTo>
                        <a:pt x="74" y="16"/>
                      </a:lnTo>
                      <a:lnTo>
                        <a:pt x="74" y="14"/>
                      </a:lnTo>
                      <a:lnTo>
                        <a:pt x="72" y="12"/>
                      </a:lnTo>
                      <a:lnTo>
                        <a:pt x="70" y="8"/>
                      </a:lnTo>
                      <a:lnTo>
                        <a:pt x="68" y="8"/>
                      </a:lnTo>
                      <a:lnTo>
                        <a:pt x="68" y="6"/>
                      </a:lnTo>
                      <a:lnTo>
                        <a:pt x="66" y="6"/>
                      </a:lnTo>
                      <a:lnTo>
                        <a:pt x="62" y="6"/>
                      </a:lnTo>
                      <a:lnTo>
                        <a:pt x="60" y="6"/>
                      </a:lnTo>
                      <a:lnTo>
                        <a:pt x="56" y="6"/>
                      </a:lnTo>
                      <a:lnTo>
                        <a:pt x="52" y="6"/>
                      </a:lnTo>
                      <a:lnTo>
                        <a:pt x="50" y="6"/>
                      </a:lnTo>
                      <a:lnTo>
                        <a:pt x="48" y="4"/>
                      </a:lnTo>
                      <a:lnTo>
                        <a:pt x="46" y="4"/>
                      </a:lnTo>
                      <a:lnTo>
                        <a:pt x="44" y="2"/>
                      </a:lnTo>
                      <a:lnTo>
                        <a:pt x="42" y="2"/>
                      </a:lnTo>
                      <a:lnTo>
                        <a:pt x="42" y="0"/>
                      </a:lnTo>
                      <a:lnTo>
                        <a:pt x="40" y="2"/>
                      </a:lnTo>
                      <a:lnTo>
                        <a:pt x="40" y="4"/>
                      </a:lnTo>
                      <a:lnTo>
                        <a:pt x="38" y="6"/>
                      </a:lnTo>
                      <a:lnTo>
                        <a:pt x="36" y="6"/>
                      </a:lnTo>
                      <a:lnTo>
                        <a:pt x="34" y="8"/>
                      </a:lnTo>
                      <a:lnTo>
                        <a:pt x="32" y="8"/>
                      </a:lnTo>
                      <a:lnTo>
                        <a:pt x="32" y="10"/>
                      </a:lnTo>
                      <a:lnTo>
                        <a:pt x="32" y="12"/>
                      </a:lnTo>
                      <a:lnTo>
                        <a:pt x="30" y="12"/>
                      </a:lnTo>
                      <a:lnTo>
                        <a:pt x="28" y="12"/>
                      </a:lnTo>
                      <a:lnTo>
                        <a:pt x="28" y="14"/>
                      </a:lnTo>
                      <a:lnTo>
                        <a:pt x="28" y="16"/>
                      </a:lnTo>
                      <a:lnTo>
                        <a:pt x="28" y="18"/>
                      </a:lnTo>
                      <a:lnTo>
                        <a:pt x="26" y="18"/>
                      </a:lnTo>
                      <a:lnTo>
                        <a:pt x="28" y="20"/>
                      </a:lnTo>
                      <a:lnTo>
                        <a:pt x="28" y="22"/>
                      </a:lnTo>
                      <a:lnTo>
                        <a:pt x="28" y="26"/>
                      </a:lnTo>
                      <a:lnTo>
                        <a:pt x="28" y="30"/>
                      </a:lnTo>
                      <a:lnTo>
                        <a:pt x="28" y="32"/>
                      </a:lnTo>
                      <a:lnTo>
                        <a:pt x="28" y="34"/>
                      </a:lnTo>
                      <a:lnTo>
                        <a:pt x="28" y="36"/>
                      </a:lnTo>
                      <a:lnTo>
                        <a:pt x="28" y="38"/>
                      </a:lnTo>
                      <a:lnTo>
                        <a:pt x="28" y="40"/>
                      </a:lnTo>
                      <a:lnTo>
                        <a:pt x="26" y="40"/>
                      </a:lnTo>
                      <a:lnTo>
                        <a:pt x="26" y="42"/>
                      </a:lnTo>
                      <a:lnTo>
                        <a:pt x="26" y="44"/>
                      </a:lnTo>
                      <a:lnTo>
                        <a:pt x="24" y="44"/>
                      </a:lnTo>
                      <a:lnTo>
                        <a:pt x="22" y="46"/>
                      </a:lnTo>
                      <a:lnTo>
                        <a:pt x="18" y="48"/>
                      </a:lnTo>
                      <a:lnTo>
                        <a:pt x="14" y="50"/>
                      </a:lnTo>
                      <a:lnTo>
                        <a:pt x="10" y="52"/>
                      </a:lnTo>
                      <a:lnTo>
                        <a:pt x="10" y="54"/>
                      </a:lnTo>
                      <a:lnTo>
                        <a:pt x="8" y="54"/>
                      </a:lnTo>
                      <a:lnTo>
                        <a:pt x="8" y="56"/>
                      </a:lnTo>
                      <a:lnTo>
                        <a:pt x="8" y="58"/>
                      </a:lnTo>
                      <a:lnTo>
                        <a:pt x="10" y="60"/>
                      </a:lnTo>
                      <a:lnTo>
                        <a:pt x="12" y="60"/>
                      </a:lnTo>
                      <a:lnTo>
                        <a:pt x="14" y="60"/>
                      </a:lnTo>
                      <a:lnTo>
                        <a:pt x="16" y="62"/>
                      </a:lnTo>
                      <a:lnTo>
                        <a:pt x="14" y="62"/>
                      </a:lnTo>
                      <a:lnTo>
                        <a:pt x="12" y="66"/>
                      </a:lnTo>
                      <a:lnTo>
                        <a:pt x="10" y="66"/>
                      </a:lnTo>
                      <a:lnTo>
                        <a:pt x="10" y="68"/>
                      </a:lnTo>
                      <a:lnTo>
                        <a:pt x="8" y="68"/>
                      </a:lnTo>
                      <a:lnTo>
                        <a:pt x="8" y="70"/>
                      </a:lnTo>
                      <a:lnTo>
                        <a:pt x="10" y="72"/>
                      </a:lnTo>
                      <a:lnTo>
                        <a:pt x="12" y="74"/>
                      </a:lnTo>
                      <a:lnTo>
                        <a:pt x="14" y="76"/>
                      </a:lnTo>
                      <a:lnTo>
                        <a:pt x="16" y="76"/>
                      </a:lnTo>
                      <a:lnTo>
                        <a:pt x="18" y="78"/>
                      </a:lnTo>
                      <a:lnTo>
                        <a:pt x="18" y="80"/>
                      </a:lnTo>
                      <a:lnTo>
                        <a:pt x="18" y="82"/>
                      </a:lnTo>
                      <a:lnTo>
                        <a:pt x="16" y="84"/>
                      </a:lnTo>
                      <a:lnTo>
                        <a:pt x="14" y="86"/>
                      </a:lnTo>
                      <a:lnTo>
                        <a:pt x="12" y="88"/>
                      </a:lnTo>
                      <a:lnTo>
                        <a:pt x="14" y="90"/>
                      </a:lnTo>
                      <a:lnTo>
                        <a:pt x="16" y="90"/>
                      </a:lnTo>
                      <a:lnTo>
                        <a:pt x="18" y="92"/>
                      </a:lnTo>
                      <a:lnTo>
                        <a:pt x="20" y="92"/>
                      </a:lnTo>
                      <a:lnTo>
                        <a:pt x="22" y="94"/>
                      </a:lnTo>
                      <a:lnTo>
                        <a:pt x="22" y="96"/>
                      </a:lnTo>
                      <a:lnTo>
                        <a:pt x="22" y="98"/>
                      </a:lnTo>
                      <a:lnTo>
                        <a:pt x="20" y="98"/>
                      </a:lnTo>
                      <a:lnTo>
                        <a:pt x="18" y="100"/>
                      </a:lnTo>
                      <a:lnTo>
                        <a:pt x="16" y="100"/>
                      </a:lnTo>
                      <a:lnTo>
                        <a:pt x="14" y="100"/>
                      </a:lnTo>
                      <a:lnTo>
                        <a:pt x="12" y="100"/>
                      </a:lnTo>
                      <a:lnTo>
                        <a:pt x="12" y="102"/>
                      </a:lnTo>
                      <a:lnTo>
                        <a:pt x="12" y="104"/>
                      </a:lnTo>
                      <a:lnTo>
                        <a:pt x="12" y="108"/>
                      </a:lnTo>
                      <a:lnTo>
                        <a:pt x="10" y="110"/>
                      </a:lnTo>
                      <a:lnTo>
                        <a:pt x="10" y="112"/>
                      </a:lnTo>
                      <a:lnTo>
                        <a:pt x="10" y="114"/>
                      </a:lnTo>
                      <a:lnTo>
                        <a:pt x="10" y="116"/>
                      </a:lnTo>
                      <a:lnTo>
                        <a:pt x="8" y="116"/>
                      </a:lnTo>
                      <a:lnTo>
                        <a:pt x="8" y="118"/>
                      </a:lnTo>
                      <a:lnTo>
                        <a:pt x="6" y="118"/>
                      </a:lnTo>
                      <a:lnTo>
                        <a:pt x="4" y="120"/>
                      </a:lnTo>
                      <a:lnTo>
                        <a:pt x="4" y="122"/>
                      </a:lnTo>
                      <a:lnTo>
                        <a:pt x="2" y="124"/>
                      </a:lnTo>
                      <a:lnTo>
                        <a:pt x="2" y="126"/>
                      </a:lnTo>
                      <a:lnTo>
                        <a:pt x="4" y="128"/>
                      </a:lnTo>
                      <a:lnTo>
                        <a:pt x="4" y="132"/>
                      </a:lnTo>
                      <a:lnTo>
                        <a:pt x="4" y="134"/>
                      </a:lnTo>
                      <a:lnTo>
                        <a:pt x="4" y="136"/>
                      </a:lnTo>
                      <a:lnTo>
                        <a:pt x="4" y="138"/>
                      </a:lnTo>
                      <a:lnTo>
                        <a:pt x="2" y="138"/>
                      </a:lnTo>
                      <a:lnTo>
                        <a:pt x="2" y="140"/>
                      </a:lnTo>
                      <a:lnTo>
                        <a:pt x="2" y="142"/>
                      </a:lnTo>
                      <a:lnTo>
                        <a:pt x="2" y="144"/>
                      </a:lnTo>
                      <a:lnTo>
                        <a:pt x="2" y="146"/>
                      </a:lnTo>
                      <a:lnTo>
                        <a:pt x="4" y="150"/>
                      </a:lnTo>
                      <a:lnTo>
                        <a:pt x="4" y="154"/>
                      </a:lnTo>
                      <a:lnTo>
                        <a:pt x="6" y="156"/>
                      </a:lnTo>
                      <a:lnTo>
                        <a:pt x="6" y="160"/>
                      </a:lnTo>
                      <a:lnTo>
                        <a:pt x="8" y="160"/>
                      </a:lnTo>
                      <a:lnTo>
                        <a:pt x="8" y="162"/>
                      </a:lnTo>
                      <a:lnTo>
                        <a:pt x="6" y="162"/>
                      </a:lnTo>
                      <a:lnTo>
                        <a:pt x="6" y="164"/>
                      </a:lnTo>
                      <a:lnTo>
                        <a:pt x="4" y="164"/>
                      </a:lnTo>
                      <a:lnTo>
                        <a:pt x="2" y="162"/>
                      </a:lnTo>
                      <a:lnTo>
                        <a:pt x="2" y="164"/>
                      </a:lnTo>
                      <a:lnTo>
                        <a:pt x="2" y="168"/>
                      </a:lnTo>
                      <a:lnTo>
                        <a:pt x="2" y="170"/>
                      </a:lnTo>
                      <a:lnTo>
                        <a:pt x="2" y="172"/>
                      </a:lnTo>
                      <a:lnTo>
                        <a:pt x="2" y="174"/>
                      </a:lnTo>
                      <a:lnTo>
                        <a:pt x="4" y="176"/>
                      </a:lnTo>
                      <a:lnTo>
                        <a:pt x="2" y="176"/>
                      </a:lnTo>
                      <a:lnTo>
                        <a:pt x="2" y="178"/>
                      </a:lnTo>
                      <a:lnTo>
                        <a:pt x="0" y="178"/>
                      </a:lnTo>
                      <a:lnTo>
                        <a:pt x="0" y="180"/>
                      </a:lnTo>
                      <a:lnTo>
                        <a:pt x="0" y="182"/>
                      </a:lnTo>
                      <a:lnTo>
                        <a:pt x="0" y="184"/>
                      </a:lnTo>
                      <a:lnTo>
                        <a:pt x="0" y="186"/>
                      </a:lnTo>
                      <a:lnTo>
                        <a:pt x="2" y="186"/>
                      </a:lnTo>
                      <a:lnTo>
                        <a:pt x="2" y="188"/>
                      </a:lnTo>
                      <a:lnTo>
                        <a:pt x="4" y="190"/>
                      </a:lnTo>
                      <a:lnTo>
                        <a:pt x="6" y="190"/>
                      </a:lnTo>
                      <a:lnTo>
                        <a:pt x="8" y="192"/>
                      </a:lnTo>
                      <a:lnTo>
                        <a:pt x="8" y="194"/>
                      </a:lnTo>
                      <a:lnTo>
                        <a:pt x="6" y="196"/>
                      </a:lnTo>
                      <a:lnTo>
                        <a:pt x="6" y="198"/>
                      </a:lnTo>
                      <a:lnTo>
                        <a:pt x="8" y="200"/>
                      </a:lnTo>
                      <a:lnTo>
                        <a:pt x="10" y="200"/>
                      </a:lnTo>
                      <a:lnTo>
                        <a:pt x="10" y="202"/>
                      </a:lnTo>
                      <a:lnTo>
                        <a:pt x="12" y="202"/>
                      </a:lnTo>
                      <a:lnTo>
                        <a:pt x="12" y="204"/>
                      </a:lnTo>
                      <a:lnTo>
                        <a:pt x="14" y="206"/>
                      </a:lnTo>
                      <a:lnTo>
                        <a:pt x="14" y="208"/>
                      </a:lnTo>
                      <a:lnTo>
                        <a:pt x="14" y="210"/>
                      </a:lnTo>
                      <a:lnTo>
                        <a:pt x="16" y="210"/>
                      </a:lnTo>
                      <a:lnTo>
                        <a:pt x="16" y="212"/>
                      </a:lnTo>
                      <a:lnTo>
                        <a:pt x="14" y="212"/>
                      </a:lnTo>
                      <a:lnTo>
                        <a:pt x="14" y="214"/>
                      </a:lnTo>
                      <a:lnTo>
                        <a:pt x="14" y="216"/>
                      </a:lnTo>
                      <a:lnTo>
                        <a:pt x="14" y="218"/>
                      </a:lnTo>
                      <a:lnTo>
                        <a:pt x="16" y="218"/>
                      </a:lnTo>
                      <a:lnTo>
                        <a:pt x="16" y="220"/>
                      </a:lnTo>
                      <a:lnTo>
                        <a:pt x="18" y="220"/>
                      </a:lnTo>
                      <a:lnTo>
                        <a:pt x="20" y="220"/>
                      </a:lnTo>
                      <a:lnTo>
                        <a:pt x="22" y="220"/>
                      </a:lnTo>
                      <a:lnTo>
                        <a:pt x="24" y="222"/>
                      </a:lnTo>
                      <a:lnTo>
                        <a:pt x="24" y="224"/>
                      </a:lnTo>
                      <a:lnTo>
                        <a:pt x="24" y="226"/>
                      </a:lnTo>
                      <a:lnTo>
                        <a:pt x="24" y="228"/>
                      </a:lnTo>
                      <a:lnTo>
                        <a:pt x="24" y="230"/>
                      </a:lnTo>
                      <a:lnTo>
                        <a:pt x="26" y="232"/>
                      </a:lnTo>
                      <a:lnTo>
                        <a:pt x="26" y="234"/>
                      </a:lnTo>
                      <a:lnTo>
                        <a:pt x="28" y="236"/>
                      </a:lnTo>
                      <a:lnTo>
                        <a:pt x="28" y="238"/>
                      </a:lnTo>
                      <a:lnTo>
                        <a:pt x="26" y="238"/>
                      </a:lnTo>
                      <a:lnTo>
                        <a:pt x="26" y="240"/>
                      </a:lnTo>
                      <a:lnTo>
                        <a:pt x="24" y="242"/>
                      </a:lnTo>
                      <a:lnTo>
                        <a:pt x="24" y="244"/>
                      </a:lnTo>
                      <a:lnTo>
                        <a:pt x="24" y="246"/>
                      </a:lnTo>
                      <a:lnTo>
                        <a:pt x="24" y="250"/>
                      </a:lnTo>
                      <a:lnTo>
                        <a:pt x="24" y="252"/>
                      </a:lnTo>
                      <a:lnTo>
                        <a:pt x="24" y="254"/>
                      </a:lnTo>
                      <a:lnTo>
                        <a:pt x="24" y="256"/>
                      </a:lnTo>
                      <a:lnTo>
                        <a:pt x="24" y="258"/>
                      </a:lnTo>
                      <a:lnTo>
                        <a:pt x="22" y="258"/>
                      </a:lnTo>
                      <a:lnTo>
                        <a:pt x="20" y="258"/>
                      </a:lnTo>
                      <a:lnTo>
                        <a:pt x="20" y="260"/>
                      </a:lnTo>
                      <a:lnTo>
                        <a:pt x="22" y="262"/>
                      </a:lnTo>
                      <a:lnTo>
                        <a:pt x="24" y="262"/>
                      </a:lnTo>
                      <a:lnTo>
                        <a:pt x="24" y="264"/>
                      </a:lnTo>
                      <a:lnTo>
                        <a:pt x="26" y="266"/>
                      </a:lnTo>
                      <a:lnTo>
                        <a:pt x="26" y="268"/>
                      </a:lnTo>
                      <a:lnTo>
                        <a:pt x="26" y="270"/>
                      </a:lnTo>
                      <a:lnTo>
                        <a:pt x="26" y="272"/>
                      </a:lnTo>
                      <a:lnTo>
                        <a:pt x="26" y="274"/>
                      </a:lnTo>
                      <a:lnTo>
                        <a:pt x="26" y="276"/>
                      </a:lnTo>
                      <a:lnTo>
                        <a:pt x="26" y="278"/>
                      </a:lnTo>
                      <a:lnTo>
                        <a:pt x="26" y="280"/>
                      </a:lnTo>
                      <a:lnTo>
                        <a:pt x="24" y="280"/>
                      </a:lnTo>
                      <a:lnTo>
                        <a:pt x="22" y="280"/>
                      </a:lnTo>
                      <a:lnTo>
                        <a:pt x="20" y="280"/>
                      </a:lnTo>
                      <a:lnTo>
                        <a:pt x="18" y="282"/>
                      </a:lnTo>
                      <a:lnTo>
                        <a:pt x="20" y="282"/>
                      </a:lnTo>
                      <a:lnTo>
                        <a:pt x="20" y="286"/>
                      </a:lnTo>
                      <a:lnTo>
                        <a:pt x="20" y="288"/>
                      </a:lnTo>
                      <a:lnTo>
                        <a:pt x="22" y="290"/>
                      </a:lnTo>
                      <a:lnTo>
                        <a:pt x="22" y="292"/>
                      </a:lnTo>
                      <a:lnTo>
                        <a:pt x="22" y="294"/>
                      </a:lnTo>
                      <a:lnTo>
                        <a:pt x="22" y="296"/>
                      </a:lnTo>
                      <a:lnTo>
                        <a:pt x="22" y="298"/>
                      </a:lnTo>
                      <a:lnTo>
                        <a:pt x="22" y="302"/>
                      </a:lnTo>
                      <a:lnTo>
                        <a:pt x="22" y="304"/>
                      </a:lnTo>
                      <a:lnTo>
                        <a:pt x="22" y="306"/>
                      </a:lnTo>
                      <a:lnTo>
                        <a:pt x="26" y="308"/>
                      </a:lnTo>
                      <a:lnTo>
                        <a:pt x="26" y="310"/>
                      </a:lnTo>
                      <a:lnTo>
                        <a:pt x="28" y="310"/>
                      </a:lnTo>
                      <a:lnTo>
                        <a:pt x="28" y="312"/>
                      </a:lnTo>
                      <a:lnTo>
                        <a:pt x="30" y="312"/>
                      </a:lnTo>
                      <a:lnTo>
                        <a:pt x="30" y="314"/>
                      </a:lnTo>
                      <a:lnTo>
                        <a:pt x="30" y="316"/>
                      </a:lnTo>
                      <a:lnTo>
                        <a:pt x="32" y="318"/>
                      </a:lnTo>
                      <a:lnTo>
                        <a:pt x="34" y="320"/>
                      </a:lnTo>
                      <a:lnTo>
                        <a:pt x="36" y="322"/>
                      </a:lnTo>
                      <a:lnTo>
                        <a:pt x="34" y="322"/>
                      </a:lnTo>
                      <a:lnTo>
                        <a:pt x="34" y="324"/>
                      </a:lnTo>
                      <a:lnTo>
                        <a:pt x="32" y="326"/>
                      </a:lnTo>
                      <a:lnTo>
                        <a:pt x="30" y="326"/>
                      </a:lnTo>
                      <a:lnTo>
                        <a:pt x="30" y="328"/>
                      </a:lnTo>
                      <a:lnTo>
                        <a:pt x="28" y="328"/>
                      </a:lnTo>
                      <a:lnTo>
                        <a:pt x="28" y="330"/>
                      </a:lnTo>
                      <a:lnTo>
                        <a:pt x="30" y="334"/>
                      </a:lnTo>
                      <a:lnTo>
                        <a:pt x="30" y="336"/>
                      </a:lnTo>
                      <a:lnTo>
                        <a:pt x="30" y="338"/>
                      </a:lnTo>
                      <a:lnTo>
                        <a:pt x="28" y="340"/>
                      </a:lnTo>
                      <a:lnTo>
                        <a:pt x="26" y="340"/>
                      </a:lnTo>
                      <a:lnTo>
                        <a:pt x="26" y="342"/>
                      </a:lnTo>
                      <a:lnTo>
                        <a:pt x="28" y="342"/>
                      </a:lnTo>
                      <a:lnTo>
                        <a:pt x="30" y="344"/>
                      </a:lnTo>
                      <a:lnTo>
                        <a:pt x="30" y="346"/>
                      </a:lnTo>
                      <a:lnTo>
                        <a:pt x="30" y="348"/>
                      </a:lnTo>
                      <a:lnTo>
                        <a:pt x="30" y="350"/>
                      </a:lnTo>
                      <a:lnTo>
                        <a:pt x="28" y="352"/>
                      </a:lnTo>
                      <a:lnTo>
                        <a:pt x="30" y="352"/>
                      </a:lnTo>
                      <a:lnTo>
                        <a:pt x="32" y="352"/>
                      </a:lnTo>
                      <a:lnTo>
                        <a:pt x="34" y="354"/>
                      </a:lnTo>
                      <a:lnTo>
                        <a:pt x="34" y="356"/>
                      </a:lnTo>
                      <a:lnTo>
                        <a:pt x="32" y="358"/>
                      </a:lnTo>
                      <a:lnTo>
                        <a:pt x="32" y="360"/>
                      </a:lnTo>
                      <a:lnTo>
                        <a:pt x="32" y="362"/>
                      </a:lnTo>
                      <a:lnTo>
                        <a:pt x="32" y="364"/>
                      </a:lnTo>
                      <a:lnTo>
                        <a:pt x="34" y="366"/>
                      </a:lnTo>
                      <a:lnTo>
                        <a:pt x="34" y="368"/>
                      </a:lnTo>
                      <a:lnTo>
                        <a:pt x="36" y="368"/>
                      </a:lnTo>
                      <a:lnTo>
                        <a:pt x="36" y="370"/>
                      </a:lnTo>
                      <a:lnTo>
                        <a:pt x="36" y="372"/>
                      </a:lnTo>
                      <a:lnTo>
                        <a:pt x="36" y="376"/>
                      </a:lnTo>
                      <a:lnTo>
                        <a:pt x="36" y="378"/>
                      </a:lnTo>
                      <a:lnTo>
                        <a:pt x="38" y="378"/>
                      </a:lnTo>
                      <a:lnTo>
                        <a:pt x="38" y="380"/>
                      </a:lnTo>
                      <a:lnTo>
                        <a:pt x="40" y="382"/>
                      </a:lnTo>
                      <a:lnTo>
                        <a:pt x="42" y="384"/>
                      </a:lnTo>
                      <a:lnTo>
                        <a:pt x="44" y="384"/>
                      </a:lnTo>
                      <a:lnTo>
                        <a:pt x="46" y="386"/>
                      </a:lnTo>
                      <a:lnTo>
                        <a:pt x="44" y="388"/>
                      </a:lnTo>
                      <a:lnTo>
                        <a:pt x="42" y="388"/>
                      </a:lnTo>
                      <a:lnTo>
                        <a:pt x="42" y="390"/>
                      </a:lnTo>
                      <a:lnTo>
                        <a:pt x="40" y="390"/>
                      </a:lnTo>
                      <a:lnTo>
                        <a:pt x="40" y="392"/>
                      </a:lnTo>
                      <a:lnTo>
                        <a:pt x="42" y="394"/>
                      </a:lnTo>
                      <a:lnTo>
                        <a:pt x="42" y="396"/>
                      </a:lnTo>
                      <a:lnTo>
                        <a:pt x="42" y="398"/>
                      </a:lnTo>
                      <a:lnTo>
                        <a:pt x="42" y="400"/>
                      </a:lnTo>
                      <a:lnTo>
                        <a:pt x="44" y="402"/>
                      </a:lnTo>
                      <a:lnTo>
                        <a:pt x="44" y="404"/>
                      </a:lnTo>
                      <a:lnTo>
                        <a:pt x="46" y="406"/>
                      </a:lnTo>
                      <a:lnTo>
                        <a:pt x="48" y="408"/>
                      </a:lnTo>
                      <a:lnTo>
                        <a:pt x="50" y="408"/>
                      </a:lnTo>
                      <a:lnTo>
                        <a:pt x="50" y="410"/>
                      </a:lnTo>
                      <a:lnTo>
                        <a:pt x="50" y="412"/>
                      </a:lnTo>
                      <a:lnTo>
                        <a:pt x="50" y="414"/>
                      </a:lnTo>
                      <a:lnTo>
                        <a:pt x="50" y="416"/>
                      </a:lnTo>
                      <a:lnTo>
                        <a:pt x="52" y="416"/>
                      </a:lnTo>
                      <a:lnTo>
                        <a:pt x="54" y="418"/>
                      </a:lnTo>
                      <a:lnTo>
                        <a:pt x="56" y="420"/>
                      </a:lnTo>
                      <a:lnTo>
                        <a:pt x="56" y="424"/>
                      </a:lnTo>
                      <a:lnTo>
                        <a:pt x="56" y="426"/>
                      </a:lnTo>
                      <a:lnTo>
                        <a:pt x="56" y="428"/>
                      </a:lnTo>
                      <a:lnTo>
                        <a:pt x="56" y="430"/>
                      </a:lnTo>
                      <a:lnTo>
                        <a:pt x="58" y="432"/>
                      </a:lnTo>
                      <a:lnTo>
                        <a:pt x="58" y="434"/>
                      </a:lnTo>
                      <a:lnTo>
                        <a:pt x="60" y="434"/>
                      </a:lnTo>
                      <a:lnTo>
                        <a:pt x="62" y="434"/>
                      </a:lnTo>
                      <a:lnTo>
                        <a:pt x="64" y="434"/>
                      </a:lnTo>
                      <a:lnTo>
                        <a:pt x="66" y="434"/>
                      </a:lnTo>
                      <a:lnTo>
                        <a:pt x="68" y="434"/>
                      </a:lnTo>
                      <a:lnTo>
                        <a:pt x="70" y="434"/>
                      </a:lnTo>
                      <a:lnTo>
                        <a:pt x="70" y="436"/>
                      </a:lnTo>
                      <a:lnTo>
                        <a:pt x="68" y="438"/>
                      </a:lnTo>
                      <a:lnTo>
                        <a:pt x="66" y="438"/>
                      </a:lnTo>
                      <a:lnTo>
                        <a:pt x="64" y="440"/>
                      </a:lnTo>
                      <a:lnTo>
                        <a:pt x="60" y="440"/>
                      </a:lnTo>
                      <a:lnTo>
                        <a:pt x="58" y="440"/>
                      </a:lnTo>
                      <a:lnTo>
                        <a:pt x="58" y="442"/>
                      </a:lnTo>
                      <a:lnTo>
                        <a:pt x="60" y="442"/>
                      </a:lnTo>
                      <a:lnTo>
                        <a:pt x="62" y="442"/>
                      </a:lnTo>
                      <a:lnTo>
                        <a:pt x="64" y="442"/>
                      </a:lnTo>
                      <a:lnTo>
                        <a:pt x="66" y="444"/>
                      </a:lnTo>
                      <a:lnTo>
                        <a:pt x="68" y="444"/>
                      </a:lnTo>
                      <a:lnTo>
                        <a:pt x="70" y="444"/>
                      </a:lnTo>
                      <a:lnTo>
                        <a:pt x="70" y="446"/>
                      </a:lnTo>
                      <a:lnTo>
                        <a:pt x="72" y="446"/>
                      </a:lnTo>
                      <a:lnTo>
                        <a:pt x="74" y="446"/>
                      </a:lnTo>
                      <a:lnTo>
                        <a:pt x="74" y="448"/>
                      </a:lnTo>
                      <a:lnTo>
                        <a:pt x="74" y="450"/>
                      </a:lnTo>
                      <a:lnTo>
                        <a:pt x="72" y="452"/>
                      </a:lnTo>
                      <a:lnTo>
                        <a:pt x="70" y="454"/>
                      </a:lnTo>
                      <a:lnTo>
                        <a:pt x="68" y="456"/>
                      </a:lnTo>
                      <a:lnTo>
                        <a:pt x="70" y="458"/>
                      </a:lnTo>
                      <a:lnTo>
                        <a:pt x="72" y="458"/>
                      </a:lnTo>
                      <a:lnTo>
                        <a:pt x="72" y="460"/>
                      </a:lnTo>
                      <a:lnTo>
                        <a:pt x="74" y="460"/>
                      </a:lnTo>
                      <a:lnTo>
                        <a:pt x="74" y="462"/>
                      </a:lnTo>
                      <a:lnTo>
                        <a:pt x="74" y="464"/>
                      </a:lnTo>
                      <a:lnTo>
                        <a:pt x="72" y="464"/>
                      </a:lnTo>
                      <a:lnTo>
                        <a:pt x="72" y="466"/>
                      </a:lnTo>
                      <a:lnTo>
                        <a:pt x="74" y="468"/>
                      </a:lnTo>
                      <a:lnTo>
                        <a:pt x="74" y="470"/>
                      </a:lnTo>
                      <a:lnTo>
                        <a:pt x="76" y="470"/>
                      </a:lnTo>
                      <a:lnTo>
                        <a:pt x="76" y="472"/>
                      </a:lnTo>
                      <a:lnTo>
                        <a:pt x="78" y="472"/>
                      </a:lnTo>
                      <a:lnTo>
                        <a:pt x="76" y="474"/>
                      </a:lnTo>
                      <a:lnTo>
                        <a:pt x="76" y="476"/>
                      </a:lnTo>
                      <a:lnTo>
                        <a:pt x="76" y="478"/>
                      </a:lnTo>
                      <a:lnTo>
                        <a:pt x="76" y="480"/>
                      </a:lnTo>
                      <a:lnTo>
                        <a:pt x="78" y="482"/>
                      </a:lnTo>
                      <a:lnTo>
                        <a:pt x="78" y="484"/>
                      </a:lnTo>
                      <a:lnTo>
                        <a:pt x="80" y="486"/>
                      </a:lnTo>
                      <a:lnTo>
                        <a:pt x="78" y="486"/>
                      </a:lnTo>
                      <a:lnTo>
                        <a:pt x="78" y="488"/>
                      </a:lnTo>
                      <a:lnTo>
                        <a:pt x="76" y="488"/>
                      </a:lnTo>
                      <a:lnTo>
                        <a:pt x="76" y="490"/>
                      </a:lnTo>
                      <a:lnTo>
                        <a:pt x="76" y="492"/>
                      </a:lnTo>
                      <a:lnTo>
                        <a:pt x="76" y="494"/>
                      </a:lnTo>
                      <a:lnTo>
                        <a:pt x="74" y="496"/>
                      </a:lnTo>
                      <a:lnTo>
                        <a:pt x="74" y="498"/>
                      </a:lnTo>
                      <a:lnTo>
                        <a:pt x="76" y="498"/>
                      </a:lnTo>
                      <a:lnTo>
                        <a:pt x="76" y="500"/>
                      </a:lnTo>
                      <a:lnTo>
                        <a:pt x="78" y="500"/>
                      </a:lnTo>
                      <a:lnTo>
                        <a:pt x="80" y="502"/>
                      </a:lnTo>
                      <a:lnTo>
                        <a:pt x="82" y="502"/>
                      </a:lnTo>
                      <a:lnTo>
                        <a:pt x="82" y="504"/>
                      </a:lnTo>
                      <a:lnTo>
                        <a:pt x="80" y="506"/>
                      </a:lnTo>
                      <a:lnTo>
                        <a:pt x="78" y="506"/>
                      </a:lnTo>
                      <a:lnTo>
                        <a:pt x="78" y="508"/>
                      </a:lnTo>
                      <a:lnTo>
                        <a:pt x="76" y="508"/>
                      </a:lnTo>
                      <a:lnTo>
                        <a:pt x="78" y="508"/>
                      </a:lnTo>
                      <a:lnTo>
                        <a:pt x="78" y="510"/>
                      </a:lnTo>
                      <a:lnTo>
                        <a:pt x="80" y="510"/>
                      </a:lnTo>
                      <a:lnTo>
                        <a:pt x="82" y="512"/>
                      </a:lnTo>
                      <a:lnTo>
                        <a:pt x="82" y="514"/>
                      </a:lnTo>
                      <a:lnTo>
                        <a:pt x="82" y="516"/>
                      </a:lnTo>
                      <a:lnTo>
                        <a:pt x="80" y="518"/>
                      </a:lnTo>
                      <a:lnTo>
                        <a:pt x="78" y="518"/>
                      </a:lnTo>
                      <a:lnTo>
                        <a:pt x="76" y="518"/>
                      </a:lnTo>
                      <a:lnTo>
                        <a:pt x="76" y="520"/>
                      </a:lnTo>
                      <a:lnTo>
                        <a:pt x="76" y="522"/>
                      </a:lnTo>
                      <a:lnTo>
                        <a:pt x="74" y="524"/>
                      </a:lnTo>
                      <a:lnTo>
                        <a:pt x="74" y="526"/>
                      </a:lnTo>
                      <a:lnTo>
                        <a:pt x="74" y="528"/>
                      </a:lnTo>
                      <a:lnTo>
                        <a:pt x="74" y="530"/>
                      </a:lnTo>
                      <a:lnTo>
                        <a:pt x="76" y="532"/>
                      </a:lnTo>
                      <a:lnTo>
                        <a:pt x="76" y="534"/>
                      </a:lnTo>
                      <a:lnTo>
                        <a:pt x="78" y="538"/>
                      </a:lnTo>
                      <a:lnTo>
                        <a:pt x="76" y="540"/>
                      </a:lnTo>
                      <a:lnTo>
                        <a:pt x="76" y="542"/>
                      </a:lnTo>
                      <a:lnTo>
                        <a:pt x="80" y="542"/>
                      </a:lnTo>
                      <a:lnTo>
                        <a:pt x="82" y="542"/>
                      </a:lnTo>
                      <a:lnTo>
                        <a:pt x="84" y="542"/>
                      </a:lnTo>
                      <a:lnTo>
                        <a:pt x="84" y="544"/>
                      </a:lnTo>
                      <a:lnTo>
                        <a:pt x="86" y="544"/>
                      </a:lnTo>
                      <a:lnTo>
                        <a:pt x="86" y="546"/>
                      </a:lnTo>
                      <a:lnTo>
                        <a:pt x="86" y="548"/>
                      </a:lnTo>
                      <a:lnTo>
                        <a:pt x="88" y="550"/>
                      </a:lnTo>
                      <a:lnTo>
                        <a:pt x="90" y="552"/>
                      </a:lnTo>
                      <a:lnTo>
                        <a:pt x="90" y="550"/>
                      </a:lnTo>
                      <a:lnTo>
                        <a:pt x="92" y="550"/>
                      </a:lnTo>
                      <a:lnTo>
                        <a:pt x="94" y="548"/>
                      </a:lnTo>
                      <a:lnTo>
                        <a:pt x="96" y="548"/>
                      </a:lnTo>
                      <a:lnTo>
                        <a:pt x="98" y="548"/>
                      </a:lnTo>
                      <a:lnTo>
                        <a:pt x="100" y="548"/>
                      </a:lnTo>
                      <a:lnTo>
                        <a:pt x="100" y="550"/>
                      </a:lnTo>
                      <a:lnTo>
                        <a:pt x="102" y="552"/>
                      </a:lnTo>
                      <a:lnTo>
                        <a:pt x="104" y="552"/>
                      </a:lnTo>
                      <a:lnTo>
                        <a:pt x="104" y="554"/>
                      </a:lnTo>
                      <a:lnTo>
                        <a:pt x="104" y="556"/>
                      </a:lnTo>
                      <a:lnTo>
                        <a:pt x="104" y="558"/>
                      </a:lnTo>
                      <a:lnTo>
                        <a:pt x="106" y="560"/>
                      </a:lnTo>
                      <a:lnTo>
                        <a:pt x="106" y="562"/>
                      </a:lnTo>
                      <a:lnTo>
                        <a:pt x="108" y="564"/>
                      </a:lnTo>
                      <a:lnTo>
                        <a:pt x="110" y="566"/>
                      </a:lnTo>
                      <a:lnTo>
                        <a:pt x="110" y="568"/>
                      </a:lnTo>
                      <a:lnTo>
                        <a:pt x="112" y="568"/>
                      </a:lnTo>
                      <a:lnTo>
                        <a:pt x="114" y="570"/>
                      </a:lnTo>
                      <a:lnTo>
                        <a:pt x="116" y="570"/>
                      </a:lnTo>
                      <a:lnTo>
                        <a:pt x="118" y="570"/>
                      </a:lnTo>
                      <a:lnTo>
                        <a:pt x="120" y="572"/>
                      </a:lnTo>
                      <a:lnTo>
                        <a:pt x="122" y="574"/>
                      </a:lnTo>
                      <a:lnTo>
                        <a:pt x="122" y="576"/>
                      </a:lnTo>
                      <a:lnTo>
                        <a:pt x="124" y="576"/>
                      </a:lnTo>
                      <a:lnTo>
                        <a:pt x="126" y="576"/>
                      </a:lnTo>
                      <a:lnTo>
                        <a:pt x="128" y="576"/>
                      </a:lnTo>
                      <a:lnTo>
                        <a:pt x="130" y="576"/>
                      </a:lnTo>
                      <a:lnTo>
                        <a:pt x="132" y="574"/>
                      </a:lnTo>
                      <a:lnTo>
                        <a:pt x="134" y="574"/>
                      </a:lnTo>
                      <a:lnTo>
                        <a:pt x="138" y="574"/>
                      </a:lnTo>
                      <a:lnTo>
                        <a:pt x="140" y="574"/>
                      </a:lnTo>
                      <a:lnTo>
                        <a:pt x="144" y="574"/>
                      </a:lnTo>
                      <a:lnTo>
                        <a:pt x="146" y="574"/>
                      </a:lnTo>
                      <a:lnTo>
                        <a:pt x="148" y="574"/>
                      </a:lnTo>
                      <a:lnTo>
                        <a:pt x="150" y="574"/>
                      </a:lnTo>
                      <a:lnTo>
                        <a:pt x="152" y="574"/>
                      </a:lnTo>
                      <a:lnTo>
                        <a:pt x="154" y="576"/>
                      </a:lnTo>
                      <a:lnTo>
                        <a:pt x="156" y="578"/>
                      </a:lnTo>
                      <a:lnTo>
                        <a:pt x="158" y="580"/>
                      </a:lnTo>
                      <a:lnTo>
                        <a:pt x="156" y="580"/>
                      </a:lnTo>
                      <a:lnTo>
                        <a:pt x="156" y="582"/>
                      </a:lnTo>
                      <a:lnTo>
                        <a:pt x="156" y="580"/>
                      </a:lnTo>
                      <a:lnTo>
                        <a:pt x="158" y="580"/>
                      </a:lnTo>
                      <a:lnTo>
                        <a:pt x="158" y="578"/>
                      </a:lnTo>
                      <a:lnTo>
                        <a:pt x="160" y="576"/>
                      </a:lnTo>
                      <a:lnTo>
                        <a:pt x="162" y="576"/>
                      </a:lnTo>
                      <a:lnTo>
                        <a:pt x="164" y="578"/>
                      </a:lnTo>
                      <a:lnTo>
                        <a:pt x="166" y="578"/>
                      </a:lnTo>
                      <a:lnTo>
                        <a:pt x="168" y="580"/>
                      </a:lnTo>
                      <a:lnTo>
                        <a:pt x="170" y="580"/>
                      </a:lnTo>
                      <a:lnTo>
                        <a:pt x="170" y="582"/>
                      </a:lnTo>
                      <a:lnTo>
                        <a:pt x="170" y="578"/>
                      </a:lnTo>
                      <a:lnTo>
                        <a:pt x="168" y="576"/>
                      </a:lnTo>
                      <a:lnTo>
                        <a:pt x="166" y="574"/>
                      </a:lnTo>
                      <a:lnTo>
                        <a:pt x="164" y="570"/>
                      </a:lnTo>
                      <a:lnTo>
                        <a:pt x="162" y="570"/>
                      </a:lnTo>
                      <a:lnTo>
                        <a:pt x="162" y="568"/>
                      </a:lnTo>
                      <a:lnTo>
                        <a:pt x="160" y="568"/>
                      </a:lnTo>
                      <a:lnTo>
                        <a:pt x="158" y="568"/>
                      </a:lnTo>
                      <a:lnTo>
                        <a:pt x="156" y="568"/>
                      </a:lnTo>
                      <a:lnTo>
                        <a:pt x="158" y="566"/>
                      </a:lnTo>
                      <a:lnTo>
                        <a:pt x="158" y="564"/>
                      </a:lnTo>
                      <a:lnTo>
                        <a:pt x="154" y="562"/>
                      </a:lnTo>
                      <a:lnTo>
                        <a:pt x="152" y="562"/>
                      </a:lnTo>
                      <a:lnTo>
                        <a:pt x="152" y="560"/>
                      </a:lnTo>
                      <a:lnTo>
                        <a:pt x="150" y="560"/>
                      </a:lnTo>
                      <a:lnTo>
                        <a:pt x="150" y="558"/>
                      </a:lnTo>
                      <a:lnTo>
                        <a:pt x="148" y="558"/>
                      </a:lnTo>
                      <a:lnTo>
                        <a:pt x="150" y="556"/>
                      </a:lnTo>
                      <a:lnTo>
                        <a:pt x="150" y="554"/>
                      </a:lnTo>
                      <a:lnTo>
                        <a:pt x="150" y="552"/>
                      </a:lnTo>
                      <a:lnTo>
                        <a:pt x="150" y="550"/>
                      </a:lnTo>
                      <a:lnTo>
                        <a:pt x="148" y="550"/>
                      </a:lnTo>
                      <a:lnTo>
                        <a:pt x="148" y="548"/>
                      </a:lnTo>
                      <a:lnTo>
                        <a:pt x="146" y="548"/>
                      </a:lnTo>
                      <a:lnTo>
                        <a:pt x="146" y="546"/>
                      </a:lnTo>
                      <a:lnTo>
                        <a:pt x="148" y="544"/>
                      </a:lnTo>
                      <a:lnTo>
                        <a:pt x="150" y="544"/>
                      </a:lnTo>
                      <a:lnTo>
                        <a:pt x="150" y="542"/>
                      </a:lnTo>
                      <a:lnTo>
                        <a:pt x="152" y="542"/>
                      </a:lnTo>
                      <a:lnTo>
                        <a:pt x="152" y="540"/>
                      </a:lnTo>
                      <a:lnTo>
                        <a:pt x="150" y="540"/>
                      </a:lnTo>
                      <a:lnTo>
                        <a:pt x="148" y="540"/>
                      </a:lnTo>
                      <a:lnTo>
                        <a:pt x="146" y="538"/>
                      </a:lnTo>
                      <a:lnTo>
                        <a:pt x="144" y="538"/>
                      </a:lnTo>
                      <a:lnTo>
                        <a:pt x="146" y="538"/>
                      </a:lnTo>
                      <a:lnTo>
                        <a:pt x="146" y="536"/>
                      </a:lnTo>
                      <a:lnTo>
                        <a:pt x="148" y="536"/>
                      </a:lnTo>
                      <a:lnTo>
                        <a:pt x="146" y="536"/>
                      </a:lnTo>
                      <a:lnTo>
                        <a:pt x="146" y="534"/>
                      </a:lnTo>
                      <a:lnTo>
                        <a:pt x="146" y="532"/>
                      </a:lnTo>
                      <a:lnTo>
                        <a:pt x="148" y="534"/>
                      </a:lnTo>
                      <a:lnTo>
                        <a:pt x="148" y="536"/>
                      </a:lnTo>
                      <a:lnTo>
                        <a:pt x="150" y="536"/>
                      </a:lnTo>
                      <a:lnTo>
                        <a:pt x="150" y="538"/>
                      </a:lnTo>
                      <a:lnTo>
                        <a:pt x="152" y="538"/>
                      </a:lnTo>
                      <a:lnTo>
                        <a:pt x="154" y="540"/>
                      </a:lnTo>
                      <a:lnTo>
                        <a:pt x="156" y="540"/>
                      </a:lnTo>
                      <a:lnTo>
                        <a:pt x="158" y="540"/>
                      </a:lnTo>
                      <a:lnTo>
                        <a:pt x="158" y="538"/>
                      </a:lnTo>
                      <a:lnTo>
                        <a:pt x="160" y="538"/>
                      </a:lnTo>
                      <a:lnTo>
                        <a:pt x="162" y="536"/>
                      </a:lnTo>
                      <a:lnTo>
                        <a:pt x="162" y="534"/>
                      </a:lnTo>
                      <a:lnTo>
                        <a:pt x="162" y="530"/>
                      </a:lnTo>
                      <a:lnTo>
                        <a:pt x="160" y="528"/>
                      </a:lnTo>
                      <a:lnTo>
                        <a:pt x="160" y="526"/>
                      </a:lnTo>
                      <a:lnTo>
                        <a:pt x="158" y="522"/>
                      </a:lnTo>
                      <a:lnTo>
                        <a:pt x="158" y="520"/>
                      </a:lnTo>
                      <a:lnTo>
                        <a:pt x="158" y="518"/>
                      </a:lnTo>
                      <a:lnTo>
                        <a:pt x="160" y="516"/>
                      </a:lnTo>
                      <a:lnTo>
                        <a:pt x="160" y="514"/>
                      </a:lnTo>
                      <a:lnTo>
                        <a:pt x="164" y="512"/>
                      </a:lnTo>
                      <a:lnTo>
                        <a:pt x="166" y="510"/>
                      </a:lnTo>
                      <a:lnTo>
                        <a:pt x="170" y="506"/>
                      </a:lnTo>
                      <a:lnTo>
                        <a:pt x="172" y="504"/>
                      </a:lnTo>
                      <a:lnTo>
                        <a:pt x="172" y="502"/>
                      </a:lnTo>
                      <a:lnTo>
                        <a:pt x="174" y="502"/>
                      </a:lnTo>
                      <a:lnTo>
                        <a:pt x="174" y="500"/>
                      </a:lnTo>
                      <a:lnTo>
                        <a:pt x="174" y="498"/>
                      </a:lnTo>
                      <a:lnTo>
                        <a:pt x="172" y="498"/>
                      </a:lnTo>
                      <a:lnTo>
                        <a:pt x="170" y="498"/>
                      </a:lnTo>
                      <a:lnTo>
                        <a:pt x="168" y="496"/>
                      </a:lnTo>
                      <a:lnTo>
                        <a:pt x="170" y="496"/>
                      </a:lnTo>
                      <a:lnTo>
                        <a:pt x="172" y="496"/>
                      </a:lnTo>
                      <a:lnTo>
                        <a:pt x="172" y="494"/>
                      </a:lnTo>
                      <a:lnTo>
                        <a:pt x="172" y="492"/>
                      </a:lnTo>
                      <a:lnTo>
                        <a:pt x="172" y="490"/>
                      </a:lnTo>
                      <a:lnTo>
                        <a:pt x="170" y="488"/>
                      </a:lnTo>
                      <a:lnTo>
                        <a:pt x="170" y="486"/>
                      </a:lnTo>
                      <a:lnTo>
                        <a:pt x="170" y="484"/>
                      </a:lnTo>
                      <a:lnTo>
                        <a:pt x="168" y="484"/>
                      </a:lnTo>
                      <a:lnTo>
                        <a:pt x="166" y="484"/>
                      </a:lnTo>
                      <a:lnTo>
                        <a:pt x="164" y="484"/>
                      </a:lnTo>
                      <a:lnTo>
                        <a:pt x="162" y="484"/>
                      </a:lnTo>
                      <a:lnTo>
                        <a:pt x="160" y="482"/>
                      </a:lnTo>
                      <a:lnTo>
                        <a:pt x="158" y="480"/>
                      </a:lnTo>
                      <a:lnTo>
                        <a:pt x="156" y="480"/>
                      </a:lnTo>
                      <a:lnTo>
                        <a:pt x="154" y="480"/>
                      </a:lnTo>
                      <a:lnTo>
                        <a:pt x="152" y="480"/>
                      </a:lnTo>
                      <a:lnTo>
                        <a:pt x="150" y="478"/>
                      </a:lnTo>
                      <a:lnTo>
                        <a:pt x="146" y="476"/>
                      </a:lnTo>
                      <a:lnTo>
                        <a:pt x="144" y="474"/>
                      </a:lnTo>
                      <a:lnTo>
                        <a:pt x="140" y="472"/>
                      </a:lnTo>
                      <a:lnTo>
                        <a:pt x="138" y="470"/>
                      </a:lnTo>
                      <a:lnTo>
                        <a:pt x="136" y="466"/>
                      </a:lnTo>
                      <a:lnTo>
                        <a:pt x="134" y="464"/>
                      </a:lnTo>
                      <a:lnTo>
                        <a:pt x="134" y="462"/>
                      </a:lnTo>
                      <a:lnTo>
                        <a:pt x="134" y="460"/>
                      </a:lnTo>
                      <a:lnTo>
                        <a:pt x="134" y="458"/>
                      </a:lnTo>
                      <a:lnTo>
                        <a:pt x="136" y="456"/>
                      </a:lnTo>
                      <a:lnTo>
                        <a:pt x="136" y="454"/>
                      </a:lnTo>
                      <a:lnTo>
                        <a:pt x="138" y="454"/>
                      </a:lnTo>
                      <a:lnTo>
                        <a:pt x="140" y="452"/>
                      </a:lnTo>
                      <a:lnTo>
                        <a:pt x="140" y="450"/>
                      </a:lnTo>
                      <a:lnTo>
                        <a:pt x="140" y="448"/>
                      </a:lnTo>
                      <a:lnTo>
                        <a:pt x="142" y="448"/>
                      </a:lnTo>
                      <a:lnTo>
                        <a:pt x="144" y="448"/>
                      </a:lnTo>
                      <a:lnTo>
                        <a:pt x="144" y="446"/>
                      </a:lnTo>
                      <a:lnTo>
                        <a:pt x="146" y="446"/>
                      </a:lnTo>
                      <a:lnTo>
                        <a:pt x="146" y="444"/>
                      </a:lnTo>
                      <a:lnTo>
                        <a:pt x="148" y="444"/>
                      </a:lnTo>
                      <a:lnTo>
                        <a:pt x="150" y="444"/>
                      </a:lnTo>
                      <a:lnTo>
                        <a:pt x="152" y="444"/>
                      </a:lnTo>
                      <a:lnTo>
                        <a:pt x="156" y="444"/>
                      </a:lnTo>
                      <a:lnTo>
                        <a:pt x="158" y="444"/>
                      </a:lnTo>
                      <a:lnTo>
                        <a:pt x="158" y="442"/>
                      </a:lnTo>
                      <a:lnTo>
                        <a:pt x="156" y="442"/>
                      </a:lnTo>
                      <a:lnTo>
                        <a:pt x="156" y="440"/>
                      </a:lnTo>
                      <a:lnTo>
                        <a:pt x="156" y="438"/>
                      </a:lnTo>
                      <a:lnTo>
                        <a:pt x="156" y="436"/>
                      </a:lnTo>
                      <a:lnTo>
                        <a:pt x="158" y="436"/>
                      </a:lnTo>
                      <a:lnTo>
                        <a:pt x="158" y="434"/>
                      </a:lnTo>
                      <a:lnTo>
                        <a:pt x="158" y="432"/>
                      </a:lnTo>
                      <a:lnTo>
                        <a:pt x="160" y="432"/>
                      </a:lnTo>
                      <a:lnTo>
                        <a:pt x="160" y="430"/>
                      </a:lnTo>
                      <a:lnTo>
                        <a:pt x="158" y="428"/>
                      </a:lnTo>
                      <a:lnTo>
                        <a:pt x="158" y="426"/>
                      </a:lnTo>
                      <a:lnTo>
                        <a:pt x="156" y="424"/>
                      </a:lnTo>
                      <a:lnTo>
                        <a:pt x="154" y="422"/>
                      </a:lnTo>
                      <a:lnTo>
                        <a:pt x="154" y="420"/>
                      </a:lnTo>
                      <a:lnTo>
                        <a:pt x="152" y="418"/>
                      </a:lnTo>
                      <a:lnTo>
                        <a:pt x="152" y="416"/>
                      </a:lnTo>
                      <a:lnTo>
                        <a:pt x="152" y="414"/>
                      </a:lnTo>
                      <a:lnTo>
                        <a:pt x="154" y="412"/>
                      </a:lnTo>
                      <a:lnTo>
                        <a:pt x="154" y="410"/>
                      </a:lnTo>
                      <a:lnTo>
                        <a:pt x="156" y="408"/>
                      </a:lnTo>
                      <a:lnTo>
                        <a:pt x="158" y="408"/>
                      </a:lnTo>
                      <a:lnTo>
                        <a:pt x="160" y="408"/>
                      </a:lnTo>
                      <a:lnTo>
                        <a:pt x="160" y="406"/>
                      </a:lnTo>
                      <a:lnTo>
                        <a:pt x="162" y="406"/>
                      </a:lnTo>
                      <a:lnTo>
                        <a:pt x="164" y="406"/>
                      </a:lnTo>
                      <a:lnTo>
                        <a:pt x="164" y="404"/>
                      </a:lnTo>
                      <a:lnTo>
                        <a:pt x="162" y="404"/>
                      </a:lnTo>
                      <a:lnTo>
                        <a:pt x="160" y="404"/>
                      </a:lnTo>
                      <a:lnTo>
                        <a:pt x="156" y="402"/>
                      </a:lnTo>
                      <a:lnTo>
                        <a:pt x="154" y="402"/>
                      </a:lnTo>
                      <a:lnTo>
                        <a:pt x="152" y="400"/>
                      </a:lnTo>
                      <a:lnTo>
                        <a:pt x="154" y="400"/>
                      </a:lnTo>
                      <a:lnTo>
                        <a:pt x="156" y="398"/>
                      </a:lnTo>
                      <a:lnTo>
                        <a:pt x="158" y="398"/>
                      </a:lnTo>
                      <a:lnTo>
                        <a:pt x="160" y="398"/>
                      </a:lnTo>
                      <a:lnTo>
                        <a:pt x="162" y="400"/>
                      </a:lnTo>
                      <a:lnTo>
                        <a:pt x="164" y="400"/>
                      </a:lnTo>
                      <a:lnTo>
                        <a:pt x="166" y="402"/>
                      </a:lnTo>
                      <a:lnTo>
                        <a:pt x="168" y="402"/>
                      </a:lnTo>
                      <a:lnTo>
                        <a:pt x="170" y="402"/>
                      </a:lnTo>
                      <a:lnTo>
                        <a:pt x="172" y="402"/>
                      </a:lnTo>
                      <a:lnTo>
                        <a:pt x="172" y="400"/>
                      </a:lnTo>
                      <a:lnTo>
                        <a:pt x="174" y="400"/>
                      </a:lnTo>
                      <a:lnTo>
                        <a:pt x="174" y="398"/>
                      </a:lnTo>
                      <a:lnTo>
                        <a:pt x="174" y="396"/>
                      </a:lnTo>
                      <a:lnTo>
                        <a:pt x="172" y="394"/>
                      </a:lnTo>
                      <a:lnTo>
                        <a:pt x="172" y="392"/>
                      </a:lnTo>
                      <a:lnTo>
                        <a:pt x="170" y="392"/>
                      </a:lnTo>
                      <a:lnTo>
                        <a:pt x="170" y="390"/>
                      </a:lnTo>
                      <a:lnTo>
                        <a:pt x="168" y="388"/>
                      </a:lnTo>
                      <a:lnTo>
                        <a:pt x="166" y="388"/>
                      </a:lnTo>
                      <a:lnTo>
                        <a:pt x="164" y="388"/>
                      </a:lnTo>
                      <a:lnTo>
                        <a:pt x="164" y="390"/>
                      </a:lnTo>
                      <a:lnTo>
                        <a:pt x="164" y="392"/>
                      </a:lnTo>
                      <a:lnTo>
                        <a:pt x="164" y="394"/>
                      </a:lnTo>
                      <a:lnTo>
                        <a:pt x="164" y="396"/>
                      </a:lnTo>
                      <a:lnTo>
                        <a:pt x="162" y="396"/>
                      </a:lnTo>
                      <a:lnTo>
                        <a:pt x="160" y="396"/>
                      </a:lnTo>
                      <a:lnTo>
                        <a:pt x="158" y="396"/>
                      </a:lnTo>
                      <a:lnTo>
                        <a:pt x="156" y="394"/>
                      </a:lnTo>
                      <a:lnTo>
                        <a:pt x="154" y="392"/>
                      </a:lnTo>
                      <a:lnTo>
                        <a:pt x="152" y="392"/>
                      </a:lnTo>
                      <a:lnTo>
                        <a:pt x="150" y="392"/>
                      </a:lnTo>
                      <a:lnTo>
                        <a:pt x="148" y="392"/>
                      </a:lnTo>
                      <a:lnTo>
                        <a:pt x="146" y="390"/>
                      </a:lnTo>
                      <a:lnTo>
                        <a:pt x="144" y="388"/>
                      </a:lnTo>
                      <a:lnTo>
                        <a:pt x="144" y="386"/>
                      </a:lnTo>
                      <a:lnTo>
                        <a:pt x="144" y="384"/>
                      </a:lnTo>
                      <a:lnTo>
                        <a:pt x="144" y="382"/>
                      </a:lnTo>
                      <a:lnTo>
                        <a:pt x="144" y="380"/>
                      </a:lnTo>
                      <a:lnTo>
                        <a:pt x="144" y="378"/>
                      </a:lnTo>
                      <a:lnTo>
                        <a:pt x="144" y="376"/>
                      </a:lnTo>
                      <a:lnTo>
                        <a:pt x="146" y="376"/>
                      </a:lnTo>
                      <a:lnTo>
                        <a:pt x="144" y="376"/>
                      </a:lnTo>
                      <a:lnTo>
                        <a:pt x="144" y="374"/>
                      </a:lnTo>
                      <a:lnTo>
                        <a:pt x="142" y="372"/>
                      </a:lnTo>
                      <a:lnTo>
                        <a:pt x="142" y="370"/>
                      </a:lnTo>
                      <a:lnTo>
                        <a:pt x="140" y="368"/>
                      </a:lnTo>
                      <a:lnTo>
                        <a:pt x="140" y="366"/>
                      </a:lnTo>
                      <a:lnTo>
                        <a:pt x="140" y="364"/>
                      </a:lnTo>
                      <a:lnTo>
                        <a:pt x="140" y="362"/>
                      </a:lnTo>
                      <a:lnTo>
                        <a:pt x="142" y="362"/>
                      </a:lnTo>
                      <a:lnTo>
                        <a:pt x="144" y="362"/>
                      </a:lnTo>
                      <a:lnTo>
                        <a:pt x="146" y="364"/>
                      </a:lnTo>
                      <a:lnTo>
                        <a:pt x="148" y="364"/>
                      </a:lnTo>
                      <a:lnTo>
                        <a:pt x="150" y="366"/>
                      </a:lnTo>
                      <a:lnTo>
                        <a:pt x="152" y="366"/>
                      </a:lnTo>
                      <a:lnTo>
                        <a:pt x="154" y="366"/>
                      </a:lnTo>
                      <a:lnTo>
                        <a:pt x="156" y="368"/>
                      </a:lnTo>
                      <a:lnTo>
                        <a:pt x="160" y="370"/>
                      </a:lnTo>
                      <a:lnTo>
                        <a:pt x="162" y="370"/>
                      </a:lnTo>
                      <a:lnTo>
                        <a:pt x="164" y="372"/>
                      </a:lnTo>
                      <a:lnTo>
                        <a:pt x="166" y="372"/>
                      </a:lnTo>
                      <a:lnTo>
                        <a:pt x="168" y="372"/>
                      </a:lnTo>
                      <a:lnTo>
                        <a:pt x="170" y="370"/>
                      </a:lnTo>
                      <a:lnTo>
                        <a:pt x="172" y="370"/>
                      </a:lnTo>
                      <a:lnTo>
                        <a:pt x="176" y="368"/>
                      </a:lnTo>
                      <a:lnTo>
                        <a:pt x="178" y="366"/>
                      </a:lnTo>
                      <a:lnTo>
                        <a:pt x="180" y="366"/>
                      </a:lnTo>
                      <a:lnTo>
                        <a:pt x="182" y="364"/>
                      </a:lnTo>
                      <a:lnTo>
                        <a:pt x="184" y="362"/>
                      </a:lnTo>
                      <a:lnTo>
                        <a:pt x="184" y="360"/>
                      </a:lnTo>
                      <a:lnTo>
                        <a:pt x="182" y="360"/>
                      </a:lnTo>
                      <a:lnTo>
                        <a:pt x="180" y="358"/>
                      </a:lnTo>
                      <a:lnTo>
                        <a:pt x="178" y="356"/>
                      </a:lnTo>
                      <a:lnTo>
                        <a:pt x="176" y="356"/>
                      </a:lnTo>
                      <a:lnTo>
                        <a:pt x="176" y="354"/>
                      </a:lnTo>
                      <a:lnTo>
                        <a:pt x="174" y="352"/>
                      </a:lnTo>
                      <a:lnTo>
                        <a:pt x="174" y="350"/>
                      </a:lnTo>
                      <a:lnTo>
                        <a:pt x="174" y="348"/>
                      </a:lnTo>
                      <a:lnTo>
                        <a:pt x="176" y="348"/>
                      </a:lnTo>
                      <a:lnTo>
                        <a:pt x="176" y="346"/>
                      </a:lnTo>
                      <a:lnTo>
                        <a:pt x="178" y="342"/>
                      </a:lnTo>
                      <a:lnTo>
                        <a:pt x="180" y="340"/>
                      </a:lnTo>
                      <a:lnTo>
                        <a:pt x="180" y="338"/>
                      </a:lnTo>
                      <a:lnTo>
                        <a:pt x="178" y="336"/>
                      </a:lnTo>
                      <a:lnTo>
                        <a:pt x="176" y="336"/>
                      </a:lnTo>
                      <a:lnTo>
                        <a:pt x="174" y="336"/>
                      </a:lnTo>
                      <a:lnTo>
                        <a:pt x="172" y="336"/>
                      </a:lnTo>
                      <a:lnTo>
                        <a:pt x="172" y="334"/>
                      </a:lnTo>
                      <a:lnTo>
                        <a:pt x="170" y="332"/>
                      </a:lnTo>
                      <a:lnTo>
                        <a:pt x="170" y="330"/>
                      </a:lnTo>
                      <a:lnTo>
                        <a:pt x="170" y="328"/>
                      </a:lnTo>
                      <a:lnTo>
                        <a:pt x="170" y="326"/>
                      </a:lnTo>
                      <a:lnTo>
                        <a:pt x="170" y="324"/>
                      </a:lnTo>
                      <a:lnTo>
                        <a:pt x="172" y="324"/>
                      </a:lnTo>
                      <a:lnTo>
                        <a:pt x="172" y="326"/>
                      </a:lnTo>
                      <a:lnTo>
                        <a:pt x="174" y="326"/>
                      </a:lnTo>
                      <a:lnTo>
                        <a:pt x="174" y="328"/>
                      </a:lnTo>
                      <a:lnTo>
                        <a:pt x="176" y="330"/>
                      </a:lnTo>
                      <a:lnTo>
                        <a:pt x="176" y="332"/>
                      </a:lnTo>
                      <a:lnTo>
                        <a:pt x="176" y="334"/>
                      </a:lnTo>
                      <a:lnTo>
                        <a:pt x="178" y="334"/>
                      </a:lnTo>
                      <a:lnTo>
                        <a:pt x="180" y="334"/>
                      </a:lnTo>
                      <a:lnTo>
                        <a:pt x="178" y="332"/>
                      </a:lnTo>
                      <a:lnTo>
                        <a:pt x="178" y="330"/>
                      </a:lnTo>
                      <a:lnTo>
                        <a:pt x="178" y="328"/>
                      </a:lnTo>
                      <a:lnTo>
                        <a:pt x="182" y="328"/>
                      </a:lnTo>
                      <a:lnTo>
                        <a:pt x="184" y="330"/>
                      </a:lnTo>
                      <a:lnTo>
                        <a:pt x="186" y="330"/>
                      </a:lnTo>
                      <a:lnTo>
                        <a:pt x="190" y="330"/>
                      </a:lnTo>
                      <a:lnTo>
                        <a:pt x="192" y="330"/>
                      </a:lnTo>
                      <a:lnTo>
                        <a:pt x="194" y="330"/>
                      </a:lnTo>
                      <a:lnTo>
                        <a:pt x="196" y="330"/>
                      </a:lnTo>
                      <a:lnTo>
                        <a:pt x="198" y="330"/>
                      </a:lnTo>
                      <a:lnTo>
                        <a:pt x="198" y="328"/>
                      </a:lnTo>
                      <a:lnTo>
                        <a:pt x="200" y="328"/>
                      </a:lnTo>
                      <a:lnTo>
                        <a:pt x="202" y="328"/>
                      </a:lnTo>
                      <a:lnTo>
                        <a:pt x="204" y="328"/>
                      </a:lnTo>
                      <a:lnTo>
                        <a:pt x="206" y="326"/>
                      </a:lnTo>
                      <a:lnTo>
                        <a:pt x="210" y="326"/>
                      </a:lnTo>
                      <a:lnTo>
                        <a:pt x="214" y="326"/>
                      </a:lnTo>
                      <a:lnTo>
                        <a:pt x="218" y="324"/>
                      </a:lnTo>
                      <a:lnTo>
                        <a:pt x="222" y="324"/>
                      </a:lnTo>
                      <a:lnTo>
                        <a:pt x="226" y="322"/>
                      </a:lnTo>
                      <a:lnTo>
                        <a:pt x="232" y="320"/>
                      </a:lnTo>
                      <a:lnTo>
                        <a:pt x="236" y="318"/>
                      </a:lnTo>
                      <a:lnTo>
                        <a:pt x="238" y="318"/>
                      </a:lnTo>
                      <a:lnTo>
                        <a:pt x="240" y="316"/>
                      </a:lnTo>
                      <a:lnTo>
                        <a:pt x="242" y="316"/>
                      </a:lnTo>
                      <a:lnTo>
                        <a:pt x="242" y="312"/>
                      </a:lnTo>
                      <a:lnTo>
                        <a:pt x="242" y="310"/>
                      </a:lnTo>
                      <a:lnTo>
                        <a:pt x="242" y="308"/>
                      </a:lnTo>
                      <a:lnTo>
                        <a:pt x="242" y="306"/>
                      </a:lnTo>
                      <a:lnTo>
                        <a:pt x="242" y="304"/>
                      </a:lnTo>
                      <a:lnTo>
                        <a:pt x="244" y="304"/>
                      </a:lnTo>
                      <a:lnTo>
                        <a:pt x="246" y="304"/>
                      </a:lnTo>
                      <a:lnTo>
                        <a:pt x="246" y="302"/>
                      </a:lnTo>
                      <a:lnTo>
                        <a:pt x="246" y="300"/>
                      </a:lnTo>
                      <a:lnTo>
                        <a:pt x="248" y="298"/>
                      </a:lnTo>
                      <a:lnTo>
                        <a:pt x="248" y="296"/>
                      </a:lnTo>
                      <a:lnTo>
                        <a:pt x="248" y="294"/>
                      </a:lnTo>
                      <a:lnTo>
                        <a:pt x="248" y="292"/>
                      </a:lnTo>
                      <a:lnTo>
                        <a:pt x="248" y="288"/>
                      </a:lnTo>
                      <a:lnTo>
                        <a:pt x="246" y="286"/>
                      </a:lnTo>
                      <a:lnTo>
                        <a:pt x="246" y="284"/>
                      </a:lnTo>
                      <a:lnTo>
                        <a:pt x="246" y="282"/>
                      </a:lnTo>
                      <a:lnTo>
                        <a:pt x="246" y="280"/>
                      </a:lnTo>
                      <a:lnTo>
                        <a:pt x="246" y="278"/>
                      </a:lnTo>
                      <a:lnTo>
                        <a:pt x="244" y="278"/>
                      </a:lnTo>
                      <a:lnTo>
                        <a:pt x="242" y="276"/>
                      </a:lnTo>
                      <a:lnTo>
                        <a:pt x="240" y="274"/>
                      </a:lnTo>
                      <a:lnTo>
                        <a:pt x="238" y="274"/>
                      </a:lnTo>
                      <a:lnTo>
                        <a:pt x="236" y="274"/>
                      </a:lnTo>
                      <a:lnTo>
                        <a:pt x="234" y="274"/>
                      </a:lnTo>
                      <a:lnTo>
                        <a:pt x="232" y="274"/>
                      </a:lnTo>
                      <a:lnTo>
                        <a:pt x="232" y="272"/>
                      </a:lnTo>
                      <a:lnTo>
                        <a:pt x="232" y="270"/>
                      </a:lnTo>
                      <a:lnTo>
                        <a:pt x="234" y="268"/>
                      </a:lnTo>
                      <a:lnTo>
                        <a:pt x="236" y="268"/>
                      </a:lnTo>
                      <a:lnTo>
                        <a:pt x="236" y="266"/>
                      </a:lnTo>
                      <a:lnTo>
                        <a:pt x="236" y="264"/>
                      </a:lnTo>
                      <a:lnTo>
                        <a:pt x="236" y="262"/>
                      </a:lnTo>
                      <a:lnTo>
                        <a:pt x="236" y="260"/>
                      </a:lnTo>
                      <a:lnTo>
                        <a:pt x="236" y="258"/>
                      </a:lnTo>
                      <a:lnTo>
                        <a:pt x="234" y="258"/>
                      </a:lnTo>
                      <a:lnTo>
                        <a:pt x="234" y="256"/>
                      </a:lnTo>
                      <a:lnTo>
                        <a:pt x="230" y="256"/>
                      </a:lnTo>
                      <a:lnTo>
                        <a:pt x="228" y="254"/>
                      </a:lnTo>
                      <a:lnTo>
                        <a:pt x="224" y="254"/>
                      </a:lnTo>
                      <a:lnTo>
                        <a:pt x="222" y="252"/>
                      </a:lnTo>
                      <a:lnTo>
                        <a:pt x="218" y="250"/>
                      </a:lnTo>
                      <a:lnTo>
                        <a:pt x="216" y="250"/>
                      </a:lnTo>
                      <a:lnTo>
                        <a:pt x="212" y="248"/>
                      </a:lnTo>
                      <a:lnTo>
                        <a:pt x="210" y="246"/>
                      </a:lnTo>
                      <a:lnTo>
                        <a:pt x="210" y="244"/>
                      </a:lnTo>
                      <a:lnTo>
                        <a:pt x="208" y="242"/>
                      </a:lnTo>
                      <a:lnTo>
                        <a:pt x="208" y="240"/>
                      </a:lnTo>
                      <a:lnTo>
                        <a:pt x="210" y="238"/>
                      </a:lnTo>
                      <a:lnTo>
                        <a:pt x="210" y="236"/>
                      </a:lnTo>
                      <a:lnTo>
                        <a:pt x="212" y="236"/>
                      </a:lnTo>
                      <a:lnTo>
                        <a:pt x="208" y="232"/>
                      </a:lnTo>
                      <a:lnTo>
                        <a:pt x="208" y="230"/>
                      </a:lnTo>
                      <a:lnTo>
                        <a:pt x="206" y="228"/>
                      </a:lnTo>
                      <a:lnTo>
                        <a:pt x="204" y="228"/>
                      </a:lnTo>
                      <a:lnTo>
                        <a:pt x="204" y="226"/>
                      </a:lnTo>
                      <a:lnTo>
                        <a:pt x="204" y="224"/>
                      </a:lnTo>
                      <a:lnTo>
                        <a:pt x="204" y="222"/>
                      </a:lnTo>
                      <a:lnTo>
                        <a:pt x="204" y="220"/>
                      </a:lnTo>
                      <a:lnTo>
                        <a:pt x="204" y="218"/>
                      </a:lnTo>
                      <a:lnTo>
                        <a:pt x="204" y="216"/>
                      </a:lnTo>
                      <a:lnTo>
                        <a:pt x="204" y="214"/>
                      </a:lnTo>
                      <a:lnTo>
                        <a:pt x="206" y="214"/>
                      </a:lnTo>
                      <a:lnTo>
                        <a:pt x="208" y="214"/>
                      </a:lnTo>
                      <a:lnTo>
                        <a:pt x="210" y="214"/>
                      </a:lnTo>
                      <a:lnTo>
                        <a:pt x="212" y="214"/>
                      </a:lnTo>
                      <a:lnTo>
                        <a:pt x="212" y="212"/>
                      </a:lnTo>
                      <a:lnTo>
                        <a:pt x="212" y="210"/>
                      </a:lnTo>
                      <a:lnTo>
                        <a:pt x="210" y="210"/>
                      </a:lnTo>
                      <a:lnTo>
                        <a:pt x="210" y="208"/>
                      </a:lnTo>
                      <a:lnTo>
                        <a:pt x="208" y="206"/>
                      </a:lnTo>
                      <a:lnTo>
                        <a:pt x="206" y="204"/>
                      </a:lnTo>
                      <a:lnTo>
                        <a:pt x="206" y="202"/>
                      </a:lnTo>
                      <a:lnTo>
                        <a:pt x="208" y="200"/>
                      </a:lnTo>
                      <a:lnTo>
                        <a:pt x="208" y="198"/>
                      </a:lnTo>
                      <a:lnTo>
                        <a:pt x="206" y="198"/>
                      </a:lnTo>
                      <a:lnTo>
                        <a:pt x="206" y="196"/>
                      </a:lnTo>
                      <a:lnTo>
                        <a:pt x="204" y="194"/>
                      </a:lnTo>
                      <a:lnTo>
                        <a:pt x="204" y="192"/>
                      </a:lnTo>
                      <a:lnTo>
                        <a:pt x="204" y="190"/>
                      </a:lnTo>
                      <a:lnTo>
                        <a:pt x="206" y="190"/>
                      </a:lnTo>
                      <a:lnTo>
                        <a:pt x="206" y="188"/>
                      </a:lnTo>
                      <a:lnTo>
                        <a:pt x="208" y="188"/>
                      </a:lnTo>
                      <a:lnTo>
                        <a:pt x="210" y="188"/>
                      </a:lnTo>
                      <a:lnTo>
                        <a:pt x="208" y="188"/>
                      </a:lnTo>
                      <a:lnTo>
                        <a:pt x="206" y="186"/>
                      </a:lnTo>
                      <a:lnTo>
                        <a:pt x="204" y="186"/>
                      </a:lnTo>
                      <a:lnTo>
                        <a:pt x="204" y="182"/>
                      </a:lnTo>
                      <a:lnTo>
                        <a:pt x="204" y="180"/>
                      </a:lnTo>
                      <a:lnTo>
                        <a:pt x="204" y="178"/>
                      </a:lnTo>
                      <a:lnTo>
                        <a:pt x="204" y="176"/>
                      </a:lnTo>
                      <a:lnTo>
                        <a:pt x="206" y="174"/>
                      </a:lnTo>
                      <a:lnTo>
                        <a:pt x="208" y="174"/>
                      </a:lnTo>
                      <a:lnTo>
                        <a:pt x="210" y="174"/>
                      </a:lnTo>
                      <a:lnTo>
                        <a:pt x="210" y="172"/>
                      </a:lnTo>
                      <a:lnTo>
                        <a:pt x="208" y="172"/>
                      </a:lnTo>
                      <a:lnTo>
                        <a:pt x="206" y="170"/>
                      </a:lnTo>
                      <a:lnTo>
                        <a:pt x="204" y="170"/>
                      </a:lnTo>
                      <a:lnTo>
                        <a:pt x="204" y="168"/>
                      </a:lnTo>
                      <a:lnTo>
                        <a:pt x="202" y="168"/>
                      </a:lnTo>
                      <a:lnTo>
                        <a:pt x="202" y="166"/>
                      </a:lnTo>
                      <a:lnTo>
                        <a:pt x="204" y="166"/>
                      </a:lnTo>
                      <a:lnTo>
                        <a:pt x="206" y="164"/>
                      </a:lnTo>
                      <a:lnTo>
                        <a:pt x="206" y="162"/>
                      </a:lnTo>
                      <a:lnTo>
                        <a:pt x="208" y="162"/>
                      </a:lnTo>
                      <a:lnTo>
                        <a:pt x="208" y="160"/>
                      </a:lnTo>
                      <a:lnTo>
                        <a:pt x="208" y="158"/>
                      </a:lnTo>
                      <a:lnTo>
                        <a:pt x="208" y="156"/>
                      </a:lnTo>
                      <a:lnTo>
                        <a:pt x="210" y="154"/>
                      </a:lnTo>
                      <a:lnTo>
                        <a:pt x="210" y="152"/>
                      </a:lnTo>
                      <a:lnTo>
                        <a:pt x="212" y="152"/>
                      </a:lnTo>
                      <a:lnTo>
                        <a:pt x="214" y="152"/>
                      </a:lnTo>
                      <a:lnTo>
                        <a:pt x="216" y="150"/>
                      </a:lnTo>
                      <a:lnTo>
                        <a:pt x="218" y="150"/>
                      </a:lnTo>
                      <a:lnTo>
                        <a:pt x="218" y="148"/>
                      </a:lnTo>
                      <a:lnTo>
                        <a:pt x="218" y="146"/>
                      </a:lnTo>
                      <a:lnTo>
                        <a:pt x="218" y="142"/>
                      </a:lnTo>
                      <a:lnTo>
                        <a:pt x="218" y="140"/>
                      </a:lnTo>
                      <a:lnTo>
                        <a:pt x="220" y="140"/>
                      </a:lnTo>
                      <a:lnTo>
                        <a:pt x="222" y="138"/>
                      </a:lnTo>
                      <a:lnTo>
                        <a:pt x="224" y="138"/>
                      </a:lnTo>
                      <a:lnTo>
                        <a:pt x="224" y="136"/>
                      </a:lnTo>
                      <a:lnTo>
                        <a:pt x="226" y="136"/>
                      </a:lnTo>
                      <a:lnTo>
                        <a:pt x="226" y="134"/>
                      </a:lnTo>
                      <a:lnTo>
                        <a:pt x="226" y="132"/>
                      </a:lnTo>
                      <a:lnTo>
                        <a:pt x="226" y="130"/>
                      </a:lnTo>
                      <a:lnTo>
                        <a:pt x="226" y="1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2" name="Freeform 30">
                  <a:extLst>
                    <a:ext uri="{FF2B5EF4-FFF2-40B4-BE49-F238E27FC236}">
                      <a16:creationId xmlns:a16="http://schemas.microsoft.com/office/drawing/2014/main" id="{EB89D64B-E857-4B35-A9C1-A8B5FE4296C5}"/>
                    </a:ext>
                  </a:extLst>
                </p:cNvPr>
                <p:cNvSpPr>
                  <a:spLocks noChangeAspect="1"/>
                </p:cNvSpPr>
                <p:nvPr/>
              </p:nvSpPr>
              <p:spPr bwMode="auto">
                <a:xfrm>
                  <a:off x="1894539" y="3874712"/>
                  <a:ext cx="194572" cy="265351"/>
                </a:xfrm>
                <a:custGeom>
                  <a:avLst/>
                  <a:gdLst/>
                  <a:ahLst/>
                  <a:cxnLst>
                    <a:cxn ang="0">
                      <a:pos x="92" y="38"/>
                    </a:cxn>
                    <a:cxn ang="0">
                      <a:pos x="94" y="36"/>
                    </a:cxn>
                    <a:cxn ang="0">
                      <a:pos x="90" y="30"/>
                    </a:cxn>
                    <a:cxn ang="0">
                      <a:pos x="84" y="24"/>
                    </a:cxn>
                    <a:cxn ang="0">
                      <a:pos x="78" y="22"/>
                    </a:cxn>
                    <a:cxn ang="0">
                      <a:pos x="74" y="26"/>
                    </a:cxn>
                    <a:cxn ang="0">
                      <a:pos x="68" y="24"/>
                    </a:cxn>
                    <a:cxn ang="0">
                      <a:pos x="62" y="24"/>
                    </a:cxn>
                    <a:cxn ang="0">
                      <a:pos x="58" y="18"/>
                    </a:cxn>
                    <a:cxn ang="0">
                      <a:pos x="50" y="14"/>
                    </a:cxn>
                    <a:cxn ang="0">
                      <a:pos x="48" y="14"/>
                    </a:cxn>
                    <a:cxn ang="0">
                      <a:pos x="40" y="6"/>
                    </a:cxn>
                    <a:cxn ang="0">
                      <a:pos x="34" y="6"/>
                    </a:cxn>
                    <a:cxn ang="0">
                      <a:pos x="28" y="12"/>
                    </a:cxn>
                    <a:cxn ang="0">
                      <a:pos x="22" y="12"/>
                    </a:cxn>
                    <a:cxn ang="0">
                      <a:pos x="22" y="10"/>
                    </a:cxn>
                    <a:cxn ang="0">
                      <a:pos x="14" y="16"/>
                    </a:cxn>
                    <a:cxn ang="0">
                      <a:pos x="16" y="26"/>
                    </a:cxn>
                    <a:cxn ang="0">
                      <a:pos x="10" y="34"/>
                    </a:cxn>
                    <a:cxn ang="0">
                      <a:pos x="10" y="40"/>
                    </a:cxn>
                    <a:cxn ang="0">
                      <a:pos x="10" y="42"/>
                    </a:cxn>
                    <a:cxn ang="0">
                      <a:pos x="8" y="44"/>
                    </a:cxn>
                    <a:cxn ang="0">
                      <a:pos x="2" y="50"/>
                    </a:cxn>
                    <a:cxn ang="0">
                      <a:pos x="2" y="54"/>
                    </a:cxn>
                    <a:cxn ang="0">
                      <a:pos x="4" y="56"/>
                    </a:cxn>
                    <a:cxn ang="0">
                      <a:pos x="2" y="62"/>
                    </a:cxn>
                    <a:cxn ang="0">
                      <a:pos x="4" y="66"/>
                    </a:cxn>
                    <a:cxn ang="0">
                      <a:pos x="0" y="72"/>
                    </a:cxn>
                    <a:cxn ang="0">
                      <a:pos x="2" y="74"/>
                    </a:cxn>
                    <a:cxn ang="0">
                      <a:pos x="2" y="80"/>
                    </a:cxn>
                    <a:cxn ang="0">
                      <a:pos x="12" y="82"/>
                    </a:cxn>
                    <a:cxn ang="0">
                      <a:pos x="18" y="78"/>
                    </a:cxn>
                    <a:cxn ang="0">
                      <a:pos x="22" y="78"/>
                    </a:cxn>
                    <a:cxn ang="0">
                      <a:pos x="20" y="92"/>
                    </a:cxn>
                    <a:cxn ang="0">
                      <a:pos x="12" y="96"/>
                    </a:cxn>
                    <a:cxn ang="0">
                      <a:pos x="14" y="98"/>
                    </a:cxn>
                    <a:cxn ang="0">
                      <a:pos x="14" y="106"/>
                    </a:cxn>
                    <a:cxn ang="0">
                      <a:pos x="10" y="112"/>
                    </a:cxn>
                    <a:cxn ang="0">
                      <a:pos x="12" y="112"/>
                    </a:cxn>
                    <a:cxn ang="0">
                      <a:pos x="10" y="118"/>
                    </a:cxn>
                    <a:cxn ang="0">
                      <a:pos x="16" y="114"/>
                    </a:cxn>
                    <a:cxn ang="0">
                      <a:pos x="20" y="116"/>
                    </a:cxn>
                    <a:cxn ang="0">
                      <a:pos x="24" y="116"/>
                    </a:cxn>
                    <a:cxn ang="0">
                      <a:pos x="28" y="120"/>
                    </a:cxn>
                    <a:cxn ang="0">
                      <a:pos x="34" y="126"/>
                    </a:cxn>
                    <a:cxn ang="0">
                      <a:pos x="36" y="122"/>
                    </a:cxn>
                    <a:cxn ang="0">
                      <a:pos x="42" y="120"/>
                    </a:cxn>
                    <a:cxn ang="0">
                      <a:pos x="44" y="108"/>
                    </a:cxn>
                    <a:cxn ang="0">
                      <a:pos x="46" y="100"/>
                    </a:cxn>
                    <a:cxn ang="0">
                      <a:pos x="48" y="98"/>
                    </a:cxn>
                    <a:cxn ang="0">
                      <a:pos x="50" y="94"/>
                    </a:cxn>
                    <a:cxn ang="0">
                      <a:pos x="58" y="88"/>
                    </a:cxn>
                    <a:cxn ang="0">
                      <a:pos x="76" y="78"/>
                    </a:cxn>
                    <a:cxn ang="0">
                      <a:pos x="92" y="62"/>
                    </a:cxn>
                    <a:cxn ang="0">
                      <a:pos x="94" y="56"/>
                    </a:cxn>
                    <a:cxn ang="0">
                      <a:pos x="96" y="50"/>
                    </a:cxn>
                    <a:cxn ang="0">
                      <a:pos x="98" y="48"/>
                    </a:cxn>
                  </a:cxnLst>
                  <a:rect l="0" t="0" r="r" b="b"/>
                  <a:pathLst>
                    <a:path w="98" h="126">
                      <a:moveTo>
                        <a:pt x="98" y="40"/>
                      </a:moveTo>
                      <a:lnTo>
                        <a:pt x="96" y="40"/>
                      </a:lnTo>
                      <a:lnTo>
                        <a:pt x="94" y="40"/>
                      </a:lnTo>
                      <a:lnTo>
                        <a:pt x="94" y="38"/>
                      </a:lnTo>
                      <a:lnTo>
                        <a:pt x="92" y="38"/>
                      </a:lnTo>
                      <a:lnTo>
                        <a:pt x="94" y="38"/>
                      </a:lnTo>
                      <a:lnTo>
                        <a:pt x="94" y="36"/>
                      </a:lnTo>
                      <a:lnTo>
                        <a:pt x="96" y="36"/>
                      </a:lnTo>
                      <a:lnTo>
                        <a:pt x="96" y="34"/>
                      </a:lnTo>
                      <a:lnTo>
                        <a:pt x="96" y="32"/>
                      </a:lnTo>
                      <a:lnTo>
                        <a:pt x="96" y="30"/>
                      </a:lnTo>
                      <a:lnTo>
                        <a:pt x="92" y="30"/>
                      </a:lnTo>
                      <a:lnTo>
                        <a:pt x="90" y="30"/>
                      </a:lnTo>
                      <a:lnTo>
                        <a:pt x="88" y="30"/>
                      </a:lnTo>
                      <a:lnTo>
                        <a:pt x="86" y="28"/>
                      </a:lnTo>
                      <a:lnTo>
                        <a:pt x="86" y="26"/>
                      </a:lnTo>
                      <a:lnTo>
                        <a:pt x="84" y="24"/>
                      </a:lnTo>
                      <a:lnTo>
                        <a:pt x="82" y="22"/>
                      </a:lnTo>
                      <a:lnTo>
                        <a:pt x="80" y="22"/>
                      </a:lnTo>
                      <a:lnTo>
                        <a:pt x="78" y="22"/>
                      </a:lnTo>
                      <a:lnTo>
                        <a:pt x="78" y="24"/>
                      </a:lnTo>
                      <a:lnTo>
                        <a:pt x="78" y="26"/>
                      </a:lnTo>
                      <a:lnTo>
                        <a:pt x="76" y="26"/>
                      </a:lnTo>
                      <a:lnTo>
                        <a:pt x="74" y="26"/>
                      </a:lnTo>
                      <a:lnTo>
                        <a:pt x="72" y="26"/>
                      </a:lnTo>
                      <a:lnTo>
                        <a:pt x="70" y="24"/>
                      </a:lnTo>
                      <a:lnTo>
                        <a:pt x="68" y="24"/>
                      </a:lnTo>
                      <a:lnTo>
                        <a:pt x="66" y="24"/>
                      </a:lnTo>
                      <a:lnTo>
                        <a:pt x="64" y="24"/>
                      </a:lnTo>
                      <a:lnTo>
                        <a:pt x="62" y="24"/>
                      </a:lnTo>
                      <a:lnTo>
                        <a:pt x="60" y="22"/>
                      </a:lnTo>
                      <a:lnTo>
                        <a:pt x="60" y="20"/>
                      </a:lnTo>
                      <a:lnTo>
                        <a:pt x="58" y="18"/>
                      </a:lnTo>
                      <a:lnTo>
                        <a:pt x="56" y="16"/>
                      </a:lnTo>
                      <a:lnTo>
                        <a:pt x="54" y="14"/>
                      </a:lnTo>
                      <a:lnTo>
                        <a:pt x="52" y="14"/>
                      </a:lnTo>
                      <a:lnTo>
                        <a:pt x="50" y="14"/>
                      </a:lnTo>
                      <a:lnTo>
                        <a:pt x="50" y="16"/>
                      </a:lnTo>
                      <a:lnTo>
                        <a:pt x="48" y="14"/>
                      </a:lnTo>
                      <a:lnTo>
                        <a:pt x="48" y="12"/>
                      </a:lnTo>
                      <a:lnTo>
                        <a:pt x="44" y="10"/>
                      </a:lnTo>
                      <a:lnTo>
                        <a:pt x="42" y="8"/>
                      </a:lnTo>
                      <a:lnTo>
                        <a:pt x="40" y="8"/>
                      </a:lnTo>
                      <a:lnTo>
                        <a:pt x="40" y="6"/>
                      </a:lnTo>
                      <a:lnTo>
                        <a:pt x="38" y="4"/>
                      </a:lnTo>
                      <a:lnTo>
                        <a:pt x="34" y="2"/>
                      </a:lnTo>
                      <a:lnTo>
                        <a:pt x="34" y="0"/>
                      </a:lnTo>
                      <a:lnTo>
                        <a:pt x="34" y="2"/>
                      </a:lnTo>
                      <a:lnTo>
                        <a:pt x="34" y="4"/>
                      </a:lnTo>
                      <a:lnTo>
                        <a:pt x="34" y="6"/>
                      </a:lnTo>
                      <a:lnTo>
                        <a:pt x="34" y="8"/>
                      </a:lnTo>
                      <a:lnTo>
                        <a:pt x="34" y="10"/>
                      </a:lnTo>
                      <a:lnTo>
                        <a:pt x="32" y="12"/>
                      </a:lnTo>
                      <a:lnTo>
                        <a:pt x="30" y="12"/>
                      </a:lnTo>
                      <a:lnTo>
                        <a:pt x="28" y="12"/>
                      </a:lnTo>
                      <a:lnTo>
                        <a:pt x="26" y="14"/>
                      </a:lnTo>
                      <a:lnTo>
                        <a:pt x="24" y="14"/>
                      </a:lnTo>
                      <a:lnTo>
                        <a:pt x="22" y="14"/>
                      </a:lnTo>
                      <a:lnTo>
                        <a:pt x="22" y="12"/>
                      </a:lnTo>
                      <a:lnTo>
                        <a:pt x="22" y="10"/>
                      </a:lnTo>
                      <a:lnTo>
                        <a:pt x="20" y="10"/>
                      </a:lnTo>
                      <a:lnTo>
                        <a:pt x="20" y="12"/>
                      </a:lnTo>
                      <a:lnTo>
                        <a:pt x="18" y="12"/>
                      </a:lnTo>
                      <a:lnTo>
                        <a:pt x="16" y="14"/>
                      </a:lnTo>
                      <a:lnTo>
                        <a:pt x="14" y="16"/>
                      </a:lnTo>
                      <a:lnTo>
                        <a:pt x="14" y="18"/>
                      </a:lnTo>
                      <a:lnTo>
                        <a:pt x="14" y="22"/>
                      </a:lnTo>
                      <a:lnTo>
                        <a:pt x="16" y="24"/>
                      </a:lnTo>
                      <a:lnTo>
                        <a:pt x="16" y="26"/>
                      </a:lnTo>
                      <a:lnTo>
                        <a:pt x="16" y="28"/>
                      </a:lnTo>
                      <a:lnTo>
                        <a:pt x="16" y="30"/>
                      </a:lnTo>
                      <a:lnTo>
                        <a:pt x="14" y="30"/>
                      </a:lnTo>
                      <a:lnTo>
                        <a:pt x="14" y="32"/>
                      </a:lnTo>
                      <a:lnTo>
                        <a:pt x="12" y="32"/>
                      </a:lnTo>
                      <a:lnTo>
                        <a:pt x="10" y="34"/>
                      </a:lnTo>
                      <a:lnTo>
                        <a:pt x="10" y="36"/>
                      </a:lnTo>
                      <a:lnTo>
                        <a:pt x="8" y="36"/>
                      </a:lnTo>
                      <a:lnTo>
                        <a:pt x="8" y="38"/>
                      </a:lnTo>
                      <a:lnTo>
                        <a:pt x="10" y="40"/>
                      </a:lnTo>
                      <a:lnTo>
                        <a:pt x="12" y="42"/>
                      </a:lnTo>
                      <a:lnTo>
                        <a:pt x="10" y="42"/>
                      </a:lnTo>
                      <a:lnTo>
                        <a:pt x="8" y="42"/>
                      </a:lnTo>
                      <a:lnTo>
                        <a:pt x="8" y="44"/>
                      </a:lnTo>
                      <a:lnTo>
                        <a:pt x="8" y="46"/>
                      </a:lnTo>
                      <a:lnTo>
                        <a:pt x="4" y="48"/>
                      </a:lnTo>
                      <a:lnTo>
                        <a:pt x="2" y="50"/>
                      </a:lnTo>
                      <a:lnTo>
                        <a:pt x="0" y="52"/>
                      </a:lnTo>
                      <a:lnTo>
                        <a:pt x="2" y="54"/>
                      </a:lnTo>
                      <a:lnTo>
                        <a:pt x="4" y="54"/>
                      </a:lnTo>
                      <a:lnTo>
                        <a:pt x="4" y="56"/>
                      </a:lnTo>
                      <a:lnTo>
                        <a:pt x="4" y="58"/>
                      </a:lnTo>
                      <a:lnTo>
                        <a:pt x="2" y="60"/>
                      </a:lnTo>
                      <a:lnTo>
                        <a:pt x="2" y="62"/>
                      </a:lnTo>
                      <a:lnTo>
                        <a:pt x="2" y="64"/>
                      </a:lnTo>
                      <a:lnTo>
                        <a:pt x="4" y="64"/>
                      </a:lnTo>
                      <a:lnTo>
                        <a:pt x="4" y="66"/>
                      </a:lnTo>
                      <a:lnTo>
                        <a:pt x="4" y="68"/>
                      </a:lnTo>
                      <a:lnTo>
                        <a:pt x="2" y="70"/>
                      </a:lnTo>
                      <a:lnTo>
                        <a:pt x="0" y="72"/>
                      </a:lnTo>
                      <a:lnTo>
                        <a:pt x="2" y="74"/>
                      </a:lnTo>
                      <a:lnTo>
                        <a:pt x="2" y="76"/>
                      </a:lnTo>
                      <a:lnTo>
                        <a:pt x="2" y="78"/>
                      </a:lnTo>
                      <a:lnTo>
                        <a:pt x="2" y="80"/>
                      </a:lnTo>
                      <a:lnTo>
                        <a:pt x="4" y="80"/>
                      </a:lnTo>
                      <a:lnTo>
                        <a:pt x="4" y="82"/>
                      </a:lnTo>
                      <a:lnTo>
                        <a:pt x="6" y="82"/>
                      </a:lnTo>
                      <a:lnTo>
                        <a:pt x="8" y="82"/>
                      </a:lnTo>
                      <a:lnTo>
                        <a:pt x="10" y="82"/>
                      </a:lnTo>
                      <a:lnTo>
                        <a:pt x="12" y="82"/>
                      </a:lnTo>
                      <a:lnTo>
                        <a:pt x="14" y="80"/>
                      </a:lnTo>
                      <a:lnTo>
                        <a:pt x="16" y="78"/>
                      </a:lnTo>
                      <a:lnTo>
                        <a:pt x="16" y="76"/>
                      </a:lnTo>
                      <a:lnTo>
                        <a:pt x="18" y="78"/>
                      </a:lnTo>
                      <a:lnTo>
                        <a:pt x="20" y="78"/>
                      </a:lnTo>
                      <a:lnTo>
                        <a:pt x="22" y="78"/>
                      </a:lnTo>
                      <a:lnTo>
                        <a:pt x="22" y="80"/>
                      </a:lnTo>
                      <a:lnTo>
                        <a:pt x="22" y="82"/>
                      </a:lnTo>
                      <a:lnTo>
                        <a:pt x="22" y="84"/>
                      </a:lnTo>
                      <a:lnTo>
                        <a:pt x="22" y="86"/>
                      </a:lnTo>
                      <a:lnTo>
                        <a:pt x="22" y="88"/>
                      </a:lnTo>
                      <a:lnTo>
                        <a:pt x="20" y="92"/>
                      </a:lnTo>
                      <a:lnTo>
                        <a:pt x="20" y="94"/>
                      </a:lnTo>
                      <a:lnTo>
                        <a:pt x="18" y="94"/>
                      </a:lnTo>
                      <a:lnTo>
                        <a:pt x="16" y="96"/>
                      </a:lnTo>
                      <a:lnTo>
                        <a:pt x="14" y="96"/>
                      </a:lnTo>
                      <a:lnTo>
                        <a:pt x="12" y="96"/>
                      </a:lnTo>
                      <a:lnTo>
                        <a:pt x="10" y="98"/>
                      </a:lnTo>
                      <a:lnTo>
                        <a:pt x="12" y="98"/>
                      </a:lnTo>
                      <a:lnTo>
                        <a:pt x="14" y="98"/>
                      </a:lnTo>
                      <a:lnTo>
                        <a:pt x="16" y="100"/>
                      </a:lnTo>
                      <a:lnTo>
                        <a:pt x="18" y="100"/>
                      </a:lnTo>
                      <a:lnTo>
                        <a:pt x="18" y="102"/>
                      </a:lnTo>
                      <a:lnTo>
                        <a:pt x="16" y="102"/>
                      </a:lnTo>
                      <a:lnTo>
                        <a:pt x="14" y="106"/>
                      </a:lnTo>
                      <a:lnTo>
                        <a:pt x="12" y="108"/>
                      </a:lnTo>
                      <a:lnTo>
                        <a:pt x="10" y="108"/>
                      </a:lnTo>
                      <a:lnTo>
                        <a:pt x="10" y="110"/>
                      </a:lnTo>
                      <a:lnTo>
                        <a:pt x="8" y="110"/>
                      </a:lnTo>
                      <a:lnTo>
                        <a:pt x="10" y="112"/>
                      </a:lnTo>
                      <a:lnTo>
                        <a:pt x="12" y="112"/>
                      </a:lnTo>
                      <a:lnTo>
                        <a:pt x="10" y="114"/>
                      </a:lnTo>
                      <a:lnTo>
                        <a:pt x="10" y="116"/>
                      </a:lnTo>
                      <a:lnTo>
                        <a:pt x="8" y="116"/>
                      </a:lnTo>
                      <a:lnTo>
                        <a:pt x="10" y="118"/>
                      </a:lnTo>
                      <a:lnTo>
                        <a:pt x="12" y="118"/>
                      </a:lnTo>
                      <a:lnTo>
                        <a:pt x="14" y="116"/>
                      </a:lnTo>
                      <a:lnTo>
                        <a:pt x="16" y="114"/>
                      </a:lnTo>
                      <a:lnTo>
                        <a:pt x="18" y="112"/>
                      </a:lnTo>
                      <a:lnTo>
                        <a:pt x="18" y="114"/>
                      </a:lnTo>
                      <a:lnTo>
                        <a:pt x="20" y="114"/>
                      </a:lnTo>
                      <a:lnTo>
                        <a:pt x="20" y="116"/>
                      </a:lnTo>
                      <a:lnTo>
                        <a:pt x="22" y="116"/>
                      </a:lnTo>
                      <a:lnTo>
                        <a:pt x="24" y="116"/>
                      </a:lnTo>
                      <a:lnTo>
                        <a:pt x="26" y="116"/>
                      </a:lnTo>
                      <a:lnTo>
                        <a:pt x="28" y="116"/>
                      </a:lnTo>
                      <a:lnTo>
                        <a:pt x="28" y="118"/>
                      </a:lnTo>
                      <a:lnTo>
                        <a:pt x="28" y="120"/>
                      </a:lnTo>
                      <a:lnTo>
                        <a:pt x="28" y="122"/>
                      </a:lnTo>
                      <a:lnTo>
                        <a:pt x="28" y="124"/>
                      </a:lnTo>
                      <a:lnTo>
                        <a:pt x="30" y="124"/>
                      </a:lnTo>
                      <a:lnTo>
                        <a:pt x="30" y="126"/>
                      </a:lnTo>
                      <a:lnTo>
                        <a:pt x="32" y="126"/>
                      </a:lnTo>
                      <a:lnTo>
                        <a:pt x="34" y="126"/>
                      </a:lnTo>
                      <a:lnTo>
                        <a:pt x="36" y="126"/>
                      </a:lnTo>
                      <a:lnTo>
                        <a:pt x="36" y="124"/>
                      </a:lnTo>
                      <a:lnTo>
                        <a:pt x="36" y="122"/>
                      </a:lnTo>
                      <a:lnTo>
                        <a:pt x="38" y="120"/>
                      </a:lnTo>
                      <a:lnTo>
                        <a:pt x="40" y="120"/>
                      </a:lnTo>
                      <a:lnTo>
                        <a:pt x="42" y="120"/>
                      </a:lnTo>
                      <a:lnTo>
                        <a:pt x="42" y="118"/>
                      </a:lnTo>
                      <a:lnTo>
                        <a:pt x="42" y="116"/>
                      </a:lnTo>
                      <a:lnTo>
                        <a:pt x="42" y="114"/>
                      </a:lnTo>
                      <a:lnTo>
                        <a:pt x="44" y="110"/>
                      </a:lnTo>
                      <a:lnTo>
                        <a:pt x="44" y="108"/>
                      </a:lnTo>
                      <a:lnTo>
                        <a:pt x="44" y="104"/>
                      </a:lnTo>
                      <a:lnTo>
                        <a:pt x="46" y="104"/>
                      </a:lnTo>
                      <a:lnTo>
                        <a:pt x="46" y="102"/>
                      </a:lnTo>
                      <a:lnTo>
                        <a:pt x="48" y="102"/>
                      </a:lnTo>
                      <a:lnTo>
                        <a:pt x="46" y="100"/>
                      </a:lnTo>
                      <a:lnTo>
                        <a:pt x="46" y="98"/>
                      </a:lnTo>
                      <a:lnTo>
                        <a:pt x="48" y="98"/>
                      </a:lnTo>
                      <a:lnTo>
                        <a:pt x="48" y="96"/>
                      </a:lnTo>
                      <a:lnTo>
                        <a:pt x="50" y="96"/>
                      </a:lnTo>
                      <a:lnTo>
                        <a:pt x="50" y="94"/>
                      </a:lnTo>
                      <a:lnTo>
                        <a:pt x="50" y="92"/>
                      </a:lnTo>
                      <a:lnTo>
                        <a:pt x="52" y="90"/>
                      </a:lnTo>
                      <a:lnTo>
                        <a:pt x="54" y="90"/>
                      </a:lnTo>
                      <a:lnTo>
                        <a:pt x="56" y="88"/>
                      </a:lnTo>
                      <a:lnTo>
                        <a:pt x="58" y="88"/>
                      </a:lnTo>
                      <a:lnTo>
                        <a:pt x="62" y="86"/>
                      </a:lnTo>
                      <a:lnTo>
                        <a:pt x="66" y="86"/>
                      </a:lnTo>
                      <a:lnTo>
                        <a:pt x="68" y="84"/>
                      </a:lnTo>
                      <a:lnTo>
                        <a:pt x="72" y="82"/>
                      </a:lnTo>
                      <a:lnTo>
                        <a:pt x="74" y="82"/>
                      </a:lnTo>
                      <a:lnTo>
                        <a:pt x="76" y="78"/>
                      </a:lnTo>
                      <a:lnTo>
                        <a:pt x="80" y="76"/>
                      </a:lnTo>
                      <a:lnTo>
                        <a:pt x="84" y="72"/>
                      </a:lnTo>
                      <a:lnTo>
                        <a:pt x="86" y="68"/>
                      </a:lnTo>
                      <a:lnTo>
                        <a:pt x="88" y="66"/>
                      </a:lnTo>
                      <a:lnTo>
                        <a:pt x="90" y="64"/>
                      </a:lnTo>
                      <a:lnTo>
                        <a:pt x="92" y="62"/>
                      </a:lnTo>
                      <a:lnTo>
                        <a:pt x="94" y="60"/>
                      </a:lnTo>
                      <a:lnTo>
                        <a:pt x="94" y="58"/>
                      </a:lnTo>
                      <a:lnTo>
                        <a:pt x="94" y="56"/>
                      </a:lnTo>
                      <a:lnTo>
                        <a:pt x="96" y="54"/>
                      </a:lnTo>
                      <a:lnTo>
                        <a:pt x="96" y="52"/>
                      </a:lnTo>
                      <a:lnTo>
                        <a:pt x="96" y="50"/>
                      </a:lnTo>
                      <a:lnTo>
                        <a:pt x="98" y="50"/>
                      </a:lnTo>
                      <a:lnTo>
                        <a:pt x="98" y="48"/>
                      </a:lnTo>
                      <a:lnTo>
                        <a:pt x="98" y="4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3" name="Freeform 31">
                  <a:extLst>
                    <a:ext uri="{FF2B5EF4-FFF2-40B4-BE49-F238E27FC236}">
                      <a16:creationId xmlns:a16="http://schemas.microsoft.com/office/drawing/2014/main" id="{D91DDCBE-0A70-4A86-BB09-DD42D5CC9C18}"/>
                    </a:ext>
                  </a:extLst>
                </p:cNvPr>
                <p:cNvSpPr>
                  <a:spLocks noChangeAspect="1" noEditPoints="1"/>
                </p:cNvSpPr>
                <p:nvPr/>
              </p:nvSpPr>
              <p:spPr bwMode="auto">
                <a:xfrm>
                  <a:off x="2295598" y="4653916"/>
                  <a:ext cx="547981" cy="1518393"/>
                </a:xfrm>
                <a:custGeom>
                  <a:avLst/>
                  <a:gdLst/>
                  <a:ahLst/>
                  <a:cxnLst>
                    <a:cxn ang="0">
                      <a:pos x="216" y="674"/>
                    </a:cxn>
                    <a:cxn ang="0">
                      <a:pos x="188" y="672"/>
                    </a:cxn>
                    <a:cxn ang="0">
                      <a:pos x="198" y="688"/>
                    </a:cxn>
                    <a:cxn ang="0">
                      <a:pos x="206" y="700"/>
                    </a:cxn>
                    <a:cxn ang="0">
                      <a:pos x="248" y="706"/>
                    </a:cxn>
                    <a:cxn ang="0">
                      <a:pos x="238" y="714"/>
                    </a:cxn>
                    <a:cxn ang="0">
                      <a:pos x="214" y="718"/>
                    </a:cxn>
                    <a:cxn ang="0">
                      <a:pos x="198" y="708"/>
                    </a:cxn>
                    <a:cxn ang="0">
                      <a:pos x="202" y="712"/>
                    </a:cxn>
                    <a:cxn ang="0">
                      <a:pos x="176" y="694"/>
                    </a:cxn>
                    <a:cxn ang="0">
                      <a:pos x="134" y="668"/>
                    </a:cxn>
                    <a:cxn ang="0">
                      <a:pos x="126" y="662"/>
                    </a:cxn>
                    <a:cxn ang="0">
                      <a:pos x="110" y="640"/>
                    </a:cxn>
                    <a:cxn ang="0">
                      <a:pos x="94" y="608"/>
                    </a:cxn>
                    <a:cxn ang="0">
                      <a:pos x="70" y="582"/>
                    </a:cxn>
                    <a:cxn ang="0">
                      <a:pos x="88" y="616"/>
                    </a:cxn>
                    <a:cxn ang="0">
                      <a:pos x="54" y="474"/>
                    </a:cxn>
                    <a:cxn ang="0">
                      <a:pos x="168" y="686"/>
                    </a:cxn>
                    <a:cxn ang="0">
                      <a:pos x="186" y="664"/>
                    </a:cxn>
                    <a:cxn ang="0">
                      <a:pos x="152" y="650"/>
                    </a:cxn>
                    <a:cxn ang="0">
                      <a:pos x="122" y="628"/>
                    </a:cxn>
                    <a:cxn ang="0">
                      <a:pos x="120" y="596"/>
                    </a:cxn>
                    <a:cxn ang="0">
                      <a:pos x="112" y="568"/>
                    </a:cxn>
                    <a:cxn ang="0">
                      <a:pos x="106" y="534"/>
                    </a:cxn>
                    <a:cxn ang="0">
                      <a:pos x="102" y="514"/>
                    </a:cxn>
                    <a:cxn ang="0">
                      <a:pos x="80" y="484"/>
                    </a:cxn>
                    <a:cxn ang="0">
                      <a:pos x="70" y="446"/>
                    </a:cxn>
                    <a:cxn ang="0">
                      <a:pos x="66" y="412"/>
                    </a:cxn>
                    <a:cxn ang="0">
                      <a:pos x="58" y="376"/>
                    </a:cxn>
                    <a:cxn ang="0">
                      <a:pos x="62" y="320"/>
                    </a:cxn>
                    <a:cxn ang="0">
                      <a:pos x="44" y="280"/>
                    </a:cxn>
                    <a:cxn ang="0">
                      <a:pos x="38" y="244"/>
                    </a:cxn>
                    <a:cxn ang="0">
                      <a:pos x="44" y="198"/>
                    </a:cxn>
                    <a:cxn ang="0">
                      <a:pos x="48" y="168"/>
                    </a:cxn>
                    <a:cxn ang="0">
                      <a:pos x="44" y="140"/>
                    </a:cxn>
                    <a:cxn ang="0">
                      <a:pos x="62" y="100"/>
                    </a:cxn>
                    <a:cxn ang="0">
                      <a:pos x="36" y="62"/>
                    </a:cxn>
                    <a:cxn ang="0">
                      <a:pos x="34" y="30"/>
                    </a:cxn>
                    <a:cxn ang="0">
                      <a:pos x="10" y="4"/>
                    </a:cxn>
                    <a:cxn ang="0">
                      <a:pos x="10" y="74"/>
                    </a:cxn>
                    <a:cxn ang="0">
                      <a:pos x="14" y="142"/>
                    </a:cxn>
                    <a:cxn ang="0">
                      <a:pos x="14" y="186"/>
                    </a:cxn>
                    <a:cxn ang="0">
                      <a:pos x="12" y="216"/>
                    </a:cxn>
                    <a:cxn ang="0">
                      <a:pos x="28" y="282"/>
                    </a:cxn>
                    <a:cxn ang="0">
                      <a:pos x="28" y="348"/>
                    </a:cxn>
                    <a:cxn ang="0">
                      <a:pos x="28" y="408"/>
                    </a:cxn>
                    <a:cxn ang="0">
                      <a:pos x="48" y="460"/>
                    </a:cxn>
                    <a:cxn ang="0">
                      <a:pos x="62" y="464"/>
                    </a:cxn>
                    <a:cxn ang="0">
                      <a:pos x="68" y="484"/>
                    </a:cxn>
                    <a:cxn ang="0">
                      <a:pos x="74" y="508"/>
                    </a:cxn>
                    <a:cxn ang="0">
                      <a:pos x="84" y="534"/>
                    </a:cxn>
                    <a:cxn ang="0">
                      <a:pos x="78" y="552"/>
                    </a:cxn>
                    <a:cxn ang="0">
                      <a:pos x="58" y="544"/>
                    </a:cxn>
                    <a:cxn ang="0">
                      <a:pos x="60" y="554"/>
                    </a:cxn>
                    <a:cxn ang="0">
                      <a:pos x="86" y="572"/>
                    </a:cxn>
                    <a:cxn ang="0">
                      <a:pos x="92" y="582"/>
                    </a:cxn>
                    <a:cxn ang="0">
                      <a:pos x="96" y="606"/>
                    </a:cxn>
                    <a:cxn ang="0">
                      <a:pos x="108" y="622"/>
                    </a:cxn>
                    <a:cxn ang="0">
                      <a:pos x="116" y="634"/>
                    </a:cxn>
                    <a:cxn ang="0">
                      <a:pos x="136" y="644"/>
                    </a:cxn>
                    <a:cxn ang="0">
                      <a:pos x="148" y="672"/>
                    </a:cxn>
                    <a:cxn ang="0">
                      <a:pos x="174" y="670"/>
                    </a:cxn>
                    <a:cxn ang="0">
                      <a:pos x="154" y="690"/>
                    </a:cxn>
                  </a:cxnLst>
                  <a:rect l="0" t="0" r="r" b="b"/>
                  <a:pathLst>
                    <a:path w="276" h="720">
                      <a:moveTo>
                        <a:pt x="272" y="702"/>
                      </a:moveTo>
                      <a:lnTo>
                        <a:pt x="272" y="702"/>
                      </a:lnTo>
                      <a:lnTo>
                        <a:pt x="268" y="702"/>
                      </a:lnTo>
                      <a:lnTo>
                        <a:pt x="266" y="700"/>
                      </a:lnTo>
                      <a:lnTo>
                        <a:pt x="260" y="700"/>
                      </a:lnTo>
                      <a:lnTo>
                        <a:pt x="254" y="698"/>
                      </a:lnTo>
                      <a:lnTo>
                        <a:pt x="248" y="696"/>
                      </a:lnTo>
                      <a:lnTo>
                        <a:pt x="242" y="692"/>
                      </a:lnTo>
                      <a:lnTo>
                        <a:pt x="238" y="692"/>
                      </a:lnTo>
                      <a:lnTo>
                        <a:pt x="236" y="690"/>
                      </a:lnTo>
                      <a:lnTo>
                        <a:pt x="232" y="688"/>
                      </a:lnTo>
                      <a:lnTo>
                        <a:pt x="230" y="686"/>
                      </a:lnTo>
                      <a:lnTo>
                        <a:pt x="228" y="684"/>
                      </a:lnTo>
                      <a:lnTo>
                        <a:pt x="226" y="684"/>
                      </a:lnTo>
                      <a:lnTo>
                        <a:pt x="226" y="682"/>
                      </a:lnTo>
                      <a:lnTo>
                        <a:pt x="224" y="680"/>
                      </a:lnTo>
                      <a:lnTo>
                        <a:pt x="224" y="678"/>
                      </a:lnTo>
                      <a:lnTo>
                        <a:pt x="214" y="678"/>
                      </a:lnTo>
                      <a:lnTo>
                        <a:pt x="216" y="678"/>
                      </a:lnTo>
                      <a:lnTo>
                        <a:pt x="216" y="674"/>
                      </a:lnTo>
                      <a:lnTo>
                        <a:pt x="212" y="672"/>
                      </a:lnTo>
                      <a:lnTo>
                        <a:pt x="210" y="670"/>
                      </a:lnTo>
                      <a:lnTo>
                        <a:pt x="208" y="668"/>
                      </a:lnTo>
                      <a:lnTo>
                        <a:pt x="208" y="666"/>
                      </a:lnTo>
                      <a:lnTo>
                        <a:pt x="206" y="666"/>
                      </a:lnTo>
                      <a:lnTo>
                        <a:pt x="204" y="666"/>
                      </a:lnTo>
                      <a:lnTo>
                        <a:pt x="202" y="666"/>
                      </a:lnTo>
                      <a:lnTo>
                        <a:pt x="202" y="668"/>
                      </a:lnTo>
                      <a:lnTo>
                        <a:pt x="200" y="668"/>
                      </a:lnTo>
                      <a:lnTo>
                        <a:pt x="198" y="666"/>
                      </a:lnTo>
                      <a:lnTo>
                        <a:pt x="196" y="666"/>
                      </a:lnTo>
                      <a:lnTo>
                        <a:pt x="196" y="664"/>
                      </a:lnTo>
                      <a:lnTo>
                        <a:pt x="196" y="666"/>
                      </a:lnTo>
                      <a:lnTo>
                        <a:pt x="194" y="668"/>
                      </a:lnTo>
                      <a:lnTo>
                        <a:pt x="194" y="670"/>
                      </a:lnTo>
                      <a:lnTo>
                        <a:pt x="192" y="670"/>
                      </a:lnTo>
                      <a:lnTo>
                        <a:pt x="190" y="670"/>
                      </a:lnTo>
                      <a:lnTo>
                        <a:pt x="188" y="670"/>
                      </a:lnTo>
                      <a:lnTo>
                        <a:pt x="188" y="672"/>
                      </a:lnTo>
                      <a:lnTo>
                        <a:pt x="190" y="672"/>
                      </a:lnTo>
                      <a:lnTo>
                        <a:pt x="190" y="674"/>
                      </a:lnTo>
                      <a:lnTo>
                        <a:pt x="186" y="674"/>
                      </a:lnTo>
                      <a:lnTo>
                        <a:pt x="186" y="682"/>
                      </a:lnTo>
                      <a:lnTo>
                        <a:pt x="188" y="682"/>
                      </a:lnTo>
                      <a:lnTo>
                        <a:pt x="190" y="682"/>
                      </a:lnTo>
                      <a:lnTo>
                        <a:pt x="194" y="680"/>
                      </a:lnTo>
                      <a:lnTo>
                        <a:pt x="196" y="680"/>
                      </a:lnTo>
                      <a:lnTo>
                        <a:pt x="198" y="678"/>
                      </a:lnTo>
                      <a:lnTo>
                        <a:pt x="200" y="678"/>
                      </a:lnTo>
                      <a:lnTo>
                        <a:pt x="204" y="678"/>
                      </a:lnTo>
                      <a:lnTo>
                        <a:pt x="204" y="680"/>
                      </a:lnTo>
                      <a:lnTo>
                        <a:pt x="204" y="684"/>
                      </a:lnTo>
                      <a:lnTo>
                        <a:pt x="202" y="686"/>
                      </a:lnTo>
                      <a:lnTo>
                        <a:pt x="200" y="686"/>
                      </a:lnTo>
                      <a:lnTo>
                        <a:pt x="200" y="688"/>
                      </a:lnTo>
                      <a:lnTo>
                        <a:pt x="198" y="688"/>
                      </a:lnTo>
                      <a:lnTo>
                        <a:pt x="196" y="690"/>
                      </a:lnTo>
                      <a:lnTo>
                        <a:pt x="196" y="692"/>
                      </a:lnTo>
                      <a:lnTo>
                        <a:pt x="198" y="692"/>
                      </a:lnTo>
                      <a:lnTo>
                        <a:pt x="200" y="692"/>
                      </a:lnTo>
                      <a:lnTo>
                        <a:pt x="202" y="694"/>
                      </a:lnTo>
                      <a:lnTo>
                        <a:pt x="206" y="694"/>
                      </a:lnTo>
                      <a:lnTo>
                        <a:pt x="210" y="696"/>
                      </a:lnTo>
                      <a:lnTo>
                        <a:pt x="212" y="696"/>
                      </a:lnTo>
                      <a:lnTo>
                        <a:pt x="214" y="698"/>
                      </a:lnTo>
                      <a:lnTo>
                        <a:pt x="216" y="698"/>
                      </a:lnTo>
                      <a:lnTo>
                        <a:pt x="218" y="698"/>
                      </a:lnTo>
                      <a:lnTo>
                        <a:pt x="220" y="698"/>
                      </a:lnTo>
                      <a:lnTo>
                        <a:pt x="218" y="700"/>
                      </a:lnTo>
                      <a:lnTo>
                        <a:pt x="218" y="702"/>
                      </a:lnTo>
                      <a:lnTo>
                        <a:pt x="216" y="702"/>
                      </a:lnTo>
                      <a:lnTo>
                        <a:pt x="216" y="704"/>
                      </a:lnTo>
                      <a:lnTo>
                        <a:pt x="214" y="700"/>
                      </a:lnTo>
                      <a:lnTo>
                        <a:pt x="208" y="700"/>
                      </a:lnTo>
                      <a:lnTo>
                        <a:pt x="206" y="702"/>
                      </a:lnTo>
                      <a:lnTo>
                        <a:pt x="206" y="700"/>
                      </a:lnTo>
                      <a:lnTo>
                        <a:pt x="204" y="698"/>
                      </a:lnTo>
                      <a:lnTo>
                        <a:pt x="202" y="696"/>
                      </a:lnTo>
                      <a:lnTo>
                        <a:pt x="200" y="698"/>
                      </a:lnTo>
                      <a:lnTo>
                        <a:pt x="198" y="698"/>
                      </a:lnTo>
                      <a:lnTo>
                        <a:pt x="200" y="698"/>
                      </a:lnTo>
                      <a:lnTo>
                        <a:pt x="200" y="700"/>
                      </a:lnTo>
                      <a:lnTo>
                        <a:pt x="202" y="700"/>
                      </a:lnTo>
                      <a:lnTo>
                        <a:pt x="200" y="700"/>
                      </a:lnTo>
                      <a:lnTo>
                        <a:pt x="198" y="700"/>
                      </a:lnTo>
                      <a:lnTo>
                        <a:pt x="194" y="700"/>
                      </a:lnTo>
                      <a:lnTo>
                        <a:pt x="196" y="702"/>
                      </a:lnTo>
                      <a:lnTo>
                        <a:pt x="196" y="704"/>
                      </a:lnTo>
                      <a:lnTo>
                        <a:pt x="200" y="706"/>
                      </a:lnTo>
                      <a:lnTo>
                        <a:pt x="214" y="706"/>
                      </a:lnTo>
                      <a:lnTo>
                        <a:pt x="216" y="706"/>
                      </a:lnTo>
                      <a:lnTo>
                        <a:pt x="218" y="708"/>
                      </a:lnTo>
                      <a:lnTo>
                        <a:pt x="222" y="708"/>
                      </a:lnTo>
                      <a:lnTo>
                        <a:pt x="224" y="706"/>
                      </a:lnTo>
                      <a:lnTo>
                        <a:pt x="248" y="706"/>
                      </a:lnTo>
                      <a:lnTo>
                        <a:pt x="250" y="708"/>
                      </a:lnTo>
                      <a:lnTo>
                        <a:pt x="252" y="708"/>
                      </a:lnTo>
                      <a:lnTo>
                        <a:pt x="256" y="710"/>
                      </a:lnTo>
                      <a:lnTo>
                        <a:pt x="258" y="710"/>
                      </a:lnTo>
                      <a:lnTo>
                        <a:pt x="258" y="712"/>
                      </a:lnTo>
                      <a:lnTo>
                        <a:pt x="260" y="710"/>
                      </a:lnTo>
                      <a:lnTo>
                        <a:pt x="262" y="708"/>
                      </a:lnTo>
                      <a:lnTo>
                        <a:pt x="264" y="708"/>
                      </a:lnTo>
                      <a:lnTo>
                        <a:pt x="266" y="708"/>
                      </a:lnTo>
                      <a:lnTo>
                        <a:pt x="268" y="708"/>
                      </a:lnTo>
                      <a:lnTo>
                        <a:pt x="274" y="708"/>
                      </a:lnTo>
                      <a:lnTo>
                        <a:pt x="276" y="706"/>
                      </a:lnTo>
                      <a:lnTo>
                        <a:pt x="276" y="702"/>
                      </a:lnTo>
                      <a:lnTo>
                        <a:pt x="272" y="702"/>
                      </a:lnTo>
                      <a:close/>
                      <a:moveTo>
                        <a:pt x="250" y="712"/>
                      </a:moveTo>
                      <a:lnTo>
                        <a:pt x="250" y="710"/>
                      </a:lnTo>
                      <a:lnTo>
                        <a:pt x="248" y="710"/>
                      </a:lnTo>
                      <a:lnTo>
                        <a:pt x="234" y="710"/>
                      </a:lnTo>
                      <a:lnTo>
                        <a:pt x="236" y="712"/>
                      </a:lnTo>
                      <a:lnTo>
                        <a:pt x="238" y="714"/>
                      </a:lnTo>
                      <a:lnTo>
                        <a:pt x="240" y="714"/>
                      </a:lnTo>
                      <a:lnTo>
                        <a:pt x="244" y="714"/>
                      </a:lnTo>
                      <a:lnTo>
                        <a:pt x="246" y="716"/>
                      </a:lnTo>
                      <a:lnTo>
                        <a:pt x="254" y="716"/>
                      </a:lnTo>
                      <a:lnTo>
                        <a:pt x="252" y="714"/>
                      </a:lnTo>
                      <a:lnTo>
                        <a:pt x="250" y="712"/>
                      </a:lnTo>
                      <a:close/>
                      <a:moveTo>
                        <a:pt x="240" y="718"/>
                      </a:moveTo>
                      <a:lnTo>
                        <a:pt x="240" y="716"/>
                      </a:lnTo>
                      <a:lnTo>
                        <a:pt x="238" y="714"/>
                      </a:lnTo>
                      <a:lnTo>
                        <a:pt x="228" y="712"/>
                      </a:lnTo>
                      <a:lnTo>
                        <a:pt x="230" y="712"/>
                      </a:lnTo>
                      <a:lnTo>
                        <a:pt x="230" y="710"/>
                      </a:lnTo>
                      <a:lnTo>
                        <a:pt x="226" y="710"/>
                      </a:lnTo>
                      <a:lnTo>
                        <a:pt x="212" y="710"/>
                      </a:lnTo>
                      <a:lnTo>
                        <a:pt x="212" y="712"/>
                      </a:lnTo>
                      <a:lnTo>
                        <a:pt x="214" y="714"/>
                      </a:lnTo>
                      <a:lnTo>
                        <a:pt x="214" y="716"/>
                      </a:lnTo>
                      <a:lnTo>
                        <a:pt x="214" y="718"/>
                      </a:lnTo>
                      <a:lnTo>
                        <a:pt x="218" y="718"/>
                      </a:lnTo>
                      <a:lnTo>
                        <a:pt x="224" y="718"/>
                      </a:lnTo>
                      <a:lnTo>
                        <a:pt x="222" y="716"/>
                      </a:lnTo>
                      <a:lnTo>
                        <a:pt x="220" y="716"/>
                      </a:lnTo>
                      <a:lnTo>
                        <a:pt x="222" y="714"/>
                      </a:lnTo>
                      <a:lnTo>
                        <a:pt x="224" y="714"/>
                      </a:lnTo>
                      <a:lnTo>
                        <a:pt x="224" y="716"/>
                      </a:lnTo>
                      <a:lnTo>
                        <a:pt x="226" y="716"/>
                      </a:lnTo>
                      <a:lnTo>
                        <a:pt x="226" y="718"/>
                      </a:lnTo>
                      <a:lnTo>
                        <a:pt x="236" y="718"/>
                      </a:lnTo>
                      <a:lnTo>
                        <a:pt x="238" y="718"/>
                      </a:lnTo>
                      <a:lnTo>
                        <a:pt x="238" y="720"/>
                      </a:lnTo>
                      <a:lnTo>
                        <a:pt x="240" y="720"/>
                      </a:lnTo>
                      <a:lnTo>
                        <a:pt x="244" y="720"/>
                      </a:lnTo>
                      <a:lnTo>
                        <a:pt x="242" y="718"/>
                      </a:lnTo>
                      <a:lnTo>
                        <a:pt x="240" y="718"/>
                      </a:lnTo>
                      <a:close/>
                      <a:moveTo>
                        <a:pt x="200" y="710"/>
                      </a:moveTo>
                      <a:lnTo>
                        <a:pt x="200" y="708"/>
                      </a:lnTo>
                      <a:lnTo>
                        <a:pt x="198" y="708"/>
                      </a:lnTo>
                      <a:lnTo>
                        <a:pt x="192" y="702"/>
                      </a:lnTo>
                      <a:lnTo>
                        <a:pt x="188" y="700"/>
                      </a:lnTo>
                      <a:lnTo>
                        <a:pt x="182" y="700"/>
                      </a:lnTo>
                      <a:lnTo>
                        <a:pt x="176" y="700"/>
                      </a:lnTo>
                      <a:lnTo>
                        <a:pt x="178" y="700"/>
                      </a:lnTo>
                      <a:lnTo>
                        <a:pt x="178" y="702"/>
                      </a:lnTo>
                      <a:lnTo>
                        <a:pt x="178" y="704"/>
                      </a:lnTo>
                      <a:lnTo>
                        <a:pt x="188" y="704"/>
                      </a:lnTo>
                      <a:lnTo>
                        <a:pt x="188" y="706"/>
                      </a:lnTo>
                      <a:lnTo>
                        <a:pt x="190" y="706"/>
                      </a:lnTo>
                      <a:lnTo>
                        <a:pt x="190" y="708"/>
                      </a:lnTo>
                      <a:lnTo>
                        <a:pt x="192" y="708"/>
                      </a:lnTo>
                      <a:lnTo>
                        <a:pt x="194" y="710"/>
                      </a:lnTo>
                      <a:lnTo>
                        <a:pt x="196" y="710"/>
                      </a:lnTo>
                      <a:lnTo>
                        <a:pt x="198" y="712"/>
                      </a:lnTo>
                      <a:lnTo>
                        <a:pt x="200" y="712"/>
                      </a:lnTo>
                      <a:lnTo>
                        <a:pt x="202" y="714"/>
                      </a:lnTo>
                      <a:lnTo>
                        <a:pt x="204" y="714"/>
                      </a:lnTo>
                      <a:lnTo>
                        <a:pt x="206" y="714"/>
                      </a:lnTo>
                      <a:lnTo>
                        <a:pt x="202" y="712"/>
                      </a:lnTo>
                      <a:lnTo>
                        <a:pt x="200" y="710"/>
                      </a:lnTo>
                      <a:close/>
                      <a:moveTo>
                        <a:pt x="184" y="696"/>
                      </a:moveTo>
                      <a:lnTo>
                        <a:pt x="184" y="694"/>
                      </a:lnTo>
                      <a:lnTo>
                        <a:pt x="182" y="694"/>
                      </a:lnTo>
                      <a:lnTo>
                        <a:pt x="182" y="692"/>
                      </a:lnTo>
                      <a:lnTo>
                        <a:pt x="180" y="692"/>
                      </a:lnTo>
                      <a:lnTo>
                        <a:pt x="176" y="692"/>
                      </a:lnTo>
                      <a:lnTo>
                        <a:pt x="174" y="690"/>
                      </a:lnTo>
                      <a:lnTo>
                        <a:pt x="172" y="690"/>
                      </a:lnTo>
                      <a:lnTo>
                        <a:pt x="170" y="690"/>
                      </a:lnTo>
                      <a:lnTo>
                        <a:pt x="170" y="692"/>
                      </a:lnTo>
                      <a:lnTo>
                        <a:pt x="168" y="694"/>
                      </a:lnTo>
                      <a:lnTo>
                        <a:pt x="168" y="698"/>
                      </a:lnTo>
                      <a:lnTo>
                        <a:pt x="172" y="696"/>
                      </a:lnTo>
                      <a:lnTo>
                        <a:pt x="174" y="696"/>
                      </a:lnTo>
                      <a:lnTo>
                        <a:pt x="176" y="694"/>
                      </a:lnTo>
                      <a:lnTo>
                        <a:pt x="184" y="696"/>
                      </a:lnTo>
                      <a:close/>
                      <a:moveTo>
                        <a:pt x="148" y="670"/>
                      </a:moveTo>
                      <a:lnTo>
                        <a:pt x="148" y="668"/>
                      </a:lnTo>
                      <a:lnTo>
                        <a:pt x="150" y="668"/>
                      </a:lnTo>
                      <a:lnTo>
                        <a:pt x="148" y="668"/>
                      </a:lnTo>
                      <a:lnTo>
                        <a:pt x="148" y="666"/>
                      </a:lnTo>
                      <a:lnTo>
                        <a:pt x="146" y="666"/>
                      </a:lnTo>
                      <a:lnTo>
                        <a:pt x="146" y="664"/>
                      </a:lnTo>
                      <a:lnTo>
                        <a:pt x="146" y="662"/>
                      </a:lnTo>
                      <a:lnTo>
                        <a:pt x="148" y="660"/>
                      </a:lnTo>
                      <a:lnTo>
                        <a:pt x="146" y="658"/>
                      </a:lnTo>
                      <a:lnTo>
                        <a:pt x="144" y="658"/>
                      </a:lnTo>
                      <a:lnTo>
                        <a:pt x="142" y="658"/>
                      </a:lnTo>
                      <a:lnTo>
                        <a:pt x="140" y="658"/>
                      </a:lnTo>
                      <a:lnTo>
                        <a:pt x="138" y="656"/>
                      </a:lnTo>
                      <a:lnTo>
                        <a:pt x="136" y="656"/>
                      </a:lnTo>
                      <a:lnTo>
                        <a:pt x="134" y="658"/>
                      </a:lnTo>
                      <a:lnTo>
                        <a:pt x="134" y="662"/>
                      </a:lnTo>
                      <a:lnTo>
                        <a:pt x="134" y="666"/>
                      </a:lnTo>
                      <a:lnTo>
                        <a:pt x="134" y="668"/>
                      </a:lnTo>
                      <a:lnTo>
                        <a:pt x="136" y="668"/>
                      </a:lnTo>
                      <a:lnTo>
                        <a:pt x="138" y="668"/>
                      </a:lnTo>
                      <a:lnTo>
                        <a:pt x="140" y="666"/>
                      </a:lnTo>
                      <a:lnTo>
                        <a:pt x="142" y="666"/>
                      </a:lnTo>
                      <a:lnTo>
                        <a:pt x="142" y="670"/>
                      </a:lnTo>
                      <a:lnTo>
                        <a:pt x="142" y="672"/>
                      </a:lnTo>
                      <a:lnTo>
                        <a:pt x="144" y="670"/>
                      </a:lnTo>
                      <a:lnTo>
                        <a:pt x="146" y="670"/>
                      </a:lnTo>
                      <a:lnTo>
                        <a:pt x="148" y="670"/>
                      </a:lnTo>
                      <a:close/>
                      <a:moveTo>
                        <a:pt x="128" y="652"/>
                      </a:moveTo>
                      <a:lnTo>
                        <a:pt x="128" y="650"/>
                      </a:lnTo>
                      <a:lnTo>
                        <a:pt x="126" y="650"/>
                      </a:lnTo>
                      <a:lnTo>
                        <a:pt x="126" y="652"/>
                      </a:lnTo>
                      <a:lnTo>
                        <a:pt x="126" y="654"/>
                      </a:lnTo>
                      <a:lnTo>
                        <a:pt x="126" y="658"/>
                      </a:lnTo>
                      <a:lnTo>
                        <a:pt x="124" y="658"/>
                      </a:lnTo>
                      <a:lnTo>
                        <a:pt x="122" y="658"/>
                      </a:lnTo>
                      <a:lnTo>
                        <a:pt x="120" y="658"/>
                      </a:lnTo>
                      <a:lnTo>
                        <a:pt x="122" y="660"/>
                      </a:lnTo>
                      <a:lnTo>
                        <a:pt x="124" y="660"/>
                      </a:lnTo>
                      <a:lnTo>
                        <a:pt x="126" y="662"/>
                      </a:lnTo>
                      <a:lnTo>
                        <a:pt x="128" y="662"/>
                      </a:lnTo>
                      <a:lnTo>
                        <a:pt x="130" y="662"/>
                      </a:lnTo>
                      <a:lnTo>
                        <a:pt x="130" y="664"/>
                      </a:lnTo>
                      <a:lnTo>
                        <a:pt x="132" y="654"/>
                      </a:lnTo>
                      <a:lnTo>
                        <a:pt x="130" y="652"/>
                      </a:lnTo>
                      <a:lnTo>
                        <a:pt x="128" y="652"/>
                      </a:lnTo>
                      <a:close/>
                      <a:moveTo>
                        <a:pt x="108" y="628"/>
                      </a:moveTo>
                      <a:lnTo>
                        <a:pt x="108" y="628"/>
                      </a:lnTo>
                      <a:lnTo>
                        <a:pt x="104" y="628"/>
                      </a:lnTo>
                      <a:lnTo>
                        <a:pt x="104" y="630"/>
                      </a:lnTo>
                      <a:lnTo>
                        <a:pt x="100" y="630"/>
                      </a:lnTo>
                      <a:lnTo>
                        <a:pt x="98" y="630"/>
                      </a:lnTo>
                      <a:lnTo>
                        <a:pt x="96" y="630"/>
                      </a:lnTo>
                      <a:lnTo>
                        <a:pt x="98" y="632"/>
                      </a:lnTo>
                      <a:lnTo>
                        <a:pt x="100" y="634"/>
                      </a:lnTo>
                      <a:lnTo>
                        <a:pt x="102" y="638"/>
                      </a:lnTo>
                      <a:lnTo>
                        <a:pt x="102" y="642"/>
                      </a:lnTo>
                      <a:lnTo>
                        <a:pt x="102" y="644"/>
                      </a:lnTo>
                      <a:lnTo>
                        <a:pt x="102" y="648"/>
                      </a:lnTo>
                      <a:lnTo>
                        <a:pt x="108" y="644"/>
                      </a:lnTo>
                      <a:lnTo>
                        <a:pt x="108" y="642"/>
                      </a:lnTo>
                      <a:lnTo>
                        <a:pt x="110" y="640"/>
                      </a:lnTo>
                      <a:lnTo>
                        <a:pt x="110" y="634"/>
                      </a:lnTo>
                      <a:lnTo>
                        <a:pt x="108" y="632"/>
                      </a:lnTo>
                      <a:lnTo>
                        <a:pt x="108" y="628"/>
                      </a:lnTo>
                      <a:close/>
                      <a:moveTo>
                        <a:pt x="92" y="620"/>
                      </a:moveTo>
                      <a:lnTo>
                        <a:pt x="90" y="618"/>
                      </a:lnTo>
                      <a:lnTo>
                        <a:pt x="88" y="618"/>
                      </a:lnTo>
                      <a:lnTo>
                        <a:pt x="86" y="624"/>
                      </a:lnTo>
                      <a:lnTo>
                        <a:pt x="90" y="624"/>
                      </a:lnTo>
                      <a:lnTo>
                        <a:pt x="92" y="628"/>
                      </a:lnTo>
                      <a:lnTo>
                        <a:pt x="92" y="630"/>
                      </a:lnTo>
                      <a:lnTo>
                        <a:pt x="92" y="632"/>
                      </a:lnTo>
                      <a:lnTo>
                        <a:pt x="94" y="630"/>
                      </a:lnTo>
                      <a:lnTo>
                        <a:pt x="94" y="628"/>
                      </a:lnTo>
                      <a:lnTo>
                        <a:pt x="94" y="622"/>
                      </a:lnTo>
                      <a:lnTo>
                        <a:pt x="96" y="620"/>
                      </a:lnTo>
                      <a:lnTo>
                        <a:pt x="92" y="620"/>
                      </a:lnTo>
                      <a:close/>
                      <a:moveTo>
                        <a:pt x="98" y="618"/>
                      </a:moveTo>
                      <a:lnTo>
                        <a:pt x="98" y="612"/>
                      </a:lnTo>
                      <a:lnTo>
                        <a:pt x="96" y="610"/>
                      </a:lnTo>
                      <a:lnTo>
                        <a:pt x="94" y="608"/>
                      </a:lnTo>
                      <a:lnTo>
                        <a:pt x="94" y="606"/>
                      </a:lnTo>
                      <a:lnTo>
                        <a:pt x="92" y="606"/>
                      </a:lnTo>
                      <a:lnTo>
                        <a:pt x="92" y="604"/>
                      </a:lnTo>
                      <a:lnTo>
                        <a:pt x="90" y="604"/>
                      </a:lnTo>
                      <a:lnTo>
                        <a:pt x="90" y="602"/>
                      </a:lnTo>
                      <a:lnTo>
                        <a:pt x="88" y="600"/>
                      </a:lnTo>
                      <a:lnTo>
                        <a:pt x="88" y="598"/>
                      </a:lnTo>
                      <a:lnTo>
                        <a:pt x="86" y="596"/>
                      </a:lnTo>
                      <a:lnTo>
                        <a:pt x="86" y="594"/>
                      </a:lnTo>
                      <a:lnTo>
                        <a:pt x="86" y="592"/>
                      </a:lnTo>
                      <a:lnTo>
                        <a:pt x="86" y="590"/>
                      </a:lnTo>
                      <a:lnTo>
                        <a:pt x="84" y="588"/>
                      </a:lnTo>
                      <a:lnTo>
                        <a:pt x="84" y="586"/>
                      </a:lnTo>
                      <a:lnTo>
                        <a:pt x="82" y="584"/>
                      </a:lnTo>
                      <a:lnTo>
                        <a:pt x="78" y="582"/>
                      </a:lnTo>
                      <a:lnTo>
                        <a:pt x="76" y="582"/>
                      </a:lnTo>
                      <a:lnTo>
                        <a:pt x="74" y="582"/>
                      </a:lnTo>
                      <a:lnTo>
                        <a:pt x="74" y="584"/>
                      </a:lnTo>
                      <a:lnTo>
                        <a:pt x="72" y="584"/>
                      </a:lnTo>
                      <a:lnTo>
                        <a:pt x="70" y="584"/>
                      </a:lnTo>
                      <a:lnTo>
                        <a:pt x="70" y="582"/>
                      </a:lnTo>
                      <a:lnTo>
                        <a:pt x="70" y="584"/>
                      </a:lnTo>
                      <a:lnTo>
                        <a:pt x="68" y="584"/>
                      </a:lnTo>
                      <a:lnTo>
                        <a:pt x="68" y="586"/>
                      </a:lnTo>
                      <a:lnTo>
                        <a:pt x="68" y="588"/>
                      </a:lnTo>
                      <a:lnTo>
                        <a:pt x="66" y="590"/>
                      </a:lnTo>
                      <a:lnTo>
                        <a:pt x="66" y="592"/>
                      </a:lnTo>
                      <a:lnTo>
                        <a:pt x="80" y="592"/>
                      </a:lnTo>
                      <a:lnTo>
                        <a:pt x="78" y="596"/>
                      </a:lnTo>
                      <a:lnTo>
                        <a:pt x="76" y="598"/>
                      </a:lnTo>
                      <a:lnTo>
                        <a:pt x="76" y="600"/>
                      </a:lnTo>
                      <a:lnTo>
                        <a:pt x="74" y="600"/>
                      </a:lnTo>
                      <a:lnTo>
                        <a:pt x="74" y="602"/>
                      </a:lnTo>
                      <a:lnTo>
                        <a:pt x="78" y="602"/>
                      </a:lnTo>
                      <a:lnTo>
                        <a:pt x="80" y="600"/>
                      </a:lnTo>
                      <a:lnTo>
                        <a:pt x="82" y="598"/>
                      </a:lnTo>
                      <a:lnTo>
                        <a:pt x="82" y="604"/>
                      </a:lnTo>
                      <a:lnTo>
                        <a:pt x="84" y="604"/>
                      </a:lnTo>
                      <a:lnTo>
                        <a:pt x="84" y="606"/>
                      </a:lnTo>
                      <a:lnTo>
                        <a:pt x="86" y="610"/>
                      </a:lnTo>
                      <a:lnTo>
                        <a:pt x="86" y="612"/>
                      </a:lnTo>
                      <a:lnTo>
                        <a:pt x="86" y="614"/>
                      </a:lnTo>
                      <a:lnTo>
                        <a:pt x="88" y="616"/>
                      </a:lnTo>
                      <a:lnTo>
                        <a:pt x="90" y="616"/>
                      </a:lnTo>
                      <a:lnTo>
                        <a:pt x="90" y="614"/>
                      </a:lnTo>
                      <a:lnTo>
                        <a:pt x="90" y="612"/>
                      </a:lnTo>
                      <a:lnTo>
                        <a:pt x="92" y="612"/>
                      </a:lnTo>
                      <a:lnTo>
                        <a:pt x="94" y="614"/>
                      </a:lnTo>
                      <a:lnTo>
                        <a:pt x="96" y="616"/>
                      </a:lnTo>
                      <a:lnTo>
                        <a:pt x="98" y="618"/>
                      </a:lnTo>
                      <a:close/>
                      <a:moveTo>
                        <a:pt x="48" y="490"/>
                      </a:moveTo>
                      <a:lnTo>
                        <a:pt x="48" y="492"/>
                      </a:lnTo>
                      <a:lnTo>
                        <a:pt x="58" y="496"/>
                      </a:lnTo>
                      <a:lnTo>
                        <a:pt x="58" y="486"/>
                      </a:lnTo>
                      <a:lnTo>
                        <a:pt x="60" y="486"/>
                      </a:lnTo>
                      <a:lnTo>
                        <a:pt x="60" y="484"/>
                      </a:lnTo>
                      <a:lnTo>
                        <a:pt x="56" y="482"/>
                      </a:lnTo>
                      <a:lnTo>
                        <a:pt x="54" y="480"/>
                      </a:lnTo>
                      <a:lnTo>
                        <a:pt x="52" y="478"/>
                      </a:lnTo>
                      <a:lnTo>
                        <a:pt x="52" y="476"/>
                      </a:lnTo>
                      <a:lnTo>
                        <a:pt x="54" y="476"/>
                      </a:lnTo>
                      <a:lnTo>
                        <a:pt x="54" y="474"/>
                      </a:lnTo>
                      <a:lnTo>
                        <a:pt x="56" y="474"/>
                      </a:lnTo>
                      <a:lnTo>
                        <a:pt x="54" y="472"/>
                      </a:lnTo>
                      <a:lnTo>
                        <a:pt x="52" y="470"/>
                      </a:lnTo>
                      <a:lnTo>
                        <a:pt x="50" y="468"/>
                      </a:lnTo>
                      <a:lnTo>
                        <a:pt x="48" y="466"/>
                      </a:lnTo>
                      <a:lnTo>
                        <a:pt x="44" y="466"/>
                      </a:lnTo>
                      <a:lnTo>
                        <a:pt x="42" y="466"/>
                      </a:lnTo>
                      <a:lnTo>
                        <a:pt x="42" y="464"/>
                      </a:lnTo>
                      <a:lnTo>
                        <a:pt x="42" y="476"/>
                      </a:lnTo>
                      <a:lnTo>
                        <a:pt x="42" y="478"/>
                      </a:lnTo>
                      <a:lnTo>
                        <a:pt x="44" y="480"/>
                      </a:lnTo>
                      <a:lnTo>
                        <a:pt x="46" y="480"/>
                      </a:lnTo>
                      <a:lnTo>
                        <a:pt x="46" y="482"/>
                      </a:lnTo>
                      <a:lnTo>
                        <a:pt x="48" y="482"/>
                      </a:lnTo>
                      <a:lnTo>
                        <a:pt x="48" y="484"/>
                      </a:lnTo>
                      <a:lnTo>
                        <a:pt x="48" y="486"/>
                      </a:lnTo>
                      <a:lnTo>
                        <a:pt x="48" y="488"/>
                      </a:lnTo>
                      <a:lnTo>
                        <a:pt x="48" y="490"/>
                      </a:lnTo>
                      <a:close/>
                      <a:moveTo>
                        <a:pt x="168" y="686"/>
                      </a:moveTo>
                      <a:lnTo>
                        <a:pt x="170" y="684"/>
                      </a:lnTo>
                      <a:lnTo>
                        <a:pt x="172" y="684"/>
                      </a:lnTo>
                      <a:lnTo>
                        <a:pt x="172" y="686"/>
                      </a:lnTo>
                      <a:lnTo>
                        <a:pt x="174" y="686"/>
                      </a:lnTo>
                      <a:lnTo>
                        <a:pt x="176" y="688"/>
                      </a:lnTo>
                      <a:lnTo>
                        <a:pt x="180" y="688"/>
                      </a:lnTo>
                      <a:lnTo>
                        <a:pt x="182" y="686"/>
                      </a:lnTo>
                      <a:lnTo>
                        <a:pt x="184" y="686"/>
                      </a:lnTo>
                      <a:lnTo>
                        <a:pt x="184" y="684"/>
                      </a:lnTo>
                      <a:lnTo>
                        <a:pt x="184" y="682"/>
                      </a:lnTo>
                      <a:lnTo>
                        <a:pt x="182" y="682"/>
                      </a:lnTo>
                      <a:lnTo>
                        <a:pt x="182" y="680"/>
                      </a:lnTo>
                      <a:lnTo>
                        <a:pt x="180" y="678"/>
                      </a:lnTo>
                      <a:lnTo>
                        <a:pt x="178" y="678"/>
                      </a:lnTo>
                      <a:lnTo>
                        <a:pt x="178" y="676"/>
                      </a:lnTo>
                      <a:lnTo>
                        <a:pt x="178" y="668"/>
                      </a:lnTo>
                      <a:lnTo>
                        <a:pt x="184" y="668"/>
                      </a:lnTo>
                      <a:lnTo>
                        <a:pt x="186" y="668"/>
                      </a:lnTo>
                      <a:lnTo>
                        <a:pt x="186" y="666"/>
                      </a:lnTo>
                      <a:lnTo>
                        <a:pt x="186" y="664"/>
                      </a:lnTo>
                      <a:lnTo>
                        <a:pt x="190" y="664"/>
                      </a:lnTo>
                      <a:lnTo>
                        <a:pt x="192" y="664"/>
                      </a:lnTo>
                      <a:lnTo>
                        <a:pt x="192" y="662"/>
                      </a:lnTo>
                      <a:lnTo>
                        <a:pt x="192" y="660"/>
                      </a:lnTo>
                      <a:lnTo>
                        <a:pt x="194" y="660"/>
                      </a:lnTo>
                      <a:lnTo>
                        <a:pt x="192" y="658"/>
                      </a:lnTo>
                      <a:lnTo>
                        <a:pt x="190" y="658"/>
                      </a:lnTo>
                      <a:lnTo>
                        <a:pt x="190" y="656"/>
                      </a:lnTo>
                      <a:lnTo>
                        <a:pt x="188" y="656"/>
                      </a:lnTo>
                      <a:lnTo>
                        <a:pt x="180" y="656"/>
                      </a:lnTo>
                      <a:lnTo>
                        <a:pt x="176" y="654"/>
                      </a:lnTo>
                      <a:lnTo>
                        <a:pt x="170" y="654"/>
                      </a:lnTo>
                      <a:lnTo>
                        <a:pt x="168" y="656"/>
                      </a:lnTo>
                      <a:lnTo>
                        <a:pt x="164" y="656"/>
                      </a:lnTo>
                      <a:lnTo>
                        <a:pt x="162" y="656"/>
                      </a:lnTo>
                      <a:lnTo>
                        <a:pt x="160" y="656"/>
                      </a:lnTo>
                      <a:lnTo>
                        <a:pt x="158" y="656"/>
                      </a:lnTo>
                      <a:lnTo>
                        <a:pt x="158" y="654"/>
                      </a:lnTo>
                      <a:lnTo>
                        <a:pt x="156" y="652"/>
                      </a:lnTo>
                      <a:lnTo>
                        <a:pt x="154" y="650"/>
                      </a:lnTo>
                      <a:lnTo>
                        <a:pt x="152" y="650"/>
                      </a:lnTo>
                      <a:lnTo>
                        <a:pt x="150" y="650"/>
                      </a:lnTo>
                      <a:lnTo>
                        <a:pt x="148" y="648"/>
                      </a:lnTo>
                      <a:lnTo>
                        <a:pt x="146" y="646"/>
                      </a:lnTo>
                      <a:lnTo>
                        <a:pt x="144" y="646"/>
                      </a:lnTo>
                      <a:lnTo>
                        <a:pt x="144" y="644"/>
                      </a:lnTo>
                      <a:lnTo>
                        <a:pt x="142" y="642"/>
                      </a:lnTo>
                      <a:lnTo>
                        <a:pt x="140" y="640"/>
                      </a:lnTo>
                      <a:lnTo>
                        <a:pt x="140" y="634"/>
                      </a:lnTo>
                      <a:lnTo>
                        <a:pt x="138" y="632"/>
                      </a:lnTo>
                      <a:lnTo>
                        <a:pt x="136" y="630"/>
                      </a:lnTo>
                      <a:lnTo>
                        <a:pt x="134" y="628"/>
                      </a:lnTo>
                      <a:lnTo>
                        <a:pt x="130" y="628"/>
                      </a:lnTo>
                      <a:lnTo>
                        <a:pt x="128" y="630"/>
                      </a:lnTo>
                      <a:lnTo>
                        <a:pt x="126" y="632"/>
                      </a:lnTo>
                      <a:lnTo>
                        <a:pt x="124" y="632"/>
                      </a:lnTo>
                      <a:lnTo>
                        <a:pt x="124" y="630"/>
                      </a:lnTo>
                      <a:lnTo>
                        <a:pt x="122" y="628"/>
                      </a:lnTo>
                      <a:lnTo>
                        <a:pt x="122" y="626"/>
                      </a:lnTo>
                      <a:lnTo>
                        <a:pt x="120" y="624"/>
                      </a:lnTo>
                      <a:lnTo>
                        <a:pt x="120" y="622"/>
                      </a:lnTo>
                      <a:lnTo>
                        <a:pt x="118" y="622"/>
                      </a:lnTo>
                      <a:lnTo>
                        <a:pt x="114" y="622"/>
                      </a:lnTo>
                      <a:lnTo>
                        <a:pt x="114" y="618"/>
                      </a:lnTo>
                      <a:lnTo>
                        <a:pt x="112" y="614"/>
                      </a:lnTo>
                      <a:lnTo>
                        <a:pt x="112" y="612"/>
                      </a:lnTo>
                      <a:lnTo>
                        <a:pt x="110" y="610"/>
                      </a:lnTo>
                      <a:lnTo>
                        <a:pt x="110" y="608"/>
                      </a:lnTo>
                      <a:lnTo>
                        <a:pt x="110" y="604"/>
                      </a:lnTo>
                      <a:lnTo>
                        <a:pt x="112" y="604"/>
                      </a:lnTo>
                      <a:lnTo>
                        <a:pt x="112" y="602"/>
                      </a:lnTo>
                      <a:lnTo>
                        <a:pt x="112" y="598"/>
                      </a:lnTo>
                      <a:lnTo>
                        <a:pt x="114" y="598"/>
                      </a:lnTo>
                      <a:lnTo>
                        <a:pt x="116" y="598"/>
                      </a:lnTo>
                      <a:lnTo>
                        <a:pt x="118" y="598"/>
                      </a:lnTo>
                      <a:lnTo>
                        <a:pt x="120" y="596"/>
                      </a:lnTo>
                      <a:lnTo>
                        <a:pt x="120" y="594"/>
                      </a:lnTo>
                      <a:lnTo>
                        <a:pt x="116" y="592"/>
                      </a:lnTo>
                      <a:lnTo>
                        <a:pt x="114" y="590"/>
                      </a:lnTo>
                      <a:lnTo>
                        <a:pt x="112" y="588"/>
                      </a:lnTo>
                      <a:lnTo>
                        <a:pt x="114" y="588"/>
                      </a:lnTo>
                      <a:lnTo>
                        <a:pt x="116" y="586"/>
                      </a:lnTo>
                      <a:lnTo>
                        <a:pt x="118" y="586"/>
                      </a:lnTo>
                      <a:lnTo>
                        <a:pt x="118" y="584"/>
                      </a:lnTo>
                      <a:lnTo>
                        <a:pt x="116" y="582"/>
                      </a:lnTo>
                      <a:lnTo>
                        <a:pt x="114" y="580"/>
                      </a:lnTo>
                      <a:lnTo>
                        <a:pt x="112" y="580"/>
                      </a:lnTo>
                      <a:lnTo>
                        <a:pt x="112" y="578"/>
                      </a:lnTo>
                      <a:lnTo>
                        <a:pt x="110" y="578"/>
                      </a:lnTo>
                      <a:lnTo>
                        <a:pt x="110" y="576"/>
                      </a:lnTo>
                      <a:lnTo>
                        <a:pt x="112" y="574"/>
                      </a:lnTo>
                      <a:lnTo>
                        <a:pt x="112" y="568"/>
                      </a:lnTo>
                      <a:lnTo>
                        <a:pt x="114" y="568"/>
                      </a:lnTo>
                      <a:lnTo>
                        <a:pt x="116" y="568"/>
                      </a:lnTo>
                      <a:lnTo>
                        <a:pt x="114" y="564"/>
                      </a:lnTo>
                      <a:lnTo>
                        <a:pt x="114" y="562"/>
                      </a:lnTo>
                      <a:lnTo>
                        <a:pt x="112" y="562"/>
                      </a:lnTo>
                      <a:lnTo>
                        <a:pt x="112" y="556"/>
                      </a:lnTo>
                      <a:lnTo>
                        <a:pt x="114" y="554"/>
                      </a:lnTo>
                      <a:lnTo>
                        <a:pt x="114" y="552"/>
                      </a:lnTo>
                      <a:lnTo>
                        <a:pt x="112" y="550"/>
                      </a:lnTo>
                      <a:lnTo>
                        <a:pt x="110" y="550"/>
                      </a:lnTo>
                      <a:lnTo>
                        <a:pt x="110" y="548"/>
                      </a:lnTo>
                      <a:lnTo>
                        <a:pt x="108" y="546"/>
                      </a:lnTo>
                      <a:lnTo>
                        <a:pt x="110" y="544"/>
                      </a:lnTo>
                      <a:lnTo>
                        <a:pt x="110" y="542"/>
                      </a:lnTo>
                      <a:lnTo>
                        <a:pt x="108" y="540"/>
                      </a:lnTo>
                      <a:lnTo>
                        <a:pt x="106" y="538"/>
                      </a:lnTo>
                      <a:lnTo>
                        <a:pt x="104" y="538"/>
                      </a:lnTo>
                      <a:lnTo>
                        <a:pt x="104" y="536"/>
                      </a:lnTo>
                      <a:lnTo>
                        <a:pt x="106" y="534"/>
                      </a:lnTo>
                      <a:lnTo>
                        <a:pt x="108" y="532"/>
                      </a:lnTo>
                      <a:lnTo>
                        <a:pt x="110" y="530"/>
                      </a:lnTo>
                      <a:lnTo>
                        <a:pt x="110" y="528"/>
                      </a:lnTo>
                      <a:lnTo>
                        <a:pt x="108" y="526"/>
                      </a:lnTo>
                      <a:lnTo>
                        <a:pt x="106" y="526"/>
                      </a:lnTo>
                      <a:lnTo>
                        <a:pt x="104" y="524"/>
                      </a:lnTo>
                      <a:lnTo>
                        <a:pt x="102" y="524"/>
                      </a:lnTo>
                      <a:lnTo>
                        <a:pt x="100" y="524"/>
                      </a:lnTo>
                      <a:lnTo>
                        <a:pt x="98" y="522"/>
                      </a:lnTo>
                      <a:lnTo>
                        <a:pt x="96" y="522"/>
                      </a:lnTo>
                      <a:lnTo>
                        <a:pt x="94" y="522"/>
                      </a:lnTo>
                      <a:lnTo>
                        <a:pt x="94" y="520"/>
                      </a:lnTo>
                      <a:lnTo>
                        <a:pt x="96" y="520"/>
                      </a:lnTo>
                      <a:lnTo>
                        <a:pt x="98" y="520"/>
                      </a:lnTo>
                      <a:lnTo>
                        <a:pt x="102" y="520"/>
                      </a:lnTo>
                      <a:lnTo>
                        <a:pt x="104" y="518"/>
                      </a:lnTo>
                      <a:lnTo>
                        <a:pt x="106" y="518"/>
                      </a:lnTo>
                      <a:lnTo>
                        <a:pt x="106" y="514"/>
                      </a:lnTo>
                      <a:lnTo>
                        <a:pt x="104" y="514"/>
                      </a:lnTo>
                      <a:lnTo>
                        <a:pt x="102" y="514"/>
                      </a:lnTo>
                      <a:lnTo>
                        <a:pt x="100" y="514"/>
                      </a:lnTo>
                      <a:lnTo>
                        <a:pt x="96" y="514"/>
                      </a:lnTo>
                      <a:lnTo>
                        <a:pt x="94" y="512"/>
                      </a:lnTo>
                      <a:lnTo>
                        <a:pt x="92" y="512"/>
                      </a:lnTo>
                      <a:lnTo>
                        <a:pt x="92" y="504"/>
                      </a:lnTo>
                      <a:lnTo>
                        <a:pt x="92" y="502"/>
                      </a:lnTo>
                      <a:lnTo>
                        <a:pt x="92" y="500"/>
                      </a:lnTo>
                      <a:lnTo>
                        <a:pt x="90" y="498"/>
                      </a:lnTo>
                      <a:lnTo>
                        <a:pt x="88" y="498"/>
                      </a:lnTo>
                      <a:lnTo>
                        <a:pt x="88" y="496"/>
                      </a:lnTo>
                      <a:lnTo>
                        <a:pt x="86" y="496"/>
                      </a:lnTo>
                      <a:lnTo>
                        <a:pt x="86" y="494"/>
                      </a:lnTo>
                      <a:lnTo>
                        <a:pt x="86" y="492"/>
                      </a:lnTo>
                      <a:lnTo>
                        <a:pt x="86" y="490"/>
                      </a:lnTo>
                      <a:lnTo>
                        <a:pt x="86" y="488"/>
                      </a:lnTo>
                      <a:lnTo>
                        <a:pt x="84" y="488"/>
                      </a:lnTo>
                      <a:lnTo>
                        <a:pt x="82" y="488"/>
                      </a:lnTo>
                      <a:lnTo>
                        <a:pt x="80" y="486"/>
                      </a:lnTo>
                      <a:lnTo>
                        <a:pt x="80" y="484"/>
                      </a:lnTo>
                      <a:lnTo>
                        <a:pt x="80" y="482"/>
                      </a:lnTo>
                      <a:lnTo>
                        <a:pt x="78" y="480"/>
                      </a:lnTo>
                      <a:lnTo>
                        <a:pt x="78" y="478"/>
                      </a:lnTo>
                      <a:lnTo>
                        <a:pt x="78" y="476"/>
                      </a:lnTo>
                      <a:lnTo>
                        <a:pt x="78" y="472"/>
                      </a:lnTo>
                      <a:lnTo>
                        <a:pt x="76" y="472"/>
                      </a:lnTo>
                      <a:lnTo>
                        <a:pt x="76" y="470"/>
                      </a:lnTo>
                      <a:lnTo>
                        <a:pt x="78" y="470"/>
                      </a:lnTo>
                      <a:lnTo>
                        <a:pt x="80" y="468"/>
                      </a:lnTo>
                      <a:lnTo>
                        <a:pt x="82" y="468"/>
                      </a:lnTo>
                      <a:lnTo>
                        <a:pt x="82" y="466"/>
                      </a:lnTo>
                      <a:lnTo>
                        <a:pt x="80" y="466"/>
                      </a:lnTo>
                      <a:lnTo>
                        <a:pt x="78" y="464"/>
                      </a:lnTo>
                      <a:lnTo>
                        <a:pt x="76" y="462"/>
                      </a:lnTo>
                      <a:lnTo>
                        <a:pt x="74" y="460"/>
                      </a:lnTo>
                      <a:lnTo>
                        <a:pt x="74" y="458"/>
                      </a:lnTo>
                      <a:lnTo>
                        <a:pt x="72" y="458"/>
                      </a:lnTo>
                      <a:lnTo>
                        <a:pt x="72" y="456"/>
                      </a:lnTo>
                      <a:lnTo>
                        <a:pt x="72" y="448"/>
                      </a:lnTo>
                      <a:lnTo>
                        <a:pt x="70" y="448"/>
                      </a:lnTo>
                      <a:lnTo>
                        <a:pt x="70" y="446"/>
                      </a:lnTo>
                      <a:lnTo>
                        <a:pt x="68" y="444"/>
                      </a:lnTo>
                      <a:lnTo>
                        <a:pt x="68" y="440"/>
                      </a:lnTo>
                      <a:lnTo>
                        <a:pt x="70" y="438"/>
                      </a:lnTo>
                      <a:lnTo>
                        <a:pt x="70" y="434"/>
                      </a:lnTo>
                      <a:lnTo>
                        <a:pt x="68" y="434"/>
                      </a:lnTo>
                      <a:lnTo>
                        <a:pt x="68" y="432"/>
                      </a:lnTo>
                      <a:lnTo>
                        <a:pt x="66" y="432"/>
                      </a:lnTo>
                      <a:lnTo>
                        <a:pt x="64" y="432"/>
                      </a:lnTo>
                      <a:lnTo>
                        <a:pt x="66" y="432"/>
                      </a:lnTo>
                      <a:lnTo>
                        <a:pt x="66" y="430"/>
                      </a:lnTo>
                      <a:lnTo>
                        <a:pt x="66" y="428"/>
                      </a:lnTo>
                      <a:lnTo>
                        <a:pt x="66" y="426"/>
                      </a:lnTo>
                      <a:lnTo>
                        <a:pt x="66" y="424"/>
                      </a:lnTo>
                      <a:lnTo>
                        <a:pt x="64" y="422"/>
                      </a:lnTo>
                      <a:lnTo>
                        <a:pt x="62" y="422"/>
                      </a:lnTo>
                      <a:lnTo>
                        <a:pt x="64" y="420"/>
                      </a:lnTo>
                      <a:lnTo>
                        <a:pt x="66" y="420"/>
                      </a:lnTo>
                      <a:lnTo>
                        <a:pt x="66" y="418"/>
                      </a:lnTo>
                      <a:lnTo>
                        <a:pt x="68" y="418"/>
                      </a:lnTo>
                      <a:lnTo>
                        <a:pt x="66" y="414"/>
                      </a:lnTo>
                      <a:lnTo>
                        <a:pt x="66" y="412"/>
                      </a:lnTo>
                      <a:lnTo>
                        <a:pt x="64" y="410"/>
                      </a:lnTo>
                      <a:lnTo>
                        <a:pt x="64" y="408"/>
                      </a:lnTo>
                      <a:lnTo>
                        <a:pt x="66" y="408"/>
                      </a:lnTo>
                      <a:lnTo>
                        <a:pt x="70" y="406"/>
                      </a:lnTo>
                      <a:lnTo>
                        <a:pt x="70" y="404"/>
                      </a:lnTo>
                      <a:lnTo>
                        <a:pt x="72" y="404"/>
                      </a:lnTo>
                      <a:lnTo>
                        <a:pt x="72" y="402"/>
                      </a:lnTo>
                      <a:lnTo>
                        <a:pt x="70" y="400"/>
                      </a:lnTo>
                      <a:lnTo>
                        <a:pt x="68" y="398"/>
                      </a:lnTo>
                      <a:lnTo>
                        <a:pt x="66" y="398"/>
                      </a:lnTo>
                      <a:lnTo>
                        <a:pt x="66" y="396"/>
                      </a:lnTo>
                      <a:lnTo>
                        <a:pt x="66" y="392"/>
                      </a:lnTo>
                      <a:lnTo>
                        <a:pt x="64" y="390"/>
                      </a:lnTo>
                      <a:lnTo>
                        <a:pt x="62" y="388"/>
                      </a:lnTo>
                      <a:lnTo>
                        <a:pt x="60" y="388"/>
                      </a:lnTo>
                      <a:lnTo>
                        <a:pt x="60" y="386"/>
                      </a:lnTo>
                      <a:lnTo>
                        <a:pt x="60" y="376"/>
                      </a:lnTo>
                      <a:lnTo>
                        <a:pt x="58" y="376"/>
                      </a:lnTo>
                      <a:lnTo>
                        <a:pt x="58" y="374"/>
                      </a:lnTo>
                      <a:lnTo>
                        <a:pt x="58" y="370"/>
                      </a:lnTo>
                      <a:lnTo>
                        <a:pt x="56" y="368"/>
                      </a:lnTo>
                      <a:lnTo>
                        <a:pt x="56" y="366"/>
                      </a:lnTo>
                      <a:lnTo>
                        <a:pt x="56" y="364"/>
                      </a:lnTo>
                      <a:lnTo>
                        <a:pt x="54" y="362"/>
                      </a:lnTo>
                      <a:lnTo>
                        <a:pt x="62" y="362"/>
                      </a:lnTo>
                      <a:lnTo>
                        <a:pt x="62" y="358"/>
                      </a:lnTo>
                      <a:lnTo>
                        <a:pt x="62" y="356"/>
                      </a:lnTo>
                      <a:lnTo>
                        <a:pt x="62" y="348"/>
                      </a:lnTo>
                      <a:lnTo>
                        <a:pt x="62" y="346"/>
                      </a:lnTo>
                      <a:lnTo>
                        <a:pt x="60" y="346"/>
                      </a:lnTo>
                      <a:lnTo>
                        <a:pt x="60" y="344"/>
                      </a:lnTo>
                      <a:lnTo>
                        <a:pt x="58" y="342"/>
                      </a:lnTo>
                      <a:lnTo>
                        <a:pt x="58" y="340"/>
                      </a:lnTo>
                      <a:lnTo>
                        <a:pt x="56" y="340"/>
                      </a:lnTo>
                      <a:lnTo>
                        <a:pt x="60" y="340"/>
                      </a:lnTo>
                      <a:lnTo>
                        <a:pt x="60" y="324"/>
                      </a:lnTo>
                      <a:lnTo>
                        <a:pt x="62" y="322"/>
                      </a:lnTo>
                      <a:lnTo>
                        <a:pt x="62" y="320"/>
                      </a:lnTo>
                      <a:lnTo>
                        <a:pt x="64" y="318"/>
                      </a:lnTo>
                      <a:lnTo>
                        <a:pt x="64" y="316"/>
                      </a:lnTo>
                      <a:lnTo>
                        <a:pt x="62" y="314"/>
                      </a:lnTo>
                      <a:lnTo>
                        <a:pt x="62" y="312"/>
                      </a:lnTo>
                      <a:lnTo>
                        <a:pt x="60" y="310"/>
                      </a:lnTo>
                      <a:lnTo>
                        <a:pt x="60" y="300"/>
                      </a:lnTo>
                      <a:lnTo>
                        <a:pt x="54" y="300"/>
                      </a:lnTo>
                      <a:lnTo>
                        <a:pt x="52" y="300"/>
                      </a:lnTo>
                      <a:lnTo>
                        <a:pt x="52" y="298"/>
                      </a:lnTo>
                      <a:lnTo>
                        <a:pt x="50" y="298"/>
                      </a:lnTo>
                      <a:lnTo>
                        <a:pt x="50" y="296"/>
                      </a:lnTo>
                      <a:lnTo>
                        <a:pt x="52" y="294"/>
                      </a:lnTo>
                      <a:lnTo>
                        <a:pt x="52" y="290"/>
                      </a:lnTo>
                      <a:lnTo>
                        <a:pt x="50" y="290"/>
                      </a:lnTo>
                      <a:lnTo>
                        <a:pt x="48" y="286"/>
                      </a:lnTo>
                      <a:lnTo>
                        <a:pt x="48" y="284"/>
                      </a:lnTo>
                      <a:lnTo>
                        <a:pt x="48" y="282"/>
                      </a:lnTo>
                      <a:lnTo>
                        <a:pt x="46" y="282"/>
                      </a:lnTo>
                      <a:lnTo>
                        <a:pt x="44" y="280"/>
                      </a:lnTo>
                      <a:lnTo>
                        <a:pt x="42" y="280"/>
                      </a:lnTo>
                      <a:lnTo>
                        <a:pt x="42" y="278"/>
                      </a:lnTo>
                      <a:lnTo>
                        <a:pt x="44" y="278"/>
                      </a:lnTo>
                      <a:lnTo>
                        <a:pt x="44" y="276"/>
                      </a:lnTo>
                      <a:lnTo>
                        <a:pt x="44" y="274"/>
                      </a:lnTo>
                      <a:lnTo>
                        <a:pt x="44" y="272"/>
                      </a:lnTo>
                      <a:lnTo>
                        <a:pt x="42" y="272"/>
                      </a:lnTo>
                      <a:lnTo>
                        <a:pt x="40" y="270"/>
                      </a:lnTo>
                      <a:lnTo>
                        <a:pt x="38" y="268"/>
                      </a:lnTo>
                      <a:lnTo>
                        <a:pt x="38" y="264"/>
                      </a:lnTo>
                      <a:lnTo>
                        <a:pt x="36" y="262"/>
                      </a:lnTo>
                      <a:lnTo>
                        <a:pt x="36" y="260"/>
                      </a:lnTo>
                      <a:lnTo>
                        <a:pt x="38" y="260"/>
                      </a:lnTo>
                      <a:lnTo>
                        <a:pt x="38" y="258"/>
                      </a:lnTo>
                      <a:lnTo>
                        <a:pt x="40" y="258"/>
                      </a:lnTo>
                      <a:lnTo>
                        <a:pt x="40" y="254"/>
                      </a:lnTo>
                      <a:lnTo>
                        <a:pt x="38" y="252"/>
                      </a:lnTo>
                      <a:lnTo>
                        <a:pt x="38" y="244"/>
                      </a:lnTo>
                      <a:lnTo>
                        <a:pt x="40" y="244"/>
                      </a:lnTo>
                      <a:lnTo>
                        <a:pt x="42" y="244"/>
                      </a:lnTo>
                      <a:lnTo>
                        <a:pt x="44" y="244"/>
                      </a:lnTo>
                      <a:lnTo>
                        <a:pt x="44" y="240"/>
                      </a:lnTo>
                      <a:lnTo>
                        <a:pt x="42" y="238"/>
                      </a:lnTo>
                      <a:lnTo>
                        <a:pt x="40" y="234"/>
                      </a:lnTo>
                      <a:lnTo>
                        <a:pt x="40" y="230"/>
                      </a:lnTo>
                      <a:lnTo>
                        <a:pt x="38" y="228"/>
                      </a:lnTo>
                      <a:lnTo>
                        <a:pt x="38" y="226"/>
                      </a:lnTo>
                      <a:lnTo>
                        <a:pt x="38" y="224"/>
                      </a:lnTo>
                      <a:lnTo>
                        <a:pt x="38" y="222"/>
                      </a:lnTo>
                      <a:lnTo>
                        <a:pt x="40" y="220"/>
                      </a:lnTo>
                      <a:lnTo>
                        <a:pt x="40" y="218"/>
                      </a:lnTo>
                      <a:lnTo>
                        <a:pt x="40" y="216"/>
                      </a:lnTo>
                      <a:lnTo>
                        <a:pt x="40" y="212"/>
                      </a:lnTo>
                      <a:lnTo>
                        <a:pt x="40" y="204"/>
                      </a:lnTo>
                      <a:lnTo>
                        <a:pt x="40" y="202"/>
                      </a:lnTo>
                      <a:lnTo>
                        <a:pt x="42" y="200"/>
                      </a:lnTo>
                      <a:lnTo>
                        <a:pt x="44" y="198"/>
                      </a:lnTo>
                      <a:lnTo>
                        <a:pt x="46" y="198"/>
                      </a:lnTo>
                      <a:lnTo>
                        <a:pt x="46" y="196"/>
                      </a:lnTo>
                      <a:lnTo>
                        <a:pt x="46" y="194"/>
                      </a:lnTo>
                      <a:lnTo>
                        <a:pt x="48" y="192"/>
                      </a:lnTo>
                      <a:lnTo>
                        <a:pt x="48" y="188"/>
                      </a:lnTo>
                      <a:lnTo>
                        <a:pt x="48" y="186"/>
                      </a:lnTo>
                      <a:lnTo>
                        <a:pt x="48" y="182"/>
                      </a:lnTo>
                      <a:lnTo>
                        <a:pt x="50" y="182"/>
                      </a:lnTo>
                      <a:lnTo>
                        <a:pt x="52" y="180"/>
                      </a:lnTo>
                      <a:lnTo>
                        <a:pt x="54" y="180"/>
                      </a:lnTo>
                      <a:lnTo>
                        <a:pt x="56" y="180"/>
                      </a:lnTo>
                      <a:lnTo>
                        <a:pt x="58" y="178"/>
                      </a:lnTo>
                      <a:lnTo>
                        <a:pt x="58" y="176"/>
                      </a:lnTo>
                      <a:lnTo>
                        <a:pt x="56" y="174"/>
                      </a:lnTo>
                      <a:lnTo>
                        <a:pt x="56" y="172"/>
                      </a:lnTo>
                      <a:lnTo>
                        <a:pt x="54" y="172"/>
                      </a:lnTo>
                      <a:lnTo>
                        <a:pt x="52" y="170"/>
                      </a:lnTo>
                      <a:lnTo>
                        <a:pt x="50" y="170"/>
                      </a:lnTo>
                      <a:lnTo>
                        <a:pt x="48" y="170"/>
                      </a:lnTo>
                      <a:lnTo>
                        <a:pt x="48" y="168"/>
                      </a:lnTo>
                      <a:lnTo>
                        <a:pt x="50" y="168"/>
                      </a:lnTo>
                      <a:lnTo>
                        <a:pt x="50" y="166"/>
                      </a:lnTo>
                      <a:lnTo>
                        <a:pt x="52" y="166"/>
                      </a:lnTo>
                      <a:lnTo>
                        <a:pt x="54" y="164"/>
                      </a:lnTo>
                      <a:lnTo>
                        <a:pt x="54" y="162"/>
                      </a:lnTo>
                      <a:lnTo>
                        <a:pt x="54" y="160"/>
                      </a:lnTo>
                      <a:lnTo>
                        <a:pt x="54" y="158"/>
                      </a:lnTo>
                      <a:lnTo>
                        <a:pt x="52" y="158"/>
                      </a:lnTo>
                      <a:lnTo>
                        <a:pt x="50" y="156"/>
                      </a:lnTo>
                      <a:lnTo>
                        <a:pt x="48" y="154"/>
                      </a:lnTo>
                      <a:lnTo>
                        <a:pt x="46" y="154"/>
                      </a:lnTo>
                      <a:lnTo>
                        <a:pt x="46" y="152"/>
                      </a:lnTo>
                      <a:lnTo>
                        <a:pt x="46" y="148"/>
                      </a:lnTo>
                      <a:lnTo>
                        <a:pt x="48" y="146"/>
                      </a:lnTo>
                      <a:lnTo>
                        <a:pt x="52" y="144"/>
                      </a:lnTo>
                      <a:lnTo>
                        <a:pt x="52" y="142"/>
                      </a:lnTo>
                      <a:lnTo>
                        <a:pt x="50" y="142"/>
                      </a:lnTo>
                      <a:lnTo>
                        <a:pt x="48" y="142"/>
                      </a:lnTo>
                      <a:lnTo>
                        <a:pt x="48" y="140"/>
                      </a:lnTo>
                      <a:lnTo>
                        <a:pt x="46" y="140"/>
                      </a:lnTo>
                      <a:lnTo>
                        <a:pt x="44" y="140"/>
                      </a:lnTo>
                      <a:lnTo>
                        <a:pt x="44" y="138"/>
                      </a:lnTo>
                      <a:lnTo>
                        <a:pt x="44" y="136"/>
                      </a:lnTo>
                      <a:lnTo>
                        <a:pt x="46" y="134"/>
                      </a:lnTo>
                      <a:lnTo>
                        <a:pt x="50" y="130"/>
                      </a:lnTo>
                      <a:lnTo>
                        <a:pt x="54" y="128"/>
                      </a:lnTo>
                      <a:lnTo>
                        <a:pt x="58" y="126"/>
                      </a:lnTo>
                      <a:lnTo>
                        <a:pt x="60" y="124"/>
                      </a:lnTo>
                      <a:lnTo>
                        <a:pt x="62" y="124"/>
                      </a:lnTo>
                      <a:lnTo>
                        <a:pt x="64" y="124"/>
                      </a:lnTo>
                      <a:lnTo>
                        <a:pt x="64" y="118"/>
                      </a:lnTo>
                      <a:lnTo>
                        <a:pt x="64" y="114"/>
                      </a:lnTo>
                      <a:lnTo>
                        <a:pt x="64" y="106"/>
                      </a:lnTo>
                      <a:lnTo>
                        <a:pt x="66" y="104"/>
                      </a:lnTo>
                      <a:lnTo>
                        <a:pt x="64" y="102"/>
                      </a:lnTo>
                      <a:lnTo>
                        <a:pt x="64" y="100"/>
                      </a:lnTo>
                      <a:lnTo>
                        <a:pt x="62" y="100"/>
                      </a:lnTo>
                      <a:lnTo>
                        <a:pt x="54" y="100"/>
                      </a:lnTo>
                      <a:lnTo>
                        <a:pt x="52" y="98"/>
                      </a:lnTo>
                      <a:lnTo>
                        <a:pt x="52" y="96"/>
                      </a:lnTo>
                      <a:lnTo>
                        <a:pt x="50" y="94"/>
                      </a:lnTo>
                      <a:lnTo>
                        <a:pt x="50" y="92"/>
                      </a:lnTo>
                      <a:lnTo>
                        <a:pt x="50" y="90"/>
                      </a:lnTo>
                      <a:lnTo>
                        <a:pt x="48" y="88"/>
                      </a:lnTo>
                      <a:lnTo>
                        <a:pt x="46" y="86"/>
                      </a:lnTo>
                      <a:lnTo>
                        <a:pt x="46" y="82"/>
                      </a:lnTo>
                      <a:lnTo>
                        <a:pt x="46" y="80"/>
                      </a:lnTo>
                      <a:lnTo>
                        <a:pt x="46" y="76"/>
                      </a:lnTo>
                      <a:lnTo>
                        <a:pt x="46" y="72"/>
                      </a:lnTo>
                      <a:lnTo>
                        <a:pt x="44" y="70"/>
                      </a:lnTo>
                      <a:lnTo>
                        <a:pt x="44" y="68"/>
                      </a:lnTo>
                      <a:lnTo>
                        <a:pt x="40" y="66"/>
                      </a:lnTo>
                      <a:lnTo>
                        <a:pt x="38" y="64"/>
                      </a:lnTo>
                      <a:lnTo>
                        <a:pt x="36" y="64"/>
                      </a:lnTo>
                      <a:lnTo>
                        <a:pt x="36" y="62"/>
                      </a:lnTo>
                      <a:lnTo>
                        <a:pt x="34" y="62"/>
                      </a:lnTo>
                      <a:lnTo>
                        <a:pt x="34" y="56"/>
                      </a:lnTo>
                      <a:lnTo>
                        <a:pt x="32" y="54"/>
                      </a:lnTo>
                      <a:lnTo>
                        <a:pt x="32" y="52"/>
                      </a:lnTo>
                      <a:lnTo>
                        <a:pt x="32" y="50"/>
                      </a:lnTo>
                      <a:lnTo>
                        <a:pt x="32" y="48"/>
                      </a:lnTo>
                      <a:lnTo>
                        <a:pt x="34" y="48"/>
                      </a:lnTo>
                      <a:lnTo>
                        <a:pt x="34" y="46"/>
                      </a:lnTo>
                      <a:lnTo>
                        <a:pt x="36" y="44"/>
                      </a:lnTo>
                      <a:lnTo>
                        <a:pt x="34" y="44"/>
                      </a:lnTo>
                      <a:lnTo>
                        <a:pt x="34" y="42"/>
                      </a:lnTo>
                      <a:lnTo>
                        <a:pt x="32" y="42"/>
                      </a:lnTo>
                      <a:lnTo>
                        <a:pt x="32" y="40"/>
                      </a:lnTo>
                      <a:lnTo>
                        <a:pt x="34" y="40"/>
                      </a:lnTo>
                      <a:lnTo>
                        <a:pt x="34" y="36"/>
                      </a:lnTo>
                      <a:lnTo>
                        <a:pt x="36" y="34"/>
                      </a:lnTo>
                      <a:lnTo>
                        <a:pt x="36" y="32"/>
                      </a:lnTo>
                      <a:lnTo>
                        <a:pt x="34" y="30"/>
                      </a:lnTo>
                      <a:lnTo>
                        <a:pt x="32" y="30"/>
                      </a:lnTo>
                      <a:lnTo>
                        <a:pt x="30" y="28"/>
                      </a:lnTo>
                      <a:lnTo>
                        <a:pt x="28" y="28"/>
                      </a:lnTo>
                      <a:lnTo>
                        <a:pt x="26" y="26"/>
                      </a:lnTo>
                      <a:lnTo>
                        <a:pt x="24" y="26"/>
                      </a:lnTo>
                      <a:lnTo>
                        <a:pt x="24" y="22"/>
                      </a:lnTo>
                      <a:lnTo>
                        <a:pt x="24" y="20"/>
                      </a:lnTo>
                      <a:lnTo>
                        <a:pt x="22" y="18"/>
                      </a:lnTo>
                      <a:lnTo>
                        <a:pt x="22" y="14"/>
                      </a:lnTo>
                      <a:lnTo>
                        <a:pt x="22" y="10"/>
                      </a:lnTo>
                      <a:lnTo>
                        <a:pt x="20" y="8"/>
                      </a:lnTo>
                      <a:lnTo>
                        <a:pt x="20" y="6"/>
                      </a:lnTo>
                      <a:lnTo>
                        <a:pt x="16" y="6"/>
                      </a:lnTo>
                      <a:lnTo>
                        <a:pt x="14" y="4"/>
                      </a:lnTo>
                      <a:lnTo>
                        <a:pt x="14" y="2"/>
                      </a:lnTo>
                      <a:lnTo>
                        <a:pt x="14" y="0"/>
                      </a:lnTo>
                      <a:lnTo>
                        <a:pt x="12" y="0"/>
                      </a:lnTo>
                      <a:lnTo>
                        <a:pt x="10" y="2"/>
                      </a:lnTo>
                      <a:lnTo>
                        <a:pt x="8" y="2"/>
                      </a:lnTo>
                      <a:lnTo>
                        <a:pt x="10" y="4"/>
                      </a:lnTo>
                      <a:lnTo>
                        <a:pt x="10" y="6"/>
                      </a:lnTo>
                      <a:lnTo>
                        <a:pt x="10" y="8"/>
                      </a:lnTo>
                      <a:lnTo>
                        <a:pt x="8" y="10"/>
                      </a:lnTo>
                      <a:lnTo>
                        <a:pt x="4" y="12"/>
                      </a:lnTo>
                      <a:lnTo>
                        <a:pt x="2" y="14"/>
                      </a:lnTo>
                      <a:lnTo>
                        <a:pt x="0" y="16"/>
                      </a:lnTo>
                      <a:lnTo>
                        <a:pt x="0" y="22"/>
                      </a:lnTo>
                      <a:lnTo>
                        <a:pt x="0" y="24"/>
                      </a:lnTo>
                      <a:lnTo>
                        <a:pt x="0" y="26"/>
                      </a:lnTo>
                      <a:lnTo>
                        <a:pt x="0" y="28"/>
                      </a:lnTo>
                      <a:lnTo>
                        <a:pt x="2" y="28"/>
                      </a:lnTo>
                      <a:lnTo>
                        <a:pt x="2" y="30"/>
                      </a:lnTo>
                      <a:lnTo>
                        <a:pt x="4" y="34"/>
                      </a:lnTo>
                      <a:lnTo>
                        <a:pt x="4" y="36"/>
                      </a:lnTo>
                      <a:lnTo>
                        <a:pt x="6" y="42"/>
                      </a:lnTo>
                      <a:lnTo>
                        <a:pt x="8" y="44"/>
                      </a:lnTo>
                      <a:lnTo>
                        <a:pt x="8" y="48"/>
                      </a:lnTo>
                      <a:lnTo>
                        <a:pt x="8" y="66"/>
                      </a:lnTo>
                      <a:lnTo>
                        <a:pt x="10" y="68"/>
                      </a:lnTo>
                      <a:lnTo>
                        <a:pt x="10" y="72"/>
                      </a:lnTo>
                      <a:lnTo>
                        <a:pt x="10" y="74"/>
                      </a:lnTo>
                      <a:lnTo>
                        <a:pt x="12" y="76"/>
                      </a:lnTo>
                      <a:lnTo>
                        <a:pt x="12" y="78"/>
                      </a:lnTo>
                      <a:lnTo>
                        <a:pt x="12" y="80"/>
                      </a:lnTo>
                      <a:lnTo>
                        <a:pt x="12" y="102"/>
                      </a:lnTo>
                      <a:lnTo>
                        <a:pt x="10" y="104"/>
                      </a:lnTo>
                      <a:lnTo>
                        <a:pt x="8" y="104"/>
                      </a:lnTo>
                      <a:lnTo>
                        <a:pt x="8" y="106"/>
                      </a:lnTo>
                      <a:lnTo>
                        <a:pt x="8" y="110"/>
                      </a:lnTo>
                      <a:lnTo>
                        <a:pt x="8" y="112"/>
                      </a:lnTo>
                      <a:lnTo>
                        <a:pt x="10" y="114"/>
                      </a:lnTo>
                      <a:lnTo>
                        <a:pt x="12" y="116"/>
                      </a:lnTo>
                      <a:lnTo>
                        <a:pt x="14" y="116"/>
                      </a:lnTo>
                      <a:lnTo>
                        <a:pt x="14" y="120"/>
                      </a:lnTo>
                      <a:lnTo>
                        <a:pt x="14" y="122"/>
                      </a:lnTo>
                      <a:lnTo>
                        <a:pt x="12" y="126"/>
                      </a:lnTo>
                      <a:lnTo>
                        <a:pt x="12" y="136"/>
                      </a:lnTo>
                      <a:lnTo>
                        <a:pt x="12" y="138"/>
                      </a:lnTo>
                      <a:lnTo>
                        <a:pt x="14" y="142"/>
                      </a:lnTo>
                      <a:lnTo>
                        <a:pt x="14" y="144"/>
                      </a:lnTo>
                      <a:lnTo>
                        <a:pt x="16" y="146"/>
                      </a:lnTo>
                      <a:lnTo>
                        <a:pt x="16" y="148"/>
                      </a:lnTo>
                      <a:lnTo>
                        <a:pt x="16" y="150"/>
                      </a:lnTo>
                      <a:lnTo>
                        <a:pt x="14" y="150"/>
                      </a:lnTo>
                      <a:lnTo>
                        <a:pt x="14" y="152"/>
                      </a:lnTo>
                      <a:lnTo>
                        <a:pt x="14" y="156"/>
                      </a:lnTo>
                      <a:lnTo>
                        <a:pt x="14" y="158"/>
                      </a:lnTo>
                      <a:lnTo>
                        <a:pt x="14" y="164"/>
                      </a:lnTo>
                      <a:lnTo>
                        <a:pt x="14" y="166"/>
                      </a:lnTo>
                      <a:lnTo>
                        <a:pt x="14" y="168"/>
                      </a:lnTo>
                      <a:lnTo>
                        <a:pt x="16" y="168"/>
                      </a:lnTo>
                      <a:lnTo>
                        <a:pt x="16" y="170"/>
                      </a:lnTo>
                      <a:lnTo>
                        <a:pt x="18" y="172"/>
                      </a:lnTo>
                      <a:lnTo>
                        <a:pt x="18" y="180"/>
                      </a:lnTo>
                      <a:lnTo>
                        <a:pt x="16" y="180"/>
                      </a:lnTo>
                      <a:lnTo>
                        <a:pt x="14" y="180"/>
                      </a:lnTo>
                      <a:lnTo>
                        <a:pt x="14" y="186"/>
                      </a:lnTo>
                      <a:lnTo>
                        <a:pt x="14" y="188"/>
                      </a:lnTo>
                      <a:lnTo>
                        <a:pt x="14" y="190"/>
                      </a:lnTo>
                      <a:lnTo>
                        <a:pt x="16" y="192"/>
                      </a:lnTo>
                      <a:lnTo>
                        <a:pt x="14" y="194"/>
                      </a:lnTo>
                      <a:lnTo>
                        <a:pt x="14" y="196"/>
                      </a:lnTo>
                      <a:lnTo>
                        <a:pt x="12" y="200"/>
                      </a:lnTo>
                      <a:lnTo>
                        <a:pt x="12" y="202"/>
                      </a:lnTo>
                      <a:lnTo>
                        <a:pt x="14" y="204"/>
                      </a:lnTo>
                      <a:lnTo>
                        <a:pt x="14" y="206"/>
                      </a:lnTo>
                      <a:lnTo>
                        <a:pt x="16" y="208"/>
                      </a:lnTo>
                      <a:lnTo>
                        <a:pt x="16" y="212"/>
                      </a:lnTo>
                      <a:lnTo>
                        <a:pt x="14" y="212"/>
                      </a:lnTo>
                      <a:lnTo>
                        <a:pt x="14" y="214"/>
                      </a:lnTo>
                      <a:lnTo>
                        <a:pt x="14" y="216"/>
                      </a:lnTo>
                      <a:lnTo>
                        <a:pt x="12" y="216"/>
                      </a:lnTo>
                      <a:lnTo>
                        <a:pt x="12" y="222"/>
                      </a:lnTo>
                      <a:lnTo>
                        <a:pt x="14" y="224"/>
                      </a:lnTo>
                      <a:lnTo>
                        <a:pt x="14" y="226"/>
                      </a:lnTo>
                      <a:lnTo>
                        <a:pt x="16" y="228"/>
                      </a:lnTo>
                      <a:lnTo>
                        <a:pt x="18" y="230"/>
                      </a:lnTo>
                      <a:lnTo>
                        <a:pt x="18" y="242"/>
                      </a:lnTo>
                      <a:lnTo>
                        <a:pt x="14" y="242"/>
                      </a:lnTo>
                      <a:lnTo>
                        <a:pt x="14" y="246"/>
                      </a:lnTo>
                      <a:lnTo>
                        <a:pt x="14" y="248"/>
                      </a:lnTo>
                      <a:lnTo>
                        <a:pt x="14" y="252"/>
                      </a:lnTo>
                      <a:lnTo>
                        <a:pt x="16" y="256"/>
                      </a:lnTo>
                      <a:lnTo>
                        <a:pt x="18" y="260"/>
                      </a:lnTo>
                      <a:lnTo>
                        <a:pt x="18" y="262"/>
                      </a:lnTo>
                      <a:lnTo>
                        <a:pt x="20" y="266"/>
                      </a:lnTo>
                      <a:lnTo>
                        <a:pt x="20" y="268"/>
                      </a:lnTo>
                      <a:lnTo>
                        <a:pt x="22" y="270"/>
                      </a:lnTo>
                      <a:lnTo>
                        <a:pt x="22" y="272"/>
                      </a:lnTo>
                      <a:lnTo>
                        <a:pt x="24" y="274"/>
                      </a:lnTo>
                      <a:lnTo>
                        <a:pt x="24" y="276"/>
                      </a:lnTo>
                      <a:lnTo>
                        <a:pt x="26" y="280"/>
                      </a:lnTo>
                      <a:lnTo>
                        <a:pt x="28" y="282"/>
                      </a:lnTo>
                      <a:lnTo>
                        <a:pt x="28" y="284"/>
                      </a:lnTo>
                      <a:lnTo>
                        <a:pt x="28" y="294"/>
                      </a:lnTo>
                      <a:lnTo>
                        <a:pt x="28" y="296"/>
                      </a:lnTo>
                      <a:lnTo>
                        <a:pt x="28" y="300"/>
                      </a:lnTo>
                      <a:lnTo>
                        <a:pt x="30" y="302"/>
                      </a:lnTo>
                      <a:lnTo>
                        <a:pt x="30" y="304"/>
                      </a:lnTo>
                      <a:lnTo>
                        <a:pt x="32" y="306"/>
                      </a:lnTo>
                      <a:lnTo>
                        <a:pt x="32" y="308"/>
                      </a:lnTo>
                      <a:lnTo>
                        <a:pt x="32" y="310"/>
                      </a:lnTo>
                      <a:lnTo>
                        <a:pt x="32" y="312"/>
                      </a:lnTo>
                      <a:lnTo>
                        <a:pt x="30" y="316"/>
                      </a:lnTo>
                      <a:lnTo>
                        <a:pt x="30" y="336"/>
                      </a:lnTo>
                      <a:lnTo>
                        <a:pt x="28" y="340"/>
                      </a:lnTo>
                      <a:lnTo>
                        <a:pt x="26" y="342"/>
                      </a:lnTo>
                      <a:lnTo>
                        <a:pt x="24" y="344"/>
                      </a:lnTo>
                      <a:lnTo>
                        <a:pt x="24" y="346"/>
                      </a:lnTo>
                      <a:lnTo>
                        <a:pt x="24" y="348"/>
                      </a:lnTo>
                      <a:lnTo>
                        <a:pt x="26" y="348"/>
                      </a:lnTo>
                      <a:lnTo>
                        <a:pt x="28" y="348"/>
                      </a:lnTo>
                      <a:lnTo>
                        <a:pt x="28" y="350"/>
                      </a:lnTo>
                      <a:lnTo>
                        <a:pt x="26" y="350"/>
                      </a:lnTo>
                      <a:lnTo>
                        <a:pt x="26" y="352"/>
                      </a:lnTo>
                      <a:lnTo>
                        <a:pt x="26" y="356"/>
                      </a:lnTo>
                      <a:lnTo>
                        <a:pt x="26" y="362"/>
                      </a:lnTo>
                      <a:lnTo>
                        <a:pt x="24" y="364"/>
                      </a:lnTo>
                      <a:lnTo>
                        <a:pt x="24" y="372"/>
                      </a:lnTo>
                      <a:lnTo>
                        <a:pt x="24" y="374"/>
                      </a:lnTo>
                      <a:lnTo>
                        <a:pt x="24" y="376"/>
                      </a:lnTo>
                      <a:lnTo>
                        <a:pt x="20" y="376"/>
                      </a:lnTo>
                      <a:lnTo>
                        <a:pt x="20" y="378"/>
                      </a:lnTo>
                      <a:lnTo>
                        <a:pt x="20" y="382"/>
                      </a:lnTo>
                      <a:lnTo>
                        <a:pt x="20" y="384"/>
                      </a:lnTo>
                      <a:lnTo>
                        <a:pt x="22" y="384"/>
                      </a:lnTo>
                      <a:lnTo>
                        <a:pt x="24" y="388"/>
                      </a:lnTo>
                      <a:lnTo>
                        <a:pt x="24" y="390"/>
                      </a:lnTo>
                      <a:lnTo>
                        <a:pt x="24" y="392"/>
                      </a:lnTo>
                      <a:lnTo>
                        <a:pt x="26" y="392"/>
                      </a:lnTo>
                      <a:lnTo>
                        <a:pt x="26" y="404"/>
                      </a:lnTo>
                      <a:lnTo>
                        <a:pt x="28" y="406"/>
                      </a:lnTo>
                      <a:lnTo>
                        <a:pt x="28" y="408"/>
                      </a:lnTo>
                      <a:lnTo>
                        <a:pt x="30" y="408"/>
                      </a:lnTo>
                      <a:lnTo>
                        <a:pt x="34" y="410"/>
                      </a:lnTo>
                      <a:lnTo>
                        <a:pt x="36" y="412"/>
                      </a:lnTo>
                      <a:lnTo>
                        <a:pt x="36" y="414"/>
                      </a:lnTo>
                      <a:lnTo>
                        <a:pt x="36" y="418"/>
                      </a:lnTo>
                      <a:lnTo>
                        <a:pt x="38" y="420"/>
                      </a:lnTo>
                      <a:lnTo>
                        <a:pt x="38" y="424"/>
                      </a:lnTo>
                      <a:lnTo>
                        <a:pt x="36" y="426"/>
                      </a:lnTo>
                      <a:lnTo>
                        <a:pt x="36" y="430"/>
                      </a:lnTo>
                      <a:lnTo>
                        <a:pt x="36" y="432"/>
                      </a:lnTo>
                      <a:lnTo>
                        <a:pt x="36" y="434"/>
                      </a:lnTo>
                      <a:lnTo>
                        <a:pt x="38" y="436"/>
                      </a:lnTo>
                      <a:lnTo>
                        <a:pt x="38" y="452"/>
                      </a:lnTo>
                      <a:lnTo>
                        <a:pt x="38" y="454"/>
                      </a:lnTo>
                      <a:lnTo>
                        <a:pt x="40" y="454"/>
                      </a:lnTo>
                      <a:lnTo>
                        <a:pt x="40" y="456"/>
                      </a:lnTo>
                      <a:lnTo>
                        <a:pt x="42" y="456"/>
                      </a:lnTo>
                      <a:lnTo>
                        <a:pt x="44" y="456"/>
                      </a:lnTo>
                      <a:lnTo>
                        <a:pt x="46" y="458"/>
                      </a:lnTo>
                      <a:lnTo>
                        <a:pt x="48" y="458"/>
                      </a:lnTo>
                      <a:lnTo>
                        <a:pt x="48" y="460"/>
                      </a:lnTo>
                      <a:lnTo>
                        <a:pt x="46" y="460"/>
                      </a:lnTo>
                      <a:lnTo>
                        <a:pt x="46" y="462"/>
                      </a:lnTo>
                      <a:lnTo>
                        <a:pt x="56" y="462"/>
                      </a:lnTo>
                      <a:lnTo>
                        <a:pt x="56" y="456"/>
                      </a:lnTo>
                      <a:lnTo>
                        <a:pt x="58" y="456"/>
                      </a:lnTo>
                      <a:lnTo>
                        <a:pt x="58" y="458"/>
                      </a:lnTo>
                      <a:lnTo>
                        <a:pt x="62" y="458"/>
                      </a:lnTo>
                      <a:lnTo>
                        <a:pt x="62" y="460"/>
                      </a:lnTo>
                      <a:lnTo>
                        <a:pt x="64" y="460"/>
                      </a:lnTo>
                      <a:lnTo>
                        <a:pt x="64" y="458"/>
                      </a:lnTo>
                      <a:lnTo>
                        <a:pt x="66" y="458"/>
                      </a:lnTo>
                      <a:lnTo>
                        <a:pt x="66" y="456"/>
                      </a:lnTo>
                      <a:lnTo>
                        <a:pt x="68" y="458"/>
                      </a:lnTo>
                      <a:lnTo>
                        <a:pt x="68" y="460"/>
                      </a:lnTo>
                      <a:lnTo>
                        <a:pt x="66" y="460"/>
                      </a:lnTo>
                      <a:lnTo>
                        <a:pt x="64" y="462"/>
                      </a:lnTo>
                      <a:lnTo>
                        <a:pt x="62" y="464"/>
                      </a:lnTo>
                      <a:lnTo>
                        <a:pt x="62" y="466"/>
                      </a:lnTo>
                      <a:lnTo>
                        <a:pt x="62" y="468"/>
                      </a:lnTo>
                      <a:lnTo>
                        <a:pt x="64" y="468"/>
                      </a:lnTo>
                      <a:lnTo>
                        <a:pt x="66" y="468"/>
                      </a:lnTo>
                      <a:lnTo>
                        <a:pt x="68" y="468"/>
                      </a:lnTo>
                      <a:lnTo>
                        <a:pt x="70" y="468"/>
                      </a:lnTo>
                      <a:lnTo>
                        <a:pt x="70" y="470"/>
                      </a:lnTo>
                      <a:lnTo>
                        <a:pt x="70" y="472"/>
                      </a:lnTo>
                      <a:lnTo>
                        <a:pt x="70" y="474"/>
                      </a:lnTo>
                      <a:lnTo>
                        <a:pt x="68" y="474"/>
                      </a:lnTo>
                      <a:lnTo>
                        <a:pt x="66" y="474"/>
                      </a:lnTo>
                      <a:lnTo>
                        <a:pt x="64" y="474"/>
                      </a:lnTo>
                      <a:lnTo>
                        <a:pt x="64" y="476"/>
                      </a:lnTo>
                      <a:lnTo>
                        <a:pt x="66" y="476"/>
                      </a:lnTo>
                      <a:lnTo>
                        <a:pt x="66" y="478"/>
                      </a:lnTo>
                      <a:lnTo>
                        <a:pt x="68" y="478"/>
                      </a:lnTo>
                      <a:lnTo>
                        <a:pt x="66" y="480"/>
                      </a:lnTo>
                      <a:lnTo>
                        <a:pt x="64" y="480"/>
                      </a:lnTo>
                      <a:lnTo>
                        <a:pt x="66" y="482"/>
                      </a:lnTo>
                      <a:lnTo>
                        <a:pt x="68" y="484"/>
                      </a:lnTo>
                      <a:lnTo>
                        <a:pt x="68" y="486"/>
                      </a:lnTo>
                      <a:lnTo>
                        <a:pt x="70" y="486"/>
                      </a:lnTo>
                      <a:lnTo>
                        <a:pt x="70" y="488"/>
                      </a:lnTo>
                      <a:lnTo>
                        <a:pt x="68" y="488"/>
                      </a:lnTo>
                      <a:lnTo>
                        <a:pt x="66" y="490"/>
                      </a:lnTo>
                      <a:lnTo>
                        <a:pt x="64" y="494"/>
                      </a:lnTo>
                      <a:lnTo>
                        <a:pt x="64" y="496"/>
                      </a:lnTo>
                      <a:lnTo>
                        <a:pt x="66" y="498"/>
                      </a:lnTo>
                      <a:lnTo>
                        <a:pt x="68" y="498"/>
                      </a:lnTo>
                      <a:lnTo>
                        <a:pt x="72" y="500"/>
                      </a:lnTo>
                      <a:lnTo>
                        <a:pt x="74" y="500"/>
                      </a:lnTo>
                      <a:lnTo>
                        <a:pt x="76" y="500"/>
                      </a:lnTo>
                      <a:lnTo>
                        <a:pt x="74" y="502"/>
                      </a:lnTo>
                      <a:lnTo>
                        <a:pt x="72" y="502"/>
                      </a:lnTo>
                      <a:lnTo>
                        <a:pt x="72" y="504"/>
                      </a:lnTo>
                      <a:lnTo>
                        <a:pt x="70" y="504"/>
                      </a:lnTo>
                      <a:lnTo>
                        <a:pt x="70" y="506"/>
                      </a:lnTo>
                      <a:lnTo>
                        <a:pt x="72" y="506"/>
                      </a:lnTo>
                      <a:lnTo>
                        <a:pt x="74" y="508"/>
                      </a:lnTo>
                      <a:lnTo>
                        <a:pt x="76" y="510"/>
                      </a:lnTo>
                      <a:lnTo>
                        <a:pt x="84" y="510"/>
                      </a:lnTo>
                      <a:lnTo>
                        <a:pt x="84" y="514"/>
                      </a:lnTo>
                      <a:lnTo>
                        <a:pt x="84" y="516"/>
                      </a:lnTo>
                      <a:lnTo>
                        <a:pt x="86" y="518"/>
                      </a:lnTo>
                      <a:lnTo>
                        <a:pt x="86" y="520"/>
                      </a:lnTo>
                      <a:lnTo>
                        <a:pt x="84" y="522"/>
                      </a:lnTo>
                      <a:lnTo>
                        <a:pt x="82" y="522"/>
                      </a:lnTo>
                      <a:lnTo>
                        <a:pt x="78" y="524"/>
                      </a:lnTo>
                      <a:lnTo>
                        <a:pt x="76" y="526"/>
                      </a:lnTo>
                      <a:lnTo>
                        <a:pt x="76" y="528"/>
                      </a:lnTo>
                      <a:lnTo>
                        <a:pt x="78" y="528"/>
                      </a:lnTo>
                      <a:lnTo>
                        <a:pt x="82" y="528"/>
                      </a:lnTo>
                      <a:lnTo>
                        <a:pt x="82" y="530"/>
                      </a:lnTo>
                      <a:lnTo>
                        <a:pt x="84" y="530"/>
                      </a:lnTo>
                      <a:lnTo>
                        <a:pt x="86" y="530"/>
                      </a:lnTo>
                      <a:lnTo>
                        <a:pt x="88" y="532"/>
                      </a:lnTo>
                      <a:lnTo>
                        <a:pt x="90" y="532"/>
                      </a:lnTo>
                      <a:lnTo>
                        <a:pt x="90" y="534"/>
                      </a:lnTo>
                      <a:lnTo>
                        <a:pt x="86" y="534"/>
                      </a:lnTo>
                      <a:lnTo>
                        <a:pt x="84" y="534"/>
                      </a:lnTo>
                      <a:lnTo>
                        <a:pt x="82" y="532"/>
                      </a:lnTo>
                      <a:lnTo>
                        <a:pt x="80" y="532"/>
                      </a:lnTo>
                      <a:lnTo>
                        <a:pt x="78" y="532"/>
                      </a:lnTo>
                      <a:lnTo>
                        <a:pt x="78" y="534"/>
                      </a:lnTo>
                      <a:lnTo>
                        <a:pt x="78" y="536"/>
                      </a:lnTo>
                      <a:lnTo>
                        <a:pt x="80" y="536"/>
                      </a:lnTo>
                      <a:lnTo>
                        <a:pt x="84" y="536"/>
                      </a:lnTo>
                      <a:lnTo>
                        <a:pt x="84" y="538"/>
                      </a:lnTo>
                      <a:lnTo>
                        <a:pt x="82" y="538"/>
                      </a:lnTo>
                      <a:lnTo>
                        <a:pt x="80" y="540"/>
                      </a:lnTo>
                      <a:lnTo>
                        <a:pt x="80" y="546"/>
                      </a:lnTo>
                      <a:lnTo>
                        <a:pt x="82" y="546"/>
                      </a:lnTo>
                      <a:lnTo>
                        <a:pt x="84" y="546"/>
                      </a:lnTo>
                      <a:lnTo>
                        <a:pt x="84" y="550"/>
                      </a:lnTo>
                      <a:lnTo>
                        <a:pt x="82" y="550"/>
                      </a:lnTo>
                      <a:lnTo>
                        <a:pt x="82" y="552"/>
                      </a:lnTo>
                      <a:lnTo>
                        <a:pt x="80" y="552"/>
                      </a:lnTo>
                      <a:lnTo>
                        <a:pt x="78" y="552"/>
                      </a:lnTo>
                      <a:lnTo>
                        <a:pt x="78" y="550"/>
                      </a:lnTo>
                      <a:lnTo>
                        <a:pt x="76" y="548"/>
                      </a:lnTo>
                      <a:lnTo>
                        <a:pt x="70" y="548"/>
                      </a:lnTo>
                      <a:lnTo>
                        <a:pt x="70" y="546"/>
                      </a:lnTo>
                      <a:lnTo>
                        <a:pt x="72" y="546"/>
                      </a:lnTo>
                      <a:lnTo>
                        <a:pt x="74" y="546"/>
                      </a:lnTo>
                      <a:lnTo>
                        <a:pt x="74" y="544"/>
                      </a:lnTo>
                      <a:lnTo>
                        <a:pt x="72" y="544"/>
                      </a:lnTo>
                      <a:lnTo>
                        <a:pt x="70" y="542"/>
                      </a:lnTo>
                      <a:lnTo>
                        <a:pt x="68" y="540"/>
                      </a:lnTo>
                      <a:lnTo>
                        <a:pt x="66" y="540"/>
                      </a:lnTo>
                      <a:lnTo>
                        <a:pt x="66" y="542"/>
                      </a:lnTo>
                      <a:lnTo>
                        <a:pt x="64" y="542"/>
                      </a:lnTo>
                      <a:lnTo>
                        <a:pt x="64" y="540"/>
                      </a:lnTo>
                      <a:lnTo>
                        <a:pt x="62" y="542"/>
                      </a:lnTo>
                      <a:lnTo>
                        <a:pt x="60" y="542"/>
                      </a:lnTo>
                      <a:lnTo>
                        <a:pt x="58" y="542"/>
                      </a:lnTo>
                      <a:lnTo>
                        <a:pt x="56" y="542"/>
                      </a:lnTo>
                      <a:lnTo>
                        <a:pt x="56" y="544"/>
                      </a:lnTo>
                      <a:lnTo>
                        <a:pt x="58" y="544"/>
                      </a:lnTo>
                      <a:lnTo>
                        <a:pt x="60" y="544"/>
                      </a:lnTo>
                      <a:lnTo>
                        <a:pt x="62" y="544"/>
                      </a:lnTo>
                      <a:lnTo>
                        <a:pt x="62" y="546"/>
                      </a:lnTo>
                      <a:lnTo>
                        <a:pt x="60" y="548"/>
                      </a:lnTo>
                      <a:lnTo>
                        <a:pt x="60" y="550"/>
                      </a:lnTo>
                      <a:lnTo>
                        <a:pt x="58" y="550"/>
                      </a:lnTo>
                      <a:lnTo>
                        <a:pt x="56" y="550"/>
                      </a:lnTo>
                      <a:lnTo>
                        <a:pt x="54" y="552"/>
                      </a:lnTo>
                      <a:lnTo>
                        <a:pt x="52" y="554"/>
                      </a:lnTo>
                      <a:lnTo>
                        <a:pt x="52" y="556"/>
                      </a:lnTo>
                      <a:lnTo>
                        <a:pt x="54" y="558"/>
                      </a:lnTo>
                      <a:lnTo>
                        <a:pt x="56" y="558"/>
                      </a:lnTo>
                      <a:lnTo>
                        <a:pt x="58" y="560"/>
                      </a:lnTo>
                      <a:lnTo>
                        <a:pt x="60" y="560"/>
                      </a:lnTo>
                      <a:lnTo>
                        <a:pt x="60" y="558"/>
                      </a:lnTo>
                      <a:lnTo>
                        <a:pt x="58" y="556"/>
                      </a:lnTo>
                      <a:lnTo>
                        <a:pt x="60" y="556"/>
                      </a:lnTo>
                      <a:lnTo>
                        <a:pt x="60" y="554"/>
                      </a:lnTo>
                      <a:lnTo>
                        <a:pt x="62" y="554"/>
                      </a:lnTo>
                      <a:lnTo>
                        <a:pt x="64" y="556"/>
                      </a:lnTo>
                      <a:lnTo>
                        <a:pt x="66" y="556"/>
                      </a:lnTo>
                      <a:lnTo>
                        <a:pt x="68" y="558"/>
                      </a:lnTo>
                      <a:lnTo>
                        <a:pt x="78" y="558"/>
                      </a:lnTo>
                      <a:lnTo>
                        <a:pt x="78" y="560"/>
                      </a:lnTo>
                      <a:lnTo>
                        <a:pt x="80" y="560"/>
                      </a:lnTo>
                      <a:lnTo>
                        <a:pt x="82" y="562"/>
                      </a:lnTo>
                      <a:lnTo>
                        <a:pt x="84" y="562"/>
                      </a:lnTo>
                      <a:lnTo>
                        <a:pt x="84" y="564"/>
                      </a:lnTo>
                      <a:lnTo>
                        <a:pt x="84" y="566"/>
                      </a:lnTo>
                      <a:lnTo>
                        <a:pt x="84" y="568"/>
                      </a:lnTo>
                      <a:lnTo>
                        <a:pt x="82" y="568"/>
                      </a:lnTo>
                      <a:lnTo>
                        <a:pt x="80" y="570"/>
                      </a:lnTo>
                      <a:lnTo>
                        <a:pt x="80" y="572"/>
                      </a:lnTo>
                      <a:lnTo>
                        <a:pt x="82" y="572"/>
                      </a:lnTo>
                      <a:lnTo>
                        <a:pt x="82" y="574"/>
                      </a:lnTo>
                      <a:lnTo>
                        <a:pt x="84" y="574"/>
                      </a:lnTo>
                      <a:lnTo>
                        <a:pt x="84" y="572"/>
                      </a:lnTo>
                      <a:lnTo>
                        <a:pt x="86" y="572"/>
                      </a:lnTo>
                      <a:lnTo>
                        <a:pt x="86" y="576"/>
                      </a:lnTo>
                      <a:lnTo>
                        <a:pt x="88" y="576"/>
                      </a:lnTo>
                      <a:lnTo>
                        <a:pt x="90" y="578"/>
                      </a:lnTo>
                      <a:lnTo>
                        <a:pt x="90" y="576"/>
                      </a:lnTo>
                      <a:lnTo>
                        <a:pt x="90" y="574"/>
                      </a:lnTo>
                      <a:lnTo>
                        <a:pt x="92" y="572"/>
                      </a:lnTo>
                      <a:lnTo>
                        <a:pt x="92" y="574"/>
                      </a:lnTo>
                      <a:lnTo>
                        <a:pt x="94" y="574"/>
                      </a:lnTo>
                      <a:lnTo>
                        <a:pt x="94" y="576"/>
                      </a:lnTo>
                      <a:lnTo>
                        <a:pt x="94" y="578"/>
                      </a:lnTo>
                      <a:lnTo>
                        <a:pt x="98" y="578"/>
                      </a:lnTo>
                      <a:lnTo>
                        <a:pt x="100" y="578"/>
                      </a:lnTo>
                      <a:lnTo>
                        <a:pt x="100" y="580"/>
                      </a:lnTo>
                      <a:lnTo>
                        <a:pt x="102" y="582"/>
                      </a:lnTo>
                      <a:lnTo>
                        <a:pt x="100" y="584"/>
                      </a:lnTo>
                      <a:lnTo>
                        <a:pt x="98" y="584"/>
                      </a:lnTo>
                      <a:lnTo>
                        <a:pt x="96" y="584"/>
                      </a:lnTo>
                      <a:lnTo>
                        <a:pt x="94" y="584"/>
                      </a:lnTo>
                      <a:lnTo>
                        <a:pt x="92" y="582"/>
                      </a:lnTo>
                      <a:lnTo>
                        <a:pt x="90" y="582"/>
                      </a:lnTo>
                      <a:lnTo>
                        <a:pt x="88" y="580"/>
                      </a:lnTo>
                      <a:lnTo>
                        <a:pt x="88" y="586"/>
                      </a:lnTo>
                      <a:lnTo>
                        <a:pt x="90" y="586"/>
                      </a:lnTo>
                      <a:lnTo>
                        <a:pt x="92" y="588"/>
                      </a:lnTo>
                      <a:lnTo>
                        <a:pt x="94" y="588"/>
                      </a:lnTo>
                      <a:lnTo>
                        <a:pt x="94" y="590"/>
                      </a:lnTo>
                      <a:lnTo>
                        <a:pt x="96" y="592"/>
                      </a:lnTo>
                      <a:lnTo>
                        <a:pt x="96" y="594"/>
                      </a:lnTo>
                      <a:lnTo>
                        <a:pt x="96" y="596"/>
                      </a:lnTo>
                      <a:lnTo>
                        <a:pt x="94" y="598"/>
                      </a:lnTo>
                      <a:lnTo>
                        <a:pt x="92" y="598"/>
                      </a:lnTo>
                      <a:lnTo>
                        <a:pt x="94" y="600"/>
                      </a:lnTo>
                      <a:lnTo>
                        <a:pt x="96" y="604"/>
                      </a:lnTo>
                      <a:lnTo>
                        <a:pt x="96" y="606"/>
                      </a:lnTo>
                      <a:lnTo>
                        <a:pt x="96" y="608"/>
                      </a:lnTo>
                      <a:lnTo>
                        <a:pt x="98" y="608"/>
                      </a:lnTo>
                      <a:lnTo>
                        <a:pt x="98" y="610"/>
                      </a:lnTo>
                      <a:lnTo>
                        <a:pt x="98" y="608"/>
                      </a:lnTo>
                      <a:lnTo>
                        <a:pt x="98" y="606"/>
                      </a:lnTo>
                      <a:lnTo>
                        <a:pt x="100" y="604"/>
                      </a:lnTo>
                      <a:lnTo>
                        <a:pt x="100" y="602"/>
                      </a:lnTo>
                      <a:lnTo>
                        <a:pt x="100" y="598"/>
                      </a:lnTo>
                      <a:lnTo>
                        <a:pt x="102" y="598"/>
                      </a:lnTo>
                      <a:lnTo>
                        <a:pt x="102" y="606"/>
                      </a:lnTo>
                      <a:lnTo>
                        <a:pt x="102" y="608"/>
                      </a:lnTo>
                      <a:lnTo>
                        <a:pt x="104" y="610"/>
                      </a:lnTo>
                      <a:lnTo>
                        <a:pt x="106" y="612"/>
                      </a:lnTo>
                      <a:lnTo>
                        <a:pt x="100" y="612"/>
                      </a:lnTo>
                      <a:lnTo>
                        <a:pt x="100" y="614"/>
                      </a:lnTo>
                      <a:lnTo>
                        <a:pt x="100" y="616"/>
                      </a:lnTo>
                      <a:lnTo>
                        <a:pt x="102" y="616"/>
                      </a:lnTo>
                      <a:lnTo>
                        <a:pt x="102" y="618"/>
                      </a:lnTo>
                      <a:lnTo>
                        <a:pt x="106" y="618"/>
                      </a:lnTo>
                      <a:lnTo>
                        <a:pt x="104" y="620"/>
                      </a:lnTo>
                      <a:lnTo>
                        <a:pt x="106" y="622"/>
                      </a:lnTo>
                      <a:lnTo>
                        <a:pt x="108" y="622"/>
                      </a:lnTo>
                      <a:lnTo>
                        <a:pt x="110" y="622"/>
                      </a:lnTo>
                      <a:lnTo>
                        <a:pt x="108" y="624"/>
                      </a:lnTo>
                      <a:lnTo>
                        <a:pt x="106" y="624"/>
                      </a:lnTo>
                      <a:lnTo>
                        <a:pt x="108" y="626"/>
                      </a:lnTo>
                      <a:lnTo>
                        <a:pt x="110" y="626"/>
                      </a:lnTo>
                      <a:lnTo>
                        <a:pt x="112" y="626"/>
                      </a:lnTo>
                      <a:lnTo>
                        <a:pt x="112" y="628"/>
                      </a:lnTo>
                      <a:lnTo>
                        <a:pt x="110" y="630"/>
                      </a:lnTo>
                      <a:lnTo>
                        <a:pt x="112" y="632"/>
                      </a:lnTo>
                      <a:lnTo>
                        <a:pt x="114" y="632"/>
                      </a:lnTo>
                      <a:lnTo>
                        <a:pt x="114" y="630"/>
                      </a:lnTo>
                      <a:lnTo>
                        <a:pt x="116" y="628"/>
                      </a:lnTo>
                      <a:lnTo>
                        <a:pt x="116" y="626"/>
                      </a:lnTo>
                      <a:lnTo>
                        <a:pt x="118" y="628"/>
                      </a:lnTo>
                      <a:lnTo>
                        <a:pt x="118" y="630"/>
                      </a:lnTo>
                      <a:lnTo>
                        <a:pt x="118" y="632"/>
                      </a:lnTo>
                      <a:lnTo>
                        <a:pt x="116" y="634"/>
                      </a:lnTo>
                      <a:lnTo>
                        <a:pt x="114" y="636"/>
                      </a:lnTo>
                      <a:lnTo>
                        <a:pt x="114" y="638"/>
                      </a:lnTo>
                      <a:lnTo>
                        <a:pt x="114" y="640"/>
                      </a:lnTo>
                      <a:lnTo>
                        <a:pt x="118" y="640"/>
                      </a:lnTo>
                      <a:lnTo>
                        <a:pt x="122" y="640"/>
                      </a:lnTo>
                      <a:lnTo>
                        <a:pt x="122" y="642"/>
                      </a:lnTo>
                      <a:lnTo>
                        <a:pt x="124" y="644"/>
                      </a:lnTo>
                      <a:lnTo>
                        <a:pt x="124" y="646"/>
                      </a:lnTo>
                      <a:lnTo>
                        <a:pt x="126" y="646"/>
                      </a:lnTo>
                      <a:lnTo>
                        <a:pt x="128" y="646"/>
                      </a:lnTo>
                      <a:lnTo>
                        <a:pt x="130" y="648"/>
                      </a:lnTo>
                      <a:lnTo>
                        <a:pt x="132" y="648"/>
                      </a:lnTo>
                      <a:lnTo>
                        <a:pt x="132" y="650"/>
                      </a:lnTo>
                      <a:lnTo>
                        <a:pt x="134" y="650"/>
                      </a:lnTo>
                      <a:lnTo>
                        <a:pt x="134" y="648"/>
                      </a:lnTo>
                      <a:lnTo>
                        <a:pt x="132" y="646"/>
                      </a:lnTo>
                      <a:lnTo>
                        <a:pt x="132" y="644"/>
                      </a:lnTo>
                      <a:lnTo>
                        <a:pt x="134" y="644"/>
                      </a:lnTo>
                      <a:lnTo>
                        <a:pt x="136" y="644"/>
                      </a:lnTo>
                      <a:lnTo>
                        <a:pt x="138" y="646"/>
                      </a:lnTo>
                      <a:lnTo>
                        <a:pt x="140" y="646"/>
                      </a:lnTo>
                      <a:lnTo>
                        <a:pt x="146" y="648"/>
                      </a:lnTo>
                      <a:lnTo>
                        <a:pt x="146" y="650"/>
                      </a:lnTo>
                      <a:lnTo>
                        <a:pt x="148" y="652"/>
                      </a:lnTo>
                      <a:lnTo>
                        <a:pt x="148" y="656"/>
                      </a:lnTo>
                      <a:lnTo>
                        <a:pt x="146" y="656"/>
                      </a:lnTo>
                      <a:lnTo>
                        <a:pt x="148" y="658"/>
                      </a:lnTo>
                      <a:lnTo>
                        <a:pt x="150" y="658"/>
                      </a:lnTo>
                      <a:lnTo>
                        <a:pt x="150" y="664"/>
                      </a:lnTo>
                      <a:lnTo>
                        <a:pt x="164" y="664"/>
                      </a:lnTo>
                      <a:lnTo>
                        <a:pt x="164" y="666"/>
                      </a:lnTo>
                      <a:lnTo>
                        <a:pt x="158" y="666"/>
                      </a:lnTo>
                      <a:lnTo>
                        <a:pt x="158" y="668"/>
                      </a:lnTo>
                      <a:lnTo>
                        <a:pt x="156" y="670"/>
                      </a:lnTo>
                      <a:lnTo>
                        <a:pt x="150" y="670"/>
                      </a:lnTo>
                      <a:lnTo>
                        <a:pt x="148" y="670"/>
                      </a:lnTo>
                      <a:lnTo>
                        <a:pt x="148" y="672"/>
                      </a:lnTo>
                      <a:lnTo>
                        <a:pt x="146" y="672"/>
                      </a:lnTo>
                      <a:lnTo>
                        <a:pt x="146" y="674"/>
                      </a:lnTo>
                      <a:lnTo>
                        <a:pt x="152" y="674"/>
                      </a:lnTo>
                      <a:lnTo>
                        <a:pt x="154" y="674"/>
                      </a:lnTo>
                      <a:lnTo>
                        <a:pt x="154" y="676"/>
                      </a:lnTo>
                      <a:lnTo>
                        <a:pt x="152" y="676"/>
                      </a:lnTo>
                      <a:lnTo>
                        <a:pt x="152" y="678"/>
                      </a:lnTo>
                      <a:lnTo>
                        <a:pt x="154" y="678"/>
                      </a:lnTo>
                      <a:lnTo>
                        <a:pt x="158" y="678"/>
                      </a:lnTo>
                      <a:lnTo>
                        <a:pt x="158" y="672"/>
                      </a:lnTo>
                      <a:lnTo>
                        <a:pt x="160" y="674"/>
                      </a:lnTo>
                      <a:lnTo>
                        <a:pt x="162" y="674"/>
                      </a:lnTo>
                      <a:lnTo>
                        <a:pt x="164" y="674"/>
                      </a:lnTo>
                      <a:lnTo>
                        <a:pt x="166" y="672"/>
                      </a:lnTo>
                      <a:lnTo>
                        <a:pt x="168" y="670"/>
                      </a:lnTo>
                      <a:lnTo>
                        <a:pt x="170" y="668"/>
                      </a:lnTo>
                      <a:lnTo>
                        <a:pt x="172" y="668"/>
                      </a:lnTo>
                      <a:lnTo>
                        <a:pt x="174" y="670"/>
                      </a:lnTo>
                      <a:lnTo>
                        <a:pt x="172" y="672"/>
                      </a:lnTo>
                      <a:lnTo>
                        <a:pt x="172" y="674"/>
                      </a:lnTo>
                      <a:lnTo>
                        <a:pt x="170" y="676"/>
                      </a:lnTo>
                      <a:lnTo>
                        <a:pt x="168" y="678"/>
                      </a:lnTo>
                      <a:lnTo>
                        <a:pt x="166" y="680"/>
                      </a:lnTo>
                      <a:lnTo>
                        <a:pt x="166" y="678"/>
                      </a:lnTo>
                      <a:lnTo>
                        <a:pt x="164" y="678"/>
                      </a:lnTo>
                      <a:lnTo>
                        <a:pt x="160" y="678"/>
                      </a:lnTo>
                      <a:lnTo>
                        <a:pt x="160" y="682"/>
                      </a:lnTo>
                      <a:lnTo>
                        <a:pt x="158" y="682"/>
                      </a:lnTo>
                      <a:lnTo>
                        <a:pt x="156" y="682"/>
                      </a:lnTo>
                      <a:lnTo>
                        <a:pt x="154" y="682"/>
                      </a:lnTo>
                      <a:lnTo>
                        <a:pt x="152" y="684"/>
                      </a:lnTo>
                      <a:lnTo>
                        <a:pt x="150" y="684"/>
                      </a:lnTo>
                      <a:lnTo>
                        <a:pt x="150" y="686"/>
                      </a:lnTo>
                      <a:lnTo>
                        <a:pt x="152" y="686"/>
                      </a:lnTo>
                      <a:lnTo>
                        <a:pt x="152" y="688"/>
                      </a:lnTo>
                      <a:lnTo>
                        <a:pt x="154" y="690"/>
                      </a:lnTo>
                      <a:lnTo>
                        <a:pt x="154" y="694"/>
                      </a:lnTo>
                      <a:lnTo>
                        <a:pt x="156" y="692"/>
                      </a:lnTo>
                      <a:lnTo>
                        <a:pt x="158" y="692"/>
                      </a:lnTo>
                      <a:lnTo>
                        <a:pt x="160" y="690"/>
                      </a:lnTo>
                      <a:lnTo>
                        <a:pt x="162" y="692"/>
                      </a:lnTo>
                      <a:lnTo>
                        <a:pt x="162" y="694"/>
                      </a:lnTo>
                      <a:lnTo>
                        <a:pt x="164" y="694"/>
                      </a:lnTo>
                      <a:lnTo>
                        <a:pt x="166" y="692"/>
                      </a:lnTo>
                      <a:lnTo>
                        <a:pt x="166" y="690"/>
                      </a:lnTo>
                      <a:lnTo>
                        <a:pt x="168" y="68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4" name="Freeform 32">
                  <a:extLst>
                    <a:ext uri="{FF2B5EF4-FFF2-40B4-BE49-F238E27FC236}">
                      <a16:creationId xmlns:a16="http://schemas.microsoft.com/office/drawing/2014/main" id="{4979CE93-07DE-4989-A7C4-528AA65C4A58}"/>
                    </a:ext>
                  </a:extLst>
                </p:cNvPr>
                <p:cNvSpPr>
                  <a:spLocks noChangeAspect="1"/>
                </p:cNvSpPr>
                <p:nvPr/>
              </p:nvSpPr>
              <p:spPr bwMode="auto">
                <a:xfrm>
                  <a:off x="2240005" y="3137628"/>
                  <a:ext cx="119127" cy="80027"/>
                </a:xfrm>
                <a:custGeom>
                  <a:avLst/>
                  <a:gdLst/>
                  <a:ahLst/>
                  <a:cxnLst>
                    <a:cxn ang="0">
                      <a:pos x="60" y="24"/>
                    </a:cxn>
                    <a:cxn ang="0">
                      <a:pos x="56" y="22"/>
                    </a:cxn>
                    <a:cxn ang="0">
                      <a:pos x="52" y="18"/>
                    </a:cxn>
                    <a:cxn ang="0">
                      <a:pos x="48" y="16"/>
                    </a:cxn>
                    <a:cxn ang="0">
                      <a:pos x="44" y="14"/>
                    </a:cxn>
                    <a:cxn ang="0">
                      <a:pos x="40" y="12"/>
                    </a:cxn>
                    <a:cxn ang="0">
                      <a:pos x="36" y="10"/>
                    </a:cxn>
                    <a:cxn ang="0">
                      <a:pos x="34" y="10"/>
                    </a:cxn>
                    <a:cxn ang="0">
                      <a:pos x="30" y="6"/>
                    </a:cxn>
                    <a:cxn ang="0">
                      <a:pos x="30" y="4"/>
                    </a:cxn>
                    <a:cxn ang="0">
                      <a:pos x="28" y="2"/>
                    </a:cxn>
                    <a:cxn ang="0">
                      <a:pos x="24" y="0"/>
                    </a:cxn>
                    <a:cxn ang="0">
                      <a:pos x="20" y="0"/>
                    </a:cxn>
                    <a:cxn ang="0">
                      <a:pos x="12" y="0"/>
                    </a:cxn>
                    <a:cxn ang="0">
                      <a:pos x="8" y="0"/>
                    </a:cxn>
                    <a:cxn ang="0">
                      <a:pos x="6" y="2"/>
                    </a:cxn>
                    <a:cxn ang="0">
                      <a:pos x="8" y="6"/>
                    </a:cxn>
                    <a:cxn ang="0">
                      <a:pos x="8" y="10"/>
                    </a:cxn>
                    <a:cxn ang="0">
                      <a:pos x="8" y="12"/>
                    </a:cxn>
                    <a:cxn ang="0">
                      <a:pos x="6" y="16"/>
                    </a:cxn>
                    <a:cxn ang="0">
                      <a:pos x="4" y="22"/>
                    </a:cxn>
                    <a:cxn ang="0">
                      <a:pos x="2" y="24"/>
                    </a:cxn>
                    <a:cxn ang="0">
                      <a:pos x="2" y="26"/>
                    </a:cxn>
                    <a:cxn ang="0">
                      <a:pos x="4" y="30"/>
                    </a:cxn>
                    <a:cxn ang="0">
                      <a:pos x="4" y="32"/>
                    </a:cxn>
                    <a:cxn ang="0">
                      <a:pos x="4" y="34"/>
                    </a:cxn>
                    <a:cxn ang="0">
                      <a:pos x="4" y="32"/>
                    </a:cxn>
                    <a:cxn ang="0">
                      <a:pos x="2" y="30"/>
                    </a:cxn>
                    <a:cxn ang="0">
                      <a:pos x="0" y="30"/>
                    </a:cxn>
                    <a:cxn ang="0">
                      <a:pos x="4" y="32"/>
                    </a:cxn>
                    <a:cxn ang="0">
                      <a:pos x="8" y="36"/>
                    </a:cxn>
                    <a:cxn ang="0">
                      <a:pos x="8" y="38"/>
                    </a:cxn>
                    <a:cxn ang="0">
                      <a:pos x="10" y="38"/>
                    </a:cxn>
                    <a:cxn ang="0">
                      <a:pos x="14" y="36"/>
                    </a:cxn>
                    <a:cxn ang="0">
                      <a:pos x="18" y="32"/>
                    </a:cxn>
                    <a:cxn ang="0">
                      <a:pos x="20" y="30"/>
                    </a:cxn>
                    <a:cxn ang="0">
                      <a:pos x="20" y="30"/>
                    </a:cxn>
                    <a:cxn ang="0">
                      <a:pos x="20" y="30"/>
                    </a:cxn>
                    <a:cxn ang="0">
                      <a:pos x="22" y="30"/>
                    </a:cxn>
                    <a:cxn ang="0">
                      <a:pos x="28" y="30"/>
                    </a:cxn>
                    <a:cxn ang="0">
                      <a:pos x="34" y="30"/>
                    </a:cxn>
                    <a:cxn ang="0">
                      <a:pos x="42" y="32"/>
                    </a:cxn>
                    <a:cxn ang="0">
                      <a:pos x="46" y="32"/>
                    </a:cxn>
                    <a:cxn ang="0">
                      <a:pos x="54" y="32"/>
                    </a:cxn>
                    <a:cxn ang="0">
                      <a:pos x="56" y="32"/>
                    </a:cxn>
                    <a:cxn ang="0">
                      <a:pos x="60" y="30"/>
                    </a:cxn>
                    <a:cxn ang="0">
                      <a:pos x="60" y="28"/>
                    </a:cxn>
                    <a:cxn ang="0">
                      <a:pos x="60" y="26"/>
                    </a:cxn>
                    <a:cxn ang="0">
                      <a:pos x="60" y="24"/>
                    </a:cxn>
                    <a:cxn ang="0">
                      <a:pos x="60" y="24"/>
                    </a:cxn>
                  </a:cxnLst>
                  <a:rect l="0" t="0" r="r" b="b"/>
                  <a:pathLst>
                    <a:path w="60" h="38">
                      <a:moveTo>
                        <a:pt x="60" y="24"/>
                      </a:moveTo>
                      <a:lnTo>
                        <a:pt x="60" y="24"/>
                      </a:lnTo>
                      <a:lnTo>
                        <a:pt x="58" y="22"/>
                      </a:lnTo>
                      <a:lnTo>
                        <a:pt x="56" y="22"/>
                      </a:lnTo>
                      <a:lnTo>
                        <a:pt x="54" y="20"/>
                      </a:lnTo>
                      <a:lnTo>
                        <a:pt x="52" y="18"/>
                      </a:lnTo>
                      <a:lnTo>
                        <a:pt x="50" y="16"/>
                      </a:lnTo>
                      <a:lnTo>
                        <a:pt x="48" y="16"/>
                      </a:lnTo>
                      <a:lnTo>
                        <a:pt x="46" y="14"/>
                      </a:lnTo>
                      <a:lnTo>
                        <a:pt x="44" y="14"/>
                      </a:lnTo>
                      <a:lnTo>
                        <a:pt x="42" y="14"/>
                      </a:lnTo>
                      <a:lnTo>
                        <a:pt x="40" y="12"/>
                      </a:lnTo>
                      <a:lnTo>
                        <a:pt x="38" y="12"/>
                      </a:lnTo>
                      <a:lnTo>
                        <a:pt x="36" y="10"/>
                      </a:lnTo>
                      <a:lnTo>
                        <a:pt x="34" y="10"/>
                      </a:lnTo>
                      <a:lnTo>
                        <a:pt x="32" y="8"/>
                      </a:lnTo>
                      <a:lnTo>
                        <a:pt x="30" y="6"/>
                      </a:lnTo>
                      <a:lnTo>
                        <a:pt x="30" y="4"/>
                      </a:lnTo>
                      <a:lnTo>
                        <a:pt x="28" y="2"/>
                      </a:lnTo>
                      <a:lnTo>
                        <a:pt x="26" y="0"/>
                      </a:lnTo>
                      <a:lnTo>
                        <a:pt x="24" y="0"/>
                      </a:lnTo>
                      <a:lnTo>
                        <a:pt x="22" y="0"/>
                      </a:lnTo>
                      <a:lnTo>
                        <a:pt x="20" y="0"/>
                      </a:lnTo>
                      <a:lnTo>
                        <a:pt x="16" y="0"/>
                      </a:lnTo>
                      <a:lnTo>
                        <a:pt x="12" y="0"/>
                      </a:lnTo>
                      <a:lnTo>
                        <a:pt x="10" y="0"/>
                      </a:lnTo>
                      <a:lnTo>
                        <a:pt x="8" y="0"/>
                      </a:lnTo>
                      <a:lnTo>
                        <a:pt x="6" y="2"/>
                      </a:lnTo>
                      <a:lnTo>
                        <a:pt x="8" y="6"/>
                      </a:lnTo>
                      <a:lnTo>
                        <a:pt x="8" y="8"/>
                      </a:lnTo>
                      <a:lnTo>
                        <a:pt x="8" y="10"/>
                      </a:lnTo>
                      <a:lnTo>
                        <a:pt x="8" y="12"/>
                      </a:lnTo>
                      <a:lnTo>
                        <a:pt x="6" y="14"/>
                      </a:lnTo>
                      <a:lnTo>
                        <a:pt x="6" y="16"/>
                      </a:lnTo>
                      <a:lnTo>
                        <a:pt x="4" y="18"/>
                      </a:lnTo>
                      <a:lnTo>
                        <a:pt x="4" y="22"/>
                      </a:lnTo>
                      <a:lnTo>
                        <a:pt x="2" y="24"/>
                      </a:lnTo>
                      <a:lnTo>
                        <a:pt x="2" y="26"/>
                      </a:lnTo>
                      <a:lnTo>
                        <a:pt x="2" y="28"/>
                      </a:lnTo>
                      <a:lnTo>
                        <a:pt x="4" y="30"/>
                      </a:lnTo>
                      <a:lnTo>
                        <a:pt x="4" y="32"/>
                      </a:lnTo>
                      <a:lnTo>
                        <a:pt x="4" y="34"/>
                      </a:lnTo>
                      <a:lnTo>
                        <a:pt x="4" y="32"/>
                      </a:lnTo>
                      <a:lnTo>
                        <a:pt x="2" y="32"/>
                      </a:lnTo>
                      <a:lnTo>
                        <a:pt x="2" y="30"/>
                      </a:lnTo>
                      <a:lnTo>
                        <a:pt x="0" y="30"/>
                      </a:lnTo>
                      <a:lnTo>
                        <a:pt x="4" y="32"/>
                      </a:lnTo>
                      <a:lnTo>
                        <a:pt x="6" y="34"/>
                      </a:lnTo>
                      <a:lnTo>
                        <a:pt x="8" y="36"/>
                      </a:lnTo>
                      <a:lnTo>
                        <a:pt x="8" y="38"/>
                      </a:lnTo>
                      <a:lnTo>
                        <a:pt x="10" y="38"/>
                      </a:lnTo>
                      <a:lnTo>
                        <a:pt x="12" y="36"/>
                      </a:lnTo>
                      <a:lnTo>
                        <a:pt x="14" y="36"/>
                      </a:lnTo>
                      <a:lnTo>
                        <a:pt x="16" y="34"/>
                      </a:lnTo>
                      <a:lnTo>
                        <a:pt x="18" y="32"/>
                      </a:lnTo>
                      <a:lnTo>
                        <a:pt x="20" y="30"/>
                      </a:lnTo>
                      <a:lnTo>
                        <a:pt x="22" y="30"/>
                      </a:lnTo>
                      <a:lnTo>
                        <a:pt x="24" y="30"/>
                      </a:lnTo>
                      <a:lnTo>
                        <a:pt x="28" y="30"/>
                      </a:lnTo>
                      <a:lnTo>
                        <a:pt x="30" y="30"/>
                      </a:lnTo>
                      <a:lnTo>
                        <a:pt x="34" y="30"/>
                      </a:lnTo>
                      <a:lnTo>
                        <a:pt x="38" y="30"/>
                      </a:lnTo>
                      <a:lnTo>
                        <a:pt x="42" y="32"/>
                      </a:lnTo>
                      <a:lnTo>
                        <a:pt x="44" y="32"/>
                      </a:lnTo>
                      <a:lnTo>
                        <a:pt x="46" y="32"/>
                      </a:lnTo>
                      <a:lnTo>
                        <a:pt x="50" y="32"/>
                      </a:lnTo>
                      <a:lnTo>
                        <a:pt x="54" y="32"/>
                      </a:lnTo>
                      <a:lnTo>
                        <a:pt x="56" y="32"/>
                      </a:lnTo>
                      <a:lnTo>
                        <a:pt x="58" y="32"/>
                      </a:lnTo>
                      <a:lnTo>
                        <a:pt x="60" y="30"/>
                      </a:lnTo>
                      <a:lnTo>
                        <a:pt x="60" y="28"/>
                      </a:lnTo>
                      <a:lnTo>
                        <a:pt x="60" y="26"/>
                      </a:lnTo>
                      <a:lnTo>
                        <a:pt x="60" y="2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5" name="Freeform 33">
                  <a:extLst>
                    <a:ext uri="{FF2B5EF4-FFF2-40B4-BE49-F238E27FC236}">
                      <a16:creationId xmlns:a16="http://schemas.microsoft.com/office/drawing/2014/main" id="{BE77B289-98D4-4EA5-B81B-0E1C9A4E1E30}"/>
                    </a:ext>
                  </a:extLst>
                </p:cNvPr>
                <p:cNvSpPr>
                  <a:spLocks noChangeAspect="1"/>
                </p:cNvSpPr>
                <p:nvPr/>
              </p:nvSpPr>
              <p:spPr bwMode="auto">
                <a:xfrm>
                  <a:off x="2787985" y="3706236"/>
                  <a:ext cx="95301" cy="151628"/>
                </a:xfrm>
                <a:custGeom>
                  <a:avLst/>
                  <a:gdLst/>
                  <a:ahLst/>
                  <a:cxnLst>
                    <a:cxn ang="0">
                      <a:pos x="34" y="14"/>
                    </a:cxn>
                    <a:cxn ang="0">
                      <a:pos x="32" y="8"/>
                    </a:cxn>
                    <a:cxn ang="0">
                      <a:pos x="30" y="6"/>
                    </a:cxn>
                    <a:cxn ang="0">
                      <a:pos x="28" y="6"/>
                    </a:cxn>
                    <a:cxn ang="0">
                      <a:pos x="24" y="6"/>
                    </a:cxn>
                    <a:cxn ang="0">
                      <a:pos x="24" y="6"/>
                    </a:cxn>
                    <a:cxn ang="0">
                      <a:pos x="20" y="4"/>
                    </a:cxn>
                    <a:cxn ang="0">
                      <a:pos x="12" y="2"/>
                    </a:cxn>
                    <a:cxn ang="0">
                      <a:pos x="10" y="4"/>
                    </a:cxn>
                    <a:cxn ang="0">
                      <a:pos x="10" y="8"/>
                    </a:cxn>
                    <a:cxn ang="0">
                      <a:pos x="8" y="10"/>
                    </a:cxn>
                    <a:cxn ang="0">
                      <a:pos x="4" y="14"/>
                    </a:cxn>
                    <a:cxn ang="0">
                      <a:pos x="2" y="20"/>
                    </a:cxn>
                    <a:cxn ang="0">
                      <a:pos x="2" y="30"/>
                    </a:cxn>
                    <a:cxn ang="0">
                      <a:pos x="4" y="34"/>
                    </a:cxn>
                    <a:cxn ang="0">
                      <a:pos x="6" y="38"/>
                    </a:cxn>
                    <a:cxn ang="0">
                      <a:pos x="10" y="42"/>
                    </a:cxn>
                    <a:cxn ang="0">
                      <a:pos x="10" y="46"/>
                    </a:cxn>
                    <a:cxn ang="0">
                      <a:pos x="6" y="48"/>
                    </a:cxn>
                    <a:cxn ang="0">
                      <a:pos x="6" y="54"/>
                    </a:cxn>
                    <a:cxn ang="0">
                      <a:pos x="6" y="58"/>
                    </a:cxn>
                    <a:cxn ang="0">
                      <a:pos x="6" y="58"/>
                    </a:cxn>
                    <a:cxn ang="0">
                      <a:pos x="4" y="60"/>
                    </a:cxn>
                    <a:cxn ang="0">
                      <a:pos x="2" y="62"/>
                    </a:cxn>
                    <a:cxn ang="0">
                      <a:pos x="2" y="66"/>
                    </a:cxn>
                    <a:cxn ang="0">
                      <a:pos x="0" y="68"/>
                    </a:cxn>
                    <a:cxn ang="0">
                      <a:pos x="2" y="70"/>
                    </a:cxn>
                    <a:cxn ang="0">
                      <a:pos x="4" y="72"/>
                    </a:cxn>
                    <a:cxn ang="0">
                      <a:pos x="8" y="72"/>
                    </a:cxn>
                    <a:cxn ang="0">
                      <a:pos x="12" y="70"/>
                    </a:cxn>
                    <a:cxn ang="0">
                      <a:pos x="14" y="66"/>
                    </a:cxn>
                    <a:cxn ang="0">
                      <a:pos x="14" y="66"/>
                    </a:cxn>
                    <a:cxn ang="0">
                      <a:pos x="16" y="68"/>
                    </a:cxn>
                    <a:cxn ang="0">
                      <a:pos x="18" y="68"/>
                    </a:cxn>
                    <a:cxn ang="0">
                      <a:pos x="20" y="68"/>
                    </a:cxn>
                    <a:cxn ang="0">
                      <a:pos x="22" y="68"/>
                    </a:cxn>
                    <a:cxn ang="0">
                      <a:pos x="22" y="68"/>
                    </a:cxn>
                    <a:cxn ang="0">
                      <a:pos x="22" y="70"/>
                    </a:cxn>
                    <a:cxn ang="0">
                      <a:pos x="28" y="70"/>
                    </a:cxn>
                    <a:cxn ang="0">
                      <a:pos x="30" y="68"/>
                    </a:cxn>
                    <a:cxn ang="0">
                      <a:pos x="34" y="64"/>
                    </a:cxn>
                    <a:cxn ang="0">
                      <a:pos x="36" y="56"/>
                    </a:cxn>
                    <a:cxn ang="0">
                      <a:pos x="38" y="50"/>
                    </a:cxn>
                    <a:cxn ang="0">
                      <a:pos x="44" y="42"/>
                    </a:cxn>
                    <a:cxn ang="0">
                      <a:pos x="46" y="40"/>
                    </a:cxn>
                    <a:cxn ang="0">
                      <a:pos x="48" y="34"/>
                    </a:cxn>
                    <a:cxn ang="0">
                      <a:pos x="48" y="32"/>
                    </a:cxn>
                    <a:cxn ang="0">
                      <a:pos x="46" y="26"/>
                    </a:cxn>
                    <a:cxn ang="0">
                      <a:pos x="44" y="20"/>
                    </a:cxn>
                    <a:cxn ang="0">
                      <a:pos x="36" y="18"/>
                    </a:cxn>
                  </a:cxnLst>
                  <a:rect l="0" t="0" r="r" b="b"/>
                  <a:pathLst>
                    <a:path w="48" h="72">
                      <a:moveTo>
                        <a:pt x="36" y="18"/>
                      </a:moveTo>
                      <a:lnTo>
                        <a:pt x="36" y="16"/>
                      </a:lnTo>
                      <a:lnTo>
                        <a:pt x="34" y="14"/>
                      </a:lnTo>
                      <a:lnTo>
                        <a:pt x="34" y="12"/>
                      </a:lnTo>
                      <a:lnTo>
                        <a:pt x="34" y="10"/>
                      </a:lnTo>
                      <a:lnTo>
                        <a:pt x="32" y="8"/>
                      </a:lnTo>
                      <a:lnTo>
                        <a:pt x="32" y="6"/>
                      </a:lnTo>
                      <a:lnTo>
                        <a:pt x="30" y="6"/>
                      </a:lnTo>
                      <a:lnTo>
                        <a:pt x="28" y="6"/>
                      </a:lnTo>
                      <a:lnTo>
                        <a:pt x="26" y="6"/>
                      </a:lnTo>
                      <a:lnTo>
                        <a:pt x="24" y="6"/>
                      </a:lnTo>
                      <a:lnTo>
                        <a:pt x="22" y="6"/>
                      </a:lnTo>
                      <a:lnTo>
                        <a:pt x="22" y="4"/>
                      </a:lnTo>
                      <a:lnTo>
                        <a:pt x="20" y="4"/>
                      </a:lnTo>
                      <a:lnTo>
                        <a:pt x="18" y="4"/>
                      </a:lnTo>
                      <a:lnTo>
                        <a:pt x="14" y="2"/>
                      </a:lnTo>
                      <a:lnTo>
                        <a:pt x="12" y="2"/>
                      </a:lnTo>
                      <a:lnTo>
                        <a:pt x="12" y="0"/>
                      </a:lnTo>
                      <a:lnTo>
                        <a:pt x="10" y="2"/>
                      </a:lnTo>
                      <a:lnTo>
                        <a:pt x="10" y="4"/>
                      </a:lnTo>
                      <a:lnTo>
                        <a:pt x="10" y="6"/>
                      </a:lnTo>
                      <a:lnTo>
                        <a:pt x="10" y="8"/>
                      </a:lnTo>
                      <a:lnTo>
                        <a:pt x="8" y="10"/>
                      </a:lnTo>
                      <a:lnTo>
                        <a:pt x="6" y="10"/>
                      </a:lnTo>
                      <a:lnTo>
                        <a:pt x="6" y="12"/>
                      </a:lnTo>
                      <a:lnTo>
                        <a:pt x="4" y="14"/>
                      </a:lnTo>
                      <a:lnTo>
                        <a:pt x="2" y="16"/>
                      </a:lnTo>
                      <a:lnTo>
                        <a:pt x="2" y="18"/>
                      </a:lnTo>
                      <a:lnTo>
                        <a:pt x="2" y="20"/>
                      </a:lnTo>
                      <a:lnTo>
                        <a:pt x="2" y="22"/>
                      </a:lnTo>
                      <a:lnTo>
                        <a:pt x="2" y="26"/>
                      </a:lnTo>
                      <a:lnTo>
                        <a:pt x="2" y="30"/>
                      </a:lnTo>
                      <a:lnTo>
                        <a:pt x="2" y="32"/>
                      </a:lnTo>
                      <a:lnTo>
                        <a:pt x="4" y="34"/>
                      </a:lnTo>
                      <a:lnTo>
                        <a:pt x="4" y="36"/>
                      </a:lnTo>
                      <a:lnTo>
                        <a:pt x="6" y="38"/>
                      </a:lnTo>
                      <a:lnTo>
                        <a:pt x="8" y="40"/>
                      </a:lnTo>
                      <a:lnTo>
                        <a:pt x="10" y="42"/>
                      </a:lnTo>
                      <a:lnTo>
                        <a:pt x="10" y="44"/>
                      </a:lnTo>
                      <a:lnTo>
                        <a:pt x="10" y="46"/>
                      </a:lnTo>
                      <a:lnTo>
                        <a:pt x="8" y="48"/>
                      </a:lnTo>
                      <a:lnTo>
                        <a:pt x="6" y="48"/>
                      </a:lnTo>
                      <a:lnTo>
                        <a:pt x="6" y="50"/>
                      </a:lnTo>
                      <a:lnTo>
                        <a:pt x="6" y="52"/>
                      </a:lnTo>
                      <a:lnTo>
                        <a:pt x="6" y="54"/>
                      </a:lnTo>
                      <a:lnTo>
                        <a:pt x="6" y="56"/>
                      </a:lnTo>
                      <a:lnTo>
                        <a:pt x="6" y="58"/>
                      </a:lnTo>
                      <a:lnTo>
                        <a:pt x="6" y="60"/>
                      </a:lnTo>
                      <a:lnTo>
                        <a:pt x="4" y="60"/>
                      </a:lnTo>
                      <a:lnTo>
                        <a:pt x="4" y="62"/>
                      </a:lnTo>
                      <a:lnTo>
                        <a:pt x="2" y="62"/>
                      </a:lnTo>
                      <a:lnTo>
                        <a:pt x="2" y="64"/>
                      </a:lnTo>
                      <a:lnTo>
                        <a:pt x="2" y="66"/>
                      </a:lnTo>
                      <a:lnTo>
                        <a:pt x="0" y="66"/>
                      </a:lnTo>
                      <a:lnTo>
                        <a:pt x="0" y="68"/>
                      </a:lnTo>
                      <a:lnTo>
                        <a:pt x="2" y="70"/>
                      </a:lnTo>
                      <a:lnTo>
                        <a:pt x="4" y="70"/>
                      </a:lnTo>
                      <a:lnTo>
                        <a:pt x="4" y="72"/>
                      </a:lnTo>
                      <a:lnTo>
                        <a:pt x="6" y="72"/>
                      </a:lnTo>
                      <a:lnTo>
                        <a:pt x="8" y="72"/>
                      </a:lnTo>
                      <a:lnTo>
                        <a:pt x="10" y="70"/>
                      </a:lnTo>
                      <a:lnTo>
                        <a:pt x="12" y="70"/>
                      </a:lnTo>
                      <a:lnTo>
                        <a:pt x="12" y="68"/>
                      </a:lnTo>
                      <a:lnTo>
                        <a:pt x="14" y="66"/>
                      </a:lnTo>
                      <a:lnTo>
                        <a:pt x="16" y="68"/>
                      </a:lnTo>
                      <a:lnTo>
                        <a:pt x="18" y="68"/>
                      </a:lnTo>
                      <a:lnTo>
                        <a:pt x="20" y="68"/>
                      </a:lnTo>
                      <a:lnTo>
                        <a:pt x="22" y="68"/>
                      </a:lnTo>
                      <a:lnTo>
                        <a:pt x="22" y="70"/>
                      </a:lnTo>
                      <a:lnTo>
                        <a:pt x="24" y="70"/>
                      </a:lnTo>
                      <a:lnTo>
                        <a:pt x="28" y="70"/>
                      </a:lnTo>
                      <a:lnTo>
                        <a:pt x="28" y="68"/>
                      </a:lnTo>
                      <a:lnTo>
                        <a:pt x="30" y="68"/>
                      </a:lnTo>
                      <a:lnTo>
                        <a:pt x="32" y="66"/>
                      </a:lnTo>
                      <a:lnTo>
                        <a:pt x="34" y="64"/>
                      </a:lnTo>
                      <a:lnTo>
                        <a:pt x="34" y="62"/>
                      </a:lnTo>
                      <a:lnTo>
                        <a:pt x="36" y="60"/>
                      </a:lnTo>
                      <a:lnTo>
                        <a:pt x="36" y="56"/>
                      </a:lnTo>
                      <a:lnTo>
                        <a:pt x="36" y="54"/>
                      </a:lnTo>
                      <a:lnTo>
                        <a:pt x="38" y="52"/>
                      </a:lnTo>
                      <a:lnTo>
                        <a:pt x="38" y="50"/>
                      </a:lnTo>
                      <a:lnTo>
                        <a:pt x="40" y="46"/>
                      </a:lnTo>
                      <a:lnTo>
                        <a:pt x="42" y="44"/>
                      </a:lnTo>
                      <a:lnTo>
                        <a:pt x="44" y="42"/>
                      </a:lnTo>
                      <a:lnTo>
                        <a:pt x="46" y="40"/>
                      </a:lnTo>
                      <a:lnTo>
                        <a:pt x="48" y="36"/>
                      </a:lnTo>
                      <a:lnTo>
                        <a:pt x="48" y="34"/>
                      </a:lnTo>
                      <a:lnTo>
                        <a:pt x="48" y="32"/>
                      </a:lnTo>
                      <a:lnTo>
                        <a:pt x="48" y="30"/>
                      </a:lnTo>
                      <a:lnTo>
                        <a:pt x="46" y="28"/>
                      </a:lnTo>
                      <a:lnTo>
                        <a:pt x="46" y="26"/>
                      </a:lnTo>
                      <a:lnTo>
                        <a:pt x="46" y="24"/>
                      </a:lnTo>
                      <a:lnTo>
                        <a:pt x="44" y="22"/>
                      </a:lnTo>
                      <a:lnTo>
                        <a:pt x="44" y="20"/>
                      </a:lnTo>
                      <a:lnTo>
                        <a:pt x="36" y="1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6" name="Freeform 39">
                  <a:extLst>
                    <a:ext uri="{FF2B5EF4-FFF2-40B4-BE49-F238E27FC236}">
                      <a16:creationId xmlns:a16="http://schemas.microsoft.com/office/drawing/2014/main" id="{D797D805-DEA2-46D7-A2CE-71BAE4FBD995}"/>
                    </a:ext>
                  </a:extLst>
                </p:cNvPr>
                <p:cNvSpPr>
                  <a:spLocks noChangeAspect="1"/>
                </p:cNvSpPr>
                <p:nvPr/>
              </p:nvSpPr>
              <p:spPr bwMode="auto">
                <a:xfrm>
                  <a:off x="1886598" y="3937891"/>
                  <a:ext cx="444738" cy="745508"/>
                </a:xfrm>
                <a:custGeom>
                  <a:avLst/>
                  <a:gdLst/>
                  <a:ahLst/>
                  <a:cxnLst>
                    <a:cxn ang="0">
                      <a:pos x="210" y="306"/>
                    </a:cxn>
                    <a:cxn ang="0">
                      <a:pos x="206" y="296"/>
                    </a:cxn>
                    <a:cxn ang="0">
                      <a:pos x="218" y="296"/>
                    </a:cxn>
                    <a:cxn ang="0">
                      <a:pos x="220" y="276"/>
                    </a:cxn>
                    <a:cxn ang="0">
                      <a:pos x="220" y="260"/>
                    </a:cxn>
                    <a:cxn ang="0">
                      <a:pos x="218" y="248"/>
                    </a:cxn>
                    <a:cxn ang="0">
                      <a:pos x="210" y="222"/>
                    </a:cxn>
                    <a:cxn ang="0">
                      <a:pos x="194" y="214"/>
                    </a:cxn>
                    <a:cxn ang="0">
                      <a:pos x="188" y="208"/>
                    </a:cxn>
                    <a:cxn ang="0">
                      <a:pos x="188" y="184"/>
                    </a:cxn>
                    <a:cxn ang="0">
                      <a:pos x="174" y="192"/>
                    </a:cxn>
                    <a:cxn ang="0">
                      <a:pos x="158" y="190"/>
                    </a:cxn>
                    <a:cxn ang="0">
                      <a:pos x="144" y="182"/>
                    </a:cxn>
                    <a:cxn ang="0">
                      <a:pos x="138" y="166"/>
                    </a:cxn>
                    <a:cxn ang="0">
                      <a:pos x="132" y="150"/>
                    </a:cxn>
                    <a:cxn ang="0">
                      <a:pos x="132" y="142"/>
                    </a:cxn>
                    <a:cxn ang="0">
                      <a:pos x="132" y="130"/>
                    </a:cxn>
                    <a:cxn ang="0">
                      <a:pos x="140" y="122"/>
                    </a:cxn>
                    <a:cxn ang="0">
                      <a:pos x="144" y="102"/>
                    </a:cxn>
                    <a:cxn ang="0">
                      <a:pos x="150" y="98"/>
                    </a:cxn>
                    <a:cxn ang="0">
                      <a:pos x="166" y="88"/>
                    </a:cxn>
                    <a:cxn ang="0">
                      <a:pos x="176" y="86"/>
                    </a:cxn>
                    <a:cxn ang="0">
                      <a:pos x="188" y="84"/>
                    </a:cxn>
                    <a:cxn ang="0">
                      <a:pos x="190" y="80"/>
                    </a:cxn>
                    <a:cxn ang="0">
                      <a:pos x="182" y="74"/>
                    </a:cxn>
                    <a:cxn ang="0">
                      <a:pos x="190" y="58"/>
                    </a:cxn>
                    <a:cxn ang="0">
                      <a:pos x="178" y="46"/>
                    </a:cxn>
                    <a:cxn ang="0">
                      <a:pos x="162" y="44"/>
                    </a:cxn>
                    <a:cxn ang="0">
                      <a:pos x="148" y="50"/>
                    </a:cxn>
                    <a:cxn ang="0">
                      <a:pos x="136" y="36"/>
                    </a:cxn>
                    <a:cxn ang="0">
                      <a:pos x="128" y="26"/>
                    </a:cxn>
                    <a:cxn ang="0">
                      <a:pos x="120" y="20"/>
                    </a:cxn>
                    <a:cxn ang="0">
                      <a:pos x="108" y="6"/>
                    </a:cxn>
                    <a:cxn ang="0">
                      <a:pos x="98" y="6"/>
                    </a:cxn>
                    <a:cxn ang="0">
                      <a:pos x="102" y="18"/>
                    </a:cxn>
                    <a:cxn ang="0">
                      <a:pos x="98" y="30"/>
                    </a:cxn>
                    <a:cxn ang="0">
                      <a:pos x="80" y="50"/>
                    </a:cxn>
                    <a:cxn ang="0">
                      <a:pos x="54" y="66"/>
                    </a:cxn>
                    <a:cxn ang="0">
                      <a:pos x="50" y="74"/>
                    </a:cxn>
                    <a:cxn ang="0">
                      <a:pos x="42" y="92"/>
                    </a:cxn>
                    <a:cxn ang="0">
                      <a:pos x="32" y="86"/>
                    </a:cxn>
                    <a:cxn ang="0">
                      <a:pos x="22" y="82"/>
                    </a:cxn>
                    <a:cxn ang="0">
                      <a:pos x="16" y="82"/>
                    </a:cxn>
                    <a:cxn ang="0">
                      <a:pos x="22" y="72"/>
                    </a:cxn>
                    <a:cxn ang="0">
                      <a:pos x="6" y="78"/>
                    </a:cxn>
                    <a:cxn ang="0">
                      <a:pos x="4" y="96"/>
                    </a:cxn>
                    <a:cxn ang="0">
                      <a:pos x="10" y="108"/>
                    </a:cxn>
                    <a:cxn ang="0">
                      <a:pos x="12" y="124"/>
                    </a:cxn>
                    <a:cxn ang="0">
                      <a:pos x="32" y="144"/>
                    </a:cxn>
                    <a:cxn ang="0">
                      <a:pos x="46" y="166"/>
                    </a:cxn>
                    <a:cxn ang="0">
                      <a:pos x="60" y="194"/>
                    </a:cxn>
                    <a:cxn ang="0">
                      <a:pos x="70" y="216"/>
                    </a:cxn>
                    <a:cxn ang="0">
                      <a:pos x="78" y="232"/>
                    </a:cxn>
                    <a:cxn ang="0">
                      <a:pos x="98" y="270"/>
                    </a:cxn>
                    <a:cxn ang="0">
                      <a:pos x="116" y="296"/>
                    </a:cxn>
                    <a:cxn ang="0">
                      <a:pos x="148" y="312"/>
                    </a:cxn>
                    <a:cxn ang="0">
                      <a:pos x="184" y="336"/>
                    </a:cxn>
                    <a:cxn ang="0">
                      <a:pos x="194" y="346"/>
                    </a:cxn>
                    <a:cxn ang="0">
                      <a:pos x="214" y="346"/>
                    </a:cxn>
                    <a:cxn ang="0">
                      <a:pos x="216" y="336"/>
                    </a:cxn>
                    <a:cxn ang="0">
                      <a:pos x="224" y="322"/>
                    </a:cxn>
                  </a:cxnLst>
                  <a:rect l="0" t="0" r="r" b="b"/>
                  <a:pathLst>
                    <a:path w="224" h="354">
                      <a:moveTo>
                        <a:pt x="222" y="314"/>
                      </a:moveTo>
                      <a:lnTo>
                        <a:pt x="222" y="314"/>
                      </a:lnTo>
                      <a:lnTo>
                        <a:pt x="220" y="312"/>
                      </a:lnTo>
                      <a:lnTo>
                        <a:pt x="218" y="312"/>
                      </a:lnTo>
                      <a:lnTo>
                        <a:pt x="216" y="310"/>
                      </a:lnTo>
                      <a:lnTo>
                        <a:pt x="214" y="308"/>
                      </a:lnTo>
                      <a:lnTo>
                        <a:pt x="212" y="308"/>
                      </a:lnTo>
                      <a:lnTo>
                        <a:pt x="212" y="306"/>
                      </a:lnTo>
                      <a:lnTo>
                        <a:pt x="210" y="306"/>
                      </a:lnTo>
                      <a:lnTo>
                        <a:pt x="206" y="306"/>
                      </a:lnTo>
                      <a:lnTo>
                        <a:pt x="206" y="304"/>
                      </a:lnTo>
                      <a:lnTo>
                        <a:pt x="206" y="302"/>
                      </a:lnTo>
                      <a:lnTo>
                        <a:pt x="206" y="300"/>
                      </a:lnTo>
                      <a:lnTo>
                        <a:pt x="208" y="300"/>
                      </a:lnTo>
                      <a:lnTo>
                        <a:pt x="206" y="300"/>
                      </a:lnTo>
                      <a:lnTo>
                        <a:pt x="206" y="298"/>
                      </a:lnTo>
                      <a:lnTo>
                        <a:pt x="206" y="296"/>
                      </a:lnTo>
                      <a:lnTo>
                        <a:pt x="206" y="294"/>
                      </a:lnTo>
                      <a:lnTo>
                        <a:pt x="208" y="294"/>
                      </a:lnTo>
                      <a:lnTo>
                        <a:pt x="210" y="294"/>
                      </a:lnTo>
                      <a:lnTo>
                        <a:pt x="212" y="294"/>
                      </a:lnTo>
                      <a:lnTo>
                        <a:pt x="214" y="296"/>
                      </a:lnTo>
                      <a:lnTo>
                        <a:pt x="218" y="298"/>
                      </a:lnTo>
                      <a:lnTo>
                        <a:pt x="218" y="296"/>
                      </a:lnTo>
                      <a:lnTo>
                        <a:pt x="218" y="294"/>
                      </a:lnTo>
                      <a:lnTo>
                        <a:pt x="220" y="294"/>
                      </a:lnTo>
                      <a:lnTo>
                        <a:pt x="218" y="294"/>
                      </a:lnTo>
                      <a:lnTo>
                        <a:pt x="218" y="292"/>
                      </a:lnTo>
                      <a:lnTo>
                        <a:pt x="216" y="288"/>
                      </a:lnTo>
                      <a:lnTo>
                        <a:pt x="216" y="286"/>
                      </a:lnTo>
                      <a:lnTo>
                        <a:pt x="216" y="284"/>
                      </a:lnTo>
                      <a:lnTo>
                        <a:pt x="216" y="282"/>
                      </a:lnTo>
                      <a:lnTo>
                        <a:pt x="216" y="280"/>
                      </a:lnTo>
                      <a:lnTo>
                        <a:pt x="218" y="278"/>
                      </a:lnTo>
                      <a:lnTo>
                        <a:pt x="220" y="276"/>
                      </a:lnTo>
                      <a:lnTo>
                        <a:pt x="220" y="274"/>
                      </a:lnTo>
                      <a:lnTo>
                        <a:pt x="220" y="272"/>
                      </a:lnTo>
                      <a:lnTo>
                        <a:pt x="222" y="272"/>
                      </a:lnTo>
                      <a:lnTo>
                        <a:pt x="220" y="272"/>
                      </a:lnTo>
                      <a:lnTo>
                        <a:pt x="220" y="270"/>
                      </a:lnTo>
                      <a:lnTo>
                        <a:pt x="220" y="268"/>
                      </a:lnTo>
                      <a:lnTo>
                        <a:pt x="218" y="268"/>
                      </a:lnTo>
                      <a:lnTo>
                        <a:pt x="218" y="266"/>
                      </a:lnTo>
                      <a:lnTo>
                        <a:pt x="216" y="266"/>
                      </a:lnTo>
                      <a:lnTo>
                        <a:pt x="218" y="264"/>
                      </a:lnTo>
                      <a:lnTo>
                        <a:pt x="220" y="262"/>
                      </a:lnTo>
                      <a:lnTo>
                        <a:pt x="220" y="260"/>
                      </a:lnTo>
                      <a:lnTo>
                        <a:pt x="220" y="258"/>
                      </a:lnTo>
                      <a:lnTo>
                        <a:pt x="220" y="256"/>
                      </a:lnTo>
                      <a:lnTo>
                        <a:pt x="220" y="254"/>
                      </a:lnTo>
                      <a:lnTo>
                        <a:pt x="220" y="252"/>
                      </a:lnTo>
                      <a:lnTo>
                        <a:pt x="218" y="250"/>
                      </a:lnTo>
                      <a:lnTo>
                        <a:pt x="218" y="248"/>
                      </a:lnTo>
                      <a:lnTo>
                        <a:pt x="220" y="246"/>
                      </a:lnTo>
                      <a:lnTo>
                        <a:pt x="220" y="244"/>
                      </a:lnTo>
                      <a:lnTo>
                        <a:pt x="220" y="242"/>
                      </a:lnTo>
                      <a:lnTo>
                        <a:pt x="220" y="240"/>
                      </a:lnTo>
                      <a:lnTo>
                        <a:pt x="220" y="238"/>
                      </a:lnTo>
                      <a:lnTo>
                        <a:pt x="220" y="236"/>
                      </a:lnTo>
                      <a:lnTo>
                        <a:pt x="220" y="234"/>
                      </a:lnTo>
                      <a:lnTo>
                        <a:pt x="218" y="232"/>
                      </a:lnTo>
                      <a:lnTo>
                        <a:pt x="218" y="230"/>
                      </a:lnTo>
                      <a:lnTo>
                        <a:pt x="216" y="228"/>
                      </a:lnTo>
                      <a:lnTo>
                        <a:pt x="214" y="226"/>
                      </a:lnTo>
                      <a:lnTo>
                        <a:pt x="212" y="224"/>
                      </a:lnTo>
                      <a:lnTo>
                        <a:pt x="210" y="222"/>
                      </a:lnTo>
                      <a:lnTo>
                        <a:pt x="208" y="218"/>
                      </a:lnTo>
                      <a:lnTo>
                        <a:pt x="206" y="214"/>
                      </a:lnTo>
                      <a:lnTo>
                        <a:pt x="206" y="212"/>
                      </a:lnTo>
                      <a:lnTo>
                        <a:pt x="206" y="210"/>
                      </a:lnTo>
                      <a:lnTo>
                        <a:pt x="204" y="210"/>
                      </a:lnTo>
                      <a:lnTo>
                        <a:pt x="202" y="210"/>
                      </a:lnTo>
                      <a:lnTo>
                        <a:pt x="200" y="210"/>
                      </a:lnTo>
                      <a:lnTo>
                        <a:pt x="198" y="210"/>
                      </a:lnTo>
                      <a:lnTo>
                        <a:pt x="196" y="210"/>
                      </a:lnTo>
                      <a:lnTo>
                        <a:pt x="196" y="212"/>
                      </a:lnTo>
                      <a:lnTo>
                        <a:pt x="196" y="214"/>
                      </a:lnTo>
                      <a:lnTo>
                        <a:pt x="194" y="214"/>
                      </a:lnTo>
                      <a:lnTo>
                        <a:pt x="192" y="214"/>
                      </a:lnTo>
                      <a:lnTo>
                        <a:pt x="190" y="212"/>
                      </a:lnTo>
                      <a:lnTo>
                        <a:pt x="190" y="210"/>
                      </a:lnTo>
                      <a:lnTo>
                        <a:pt x="190" y="212"/>
                      </a:lnTo>
                      <a:lnTo>
                        <a:pt x="188" y="212"/>
                      </a:lnTo>
                      <a:lnTo>
                        <a:pt x="188" y="210"/>
                      </a:lnTo>
                      <a:lnTo>
                        <a:pt x="188" y="208"/>
                      </a:lnTo>
                      <a:lnTo>
                        <a:pt x="188" y="204"/>
                      </a:lnTo>
                      <a:lnTo>
                        <a:pt x="188" y="202"/>
                      </a:lnTo>
                      <a:lnTo>
                        <a:pt x="186" y="202"/>
                      </a:lnTo>
                      <a:lnTo>
                        <a:pt x="186" y="198"/>
                      </a:lnTo>
                      <a:lnTo>
                        <a:pt x="188" y="196"/>
                      </a:lnTo>
                      <a:lnTo>
                        <a:pt x="188" y="192"/>
                      </a:lnTo>
                      <a:lnTo>
                        <a:pt x="188" y="190"/>
                      </a:lnTo>
                      <a:lnTo>
                        <a:pt x="188" y="188"/>
                      </a:lnTo>
                      <a:lnTo>
                        <a:pt x="188" y="186"/>
                      </a:lnTo>
                      <a:lnTo>
                        <a:pt x="188" y="184"/>
                      </a:lnTo>
                      <a:lnTo>
                        <a:pt x="188" y="182"/>
                      </a:lnTo>
                      <a:lnTo>
                        <a:pt x="188" y="180"/>
                      </a:lnTo>
                      <a:lnTo>
                        <a:pt x="186" y="182"/>
                      </a:lnTo>
                      <a:lnTo>
                        <a:pt x="184" y="184"/>
                      </a:lnTo>
                      <a:lnTo>
                        <a:pt x="182" y="186"/>
                      </a:lnTo>
                      <a:lnTo>
                        <a:pt x="180" y="188"/>
                      </a:lnTo>
                      <a:lnTo>
                        <a:pt x="178" y="190"/>
                      </a:lnTo>
                      <a:lnTo>
                        <a:pt x="176" y="190"/>
                      </a:lnTo>
                      <a:lnTo>
                        <a:pt x="176" y="192"/>
                      </a:lnTo>
                      <a:lnTo>
                        <a:pt x="174" y="192"/>
                      </a:lnTo>
                      <a:lnTo>
                        <a:pt x="170" y="192"/>
                      </a:lnTo>
                      <a:lnTo>
                        <a:pt x="168" y="192"/>
                      </a:lnTo>
                      <a:lnTo>
                        <a:pt x="166" y="192"/>
                      </a:lnTo>
                      <a:lnTo>
                        <a:pt x="164" y="194"/>
                      </a:lnTo>
                      <a:lnTo>
                        <a:pt x="162" y="194"/>
                      </a:lnTo>
                      <a:lnTo>
                        <a:pt x="160" y="194"/>
                      </a:lnTo>
                      <a:lnTo>
                        <a:pt x="160" y="192"/>
                      </a:lnTo>
                      <a:lnTo>
                        <a:pt x="158" y="190"/>
                      </a:lnTo>
                      <a:lnTo>
                        <a:pt x="158" y="186"/>
                      </a:lnTo>
                      <a:lnTo>
                        <a:pt x="156" y="184"/>
                      </a:lnTo>
                      <a:lnTo>
                        <a:pt x="156" y="182"/>
                      </a:lnTo>
                      <a:lnTo>
                        <a:pt x="154" y="182"/>
                      </a:lnTo>
                      <a:lnTo>
                        <a:pt x="152" y="182"/>
                      </a:lnTo>
                      <a:lnTo>
                        <a:pt x="150" y="182"/>
                      </a:lnTo>
                      <a:lnTo>
                        <a:pt x="148" y="182"/>
                      </a:lnTo>
                      <a:lnTo>
                        <a:pt x="144" y="182"/>
                      </a:lnTo>
                      <a:lnTo>
                        <a:pt x="142" y="182"/>
                      </a:lnTo>
                      <a:lnTo>
                        <a:pt x="144" y="182"/>
                      </a:lnTo>
                      <a:lnTo>
                        <a:pt x="144" y="180"/>
                      </a:lnTo>
                      <a:lnTo>
                        <a:pt x="146" y="178"/>
                      </a:lnTo>
                      <a:lnTo>
                        <a:pt x="148" y="178"/>
                      </a:lnTo>
                      <a:lnTo>
                        <a:pt x="148" y="176"/>
                      </a:lnTo>
                      <a:lnTo>
                        <a:pt x="150" y="176"/>
                      </a:lnTo>
                      <a:lnTo>
                        <a:pt x="148" y="174"/>
                      </a:lnTo>
                      <a:lnTo>
                        <a:pt x="146" y="172"/>
                      </a:lnTo>
                      <a:lnTo>
                        <a:pt x="142" y="168"/>
                      </a:lnTo>
                      <a:lnTo>
                        <a:pt x="140" y="168"/>
                      </a:lnTo>
                      <a:lnTo>
                        <a:pt x="140" y="166"/>
                      </a:lnTo>
                      <a:lnTo>
                        <a:pt x="138" y="166"/>
                      </a:lnTo>
                      <a:lnTo>
                        <a:pt x="138" y="164"/>
                      </a:lnTo>
                      <a:lnTo>
                        <a:pt x="136" y="160"/>
                      </a:lnTo>
                      <a:lnTo>
                        <a:pt x="134" y="158"/>
                      </a:lnTo>
                      <a:lnTo>
                        <a:pt x="134" y="156"/>
                      </a:lnTo>
                      <a:lnTo>
                        <a:pt x="132" y="154"/>
                      </a:lnTo>
                      <a:lnTo>
                        <a:pt x="132" y="152"/>
                      </a:lnTo>
                      <a:lnTo>
                        <a:pt x="132" y="150"/>
                      </a:lnTo>
                      <a:lnTo>
                        <a:pt x="130" y="150"/>
                      </a:lnTo>
                      <a:lnTo>
                        <a:pt x="128" y="148"/>
                      </a:lnTo>
                      <a:lnTo>
                        <a:pt x="126" y="146"/>
                      </a:lnTo>
                      <a:lnTo>
                        <a:pt x="128" y="146"/>
                      </a:lnTo>
                      <a:lnTo>
                        <a:pt x="128" y="144"/>
                      </a:lnTo>
                      <a:lnTo>
                        <a:pt x="130" y="144"/>
                      </a:lnTo>
                      <a:lnTo>
                        <a:pt x="130" y="142"/>
                      </a:lnTo>
                      <a:lnTo>
                        <a:pt x="132" y="142"/>
                      </a:lnTo>
                      <a:lnTo>
                        <a:pt x="130" y="140"/>
                      </a:lnTo>
                      <a:lnTo>
                        <a:pt x="130" y="138"/>
                      </a:lnTo>
                      <a:lnTo>
                        <a:pt x="130" y="136"/>
                      </a:lnTo>
                      <a:lnTo>
                        <a:pt x="130" y="134"/>
                      </a:lnTo>
                      <a:lnTo>
                        <a:pt x="132" y="132"/>
                      </a:lnTo>
                      <a:lnTo>
                        <a:pt x="132" y="130"/>
                      </a:lnTo>
                      <a:lnTo>
                        <a:pt x="134" y="130"/>
                      </a:lnTo>
                      <a:lnTo>
                        <a:pt x="136" y="128"/>
                      </a:lnTo>
                      <a:lnTo>
                        <a:pt x="138" y="126"/>
                      </a:lnTo>
                      <a:lnTo>
                        <a:pt x="140" y="126"/>
                      </a:lnTo>
                      <a:lnTo>
                        <a:pt x="142" y="126"/>
                      </a:lnTo>
                      <a:lnTo>
                        <a:pt x="142" y="128"/>
                      </a:lnTo>
                      <a:lnTo>
                        <a:pt x="142" y="126"/>
                      </a:lnTo>
                      <a:lnTo>
                        <a:pt x="142" y="124"/>
                      </a:lnTo>
                      <a:lnTo>
                        <a:pt x="140" y="124"/>
                      </a:lnTo>
                      <a:lnTo>
                        <a:pt x="140" y="122"/>
                      </a:lnTo>
                      <a:lnTo>
                        <a:pt x="140" y="120"/>
                      </a:lnTo>
                      <a:lnTo>
                        <a:pt x="140" y="118"/>
                      </a:lnTo>
                      <a:lnTo>
                        <a:pt x="140" y="116"/>
                      </a:lnTo>
                      <a:lnTo>
                        <a:pt x="142" y="114"/>
                      </a:lnTo>
                      <a:lnTo>
                        <a:pt x="144" y="112"/>
                      </a:lnTo>
                      <a:lnTo>
                        <a:pt x="144" y="110"/>
                      </a:lnTo>
                      <a:lnTo>
                        <a:pt x="144" y="108"/>
                      </a:lnTo>
                      <a:lnTo>
                        <a:pt x="144" y="106"/>
                      </a:lnTo>
                      <a:lnTo>
                        <a:pt x="144" y="102"/>
                      </a:lnTo>
                      <a:lnTo>
                        <a:pt x="144" y="100"/>
                      </a:lnTo>
                      <a:lnTo>
                        <a:pt x="146" y="100"/>
                      </a:lnTo>
                      <a:lnTo>
                        <a:pt x="148" y="100"/>
                      </a:lnTo>
                      <a:lnTo>
                        <a:pt x="150" y="100"/>
                      </a:lnTo>
                      <a:lnTo>
                        <a:pt x="150" y="98"/>
                      </a:lnTo>
                      <a:lnTo>
                        <a:pt x="150" y="96"/>
                      </a:lnTo>
                      <a:lnTo>
                        <a:pt x="150" y="94"/>
                      </a:lnTo>
                      <a:lnTo>
                        <a:pt x="152" y="94"/>
                      </a:lnTo>
                      <a:lnTo>
                        <a:pt x="154" y="92"/>
                      </a:lnTo>
                      <a:lnTo>
                        <a:pt x="156" y="90"/>
                      </a:lnTo>
                      <a:lnTo>
                        <a:pt x="158" y="90"/>
                      </a:lnTo>
                      <a:lnTo>
                        <a:pt x="160" y="88"/>
                      </a:lnTo>
                      <a:lnTo>
                        <a:pt x="164" y="88"/>
                      </a:lnTo>
                      <a:lnTo>
                        <a:pt x="166" y="88"/>
                      </a:lnTo>
                      <a:lnTo>
                        <a:pt x="168" y="88"/>
                      </a:lnTo>
                      <a:lnTo>
                        <a:pt x="168" y="86"/>
                      </a:lnTo>
                      <a:lnTo>
                        <a:pt x="170" y="84"/>
                      </a:lnTo>
                      <a:lnTo>
                        <a:pt x="172" y="84"/>
                      </a:lnTo>
                      <a:lnTo>
                        <a:pt x="174" y="86"/>
                      </a:lnTo>
                      <a:lnTo>
                        <a:pt x="176" y="86"/>
                      </a:lnTo>
                      <a:lnTo>
                        <a:pt x="176" y="84"/>
                      </a:lnTo>
                      <a:lnTo>
                        <a:pt x="178" y="82"/>
                      </a:lnTo>
                      <a:lnTo>
                        <a:pt x="180" y="82"/>
                      </a:lnTo>
                      <a:lnTo>
                        <a:pt x="182" y="82"/>
                      </a:lnTo>
                      <a:lnTo>
                        <a:pt x="184" y="80"/>
                      </a:lnTo>
                      <a:lnTo>
                        <a:pt x="186" y="82"/>
                      </a:lnTo>
                      <a:lnTo>
                        <a:pt x="188" y="82"/>
                      </a:lnTo>
                      <a:lnTo>
                        <a:pt x="188" y="84"/>
                      </a:lnTo>
                      <a:lnTo>
                        <a:pt x="190" y="84"/>
                      </a:lnTo>
                      <a:lnTo>
                        <a:pt x="192" y="84"/>
                      </a:lnTo>
                      <a:lnTo>
                        <a:pt x="194" y="84"/>
                      </a:lnTo>
                      <a:lnTo>
                        <a:pt x="194" y="82"/>
                      </a:lnTo>
                      <a:lnTo>
                        <a:pt x="192" y="82"/>
                      </a:lnTo>
                      <a:lnTo>
                        <a:pt x="192" y="80"/>
                      </a:lnTo>
                      <a:lnTo>
                        <a:pt x="190" y="80"/>
                      </a:lnTo>
                      <a:lnTo>
                        <a:pt x="190" y="78"/>
                      </a:lnTo>
                      <a:lnTo>
                        <a:pt x="188" y="76"/>
                      </a:lnTo>
                      <a:lnTo>
                        <a:pt x="188" y="74"/>
                      </a:lnTo>
                      <a:lnTo>
                        <a:pt x="186" y="74"/>
                      </a:lnTo>
                      <a:lnTo>
                        <a:pt x="184" y="74"/>
                      </a:lnTo>
                      <a:lnTo>
                        <a:pt x="182" y="74"/>
                      </a:lnTo>
                      <a:lnTo>
                        <a:pt x="182" y="72"/>
                      </a:lnTo>
                      <a:lnTo>
                        <a:pt x="182" y="70"/>
                      </a:lnTo>
                      <a:lnTo>
                        <a:pt x="182" y="66"/>
                      </a:lnTo>
                      <a:lnTo>
                        <a:pt x="184" y="64"/>
                      </a:lnTo>
                      <a:lnTo>
                        <a:pt x="184" y="62"/>
                      </a:lnTo>
                      <a:lnTo>
                        <a:pt x="186" y="62"/>
                      </a:lnTo>
                      <a:lnTo>
                        <a:pt x="186" y="60"/>
                      </a:lnTo>
                      <a:lnTo>
                        <a:pt x="188" y="60"/>
                      </a:lnTo>
                      <a:lnTo>
                        <a:pt x="188" y="58"/>
                      </a:lnTo>
                      <a:lnTo>
                        <a:pt x="190" y="58"/>
                      </a:lnTo>
                      <a:lnTo>
                        <a:pt x="190" y="56"/>
                      </a:lnTo>
                      <a:lnTo>
                        <a:pt x="190" y="54"/>
                      </a:lnTo>
                      <a:lnTo>
                        <a:pt x="190" y="52"/>
                      </a:lnTo>
                      <a:lnTo>
                        <a:pt x="188" y="50"/>
                      </a:lnTo>
                      <a:lnTo>
                        <a:pt x="186" y="50"/>
                      </a:lnTo>
                      <a:lnTo>
                        <a:pt x="184" y="48"/>
                      </a:lnTo>
                      <a:lnTo>
                        <a:pt x="182" y="48"/>
                      </a:lnTo>
                      <a:lnTo>
                        <a:pt x="180" y="48"/>
                      </a:lnTo>
                      <a:lnTo>
                        <a:pt x="178" y="46"/>
                      </a:lnTo>
                      <a:lnTo>
                        <a:pt x="176" y="44"/>
                      </a:lnTo>
                      <a:lnTo>
                        <a:pt x="174" y="44"/>
                      </a:lnTo>
                      <a:lnTo>
                        <a:pt x="174" y="46"/>
                      </a:lnTo>
                      <a:lnTo>
                        <a:pt x="172" y="46"/>
                      </a:lnTo>
                      <a:lnTo>
                        <a:pt x="170" y="46"/>
                      </a:lnTo>
                      <a:lnTo>
                        <a:pt x="168" y="46"/>
                      </a:lnTo>
                      <a:lnTo>
                        <a:pt x="166" y="46"/>
                      </a:lnTo>
                      <a:lnTo>
                        <a:pt x="164" y="44"/>
                      </a:lnTo>
                      <a:lnTo>
                        <a:pt x="162" y="44"/>
                      </a:lnTo>
                      <a:lnTo>
                        <a:pt x="160" y="44"/>
                      </a:lnTo>
                      <a:lnTo>
                        <a:pt x="158" y="42"/>
                      </a:lnTo>
                      <a:lnTo>
                        <a:pt x="158" y="44"/>
                      </a:lnTo>
                      <a:lnTo>
                        <a:pt x="156" y="44"/>
                      </a:lnTo>
                      <a:lnTo>
                        <a:pt x="156" y="46"/>
                      </a:lnTo>
                      <a:lnTo>
                        <a:pt x="156" y="48"/>
                      </a:lnTo>
                      <a:lnTo>
                        <a:pt x="154" y="48"/>
                      </a:lnTo>
                      <a:lnTo>
                        <a:pt x="154" y="50"/>
                      </a:lnTo>
                      <a:lnTo>
                        <a:pt x="152" y="50"/>
                      </a:lnTo>
                      <a:lnTo>
                        <a:pt x="150" y="50"/>
                      </a:lnTo>
                      <a:lnTo>
                        <a:pt x="148" y="50"/>
                      </a:lnTo>
                      <a:lnTo>
                        <a:pt x="146" y="48"/>
                      </a:lnTo>
                      <a:lnTo>
                        <a:pt x="140" y="48"/>
                      </a:lnTo>
                      <a:lnTo>
                        <a:pt x="138" y="48"/>
                      </a:lnTo>
                      <a:lnTo>
                        <a:pt x="138" y="46"/>
                      </a:lnTo>
                      <a:lnTo>
                        <a:pt x="136" y="44"/>
                      </a:lnTo>
                      <a:lnTo>
                        <a:pt x="138" y="44"/>
                      </a:lnTo>
                      <a:lnTo>
                        <a:pt x="138" y="42"/>
                      </a:lnTo>
                      <a:lnTo>
                        <a:pt x="138" y="40"/>
                      </a:lnTo>
                      <a:lnTo>
                        <a:pt x="138" y="38"/>
                      </a:lnTo>
                      <a:lnTo>
                        <a:pt x="138" y="36"/>
                      </a:lnTo>
                      <a:lnTo>
                        <a:pt x="136" y="36"/>
                      </a:lnTo>
                      <a:lnTo>
                        <a:pt x="134" y="36"/>
                      </a:lnTo>
                      <a:lnTo>
                        <a:pt x="134" y="34"/>
                      </a:lnTo>
                      <a:lnTo>
                        <a:pt x="132" y="34"/>
                      </a:lnTo>
                      <a:lnTo>
                        <a:pt x="132" y="32"/>
                      </a:lnTo>
                      <a:lnTo>
                        <a:pt x="130" y="28"/>
                      </a:lnTo>
                      <a:lnTo>
                        <a:pt x="130" y="26"/>
                      </a:lnTo>
                      <a:lnTo>
                        <a:pt x="128" y="26"/>
                      </a:lnTo>
                      <a:lnTo>
                        <a:pt x="126" y="26"/>
                      </a:lnTo>
                      <a:lnTo>
                        <a:pt x="126" y="24"/>
                      </a:lnTo>
                      <a:lnTo>
                        <a:pt x="124" y="22"/>
                      </a:lnTo>
                      <a:lnTo>
                        <a:pt x="122" y="20"/>
                      </a:lnTo>
                      <a:lnTo>
                        <a:pt x="120" y="20"/>
                      </a:lnTo>
                      <a:lnTo>
                        <a:pt x="118" y="18"/>
                      </a:lnTo>
                      <a:lnTo>
                        <a:pt x="118" y="16"/>
                      </a:lnTo>
                      <a:lnTo>
                        <a:pt x="118" y="14"/>
                      </a:lnTo>
                      <a:lnTo>
                        <a:pt x="118" y="12"/>
                      </a:lnTo>
                      <a:lnTo>
                        <a:pt x="116" y="12"/>
                      </a:lnTo>
                      <a:lnTo>
                        <a:pt x="116" y="10"/>
                      </a:lnTo>
                      <a:lnTo>
                        <a:pt x="114" y="10"/>
                      </a:lnTo>
                      <a:lnTo>
                        <a:pt x="112" y="8"/>
                      </a:lnTo>
                      <a:lnTo>
                        <a:pt x="108" y="6"/>
                      </a:lnTo>
                      <a:lnTo>
                        <a:pt x="106" y="4"/>
                      </a:lnTo>
                      <a:lnTo>
                        <a:pt x="104" y="4"/>
                      </a:lnTo>
                      <a:lnTo>
                        <a:pt x="104" y="2"/>
                      </a:lnTo>
                      <a:lnTo>
                        <a:pt x="102" y="2"/>
                      </a:lnTo>
                      <a:lnTo>
                        <a:pt x="100" y="0"/>
                      </a:lnTo>
                      <a:lnTo>
                        <a:pt x="98" y="0"/>
                      </a:lnTo>
                      <a:lnTo>
                        <a:pt x="94" y="0"/>
                      </a:lnTo>
                      <a:lnTo>
                        <a:pt x="98" y="0"/>
                      </a:lnTo>
                      <a:lnTo>
                        <a:pt x="100" y="0"/>
                      </a:lnTo>
                      <a:lnTo>
                        <a:pt x="100" y="2"/>
                      </a:lnTo>
                      <a:lnTo>
                        <a:pt x="100" y="4"/>
                      </a:lnTo>
                      <a:lnTo>
                        <a:pt x="98" y="6"/>
                      </a:lnTo>
                      <a:lnTo>
                        <a:pt x="98" y="8"/>
                      </a:lnTo>
                      <a:lnTo>
                        <a:pt x="96" y="8"/>
                      </a:lnTo>
                      <a:lnTo>
                        <a:pt x="98" y="10"/>
                      </a:lnTo>
                      <a:lnTo>
                        <a:pt x="100" y="10"/>
                      </a:lnTo>
                      <a:lnTo>
                        <a:pt x="102" y="10"/>
                      </a:lnTo>
                      <a:lnTo>
                        <a:pt x="102" y="12"/>
                      </a:lnTo>
                      <a:lnTo>
                        <a:pt x="102" y="14"/>
                      </a:lnTo>
                      <a:lnTo>
                        <a:pt x="102" y="16"/>
                      </a:lnTo>
                      <a:lnTo>
                        <a:pt x="102" y="18"/>
                      </a:lnTo>
                      <a:lnTo>
                        <a:pt x="102" y="20"/>
                      </a:lnTo>
                      <a:lnTo>
                        <a:pt x="100" y="20"/>
                      </a:lnTo>
                      <a:lnTo>
                        <a:pt x="100" y="22"/>
                      </a:lnTo>
                      <a:lnTo>
                        <a:pt x="98" y="22"/>
                      </a:lnTo>
                      <a:lnTo>
                        <a:pt x="98" y="24"/>
                      </a:lnTo>
                      <a:lnTo>
                        <a:pt x="98" y="28"/>
                      </a:lnTo>
                      <a:lnTo>
                        <a:pt x="98" y="30"/>
                      </a:lnTo>
                      <a:lnTo>
                        <a:pt x="96" y="30"/>
                      </a:lnTo>
                      <a:lnTo>
                        <a:pt x="96" y="32"/>
                      </a:lnTo>
                      <a:lnTo>
                        <a:pt x="96" y="34"/>
                      </a:lnTo>
                      <a:lnTo>
                        <a:pt x="94" y="34"/>
                      </a:lnTo>
                      <a:lnTo>
                        <a:pt x="92" y="36"/>
                      </a:lnTo>
                      <a:lnTo>
                        <a:pt x="90" y="40"/>
                      </a:lnTo>
                      <a:lnTo>
                        <a:pt x="88" y="42"/>
                      </a:lnTo>
                      <a:lnTo>
                        <a:pt x="84" y="46"/>
                      </a:lnTo>
                      <a:lnTo>
                        <a:pt x="80" y="50"/>
                      </a:lnTo>
                      <a:lnTo>
                        <a:pt x="78" y="52"/>
                      </a:lnTo>
                      <a:lnTo>
                        <a:pt x="76" y="54"/>
                      </a:lnTo>
                      <a:lnTo>
                        <a:pt x="72" y="54"/>
                      </a:lnTo>
                      <a:lnTo>
                        <a:pt x="70" y="56"/>
                      </a:lnTo>
                      <a:lnTo>
                        <a:pt x="66" y="56"/>
                      </a:lnTo>
                      <a:lnTo>
                        <a:pt x="62" y="58"/>
                      </a:lnTo>
                      <a:lnTo>
                        <a:pt x="60" y="58"/>
                      </a:lnTo>
                      <a:lnTo>
                        <a:pt x="58" y="60"/>
                      </a:lnTo>
                      <a:lnTo>
                        <a:pt x="56" y="62"/>
                      </a:lnTo>
                      <a:lnTo>
                        <a:pt x="54" y="62"/>
                      </a:lnTo>
                      <a:lnTo>
                        <a:pt x="54" y="64"/>
                      </a:lnTo>
                      <a:lnTo>
                        <a:pt x="54" y="66"/>
                      </a:lnTo>
                      <a:lnTo>
                        <a:pt x="52" y="66"/>
                      </a:lnTo>
                      <a:lnTo>
                        <a:pt x="52" y="68"/>
                      </a:lnTo>
                      <a:lnTo>
                        <a:pt x="50" y="68"/>
                      </a:lnTo>
                      <a:lnTo>
                        <a:pt x="50" y="70"/>
                      </a:lnTo>
                      <a:lnTo>
                        <a:pt x="50" y="72"/>
                      </a:lnTo>
                      <a:lnTo>
                        <a:pt x="52" y="72"/>
                      </a:lnTo>
                      <a:lnTo>
                        <a:pt x="50" y="72"/>
                      </a:lnTo>
                      <a:lnTo>
                        <a:pt x="50" y="74"/>
                      </a:lnTo>
                      <a:lnTo>
                        <a:pt x="48" y="76"/>
                      </a:lnTo>
                      <a:lnTo>
                        <a:pt x="48" y="78"/>
                      </a:lnTo>
                      <a:lnTo>
                        <a:pt x="48" y="80"/>
                      </a:lnTo>
                      <a:lnTo>
                        <a:pt x="48" y="82"/>
                      </a:lnTo>
                      <a:lnTo>
                        <a:pt x="46" y="84"/>
                      </a:lnTo>
                      <a:lnTo>
                        <a:pt x="46" y="86"/>
                      </a:lnTo>
                      <a:lnTo>
                        <a:pt x="46" y="88"/>
                      </a:lnTo>
                      <a:lnTo>
                        <a:pt x="46" y="90"/>
                      </a:lnTo>
                      <a:lnTo>
                        <a:pt x="44" y="90"/>
                      </a:lnTo>
                      <a:lnTo>
                        <a:pt x="42" y="90"/>
                      </a:lnTo>
                      <a:lnTo>
                        <a:pt x="42" y="92"/>
                      </a:lnTo>
                      <a:lnTo>
                        <a:pt x="40" y="92"/>
                      </a:lnTo>
                      <a:lnTo>
                        <a:pt x="40" y="94"/>
                      </a:lnTo>
                      <a:lnTo>
                        <a:pt x="40" y="96"/>
                      </a:lnTo>
                      <a:lnTo>
                        <a:pt x="38" y="96"/>
                      </a:lnTo>
                      <a:lnTo>
                        <a:pt x="36" y="96"/>
                      </a:lnTo>
                      <a:lnTo>
                        <a:pt x="34" y="96"/>
                      </a:lnTo>
                      <a:lnTo>
                        <a:pt x="34" y="94"/>
                      </a:lnTo>
                      <a:lnTo>
                        <a:pt x="32" y="92"/>
                      </a:lnTo>
                      <a:lnTo>
                        <a:pt x="32" y="90"/>
                      </a:lnTo>
                      <a:lnTo>
                        <a:pt x="32" y="88"/>
                      </a:lnTo>
                      <a:lnTo>
                        <a:pt x="32" y="86"/>
                      </a:lnTo>
                      <a:lnTo>
                        <a:pt x="30" y="86"/>
                      </a:lnTo>
                      <a:lnTo>
                        <a:pt x="28" y="86"/>
                      </a:lnTo>
                      <a:lnTo>
                        <a:pt x="26" y="86"/>
                      </a:lnTo>
                      <a:lnTo>
                        <a:pt x="24" y="86"/>
                      </a:lnTo>
                      <a:lnTo>
                        <a:pt x="24" y="84"/>
                      </a:lnTo>
                      <a:lnTo>
                        <a:pt x="22" y="84"/>
                      </a:lnTo>
                      <a:lnTo>
                        <a:pt x="22" y="82"/>
                      </a:lnTo>
                      <a:lnTo>
                        <a:pt x="22" y="84"/>
                      </a:lnTo>
                      <a:lnTo>
                        <a:pt x="20" y="84"/>
                      </a:lnTo>
                      <a:lnTo>
                        <a:pt x="20" y="86"/>
                      </a:lnTo>
                      <a:lnTo>
                        <a:pt x="18" y="86"/>
                      </a:lnTo>
                      <a:lnTo>
                        <a:pt x="16" y="88"/>
                      </a:lnTo>
                      <a:lnTo>
                        <a:pt x="14" y="88"/>
                      </a:lnTo>
                      <a:lnTo>
                        <a:pt x="14" y="86"/>
                      </a:lnTo>
                      <a:lnTo>
                        <a:pt x="14" y="84"/>
                      </a:lnTo>
                      <a:lnTo>
                        <a:pt x="16" y="84"/>
                      </a:lnTo>
                      <a:lnTo>
                        <a:pt x="16" y="82"/>
                      </a:lnTo>
                      <a:lnTo>
                        <a:pt x="14" y="82"/>
                      </a:lnTo>
                      <a:lnTo>
                        <a:pt x="14" y="80"/>
                      </a:lnTo>
                      <a:lnTo>
                        <a:pt x="16" y="78"/>
                      </a:lnTo>
                      <a:lnTo>
                        <a:pt x="18" y="76"/>
                      </a:lnTo>
                      <a:lnTo>
                        <a:pt x="20" y="72"/>
                      </a:lnTo>
                      <a:lnTo>
                        <a:pt x="22" y="72"/>
                      </a:lnTo>
                      <a:lnTo>
                        <a:pt x="22" y="70"/>
                      </a:lnTo>
                      <a:lnTo>
                        <a:pt x="20" y="70"/>
                      </a:lnTo>
                      <a:lnTo>
                        <a:pt x="20" y="68"/>
                      </a:lnTo>
                      <a:lnTo>
                        <a:pt x="18" y="68"/>
                      </a:lnTo>
                      <a:lnTo>
                        <a:pt x="16" y="68"/>
                      </a:lnTo>
                      <a:lnTo>
                        <a:pt x="14" y="68"/>
                      </a:lnTo>
                      <a:lnTo>
                        <a:pt x="12" y="70"/>
                      </a:lnTo>
                      <a:lnTo>
                        <a:pt x="10" y="72"/>
                      </a:lnTo>
                      <a:lnTo>
                        <a:pt x="8" y="76"/>
                      </a:lnTo>
                      <a:lnTo>
                        <a:pt x="6" y="78"/>
                      </a:lnTo>
                      <a:lnTo>
                        <a:pt x="4" y="80"/>
                      </a:lnTo>
                      <a:lnTo>
                        <a:pt x="2" y="82"/>
                      </a:lnTo>
                      <a:lnTo>
                        <a:pt x="0" y="84"/>
                      </a:lnTo>
                      <a:lnTo>
                        <a:pt x="0" y="88"/>
                      </a:lnTo>
                      <a:lnTo>
                        <a:pt x="0" y="90"/>
                      </a:lnTo>
                      <a:lnTo>
                        <a:pt x="0" y="92"/>
                      </a:lnTo>
                      <a:lnTo>
                        <a:pt x="0" y="94"/>
                      </a:lnTo>
                      <a:lnTo>
                        <a:pt x="2" y="94"/>
                      </a:lnTo>
                      <a:lnTo>
                        <a:pt x="4" y="94"/>
                      </a:lnTo>
                      <a:lnTo>
                        <a:pt x="4" y="96"/>
                      </a:lnTo>
                      <a:lnTo>
                        <a:pt x="4" y="98"/>
                      </a:lnTo>
                      <a:lnTo>
                        <a:pt x="4" y="100"/>
                      </a:lnTo>
                      <a:lnTo>
                        <a:pt x="4" y="102"/>
                      </a:lnTo>
                      <a:lnTo>
                        <a:pt x="6" y="102"/>
                      </a:lnTo>
                      <a:lnTo>
                        <a:pt x="6" y="104"/>
                      </a:lnTo>
                      <a:lnTo>
                        <a:pt x="8" y="104"/>
                      </a:lnTo>
                      <a:lnTo>
                        <a:pt x="8" y="106"/>
                      </a:lnTo>
                      <a:lnTo>
                        <a:pt x="10" y="108"/>
                      </a:lnTo>
                      <a:lnTo>
                        <a:pt x="10" y="110"/>
                      </a:lnTo>
                      <a:lnTo>
                        <a:pt x="8" y="112"/>
                      </a:lnTo>
                      <a:lnTo>
                        <a:pt x="6" y="114"/>
                      </a:lnTo>
                      <a:lnTo>
                        <a:pt x="4" y="116"/>
                      </a:lnTo>
                      <a:lnTo>
                        <a:pt x="4" y="118"/>
                      </a:lnTo>
                      <a:lnTo>
                        <a:pt x="4" y="120"/>
                      </a:lnTo>
                      <a:lnTo>
                        <a:pt x="6" y="122"/>
                      </a:lnTo>
                      <a:lnTo>
                        <a:pt x="10" y="124"/>
                      </a:lnTo>
                      <a:lnTo>
                        <a:pt x="12" y="124"/>
                      </a:lnTo>
                      <a:lnTo>
                        <a:pt x="14" y="124"/>
                      </a:lnTo>
                      <a:lnTo>
                        <a:pt x="16" y="126"/>
                      </a:lnTo>
                      <a:lnTo>
                        <a:pt x="18" y="126"/>
                      </a:lnTo>
                      <a:lnTo>
                        <a:pt x="20" y="128"/>
                      </a:lnTo>
                      <a:lnTo>
                        <a:pt x="22" y="130"/>
                      </a:lnTo>
                      <a:lnTo>
                        <a:pt x="24" y="130"/>
                      </a:lnTo>
                      <a:lnTo>
                        <a:pt x="26" y="132"/>
                      </a:lnTo>
                      <a:lnTo>
                        <a:pt x="28" y="136"/>
                      </a:lnTo>
                      <a:lnTo>
                        <a:pt x="28" y="138"/>
                      </a:lnTo>
                      <a:lnTo>
                        <a:pt x="30" y="140"/>
                      </a:lnTo>
                      <a:lnTo>
                        <a:pt x="30" y="142"/>
                      </a:lnTo>
                      <a:lnTo>
                        <a:pt x="32" y="142"/>
                      </a:lnTo>
                      <a:lnTo>
                        <a:pt x="32" y="144"/>
                      </a:lnTo>
                      <a:lnTo>
                        <a:pt x="32" y="146"/>
                      </a:lnTo>
                      <a:lnTo>
                        <a:pt x="34" y="150"/>
                      </a:lnTo>
                      <a:lnTo>
                        <a:pt x="36" y="152"/>
                      </a:lnTo>
                      <a:lnTo>
                        <a:pt x="36" y="154"/>
                      </a:lnTo>
                      <a:lnTo>
                        <a:pt x="38" y="156"/>
                      </a:lnTo>
                      <a:lnTo>
                        <a:pt x="40" y="158"/>
                      </a:lnTo>
                      <a:lnTo>
                        <a:pt x="42" y="160"/>
                      </a:lnTo>
                      <a:lnTo>
                        <a:pt x="44" y="162"/>
                      </a:lnTo>
                      <a:lnTo>
                        <a:pt x="44" y="164"/>
                      </a:lnTo>
                      <a:lnTo>
                        <a:pt x="46" y="166"/>
                      </a:lnTo>
                      <a:lnTo>
                        <a:pt x="48" y="168"/>
                      </a:lnTo>
                      <a:lnTo>
                        <a:pt x="48" y="170"/>
                      </a:lnTo>
                      <a:lnTo>
                        <a:pt x="50" y="174"/>
                      </a:lnTo>
                      <a:lnTo>
                        <a:pt x="52" y="176"/>
                      </a:lnTo>
                      <a:lnTo>
                        <a:pt x="54" y="180"/>
                      </a:lnTo>
                      <a:lnTo>
                        <a:pt x="56" y="184"/>
                      </a:lnTo>
                      <a:lnTo>
                        <a:pt x="58" y="184"/>
                      </a:lnTo>
                      <a:lnTo>
                        <a:pt x="58" y="186"/>
                      </a:lnTo>
                      <a:lnTo>
                        <a:pt x="58" y="190"/>
                      </a:lnTo>
                      <a:lnTo>
                        <a:pt x="60" y="192"/>
                      </a:lnTo>
                      <a:lnTo>
                        <a:pt x="60" y="194"/>
                      </a:lnTo>
                      <a:lnTo>
                        <a:pt x="60" y="196"/>
                      </a:lnTo>
                      <a:lnTo>
                        <a:pt x="62" y="198"/>
                      </a:lnTo>
                      <a:lnTo>
                        <a:pt x="62" y="200"/>
                      </a:lnTo>
                      <a:lnTo>
                        <a:pt x="64" y="202"/>
                      </a:lnTo>
                      <a:lnTo>
                        <a:pt x="66" y="206"/>
                      </a:lnTo>
                      <a:lnTo>
                        <a:pt x="68" y="210"/>
                      </a:lnTo>
                      <a:lnTo>
                        <a:pt x="68" y="212"/>
                      </a:lnTo>
                      <a:lnTo>
                        <a:pt x="70" y="214"/>
                      </a:lnTo>
                      <a:lnTo>
                        <a:pt x="70" y="216"/>
                      </a:lnTo>
                      <a:lnTo>
                        <a:pt x="70" y="218"/>
                      </a:lnTo>
                      <a:lnTo>
                        <a:pt x="72" y="220"/>
                      </a:lnTo>
                      <a:lnTo>
                        <a:pt x="74" y="222"/>
                      </a:lnTo>
                      <a:lnTo>
                        <a:pt x="76" y="222"/>
                      </a:lnTo>
                      <a:lnTo>
                        <a:pt x="78" y="224"/>
                      </a:lnTo>
                      <a:lnTo>
                        <a:pt x="78" y="226"/>
                      </a:lnTo>
                      <a:lnTo>
                        <a:pt x="78" y="228"/>
                      </a:lnTo>
                      <a:lnTo>
                        <a:pt x="78" y="230"/>
                      </a:lnTo>
                      <a:lnTo>
                        <a:pt x="78" y="232"/>
                      </a:lnTo>
                      <a:lnTo>
                        <a:pt x="80" y="236"/>
                      </a:lnTo>
                      <a:lnTo>
                        <a:pt x="82" y="238"/>
                      </a:lnTo>
                      <a:lnTo>
                        <a:pt x="86" y="242"/>
                      </a:lnTo>
                      <a:lnTo>
                        <a:pt x="88" y="246"/>
                      </a:lnTo>
                      <a:lnTo>
                        <a:pt x="92" y="250"/>
                      </a:lnTo>
                      <a:lnTo>
                        <a:pt x="94" y="252"/>
                      </a:lnTo>
                      <a:lnTo>
                        <a:pt x="96" y="256"/>
                      </a:lnTo>
                      <a:lnTo>
                        <a:pt x="96" y="258"/>
                      </a:lnTo>
                      <a:lnTo>
                        <a:pt x="98" y="260"/>
                      </a:lnTo>
                      <a:lnTo>
                        <a:pt x="98" y="262"/>
                      </a:lnTo>
                      <a:lnTo>
                        <a:pt x="98" y="264"/>
                      </a:lnTo>
                      <a:lnTo>
                        <a:pt x="98" y="268"/>
                      </a:lnTo>
                      <a:lnTo>
                        <a:pt x="98" y="270"/>
                      </a:lnTo>
                      <a:lnTo>
                        <a:pt x="96" y="272"/>
                      </a:lnTo>
                      <a:lnTo>
                        <a:pt x="98" y="272"/>
                      </a:lnTo>
                      <a:lnTo>
                        <a:pt x="98" y="274"/>
                      </a:lnTo>
                      <a:lnTo>
                        <a:pt x="100" y="278"/>
                      </a:lnTo>
                      <a:lnTo>
                        <a:pt x="102" y="280"/>
                      </a:lnTo>
                      <a:lnTo>
                        <a:pt x="102" y="282"/>
                      </a:lnTo>
                      <a:lnTo>
                        <a:pt x="104" y="284"/>
                      </a:lnTo>
                      <a:lnTo>
                        <a:pt x="106" y="286"/>
                      </a:lnTo>
                      <a:lnTo>
                        <a:pt x="108" y="286"/>
                      </a:lnTo>
                      <a:lnTo>
                        <a:pt x="110" y="288"/>
                      </a:lnTo>
                      <a:lnTo>
                        <a:pt x="112" y="290"/>
                      </a:lnTo>
                      <a:lnTo>
                        <a:pt x="114" y="292"/>
                      </a:lnTo>
                      <a:lnTo>
                        <a:pt x="116" y="296"/>
                      </a:lnTo>
                      <a:lnTo>
                        <a:pt x="118" y="298"/>
                      </a:lnTo>
                      <a:lnTo>
                        <a:pt x="120" y="298"/>
                      </a:lnTo>
                      <a:lnTo>
                        <a:pt x="122" y="300"/>
                      </a:lnTo>
                      <a:lnTo>
                        <a:pt x="124" y="300"/>
                      </a:lnTo>
                      <a:lnTo>
                        <a:pt x="126" y="302"/>
                      </a:lnTo>
                      <a:lnTo>
                        <a:pt x="130" y="304"/>
                      </a:lnTo>
                      <a:lnTo>
                        <a:pt x="134" y="306"/>
                      </a:lnTo>
                      <a:lnTo>
                        <a:pt x="138" y="308"/>
                      </a:lnTo>
                      <a:lnTo>
                        <a:pt x="140" y="308"/>
                      </a:lnTo>
                      <a:lnTo>
                        <a:pt x="142" y="310"/>
                      </a:lnTo>
                      <a:lnTo>
                        <a:pt x="144" y="310"/>
                      </a:lnTo>
                      <a:lnTo>
                        <a:pt x="146" y="312"/>
                      </a:lnTo>
                      <a:lnTo>
                        <a:pt x="148" y="312"/>
                      </a:lnTo>
                      <a:lnTo>
                        <a:pt x="150" y="314"/>
                      </a:lnTo>
                      <a:lnTo>
                        <a:pt x="152" y="314"/>
                      </a:lnTo>
                      <a:lnTo>
                        <a:pt x="156" y="316"/>
                      </a:lnTo>
                      <a:lnTo>
                        <a:pt x="160" y="318"/>
                      </a:lnTo>
                      <a:lnTo>
                        <a:pt x="162" y="320"/>
                      </a:lnTo>
                      <a:lnTo>
                        <a:pt x="166" y="322"/>
                      </a:lnTo>
                      <a:lnTo>
                        <a:pt x="168" y="324"/>
                      </a:lnTo>
                      <a:lnTo>
                        <a:pt x="172" y="326"/>
                      </a:lnTo>
                      <a:lnTo>
                        <a:pt x="174" y="328"/>
                      </a:lnTo>
                      <a:lnTo>
                        <a:pt x="178" y="330"/>
                      </a:lnTo>
                      <a:lnTo>
                        <a:pt x="180" y="332"/>
                      </a:lnTo>
                      <a:lnTo>
                        <a:pt x="182" y="334"/>
                      </a:lnTo>
                      <a:lnTo>
                        <a:pt x="184" y="334"/>
                      </a:lnTo>
                      <a:lnTo>
                        <a:pt x="184" y="336"/>
                      </a:lnTo>
                      <a:lnTo>
                        <a:pt x="186" y="338"/>
                      </a:lnTo>
                      <a:lnTo>
                        <a:pt x="186" y="340"/>
                      </a:lnTo>
                      <a:lnTo>
                        <a:pt x="188" y="342"/>
                      </a:lnTo>
                      <a:lnTo>
                        <a:pt x="192" y="344"/>
                      </a:lnTo>
                      <a:lnTo>
                        <a:pt x="194" y="344"/>
                      </a:lnTo>
                      <a:lnTo>
                        <a:pt x="194" y="346"/>
                      </a:lnTo>
                      <a:lnTo>
                        <a:pt x="196" y="348"/>
                      </a:lnTo>
                      <a:lnTo>
                        <a:pt x="198" y="348"/>
                      </a:lnTo>
                      <a:lnTo>
                        <a:pt x="200" y="350"/>
                      </a:lnTo>
                      <a:lnTo>
                        <a:pt x="202" y="352"/>
                      </a:lnTo>
                      <a:lnTo>
                        <a:pt x="204" y="352"/>
                      </a:lnTo>
                      <a:lnTo>
                        <a:pt x="204" y="354"/>
                      </a:lnTo>
                      <a:lnTo>
                        <a:pt x="206" y="352"/>
                      </a:lnTo>
                      <a:lnTo>
                        <a:pt x="208" y="352"/>
                      </a:lnTo>
                      <a:lnTo>
                        <a:pt x="210" y="350"/>
                      </a:lnTo>
                      <a:lnTo>
                        <a:pt x="214" y="348"/>
                      </a:lnTo>
                      <a:lnTo>
                        <a:pt x="214" y="346"/>
                      </a:lnTo>
                      <a:lnTo>
                        <a:pt x="214" y="344"/>
                      </a:lnTo>
                      <a:lnTo>
                        <a:pt x="214" y="342"/>
                      </a:lnTo>
                      <a:lnTo>
                        <a:pt x="214" y="340"/>
                      </a:lnTo>
                      <a:lnTo>
                        <a:pt x="216" y="340"/>
                      </a:lnTo>
                      <a:lnTo>
                        <a:pt x="216" y="338"/>
                      </a:lnTo>
                      <a:lnTo>
                        <a:pt x="218" y="338"/>
                      </a:lnTo>
                      <a:lnTo>
                        <a:pt x="216" y="336"/>
                      </a:lnTo>
                      <a:lnTo>
                        <a:pt x="216" y="334"/>
                      </a:lnTo>
                      <a:lnTo>
                        <a:pt x="216" y="332"/>
                      </a:lnTo>
                      <a:lnTo>
                        <a:pt x="214" y="332"/>
                      </a:lnTo>
                      <a:lnTo>
                        <a:pt x="216" y="332"/>
                      </a:lnTo>
                      <a:lnTo>
                        <a:pt x="216" y="330"/>
                      </a:lnTo>
                      <a:lnTo>
                        <a:pt x="218" y="330"/>
                      </a:lnTo>
                      <a:lnTo>
                        <a:pt x="220" y="328"/>
                      </a:lnTo>
                      <a:lnTo>
                        <a:pt x="220" y="326"/>
                      </a:lnTo>
                      <a:lnTo>
                        <a:pt x="222" y="324"/>
                      </a:lnTo>
                      <a:lnTo>
                        <a:pt x="224" y="322"/>
                      </a:lnTo>
                      <a:lnTo>
                        <a:pt x="224" y="320"/>
                      </a:lnTo>
                      <a:lnTo>
                        <a:pt x="224" y="318"/>
                      </a:lnTo>
                      <a:lnTo>
                        <a:pt x="222" y="31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7" name="Freeform 40">
                  <a:extLst>
                    <a:ext uri="{FF2B5EF4-FFF2-40B4-BE49-F238E27FC236}">
                      <a16:creationId xmlns:a16="http://schemas.microsoft.com/office/drawing/2014/main" id="{F0F78918-AB68-40B2-9AD7-6D5C703FED03}"/>
                    </a:ext>
                  </a:extLst>
                </p:cNvPr>
                <p:cNvSpPr>
                  <a:spLocks noChangeAspect="1"/>
                </p:cNvSpPr>
                <p:nvPr/>
              </p:nvSpPr>
              <p:spPr bwMode="auto">
                <a:xfrm>
                  <a:off x="2295598" y="4329600"/>
                  <a:ext cx="424884" cy="537019"/>
                </a:xfrm>
                <a:custGeom>
                  <a:avLst/>
                  <a:gdLst/>
                  <a:ahLst/>
                  <a:cxnLst>
                    <a:cxn ang="0">
                      <a:pos x="212" y="158"/>
                    </a:cxn>
                    <a:cxn ang="0">
                      <a:pos x="196" y="140"/>
                    </a:cxn>
                    <a:cxn ang="0">
                      <a:pos x="194" y="128"/>
                    </a:cxn>
                    <a:cxn ang="0">
                      <a:pos x="164" y="124"/>
                    </a:cxn>
                    <a:cxn ang="0">
                      <a:pos x="162" y="110"/>
                    </a:cxn>
                    <a:cxn ang="0">
                      <a:pos x="164" y="104"/>
                    </a:cxn>
                    <a:cxn ang="0">
                      <a:pos x="160" y="92"/>
                    </a:cxn>
                    <a:cxn ang="0">
                      <a:pos x="154" y="76"/>
                    </a:cxn>
                    <a:cxn ang="0">
                      <a:pos x="132" y="70"/>
                    </a:cxn>
                    <a:cxn ang="0">
                      <a:pos x="116" y="62"/>
                    </a:cxn>
                    <a:cxn ang="0">
                      <a:pos x="104" y="58"/>
                    </a:cxn>
                    <a:cxn ang="0">
                      <a:pos x="94" y="56"/>
                    </a:cxn>
                    <a:cxn ang="0">
                      <a:pos x="86" y="46"/>
                    </a:cxn>
                    <a:cxn ang="0">
                      <a:pos x="78" y="38"/>
                    </a:cxn>
                    <a:cxn ang="0">
                      <a:pos x="72" y="26"/>
                    </a:cxn>
                    <a:cxn ang="0">
                      <a:pos x="70" y="14"/>
                    </a:cxn>
                    <a:cxn ang="0">
                      <a:pos x="72" y="0"/>
                    </a:cxn>
                    <a:cxn ang="0">
                      <a:pos x="62" y="2"/>
                    </a:cxn>
                    <a:cxn ang="0">
                      <a:pos x="58" y="4"/>
                    </a:cxn>
                    <a:cxn ang="0">
                      <a:pos x="40" y="14"/>
                    </a:cxn>
                    <a:cxn ang="0">
                      <a:pos x="34" y="18"/>
                    </a:cxn>
                    <a:cxn ang="0">
                      <a:pos x="24" y="22"/>
                    </a:cxn>
                    <a:cxn ang="0">
                      <a:pos x="14" y="28"/>
                    </a:cxn>
                    <a:cxn ang="0">
                      <a:pos x="4" y="24"/>
                    </a:cxn>
                    <a:cxn ang="0">
                      <a:pos x="14" y="48"/>
                    </a:cxn>
                    <a:cxn ang="0">
                      <a:pos x="12" y="64"/>
                    </a:cxn>
                    <a:cxn ang="0">
                      <a:pos x="12" y="78"/>
                    </a:cxn>
                    <a:cxn ang="0">
                      <a:pos x="16" y="86"/>
                    </a:cxn>
                    <a:cxn ang="0">
                      <a:pos x="12" y="106"/>
                    </a:cxn>
                    <a:cxn ang="0">
                      <a:pos x="12" y="112"/>
                    </a:cxn>
                    <a:cxn ang="0">
                      <a:pos x="18" y="120"/>
                    </a:cxn>
                    <a:cxn ang="0">
                      <a:pos x="24" y="128"/>
                    </a:cxn>
                    <a:cxn ang="0">
                      <a:pos x="18" y="132"/>
                    </a:cxn>
                    <a:cxn ang="0">
                      <a:pos x="10" y="146"/>
                    </a:cxn>
                    <a:cxn ang="0">
                      <a:pos x="14" y="158"/>
                    </a:cxn>
                    <a:cxn ang="0">
                      <a:pos x="20" y="160"/>
                    </a:cxn>
                    <a:cxn ang="0">
                      <a:pos x="24" y="178"/>
                    </a:cxn>
                    <a:cxn ang="0">
                      <a:pos x="36" y="186"/>
                    </a:cxn>
                    <a:cxn ang="0">
                      <a:pos x="34" y="198"/>
                    </a:cxn>
                    <a:cxn ang="0">
                      <a:pos x="32" y="208"/>
                    </a:cxn>
                    <a:cxn ang="0">
                      <a:pos x="34" y="216"/>
                    </a:cxn>
                    <a:cxn ang="0">
                      <a:pos x="46" y="234"/>
                    </a:cxn>
                    <a:cxn ang="0">
                      <a:pos x="50" y="244"/>
                    </a:cxn>
                    <a:cxn ang="0">
                      <a:pos x="62" y="252"/>
                    </a:cxn>
                    <a:cxn ang="0">
                      <a:pos x="66" y="246"/>
                    </a:cxn>
                    <a:cxn ang="0">
                      <a:pos x="68" y="242"/>
                    </a:cxn>
                    <a:cxn ang="0">
                      <a:pos x="76" y="236"/>
                    </a:cxn>
                    <a:cxn ang="0">
                      <a:pos x="84" y="240"/>
                    </a:cxn>
                    <a:cxn ang="0">
                      <a:pos x="104" y="242"/>
                    </a:cxn>
                    <a:cxn ang="0">
                      <a:pos x="112" y="248"/>
                    </a:cxn>
                    <a:cxn ang="0">
                      <a:pos x="122" y="238"/>
                    </a:cxn>
                    <a:cxn ang="0">
                      <a:pos x="136" y="240"/>
                    </a:cxn>
                    <a:cxn ang="0">
                      <a:pos x="140" y="236"/>
                    </a:cxn>
                    <a:cxn ang="0">
                      <a:pos x="138" y="210"/>
                    </a:cxn>
                    <a:cxn ang="0">
                      <a:pos x="146" y="200"/>
                    </a:cxn>
                    <a:cxn ang="0">
                      <a:pos x="160" y="190"/>
                    </a:cxn>
                    <a:cxn ang="0">
                      <a:pos x="178" y="186"/>
                    </a:cxn>
                    <a:cxn ang="0">
                      <a:pos x="192" y="186"/>
                    </a:cxn>
                    <a:cxn ang="0">
                      <a:pos x="206" y="200"/>
                    </a:cxn>
                    <a:cxn ang="0">
                      <a:pos x="212" y="198"/>
                    </a:cxn>
                    <a:cxn ang="0">
                      <a:pos x="210" y="188"/>
                    </a:cxn>
                  </a:cxnLst>
                  <a:rect l="0" t="0" r="r" b="b"/>
                  <a:pathLst>
                    <a:path w="214" h="254">
                      <a:moveTo>
                        <a:pt x="212" y="178"/>
                      </a:moveTo>
                      <a:lnTo>
                        <a:pt x="212" y="178"/>
                      </a:lnTo>
                      <a:lnTo>
                        <a:pt x="212" y="176"/>
                      </a:lnTo>
                      <a:lnTo>
                        <a:pt x="212" y="174"/>
                      </a:lnTo>
                      <a:lnTo>
                        <a:pt x="214" y="168"/>
                      </a:lnTo>
                      <a:lnTo>
                        <a:pt x="214" y="166"/>
                      </a:lnTo>
                      <a:lnTo>
                        <a:pt x="214" y="164"/>
                      </a:lnTo>
                      <a:lnTo>
                        <a:pt x="214" y="162"/>
                      </a:lnTo>
                      <a:lnTo>
                        <a:pt x="214" y="160"/>
                      </a:lnTo>
                      <a:lnTo>
                        <a:pt x="212" y="158"/>
                      </a:lnTo>
                      <a:lnTo>
                        <a:pt x="212" y="156"/>
                      </a:lnTo>
                      <a:lnTo>
                        <a:pt x="210" y="152"/>
                      </a:lnTo>
                      <a:lnTo>
                        <a:pt x="208" y="152"/>
                      </a:lnTo>
                      <a:lnTo>
                        <a:pt x="206" y="150"/>
                      </a:lnTo>
                      <a:lnTo>
                        <a:pt x="204" y="148"/>
                      </a:lnTo>
                      <a:lnTo>
                        <a:pt x="202" y="148"/>
                      </a:lnTo>
                      <a:lnTo>
                        <a:pt x="200" y="146"/>
                      </a:lnTo>
                      <a:lnTo>
                        <a:pt x="198" y="146"/>
                      </a:lnTo>
                      <a:lnTo>
                        <a:pt x="198" y="144"/>
                      </a:lnTo>
                      <a:lnTo>
                        <a:pt x="196" y="142"/>
                      </a:lnTo>
                      <a:lnTo>
                        <a:pt x="196" y="140"/>
                      </a:lnTo>
                      <a:lnTo>
                        <a:pt x="196" y="138"/>
                      </a:lnTo>
                      <a:lnTo>
                        <a:pt x="196" y="134"/>
                      </a:lnTo>
                      <a:lnTo>
                        <a:pt x="198" y="134"/>
                      </a:lnTo>
                      <a:lnTo>
                        <a:pt x="198" y="130"/>
                      </a:lnTo>
                      <a:lnTo>
                        <a:pt x="198" y="128"/>
                      </a:lnTo>
                      <a:lnTo>
                        <a:pt x="196" y="128"/>
                      </a:lnTo>
                      <a:lnTo>
                        <a:pt x="194" y="128"/>
                      </a:lnTo>
                      <a:lnTo>
                        <a:pt x="192" y="128"/>
                      </a:lnTo>
                      <a:lnTo>
                        <a:pt x="190" y="128"/>
                      </a:lnTo>
                      <a:lnTo>
                        <a:pt x="184" y="128"/>
                      </a:lnTo>
                      <a:lnTo>
                        <a:pt x="178" y="128"/>
                      </a:lnTo>
                      <a:lnTo>
                        <a:pt x="176" y="128"/>
                      </a:lnTo>
                      <a:lnTo>
                        <a:pt x="174" y="128"/>
                      </a:lnTo>
                      <a:lnTo>
                        <a:pt x="170" y="128"/>
                      </a:lnTo>
                      <a:lnTo>
                        <a:pt x="168" y="128"/>
                      </a:lnTo>
                      <a:lnTo>
                        <a:pt x="168" y="126"/>
                      </a:lnTo>
                      <a:lnTo>
                        <a:pt x="166" y="126"/>
                      </a:lnTo>
                      <a:lnTo>
                        <a:pt x="164" y="124"/>
                      </a:lnTo>
                      <a:lnTo>
                        <a:pt x="164" y="122"/>
                      </a:lnTo>
                      <a:lnTo>
                        <a:pt x="164" y="120"/>
                      </a:lnTo>
                      <a:lnTo>
                        <a:pt x="164" y="118"/>
                      </a:lnTo>
                      <a:lnTo>
                        <a:pt x="164" y="116"/>
                      </a:lnTo>
                      <a:lnTo>
                        <a:pt x="164" y="114"/>
                      </a:lnTo>
                      <a:lnTo>
                        <a:pt x="164" y="112"/>
                      </a:lnTo>
                      <a:lnTo>
                        <a:pt x="164" y="110"/>
                      </a:lnTo>
                      <a:lnTo>
                        <a:pt x="162" y="110"/>
                      </a:lnTo>
                      <a:lnTo>
                        <a:pt x="160" y="106"/>
                      </a:lnTo>
                      <a:lnTo>
                        <a:pt x="158" y="106"/>
                      </a:lnTo>
                      <a:lnTo>
                        <a:pt x="158" y="104"/>
                      </a:lnTo>
                      <a:lnTo>
                        <a:pt x="160" y="104"/>
                      </a:lnTo>
                      <a:lnTo>
                        <a:pt x="162" y="104"/>
                      </a:lnTo>
                      <a:lnTo>
                        <a:pt x="164" y="104"/>
                      </a:lnTo>
                      <a:lnTo>
                        <a:pt x="162" y="100"/>
                      </a:lnTo>
                      <a:lnTo>
                        <a:pt x="162" y="98"/>
                      </a:lnTo>
                      <a:lnTo>
                        <a:pt x="162" y="96"/>
                      </a:lnTo>
                      <a:lnTo>
                        <a:pt x="162" y="94"/>
                      </a:lnTo>
                      <a:lnTo>
                        <a:pt x="160" y="92"/>
                      </a:lnTo>
                      <a:lnTo>
                        <a:pt x="160" y="90"/>
                      </a:lnTo>
                      <a:lnTo>
                        <a:pt x="158" y="88"/>
                      </a:lnTo>
                      <a:lnTo>
                        <a:pt x="158" y="86"/>
                      </a:lnTo>
                      <a:lnTo>
                        <a:pt x="158" y="84"/>
                      </a:lnTo>
                      <a:lnTo>
                        <a:pt x="158" y="82"/>
                      </a:lnTo>
                      <a:lnTo>
                        <a:pt x="158" y="80"/>
                      </a:lnTo>
                      <a:lnTo>
                        <a:pt x="156" y="78"/>
                      </a:lnTo>
                      <a:lnTo>
                        <a:pt x="154" y="76"/>
                      </a:lnTo>
                      <a:lnTo>
                        <a:pt x="150" y="76"/>
                      </a:lnTo>
                      <a:lnTo>
                        <a:pt x="148" y="74"/>
                      </a:lnTo>
                      <a:lnTo>
                        <a:pt x="144" y="74"/>
                      </a:lnTo>
                      <a:lnTo>
                        <a:pt x="142" y="74"/>
                      </a:lnTo>
                      <a:lnTo>
                        <a:pt x="138" y="74"/>
                      </a:lnTo>
                      <a:lnTo>
                        <a:pt x="136" y="74"/>
                      </a:lnTo>
                      <a:lnTo>
                        <a:pt x="134" y="74"/>
                      </a:lnTo>
                      <a:lnTo>
                        <a:pt x="132" y="72"/>
                      </a:lnTo>
                      <a:lnTo>
                        <a:pt x="132" y="70"/>
                      </a:lnTo>
                      <a:lnTo>
                        <a:pt x="130" y="70"/>
                      </a:lnTo>
                      <a:lnTo>
                        <a:pt x="130" y="68"/>
                      </a:lnTo>
                      <a:lnTo>
                        <a:pt x="128" y="68"/>
                      </a:lnTo>
                      <a:lnTo>
                        <a:pt x="128" y="66"/>
                      </a:lnTo>
                      <a:lnTo>
                        <a:pt x="126" y="66"/>
                      </a:lnTo>
                      <a:lnTo>
                        <a:pt x="122" y="66"/>
                      </a:lnTo>
                      <a:lnTo>
                        <a:pt x="120" y="64"/>
                      </a:lnTo>
                      <a:lnTo>
                        <a:pt x="116" y="62"/>
                      </a:lnTo>
                      <a:lnTo>
                        <a:pt x="114" y="62"/>
                      </a:lnTo>
                      <a:lnTo>
                        <a:pt x="112" y="60"/>
                      </a:lnTo>
                      <a:lnTo>
                        <a:pt x="112" y="58"/>
                      </a:lnTo>
                      <a:lnTo>
                        <a:pt x="110" y="58"/>
                      </a:lnTo>
                      <a:lnTo>
                        <a:pt x="108" y="58"/>
                      </a:lnTo>
                      <a:lnTo>
                        <a:pt x="106" y="60"/>
                      </a:lnTo>
                      <a:lnTo>
                        <a:pt x="106" y="58"/>
                      </a:lnTo>
                      <a:lnTo>
                        <a:pt x="104" y="58"/>
                      </a:lnTo>
                      <a:lnTo>
                        <a:pt x="102" y="56"/>
                      </a:lnTo>
                      <a:lnTo>
                        <a:pt x="102" y="54"/>
                      </a:lnTo>
                      <a:lnTo>
                        <a:pt x="100" y="54"/>
                      </a:lnTo>
                      <a:lnTo>
                        <a:pt x="100" y="56"/>
                      </a:lnTo>
                      <a:lnTo>
                        <a:pt x="98" y="56"/>
                      </a:lnTo>
                      <a:lnTo>
                        <a:pt x="96" y="56"/>
                      </a:lnTo>
                      <a:lnTo>
                        <a:pt x="94" y="56"/>
                      </a:lnTo>
                      <a:lnTo>
                        <a:pt x="92" y="56"/>
                      </a:lnTo>
                      <a:lnTo>
                        <a:pt x="90" y="54"/>
                      </a:lnTo>
                      <a:lnTo>
                        <a:pt x="88" y="54"/>
                      </a:lnTo>
                      <a:lnTo>
                        <a:pt x="88" y="52"/>
                      </a:lnTo>
                      <a:lnTo>
                        <a:pt x="86" y="52"/>
                      </a:lnTo>
                      <a:lnTo>
                        <a:pt x="86" y="50"/>
                      </a:lnTo>
                      <a:lnTo>
                        <a:pt x="86" y="48"/>
                      </a:lnTo>
                      <a:lnTo>
                        <a:pt x="86" y="46"/>
                      </a:lnTo>
                      <a:lnTo>
                        <a:pt x="82" y="46"/>
                      </a:lnTo>
                      <a:lnTo>
                        <a:pt x="80" y="46"/>
                      </a:lnTo>
                      <a:lnTo>
                        <a:pt x="80" y="44"/>
                      </a:lnTo>
                      <a:lnTo>
                        <a:pt x="78" y="42"/>
                      </a:lnTo>
                      <a:lnTo>
                        <a:pt x="78" y="40"/>
                      </a:lnTo>
                      <a:lnTo>
                        <a:pt x="78" y="38"/>
                      </a:lnTo>
                      <a:lnTo>
                        <a:pt x="76" y="38"/>
                      </a:lnTo>
                      <a:lnTo>
                        <a:pt x="74" y="36"/>
                      </a:lnTo>
                      <a:lnTo>
                        <a:pt x="72" y="34"/>
                      </a:lnTo>
                      <a:lnTo>
                        <a:pt x="72" y="32"/>
                      </a:lnTo>
                      <a:lnTo>
                        <a:pt x="72" y="30"/>
                      </a:lnTo>
                      <a:lnTo>
                        <a:pt x="72" y="28"/>
                      </a:lnTo>
                      <a:lnTo>
                        <a:pt x="72" y="26"/>
                      </a:lnTo>
                      <a:lnTo>
                        <a:pt x="72" y="24"/>
                      </a:lnTo>
                      <a:lnTo>
                        <a:pt x="72" y="22"/>
                      </a:lnTo>
                      <a:lnTo>
                        <a:pt x="70" y="20"/>
                      </a:lnTo>
                      <a:lnTo>
                        <a:pt x="70" y="18"/>
                      </a:lnTo>
                      <a:lnTo>
                        <a:pt x="68" y="18"/>
                      </a:lnTo>
                      <a:lnTo>
                        <a:pt x="68" y="16"/>
                      </a:lnTo>
                      <a:lnTo>
                        <a:pt x="70" y="14"/>
                      </a:lnTo>
                      <a:lnTo>
                        <a:pt x="72" y="12"/>
                      </a:lnTo>
                      <a:lnTo>
                        <a:pt x="72" y="10"/>
                      </a:lnTo>
                      <a:lnTo>
                        <a:pt x="72" y="8"/>
                      </a:lnTo>
                      <a:lnTo>
                        <a:pt x="72" y="4"/>
                      </a:lnTo>
                      <a:lnTo>
                        <a:pt x="74" y="4"/>
                      </a:lnTo>
                      <a:lnTo>
                        <a:pt x="74" y="2"/>
                      </a:lnTo>
                      <a:lnTo>
                        <a:pt x="72" y="0"/>
                      </a:lnTo>
                      <a:lnTo>
                        <a:pt x="70" y="0"/>
                      </a:lnTo>
                      <a:lnTo>
                        <a:pt x="68" y="2"/>
                      </a:lnTo>
                      <a:lnTo>
                        <a:pt x="66" y="4"/>
                      </a:lnTo>
                      <a:lnTo>
                        <a:pt x="64" y="4"/>
                      </a:lnTo>
                      <a:lnTo>
                        <a:pt x="62" y="2"/>
                      </a:lnTo>
                      <a:lnTo>
                        <a:pt x="62" y="4"/>
                      </a:lnTo>
                      <a:lnTo>
                        <a:pt x="60" y="4"/>
                      </a:lnTo>
                      <a:lnTo>
                        <a:pt x="58" y="4"/>
                      </a:lnTo>
                      <a:lnTo>
                        <a:pt x="54" y="4"/>
                      </a:lnTo>
                      <a:lnTo>
                        <a:pt x="52" y="4"/>
                      </a:lnTo>
                      <a:lnTo>
                        <a:pt x="50" y="4"/>
                      </a:lnTo>
                      <a:lnTo>
                        <a:pt x="48" y="6"/>
                      </a:lnTo>
                      <a:lnTo>
                        <a:pt x="46" y="8"/>
                      </a:lnTo>
                      <a:lnTo>
                        <a:pt x="44" y="10"/>
                      </a:lnTo>
                      <a:lnTo>
                        <a:pt x="44" y="12"/>
                      </a:lnTo>
                      <a:lnTo>
                        <a:pt x="42" y="14"/>
                      </a:lnTo>
                      <a:lnTo>
                        <a:pt x="40" y="14"/>
                      </a:lnTo>
                      <a:lnTo>
                        <a:pt x="38" y="14"/>
                      </a:lnTo>
                      <a:lnTo>
                        <a:pt x="36" y="14"/>
                      </a:lnTo>
                      <a:lnTo>
                        <a:pt x="34" y="14"/>
                      </a:lnTo>
                      <a:lnTo>
                        <a:pt x="34" y="16"/>
                      </a:lnTo>
                      <a:lnTo>
                        <a:pt x="34" y="18"/>
                      </a:lnTo>
                      <a:lnTo>
                        <a:pt x="34" y="20"/>
                      </a:lnTo>
                      <a:lnTo>
                        <a:pt x="30" y="20"/>
                      </a:lnTo>
                      <a:lnTo>
                        <a:pt x="28" y="20"/>
                      </a:lnTo>
                      <a:lnTo>
                        <a:pt x="26" y="20"/>
                      </a:lnTo>
                      <a:lnTo>
                        <a:pt x="24" y="20"/>
                      </a:lnTo>
                      <a:lnTo>
                        <a:pt x="24" y="22"/>
                      </a:lnTo>
                      <a:lnTo>
                        <a:pt x="22" y="22"/>
                      </a:lnTo>
                      <a:lnTo>
                        <a:pt x="22" y="24"/>
                      </a:lnTo>
                      <a:lnTo>
                        <a:pt x="22" y="26"/>
                      </a:lnTo>
                      <a:lnTo>
                        <a:pt x="20" y="26"/>
                      </a:lnTo>
                      <a:lnTo>
                        <a:pt x="18" y="28"/>
                      </a:lnTo>
                      <a:lnTo>
                        <a:pt x="14" y="28"/>
                      </a:lnTo>
                      <a:lnTo>
                        <a:pt x="12" y="28"/>
                      </a:lnTo>
                      <a:lnTo>
                        <a:pt x="10" y="28"/>
                      </a:lnTo>
                      <a:lnTo>
                        <a:pt x="10" y="26"/>
                      </a:lnTo>
                      <a:lnTo>
                        <a:pt x="8" y="26"/>
                      </a:lnTo>
                      <a:lnTo>
                        <a:pt x="6" y="26"/>
                      </a:lnTo>
                      <a:lnTo>
                        <a:pt x="4" y="24"/>
                      </a:lnTo>
                      <a:lnTo>
                        <a:pt x="0" y="24"/>
                      </a:lnTo>
                      <a:lnTo>
                        <a:pt x="0" y="26"/>
                      </a:lnTo>
                      <a:lnTo>
                        <a:pt x="2" y="28"/>
                      </a:lnTo>
                      <a:lnTo>
                        <a:pt x="2" y="32"/>
                      </a:lnTo>
                      <a:lnTo>
                        <a:pt x="4" y="36"/>
                      </a:lnTo>
                      <a:lnTo>
                        <a:pt x="6" y="38"/>
                      </a:lnTo>
                      <a:lnTo>
                        <a:pt x="8" y="38"/>
                      </a:lnTo>
                      <a:lnTo>
                        <a:pt x="10" y="40"/>
                      </a:lnTo>
                      <a:lnTo>
                        <a:pt x="12" y="44"/>
                      </a:lnTo>
                      <a:lnTo>
                        <a:pt x="14" y="46"/>
                      </a:lnTo>
                      <a:lnTo>
                        <a:pt x="14" y="48"/>
                      </a:lnTo>
                      <a:lnTo>
                        <a:pt x="14" y="50"/>
                      </a:lnTo>
                      <a:lnTo>
                        <a:pt x="14" y="52"/>
                      </a:lnTo>
                      <a:lnTo>
                        <a:pt x="16" y="54"/>
                      </a:lnTo>
                      <a:lnTo>
                        <a:pt x="16" y="56"/>
                      </a:lnTo>
                      <a:lnTo>
                        <a:pt x="14" y="56"/>
                      </a:lnTo>
                      <a:lnTo>
                        <a:pt x="14" y="58"/>
                      </a:lnTo>
                      <a:lnTo>
                        <a:pt x="14" y="60"/>
                      </a:lnTo>
                      <a:lnTo>
                        <a:pt x="12" y="62"/>
                      </a:lnTo>
                      <a:lnTo>
                        <a:pt x="12" y="64"/>
                      </a:lnTo>
                      <a:lnTo>
                        <a:pt x="14" y="64"/>
                      </a:lnTo>
                      <a:lnTo>
                        <a:pt x="14" y="68"/>
                      </a:lnTo>
                      <a:lnTo>
                        <a:pt x="14" y="70"/>
                      </a:lnTo>
                      <a:lnTo>
                        <a:pt x="14" y="72"/>
                      </a:lnTo>
                      <a:lnTo>
                        <a:pt x="14" y="74"/>
                      </a:lnTo>
                      <a:lnTo>
                        <a:pt x="12" y="76"/>
                      </a:lnTo>
                      <a:lnTo>
                        <a:pt x="12" y="78"/>
                      </a:lnTo>
                      <a:lnTo>
                        <a:pt x="10" y="80"/>
                      </a:lnTo>
                      <a:lnTo>
                        <a:pt x="12" y="80"/>
                      </a:lnTo>
                      <a:lnTo>
                        <a:pt x="12" y="82"/>
                      </a:lnTo>
                      <a:lnTo>
                        <a:pt x="14" y="82"/>
                      </a:lnTo>
                      <a:lnTo>
                        <a:pt x="14" y="84"/>
                      </a:lnTo>
                      <a:lnTo>
                        <a:pt x="14" y="86"/>
                      </a:lnTo>
                      <a:lnTo>
                        <a:pt x="16" y="86"/>
                      </a:lnTo>
                      <a:lnTo>
                        <a:pt x="14" y="88"/>
                      </a:lnTo>
                      <a:lnTo>
                        <a:pt x="14" y="90"/>
                      </a:lnTo>
                      <a:lnTo>
                        <a:pt x="12" y="92"/>
                      </a:lnTo>
                      <a:lnTo>
                        <a:pt x="12" y="94"/>
                      </a:lnTo>
                      <a:lnTo>
                        <a:pt x="10" y="96"/>
                      </a:lnTo>
                      <a:lnTo>
                        <a:pt x="10" y="98"/>
                      </a:lnTo>
                      <a:lnTo>
                        <a:pt x="10" y="100"/>
                      </a:lnTo>
                      <a:lnTo>
                        <a:pt x="10" y="102"/>
                      </a:lnTo>
                      <a:lnTo>
                        <a:pt x="12" y="106"/>
                      </a:lnTo>
                      <a:lnTo>
                        <a:pt x="12" y="108"/>
                      </a:lnTo>
                      <a:lnTo>
                        <a:pt x="14" y="108"/>
                      </a:lnTo>
                      <a:lnTo>
                        <a:pt x="12" y="110"/>
                      </a:lnTo>
                      <a:lnTo>
                        <a:pt x="12" y="112"/>
                      </a:lnTo>
                      <a:lnTo>
                        <a:pt x="12" y="114"/>
                      </a:lnTo>
                      <a:lnTo>
                        <a:pt x="14" y="114"/>
                      </a:lnTo>
                      <a:lnTo>
                        <a:pt x="14" y="116"/>
                      </a:lnTo>
                      <a:lnTo>
                        <a:pt x="16" y="118"/>
                      </a:lnTo>
                      <a:lnTo>
                        <a:pt x="18" y="120"/>
                      </a:lnTo>
                      <a:lnTo>
                        <a:pt x="20" y="122"/>
                      </a:lnTo>
                      <a:lnTo>
                        <a:pt x="20" y="124"/>
                      </a:lnTo>
                      <a:lnTo>
                        <a:pt x="20" y="126"/>
                      </a:lnTo>
                      <a:lnTo>
                        <a:pt x="22" y="126"/>
                      </a:lnTo>
                      <a:lnTo>
                        <a:pt x="22" y="128"/>
                      </a:lnTo>
                      <a:lnTo>
                        <a:pt x="24" y="128"/>
                      </a:lnTo>
                      <a:lnTo>
                        <a:pt x="24" y="130"/>
                      </a:lnTo>
                      <a:lnTo>
                        <a:pt x="22" y="132"/>
                      </a:lnTo>
                      <a:lnTo>
                        <a:pt x="22" y="134"/>
                      </a:lnTo>
                      <a:lnTo>
                        <a:pt x="20" y="132"/>
                      </a:lnTo>
                      <a:lnTo>
                        <a:pt x="18" y="132"/>
                      </a:lnTo>
                      <a:lnTo>
                        <a:pt x="18" y="134"/>
                      </a:lnTo>
                      <a:lnTo>
                        <a:pt x="18" y="136"/>
                      </a:lnTo>
                      <a:lnTo>
                        <a:pt x="16" y="138"/>
                      </a:lnTo>
                      <a:lnTo>
                        <a:pt x="16" y="140"/>
                      </a:lnTo>
                      <a:lnTo>
                        <a:pt x="14" y="142"/>
                      </a:lnTo>
                      <a:lnTo>
                        <a:pt x="12" y="144"/>
                      </a:lnTo>
                      <a:lnTo>
                        <a:pt x="10" y="144"/>
                      </a:lnTo>
                      <a:lnTo>
                        <a:pt x="10" y="146"/>
                      </a:lnTo>
                      <a:lnTo>
                        <a:pt x="10" y="148"/>
                      </a:lnTo>
                      <a:lnTo>
                        <a:pt x="10" y="150"/>
                      </a:lnTo>
                      <a:lnTo>
                        <a:pt x="12" y="150"/>
                      </a:lnTo>
                      <a:lnTo>
                        <a:pt x="12" y="152"/>
                      </a:lnTo>
                      <a:lnTo>
                        <a:pt x="12" y="156"/>
                      </a:lnTo>
                      <a:lnTo>
                        <a:pt x="14" y="158"/>
                      </a:lnTo>
                      <a:lnTo>
                        <a:pt x="14" y="160"/>
                      </a:lnTo>
                      <a:lnTo>
                        <a:pt x="16" y="160"/>
                      </a:lnTo>
                      <a:lnTo>
                        <a:pt x="18" y="160"/>
                      </a:lnTo>
                      <a:lnTo>
                        <a:pt x="20" y="160"/>
                      </a:lnTo>
                      <a:lnTo>
                        <a:pt x="20" y="164"/>
                      </a:lnTo>
                      <a:lnTo>
                        <a:pt x="20" y="166"/>
                      </a:lnTo>
                      <a:lnTo>
                        <a:pt x="22" y="168"/>
                      </a:lnTo>
                      <a:lnTo>
                        <a:pt x="22" y="170"/>
                      </a:lnTo>
                      <a:lnTo>
                        <a:pt x="22" y="172"/>
                      </a:lnTo>
                      <a:lnTo>
                        <a:pt x="22" y="174"/>
                      </a:lnTo>
                      <a:lnTo>
                        <a:pt x="22" y="176"/>
                      </a:lnTo>
                      <a:lnTo>
                        <a:pt x="22" y="178"/>
                      </a:lnTo>
                      <a:lnTo>
                        <a:pt x="24" y="178"/>
                      </a:lnTo>
                      <a:lnTo>
                        <a:pt x="24" y="180"/>
                      </a:lnTo>
                      <a:lnTo>
                        <a:pt x="26" y="180"/>
                      </a:lnTo>
                      <a:lnTo>
                        <a:pt x="28" y="180"/>
                      </a:lnTo>
                      <a:lnTo>
                        <a:pt x="30" y="182"/>
                      </a:lnTo>
                      <a:lnTo>
                        <a:pt x="32" y="182"/>
                      </a:lnTo>
                      <a:lnTo>
                        <a:pt x="34" y="184"/>
                      </a:lnTo>
                      <a:lnTo>
                        <a:pt x="34" y="186"/>
                      </a:lnTo>
                      <a:lnTo>
                        <a:pt x="36" y="186"/>
                      </a:lnTo>
                      <a:lnTo>
                        <a:pt x="36" y="188"/>
                      </a:lnTo>
                      <a:lnTo>
                        <a:pt x="34" y="190"/>
                      </a:lnTo>
                      <a:lnTo>
                        <a:pt x="32" y="192"/>
                      </a:lnTo>
                      <a:lnTo>
                        <a:pt x="32" y="194"/>
                      </a:lnTo>
                      <a:lnTo>
                        <a:pt x="30" y="194"/>
                      </a:lnTo>
                      <a:lnTo>
                        <a:pt x="32" y="196"/>
                      </a:lnTo>
                      <a:lnTo>
                        <a:pt x="34" y="196"/>
                      </a:lnTo>
                      <a:lnTo>
                        <a:pt x="34" y="198"/>
                      </a:lnTo>
                      <a:lnTo>
                        <a:pt x="32" y="200"/>
                      </a:lnTo>
                      <a:lnTo>
                        <a:pt x="32" y="202"/>
                      </a:lnTo>
                      <a:lnTo>
                        <a:pt x="30" y="204"/>
                      </a:lnTo>
                      <a:lnTo>
                        <a:pt x="30" y="206"/>
                      </a:lnTo>
                      <a:lnTo>
                        <a:pt x="32" y="206"/>
                      </a:lnTo>
                      <a:lnTo>
                        <a:pt x="32" y="208"/>
                      </a:lnTo>
                      <a:lnTo>
                        <a:pt x="34" y="210"/>
                      </a:lnTo>
                      <a:lnTo>
                        <a:pt x="34" y="212"/>
                      </a:lnTo>
                      <a:lnTo>
                        <a:pt x="34" y="214"/>
                      </a:lnTo>
                      <a:lnTo>
                        <a:pt x="34" y="216"/>
                      </a:lnTo>
                      <a:lnTo>
                        <a:pt x="36" y="216"/>
                      </a:lnTo>
                      <a:lnTo>
                        <a:pt x="38" y="218"/>
                      </a:lnTo>
                      <a:lnTo>
                        <a:pt x="40" y="220"/>
                      </a:lnTo>
                      <a:lnTo>
                        <a:pt x="42" y="222"/>
                      </a:lnTo>
                      <a:lnTo>
                        <a:pt x="44" y="222"/>
                      </a:lnTo>
                      <a:lnTo>
                        <a:pt x="44" y="224"/>
                      </a:lnTo>
                      <a:lnTo>
                        <a:pt x="46" y="226"/>
                      </a:lnTo>
                      <a:lnTo>
                        <a:pt x="46" y="228"/>
                      </a:lnTo>
                      <a:lnTo>
                        <a:pt x="46" y="232"/>
                      </a:lnTo>
                      <a:lnTo>
                        <a:pt x="46" y="234"/>
                      </a:lnTo>
                      <a:lnTo>
                        <a:pt x="46" y="236"/>
                      </a:lnTo>
                      <a:lnTo>
                        <a:pt x="44" y="238"/>
                      </a:lnTo>
                      <a:lnTo>
                        <a:pt x="46" y="240"/>
                      </a:lnTo>
                      <a:lnTo>
                        <a:pt x="48" y="242"/>
                      </a:lnTo>
                      <a:lnTo>
                        <a:pt x="50" y="244"/>
                      </a:lnTo>
                      <a:lnTo>
                        <a:pt x="50" y="246"/>
                      </a:lnTo>
                      <a:lnTo>
                        <a:pt x="50" y="248"/>
                      </a:lnTo>
                      <a:lnTo>
                        <a:pt x="50" y="250"/>
                      </a:lnTo>
                      <a:lnTo>
                        <a:pt x="50" y="252"/>
                      </a:lnTo>
                      <a:lnTo>
                        <a:pt x="52" y="252"/>
                      </a:lnTo>
                      <a:lnTo>
                        <a:pt x="54" y="254"/>
                      </a:lnTo>
                      <a:lnTo>
                        <a:pt x="58" y="254"/>
                      </a:lnTo>
                      <a:lnTo>
                        <a:pt x="62" y="252"/>
                      </a:lnTo>
                      <a:lnTo>
                        <a:pt x="64" y="252"/>
                      </a:lnTo>
                      <a:lnTo>
                        <a:pt x="64" y="250"/>
                      </a:lnTo>
                      <a:lnTo>
                        <a:pt x="64" y="248"/>
                      </a:lnTo>
                      <a:lnTo>
                        <a:pt x="64" y="246"/>
                      </a:lnTo>
                      <a:lnTo>
                        <a:pt x="66" y="246"/>
                      </a:lnTo>
                      <a:lnTo>
                        <a:pt x="68" y="246"/>
                      </a:lnTo>
                      <a:lnTo>
                        <a:pt x="68" y="244"/>
                      </a:lnTo>
                      <a:lnTo>
                        <a:pt x="68" y="242"/>
                      </a:lnTo>
                      <a:lnTo>
                        <a:pt x="70" y="242"/>
                      </a:lnTo>
                      <a:lnTo>
                        <a:pt x="72" y="242"/>
                      </a:lnTo>
                      <a:lnTo>
                        <a:pt x="72" y="240"/>
                      </a:lnTo>
                      <a:lnTo>
                        <a:pt x="74" y="240"/>
                      </a:lnTo>
                      <a:lnTo>
                        <a:pt x="74" y="238"/>
                      </a:lnTo>
                      <a:lnTo>
                        <a:pt x="76" y="236"/>
                      </a:lnTo>
                      <a:lnTo>
                        <a:pt x="76" y="234"/>
                      </a:lnTo>
                      <a:lnTo>
                        <a:pt x="78" y="234"/>
                      </a:lnTo>
                      <a:lnTo>
                        <a:pt x="78" y="236"/>
                      </a:lnTo>
                      <a:lnTo>
                        <a:pt x="80" y="236"/>
                      </a:lnTo>
                      <a:lnTo>
                        <a:pt x="80" y="238"/>
                      </a:lnTo>
                      <a:lnTo>
                        <a:pt x="82" y="238"/>
                      </a:lnTo>
                      <a:lnTo>
                        <a:pt x="84" y="240"/>
                      </a:lnTo>
                      <a:lnTo>
                        <a:pt x="86" y="240"/>
                      </a:lnTo>
                      <a:lnTo>
                        <a:pt x="88" y="240"/>
                      </a:lnTo>
                      <a:lnTo>
                        <a:pt x="92" y="240"/>
                      </a:lnTo>
                      <a:lnTo>
                        <a:pt x="96" y="240"/>
                      </a:lnTo>
                      <a:lnTo>
                        <a:pt x="98" y="240"/>
                      </a:lnTo>
                      <a:lnTo>
                        <a:pt x="100" y="240"/>
                      </a:lnTo>
                      <a:lnTo>
                        <a:pt x="102" y="240"/>
                      </a:lnTo>
                      <a:lnTo>
                        <a:pt x="104" y="240"/>
                      </a:lnTo>
                      <a:lnTo>
                        <a:pt x="104" y="242"/>
                      </a:lnTo>
                      <a:lnTo>
                        <a:pt x="106" y="244"/>
                      </a:lnTo>
                      <a:lnTo>
                        <a:pt x="108" y="246"/>
                      </a:lnTo>
                      <a:lnTo>
                        <a:pt x="108" y="248"/>
                      </a:lnTo>
                      <a:lnTo>
                        <a:pt x="110" y="250"/>
                      </a:lnTo>
                      <a:lnTo>
                        <a:pt x="110" y="252"/>
                      </a:lnTo>
                      <a:lnTo>
                        <a:pt x="112" y="250"/>
                      </a:lnTo>
                      <a:lnTo>
                        <a:pt x="112" y="248"/>
                      </a:lnTo>
                      <a:lnTo>
                        <a:pt x="112" y="246"/>
                      </a:lnTo>
                      <a:lnTo>
                        <a:pt x="112" y="244"/>
                      </a:lnTo>
                      <a:lnTo>
                        <a:pt x="112" y="242"/>
                      </a:lnTo>
                      <a:lnTo>
                        <a:pt x="112" y="240"/>
                      </a:lnTo>
                      <a:lnTo>
                        <a:pt x="116" y="238"/>
                      </a:lnTo>
                      <a:lnTo>
                        <a:pt x="118" y="238"/>
                      </a:lnTo>
                      <a:lnTo>
                        <a:pt x="122" y="238"/>
                      </a:lnTo>
                      <a:lnTo>
                        <a:pt x="124" y="238"/>
                      </a:lnTo>
                      <a:lnTo>
                        <a:pt x="126" y="238"/>
                      </a:lnTo>
                      <a:lnTo>
                        <a:pt x="128" y="238"/>
                      </a:lnTo>
                      <a:lnTo>
                        <a:pt x="130" y="238"/>
                      </a:lnTo>
                      <a:lnTo>
                        <a:pt x="132" y="236"/>
                      </a:lnTo>
                      <a:lnTo>
                        <a:pt x="134" y="240"/>
                      </a:lnTo>
                      <a:lnTo>
                        <a:pt x="136" y="240"/>
                      </a:lnTo>
                      <a:lnTo>
                        <a:pt x="138" y="242"/>
                      </a:lnTo>
                      <a:lnTo>
                        <a:pt x="140" y="244"/>
                      </a:lnTo>
                      <a:lnTo>
                        <a:pt x="140" y="242"/>
                      </a:lnTo>
                      <a:lnTo>
                        <a:pt x="140" y="240"/>
                      </a:lnTo>
                      <a:lnTo>
                        <a:pt x="140" y="238"/>
                      </a:lnTo>
                      <a:lnTo>
                        <a:pt x="140" y="236"/>
                      </a:lnTo>
                      <a:lnTo>
                        <a:pt x="140" y="230"/>
                      </a:lnTo>
                      <a:lnTo>
                        <a:pt x="142" y="226"/>
                      </a:lnTo>
                      <a:lnTo>
                        <a:pt x="142" y="224"/>
                      </a:lnTo>
                      <a:lnTo>
                        <a:pt x="142" y="222"/>
                      </a:lnTo>
                      <a:lnTo>
                        <a:pt x="142" y="220"/>
                      </a:lnTo>
                      <a:lnTo>
                        <a:pt x="142" y="218"/>
                      </a:lnTo>
                      <a:lnTo>
                        <a:pt x="142" y="216"/>
                      </a:lnTo>
                      <a:lnTo>
                        <a:pt x="140" y="214"/>
                      </a:lnTo>
                      <a:lnTo>
                        <a:pt x="138" y="210"/>
                      </a:lnTo>
                      <a:lnTo>
                        <a:pt x="138" y="208"/>
                      </a:lnTo>
                      <a:lnTo>
                        <a:pt x="138" y="206"/>
                      </a:lnTo>
                      <a:lnTo>
                        <a:pt x="140" y="204"/>
                      </a:lnTo>
                      <a:lnTo>
                        <a:pt x="142" y="202"/>
                      </a:lnTo>
                      <a:lnTo>
                        <a:pt x="144" y="200"/>
                      </a:lnTo>
                      <a:lnTo>
                        <a:pt x="146" y="200"/>
                      </a:lnTo>
                      <a:lnTo>
                        <a:pt x="146" y="198"/>
                      </a:lnTo>
                      <a:lnTo>
                        <a:pt x="146" y="196"/>
                      </a:lnTo>
                      <a:lnTo>
                        <a:pt x="146" y="194"/>
                      </a:lnTo>
                      <a:lnTo>
                        <a:pt x="146" y="192"/>
                      </a:lnTo>
                      <a:lnTo>
                        <a:pt x="152" y="192"/>
                      </a:lnTo>
                      <a:lnTo>
                        <a:pt x="156" y="190"/>
                      </a:lnTo>
                      <a:lnTo>
                        <a:pt x="158" y="190"/>
                      </a:lnTo>
                      <a:lnTo>
                        <a:pt x="160" y="190"/>
                      </a:lnTo>
                      <a:lnTo>
                        <a:pt x="164" y="190"/>
                      </a:lnTo>
                      <a:lnTo>
                        <a:pt x="166" y="188"/>
                      </a:lnTo>
                      <a:lnTo>
                        <a:pt x="168" y="188"/>
                      </a:lnTo>
                      <a:lnTo>
                        <a:pt x="170" y="188"/>
                      </a:lnTo>
                      <a:lnTo>
                        <a:pt x="172" y="188"/>
                      </a:lnTo>
                      <a:lnTo>
                        <a:pt x="176" y="188"/>
                      </a:lnTo>
                      <a:lnTo>
                        <a:pt x="178" y="186"/>
                      </a:lnTo>
                      <a:lnTo>
                        <a:pt x="180" y="186"/>
                      </a:lnTo>
                      <a:lnTo>
                        <a:pt x="182" y="186"/>
                      </a:lnTo>
                      <a:lnTo>
                        <a:pt x="184" y="186"/>
                      </a:lnTo>
                      <a:lnTo>
                        <a:pt x="186" y="186"/>
                      </a:lnTo>
                      <a:lnTo>
                        <a:pt x="186" y="184"/>
                      </a:lnTo>
                      <a:lnTo>
                        <a:pt x="188" y="184"/>
                      </a:lnTo>
                      <a:lnTo>
                        <a:pt x="190" y="184"/>
                      </a:lnTo>
                      <a:lnTo>
                        <a:pt x="192" y="186"/>
                      </a:lnTo>
                      <a:lnTo>
                        <a:pt x="194" y="188"/>
                      </a:lnTo>
                      <a:lnTo>
                        <a:pt x="196" y="190"/>
                      </a:lnTo>
                      <a:lnTo>
                        <a:pt x="198" y="190"/>
                      </a:lnTo>
                      <a:lnTo>
                        <a:pt x="200" y="192"/>
                      </a:lnTo>
                      <a:lnTo>
                        <a:pt x="202" y="194"/>
                      </a:lnTo>
                      <a:lnTo>
                        <a:pt x="204" y="194"/>
                      </a:lnTo>
                      <a:lnTo>
                        <a:pt x="206" y="198"/>
                      </a:lnTo>
                      <a:lnTo>
                        <a:pt x="206" y="200"/>
                      </a:lnTo>
                      <a:lnTo>
                        <a:pt x="206" y="202"/>
                      </a:lnTo>
                      <a:lnTo>
                        <a:pt x="208" y="202"/>
                      </a:lnTo>
                      <a:lnTo>
                        <a:pt x="208" y="204"/>
                      </a:lnTo>
                      <a:lnTo>
                        <a:pt x="208" y="202"/>
                      </a:lnTo>
                      <a:lnTo>
                        <a:pt x="210" y="200"/>
                      </a:lnTo>
                      <a:lnTo>
                        <a:pt x="212" y="200"/>
                      </a:lnTo>
                      <a:lnTo>
                        <a:pt x="212" y="198"/>
                      </a:lnTo>
                      <a:lnTo>
                        <a:pt x="214" y="198"/>
                      </a:lnTo>
                      <a:lnTo>
                        <a:pt x="212" y="198"/>
                      </a:lnTo>
                      <a:lnTo>
                        <a:pt x="210" y="196"/>
                      </a:lnTo>
                      <a:lnTo>
                        <a:pt x="208" y="194"/>
                      </a:lnTo>
                      <a:lnTo>
                        <a:pt x="208" y="192"/>
                      </a:lnTo>
                      <a:lnTo>
                        <a:pt x="208" y="190"/>
                      </a:lnTo>
                      <a:lnTo>
                        <a:pt x="210" y="188"/>
                      </a:lnTo>
                      <a:lnTo>
                        <a:pt x="210" y="186"/>
                      </a:lnTo>
                      <a:lnTo>
                        <a:pt x="212" y="184"/>
                      </a:lnTo>
                      <a:lnTo>
                        <a:pt x="212" y="182"/>
                      </a:lnTo>
                      <a:lnTo>
                        <a:pt x="214" y="182"/>
                      </a:lnTo>
                      <a:lnTo>
                        <a:pt x="212" y="17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8" name="Freeform 41">
                  <a:extLst>
                    <a:ext uri="{FF2B5EF4-FFF2-40B4-BE49-F238E27FC236}">
                      <a16:creationId xmlns:a16="http://schemas.microsoft.com/office/drawing/2014/main" id="{F5247323-26E8-405B-B186-828212F272A2}"/>
                    </a:ext>
                  </a:extLst>
                </p:cNvPr>
                <p:cNvSpPr>
                  <a:spLocks noChangeAspect="1" noEditPoints="1"/>
                </p:cNvSpPr>
                <p:nvPr/>
              </p:nvSpPr>
              <p:spPr bwMode="auto">
                <a:xfrm>
                  <a:off x="2164559" y="3449310"/>
                  <a:ext cx="452681" cy="463310"/>
                </a:xfrm>
                <a:custGeom>
                  <a:avLst/>
                  <a:gdLst/>
                  <a:ahLst/>
                  <a:cxnLst>
                    <a:cxn ang="0">
                      <a:pos x="218" y="70"/>
                    </a:cxn>
                    <a:cxn ang="0">
                      <a:pos x="206" y="70"/>
                    </a:cxn>
                    <a:cxn ang="0">
                      <a:pos x="196" y="68"/>
                    </a:cxn>
                    <a:cxn ang="0">
                      <a:pos x="210" y="56"/>
                    </a:cxn>
                    <a:cxn ang="0">
                      <a:pos x="208" y="50"/>
                    </a:cxn>
                    <a:cxn ang="0">
                      <a:pos x="196" y="46"/>
                    </a:cxn>
                    <a:cxn ang="0">
                      <a:pos x="186" y="48"/>
                    </a:cxn>
                    <a:cxn ang="0">
                      <a:pos x="180" y="38"/>
                    </a:cxn>
                    <a:cxn ang="0">
                      <a:pos x="188" y="28"/>
                    </a:cxn>
                    <a:cxn ang="0">
                      <a:pos x="164" y="30"/>
                    </a:cxn>
                    <a:cxn ang="0">
                      <a:pos x="152" y="36"/>
                    </a:cxn>
                    <a:cxn ang="0">
                      <a:pos x="126" y="34"/>
                    </a:cxn>
                    <a:cxn ang="0">
                      <a:pos x="84" y="22"/>
                    </a:cxn>
                    <a:cxn ang="0">
                      <a:pos x="66" y="12"/>
                    </a:cxn>
                    <a:cxn ang="0">
                      <a:pos x="46" y="20"/>
                    </a:cxn>
                    <a:cxn ang="0">
                      <a:pos x="34" y="36"/>
                    </a:cxn>
                    <a:cxn ang="0">
                      <a:pos x="34" y="56"/>
                    </a:cxn>
                    <a:cxn ang="0">
                      <a:pos x="24" y="50"/>
                    </a:cxn>
                    <a:cxn ang="0">
                      <a:pos x="28" y="34"/>
                    </a:cxn>
                    <a:cxn ang="0">
                      <a:pos x="18" y="20"/>
                    </a:cxn>
                    <a:cxn ang="0">
                      <a:pos x="8" y="38"/>
                    </a:cxn>
                    <a:cxn ang="0">
                      <a:pos x="2" y="58"/>
                    </a:cxn>
                    <a:cxn ang="0">
                      <a:pos x="10" y="68"/>
                    </a:cxn>
                    <a:cxn ang="0">
                      <a:pos x="14" y="80"/>
                    </a:cxn>
                    <a:cxn ang="0">
                      <a:pos x="22" y="100"/>
                    </a:cxn>
                    <a:cxn ang="0">
                      <a:pos x="42" y="98"/>
                    </a:cxn>
                    <a:cxn ang="0">
                      <a:pos x="56" y="104"/>
                    </a:cxn>
                    <a:cxn ang="0">
                      <a:pos x="70" y="114"/>
                    </a:cxn>
                    <a:cxn ang="0">
                      <a:pos x="90" y="114"/>
                    </a:cxn>
                    <a:cxn ang="0">
                      <a:pos x="92" y="122"/>
                    </a:cxn>
                    <a:cxn ang="0">
                      <a:pos x="90" y="154"/>
                    </a:cxn>
                    <a:cxn ang="0">
                      <a:pos x="98" y="168"/>
                    </a:cxn>
                    <a:cxn ang="0">
                      <a:pos x="90" y="180"/>
                    </a:cxn>
                    <a:cxn ang="0">
                      <a:pos x="100" y="194"/>
                    </a:cxn>
                    <a:cxn ang="0">
                      <a:pos x="104" y="210"/>
                    </a:cxn>
                    <a:cxn ang="0">
                      <a:pos x="112" y="220"/>
                    </a:cxn>
                    <a:cxn ang="0">
                      <a:pos x="126" y="214"/>
                    </a:cxn>
                    <a:cxn ang="0">
                      <a:pos x="132" y="214"/>
                    </a:cxn>
                    <a:cxn ang="0">
                      <a:pos x="144" y="206"/>
                    </a:cxn>
                    <a:cxn ang="0">
                      <a:pos x="152" y="198"/>
                    </a:cxn>
                    <a:cxn ang="0">
                      <a:pos x="164" y="188"/>
                    </a:cxn>
                    <a:cxn ang="0">
                      <a:pos x="150" y="174"/>
                    </a:cxn>
                    <a:cxn ang="0">
                      <a:pos x="148" y="162"/>
                    </a:cxn>
                    <a:cxn ang="0">
                      <a:pos x="142" y="152"/>
                    </a:cxn>
                    <a:cxn ang="0">
                      <a:pos x="158" y="156"/>
                    </a:cxn>
                    <a:cxn ang="0">
                      <a:pos x="168" y="160"/>
                    </a:cxn>
                    <a:cxn ang="0">
                      <a:pos x="176" y="162"/>
                    </a:cxn>
                    <a:cxn ang="0">
                      <a:pos x="188" y="154"/>
                    </a:cxn>
                    <a:cxn ang="0">
                      <a:pos x="198" y="148"/>
                    </a:cxn>
                    <a:cxn ang="0">
                      <a:pos x="212" y="134"/>
                    </a:cxn>
                    <a:cxn ang="0">
                      <a:pos x="200" y="120"/>
                    </a:cxn>
                    <a:cxn ang="0">
                      <a:pos x="204" y="108"/>
                    </a:cxn>
                    <a:cxn ang="0">
                      <a:pos x="216" y="102"/>
                    </a:cxn>
                    <a:cxn ang="0">
                      <a:pos x="214" y="84"/>
                    </a:cxn>
                    <a:cxn ang="0">
                      <a:pos x="226" y="76"/>
                    </a:cxn>
                    <a:cxn ang="0">
                      <a:pos x="208" y="30"/>
                    </a:cxn>
                    <a:cxn ang="0">
                      <a:pos x="208" y="26"/>
                    </a:cxn>
                    <a:cxn ang="0">
                      <a:pos x="196" y="38"/>
                    </a:cxn>
                    <a:cxn ang="0">
                      <a:pos x="62" y="10"/>
                    </a:cxn>
                    <a:cxn ang="0">
                      <a:pos x="56" y="6"/>
                    </a:cxn>
                  </a:cxnLst>
                  <a:rect l="0" t="0" r="r" b="b"/>
                  <a:pathLst>
                    <a:path w="228" h="220">
                      <a:moveTo>
                        <a:pt x="226" y="70"/>
                      </a:moveTo>
                      <a:lnTo>
                        <a:pt x="224" y="68"/>
                      </a:lnTo>
                      <a:lnTo>
                        <a:pt x="224" y="66"/>
                      </a:lnTo>
                      <a:lnTo>
                        <a:pt x="222" y="66"/>
                      </a:lnTo>
                      <a:lnTo>
                        <a:pt x="220" y="68"/>
                      </a:lnTo>
                      <a:lnTo>
                        <a:pt x="218" y="68"/>
                      </a:lnTo>
                      <a:lnTo>
                        <a:pt x="218" y="70"/>
                      </a:lnTo>
                      <a:lnTo>
                        <a:pt x="216" y="70"/>
                      </a:lnTo>
                      <a:lnTo>
                        <a:pt x="214" y="70"/>
                      </a:lnTo>
                      <a:lnTo>
                        <a:pt x="212" y="68"/>
                      </a:lnTo>
                      <a:lnTo>
                        <a:pt x="210" y="68"/>
                      </a:lnTo>
                      <a:lnTo>
                        <a:pt x="208" y="68"/>
                      </a:lnTo>
                      <a:lnTo>
                        <a:pt x="206" y="70"/>
                      </a:lnTo>
                      <a:lnTo>
                        <a:pt x="206" y="72"/>
                      </a:lnTo>
                      <a:lnTo>
                        <a:pt x="204" y="72"/>
                      </a:lnTo>
                      <a:lnTo>
                        <a:pt x="204" y="74"/>
                      </a:lnTo>
                      <a:lnTo>
                        <a:pt x="200" y="72"/>
                      </a:lnTo>
                      <a:lnTo>
                        <a:pt x="200" y="70"/>
                      </a:lnTo>
                      <a:lnTo>
                        <a:pt x="198" y="70"/>
                      </a:lnTo>
                      <a:lnTo>
                        <a:pt x="198" y="68"/>
                      </a:lnTo>
                      <a:lnTo>
                        <a:pt x="196" y="68"/>
                      </a:lnTo>
                      <a:lnTo>
                        <a:pt x="202" y="68"/>
                      </a:lnTo>
                      <a:lnTo>
                        <a:pt x="204" y="66"/>
                      </a:lnTo>
                      <a:lnTo>
                        <a:pt x="206" y="66"/>
                      </a:lnTo>
                      <a:lnTo>
                        <a:pt x="208" y="62"/>
                      </a:lnTo>
                      <a:lnTo>
                        <a:pt x="208" y="58"/>
                      </a:lnTo>
                      <a:lnTo>
                        <a:pt x="210" y="56"/>
                      </a:lnTo>
                      <a:lnTo>
                        <a:pt x="212" y="56"/>
                      </a:lnTo>
                      <a:lnTo>
                        <a:pt x="212" y="54"/>
                      </a:lnTo>
                      <a:lnTo>
                        <a:pt x="212" y="52"/>
                      </a:lnTo>
                      <a:lnTo>
                        <a:pt x="210" y="50"/>
                      </a:lnTo>
                      <a:lnTo>
                        <a:pt x="208" y="50"/>
                      </a:lnTo>
                      <a:lnTo>
                        <a:pt x="202" y="50"/>
                      </a:lnTo>
                      <a:lnTo>
                        <a:pt x="202" y="48"/>
                      </a:lnTo>
                      <a:lnTo>
                        <a:pt x="200" y="46"/>
                      </a:lnTo>
                      <a:lnTo>
                        <a:pt x="200" y="44"/>
                      </a:lnTo>
                      <a:lnTo>
                        <a:pt x="198" y="44"/>
                      </a:lnTo>
                      <a:lnTo>
                        <a:pt x="198" y="50"/>
                      </a:lnTo>
                      <a:lnTo>
                        <a:pt x="196" y="48"/>
                      </a:lnTo>
                      <a:lnTo>
                        <a:pt x="196" y="46"/>
                      </a:lnTo>
                      <a:lnTo>
                        <a:pt x="196" y="44"/>
                      </a:lnTo>
                      <a:lnTo>
                        <a:pt x="194" y="44"/>
                      </a:lnTo>
                      <a:lnTo>
                        <a:pt x="192" y="42"/>
                      </a:lnTo>
                      <a:lnTo>
                        <a:pt x="190" y="42"/>
                      </a:lnTo>
                      <a:lnTo>
                        <a:pt x="190" y="44"/>
                      </a:lnTo>
                      <a:lnTo>
                        <a:pt x="190" y="46"/>
                      </a:lnTo>
                      <a:lnTo>
                        <a:pt x="188" y="48"/>
                      </a:lnTo>
                      <a:lnTo>
                        <a:pt x="188" y="50"/>
                      </a:lnTo>
                      <a:lnTo>
                        <a:pt x="186" y="48"/>
                      </a:lnTo>
                      <a:lnTo>
                        <a:pt x="184" y="44"/>
                      </a:lnTo>
                      <a:lnTo>
                        <a:pt x="184" y="40"/>
                      </a:lnTo>
                      <a:lnTo>
                        <a:pt x="184" y="38"/>
                      </a:lnTo>
                      <a:lnTo>
                        <a:pt x="182" y="38"/>
                      </a:lnTo>
                      <a:lnTo>
                        <a:pt x="180" y="38"/>
                      </a:lnTo>
                      <a:lnTo>
                        <a:pt x="178" y="40"/>
                      </a:lnTo>
                      <a:lnTo>
                        <a:pt x="178" y="38"/>
                      </a:lnTo>
                      <a:lnTo>
                        <a:pt x="180" y="38"/>
                      </a:lnTo>
                      <a:lnTo>
                        <a:pt x="182" y="36"/>
                      </a:lnTo>
                      <a:lnTo>
                        <a:pt x="182" y="34"/>
                      </a:lnTo>
                      <a:lnTo>
                        <a:pt x="180" y="34"/>
                      </a:lnTo>
                      <a:lnTo>
                        <a:pt x="178" y="32"/>
                      </a:lnTo>
                      <a:lnTo>
                        <a:pt x="178" y="30"/>
                      </a:lnTo>
                      <a:lnTo>
                        <a:pt x="180" y="30"/>
                      </a:lnTo>
                      <a:lnTo>
                        <a:pt x="182" y="30"/>
                      </a:lnTo>
                      <a:lnTo>
                        <a:pt x="186" y="30"/>
                      </a:lnTo>
                      <a:lnTo>
                        <a:pt x="188" y="28"/>
                      </a:lnTo>
                      <a:lnTo>
                        <a:pt x="190" y="28"/>
                      </a:lnTo>
                      <a:lnTo>
                        <a:pt x="192" y="28"/>
                      </a:lnTo>
                      <a:lnTo>
                        <a:pt x="194" y="28"/>
                      </a:lnTo>
                      <a:lnTo>
                        <a:pt x="178" y="28"/>
                      </a:lnTo>
                      <a:lnTo>
                        <a:pt x="172" y="28"/>
                      </a:lnTo>
                      <a:lnTo>
                        <a:pt x="162" y="28"/>
                      </a:lnTo>
                      <a:lnTo>
                        <a:pt x="162" y="30"/>
                      </a:lnTo>
                      <a:lnTo>
                        <a:pt x="164" y="30"/>
                      </a:lnTo>
                      <a:lnTo>
                        <a:pt x="164" y="32"/>
                      </a:lnTo>
                      <a:lnTo>
                        <a:pt x="162" y="32"/>
                      </a:lnTo>
                      <a:lnTo>
                        <a:pt x="160" y="32"/>
                      </a:lnTo>
                      <a:lnTo>
                        <a:pt x="156" y="32"/>
                      </a:lnTo>
                      <a:lnTo>
                        <a:pt x="154" y="34"/>
                      </a:lnTo>
                      <a:lnTo>
                        <a:pt x="152" y="34"/>
                      </a:lnTo>
                      <a:lnTo>
                        <a:pt x="152" y="36"/>
                      </a:lnTo>
                      <a:lnTo>
                        <a:pt x="146" y="38"/>
                      </a:lnTo>
                      <a:lnTo>
                        <a:pt x="144" y="40"/>
                      </a:lnTo>
                      <a:lnTo>
                        <a:pt x="142" y="40"/>
                      </a:lnTo>
                      <a:lnTo>
                        <a:pt x="138" y="40"/>
                      </a:lnTo>
                      <a:lnTo>
                        <a:pt x="136" y="40"/>
                      </a:lnTo>
                      <a:lnTo>
                        <a:pt x="132" y="38"/>
                      </a:lnTo>
                      <a:lnTo>
                        <a:pt x="128" y="36"/>
                      </a:lnTo>
                      <a:lnTo>
                        <a:pt x="126" y="34"/>
                      </a:lnTo>
                      <a:lnTo>
                        <a:pt x="124" y="32"/>
                      </a:lnTo>
                      <a:lnTo>
                        <a:pt x="122" y="30"/>
                      </a:lnTo>
                      <a:lnTo>
                        <a:pt x="112" y="30"/>
                      </a:lnTo>
                      <a:lnTo>
                        <a:pt x="106" y="30"/>
                      </a:lnTo>
                      <a:lnTo>
                        <a:pt x="86" y="30"/>
                      </a:lnTo>
                      <a:lnTo>
                        <a:pt x="86" y="28"/>
                      </a:lnTo>
                      <a:lnTo>
                        <a:pt x="84" y="26"/>
                      </a:lnTo>
                      <a:lnTo>
                        <a:pt x="84" y="22"/>
                      </a:lnTo>
                      <a:lnTo>
                        <a:pt x="84" y="20"/>
                      </a:lnTo>
                      <a:lnTo>
                        <a:pt x="84" y="18"/>
                      </a:lnTo>
                      <a:lnTo>
                        <a:pt x="82" y="16"/>
                      </a:lnTo>
                      <a:lnTo>
                        <a:pt x="80" y="16"/>
                      </a:lnTo>
                      <a:lnTo>
                        <a:pt x="80" y="14"/>
                      </a:lnTo>
                      <a:lnTo>
                        <a:pt x="76" y="12"/>
                      </a:lnTo>
                      <a:lnTo>
                        <a:pt x="74" y="12"/>
                      </a:lnTo>
                      <a:lnTo>
                        <a:pt x="70" y="12"/>
                      </a:lnTo>
                      <a:lnTo>
                        <a:pt x="66" y="12"/>
                      </a:lnTo>
                      <a:lnTo>
                        <a:pt x="62" y="14"/>
                      </a:lnTo>
                      <a:lnTo>
                        <a:pt x="58" y="14"/>
                      </a:lnTo>
                      <a:lnTo>
                        <a:pt x="56" y="16"/>
                      </a:lnTo>
                      <a:lnTo>
                        <a:pt x="54" y="18"/>
                      </a:lnTo>
                      <a:lnTo>
                        <a:pt x="52" y="18"/>
                      </a:lnTo>
                      <a:lnTo>
                        <a:pt x="50" y="18"/>
                      </a:lnTo>
                      <a:lnTo>
                        <a:pt x="48" y="20"/>
                      </a:lnTo>
                      <a:lnTo>
                        <a:pt x="46" y="20"/>
                      </a:lnTo>
                      <a:lnTo>
                        <a:pt x="40" y="22"/>
                      </a:lnTo>
                      <a:lnTo>
                        <a:pt x="38" y="24"/>
                      </a:lnTo>
                      <a:lnTo>
                        <a:pt x="34" y="26"/>
                      </a:lnTo>
                      <a:lnTo>
                        <a:pt x="34" y="28"/>
                      </a:lnTo>
                      <a:lnTo>
                        <a:pt x="34" y="30"/>
                      </a:lnTo>
                      <a:lnTo>
                        <a:pt x="34" y="32"/>
                      </a:lnTo>
                      <a:lnTo>
                        <a:pt x="34" y="36"/>
                      </a:lnTo>
                      <a:lnTo>
                        <a:pt x="36" y="38"/>
                      </a:lnTo>
                      <a:lnTo>
                        <a:pt x="36" y="42"/>
                      </a:lnTo>
                      <a:lnTo>
                        <a:pt x="38" y="44"/>
                      </a:lnTo>
                      <a:lnTo>
                        <a:pt x="38" y="48"/>
                      </a:lnTo>
                      <a:lnTo>
                        <a:pt x="38" y="50"/>
                      </a:lnTo>
                      <a:lnTo>
                        <a:pt x="38" y="52"/>
                      </a:lnTo>
                      <a:lnTo>
                        <a:pt x="36" y="54"/>
                      </a:lnTo>
                      <a:lnTo>
                        <a:pt x="34" y="56"/>
                      </a:lnTo>
                      <a:lnTo>
                        <a:pt x="34" y="58"/>
                      </a:lnTo>
                      <a:lnTo>
                        <a:pt x="32" y="58"/>
                      </a:lnTo>
                      <a:lnTo>
                        <a:pt x="30" y="60"/>
                      </a:lnTo>
                      <a:lnTo>
                        <a:pt x="30" y="58"/>
                      </a:lnTo>
                      <a:lnTo>
                        <a:pt x="30" y="52"/>
                      </a:lnTo>
                      <a:lnTo>
                        <a:pt x="28" y="52"/>
                      </a:lnTo>
                      <a:lnTo>
                        <a:pt x="26" y="52"/>
                      </a:lnTo>
                      <a:lnTo>
                        <a:pt x="24" y="50"/>
                      </a:lnTo>
                      <a:lnTo>
                        <a:pt x="22" y="50"/>
                      </a:lnTo>
                      <a:lnTo>
                        <a:pt x="22" y="48"/>
                      </a:lnTo>
                      <a:lnTo>
                        <a:pt x="20" y="46"/>
                      </a:lnTo>
                      <a:lnTo>
                        <a:pt x="22" y="42"/>
                      </a:lnTo>
                      <a:lnTo>
                        <a:pt x="26" y="38"/>
                      </a:lnTo>
                      <a:lnTo>
                        <a:pt x="26" y="36"/>
                      </a:lnTo>
                      <a:lnTo>
                        <a:pt x="28" y="34"/>
                      </a:lnTo>
                      <a:lnTo>
                        <a:pt x="30" y="32"/>
                      </a:lnTo>
                      <a:lnTo>
                        <a:pt x="30" y="18"/>
                      </a:lnTo>
                      <a:lnTo>
                        <a:pt x="28" y="16"/>
                      </a:lnTo>
                      <a:lnTo>
                        <a:pt x="28" y="14"/>
                      </a:lnTo>
                      <a:lnTo>
                        <a:pt x="26" y="12"/>
                      </a:lnTo>
                      <a:lnTo>
                        <a:pt x="26" y="14"/>
                      </a:lnTo>
                      <a:lnTo>
                        <a:pt x="22" y="18"/>
                      </a:lnTo>
                      <a:lnTo>
                        <a:pt x="18" y="20"/>
                      </a:lnTo>
                      <a:lnTo>
                        <a:pt x="16" y="22"/>
                      </a:lnTo>
                      <a:lnTo>
                        <a:pt x="14" y="24"/>
                      </a:lnTo>
                      <a:lnTo>
                        <a:pt x="12" y="24"/>
                      </a:lnTo>
                      <a:lnTo>
                        <a:pt x="12" y="26"/>
                      </a:lnTo>
                      <a:lnTo>
                        <a:pt x="10" y="28"/>
                      </a:lnTo>
                      <a:lnTo>
                        <a:pt x="10" y="30"/>
                      </a:lnTo>
                      <a:lnTo>
                        <a:pt x="10" y="34"/>
                      </a:lnTo>
                      <a:lnTo>
                        <a:pt x="10" y="38"/>
                      </a:lnTo>
                      <a:lnTo>
                        <a:pt x="8" y="38"/>
                      </a:lnTo>
                      <a:lnTo>
                        <a:pt x="8" y="46"/>
                      </a:lnTo>
                      <a:lnTo>
                        <a:pt x="6" y="46"/>
                      </a:lnTo>
                      <a:lnTo>
                        <a:pt x="6" y="48"/>
                      </a:lnTo>
                      <a:lnTo>
                        <a:pt x="2" y="50"/>
                      </a:lnTo>
                      <a:lnTo>
                        <a:pt x="2" y="52"/>
                      </a:lnTo>
                      <a:lnTo>
                        <a:pt x="0" y="52"/>
                      </a:lnTo>
                      <a:lnTo>
                        <a:pt x="0" y="54"/>
                      </a:lnTo>
                      <a:lnTo>
                        <a:pt x="0" y="56"/>
                      </a:lnTo>
                      <a:lnTo>
                        <a:pt x="2" y="58"/>
                      </a:lnTo>
                      <a:lnTo>
                        <a:pt x="2" y="56"/>
                      </a:lnTo>
                      <a:lnTo>
                        <a:pt x="4" y="54"/>
                      </a:lnTo>
                      <a:lnTo>
                        <a:pt x="8" y="54"/>
                      </a:lnTo>
                      <a:lnTo>
                        <a:pt x="8" y="56"/>
                      </a:lnTo>
                      <a:lnTo>
                        <a:pt x="10" y="58"/>
                      </a:lnTo>
                      <a:lnTo>
                        <a:pt x="10" y="60"/>
                      </a:lnTo>
                      <a:lnTo>
                        <a:pt x="10" y="62"/>
                      </a:lnTo>
                      <a:lnTo>
                        <a:pt x="10" y="68"/>
                      </a:lnTo>
                      <a:lnTo>
                        <a:pt x="12" y="68"/>
                      </a:lnTo>
                      <a:lnTo>
                        <a:pt x="12" y="70"/>
                      </a:lnTo>
                      <a:lnTo>
                        <a:pt x="14" y="70"/>
                      </a:lnTo>
                      <a:lnTo>
                        <a:pt x="16" y="72"/>
                      </a:lnTo>
                      <a:lnTo>
                        <a:pt x="16" y="76"/>
                      </a:lnTo>
                      <a:lnTo>
                        <a:pt x="14" y="78"/>
                      </a:lnTo>
                      <a:lnTo>
                        <a:pt x="14" y="80"/>
                      </a:lnTo>
                      <a:lnTo>
                        <a:pt x="12" y="80"/>
                      </a:lnTo>
                      <a:lnTo>
                        <a:pt x="12" y="92"/>
                      </a:lnTo>
                      <a:lnTo>
                        <a:pt x="16" y="92"/>
                      </a:lnTo>
                      <a:lnTo>
                        <a:pt x="16" y="96"/>
                      </a:lnTo>
                      <a:lnTo>
                        <a:pt x="18" y="98"/>
                      </a:lnTo>
                      <a:lnTo>
                        <a:pt x="20" y="98"/>
                      </a:lnTo>
                      <a:lnTo>
                        <a:pt x="20" y="100"/>
                      </a:lnTo>
                      <a:lnTo>
                        <a:pt x="22" y="100"/>
                      </a:lnTo>
                      <a:lnTo>
                        <a:pt x="24" y="98"/>
                      </a:lnTo>
                      <a:lnTo>
                        <a:pt x="30" y="98"/>
                      </a:lnTo>
                      <a:lnTo>
                        <a:pt x="34" y="100"/>
                      </a:lnTo>
                      <a:lnTo>
                        <a:pt x="36" y="100"/>
                      </a:lnTo>
                      <a:lnTo>
                        <a:pt x="38" y="100"/>
                      </a:lnTo>
                      <a:lnTo>
                        <a:pt x="40" y="98"/>
                      </a:lnTo>
                      <a:lnTo>
                        <a:pt x="42" y="98"/>
                      </a:lnTo>
                      <a:lnTo>
                        <a:pt x="44" y="98"/>
                      </a:lnTo>
                      <a:lnTo>
                        <a:pt x="46" y="100"/>
                      </a:lnTo>
                      <a:lnTo>
                        <a:pt x="54" y="100"/>
                      </a:lnTo>
                      <a:lnTo>
                        <a:pt x="54" y="102"/>
                      </a:lnTo>
                      <a:lnTo>
                        <a:pt x="56" y="104"/>
                      </a:lnTo>
                      <a:lnTo>
                        <a:pt x="56" y="108"/>
                      </a:lnTo>
                      <a:lnTo>
                        <a:pt x="58" y="110"/>
                      </a:lnTo>
                      <a:lnTo>
                        <a:pt x="60" y="114"/>
                      </a:lnTo>
                      <a:lnTo>
                        <a:pt x="62" y="116"/>
                      </a:lnTo>
                      <a:lnTo>
                        <a:pt x="68" y="116"/>
                      </a:lnTo>
                      <a:lnTo>
                        <a:pt x="68" y="114"/>
                      </a:lnTo>
                      <a:lnTo>
                        <a:pt x="70" y="114"/>
                      </a:lnTo>
                      <a:lnTo>
                        <a:pt x="72" y="114"/>
                      </a:lnTo>
                      <a:lnTo>
                        <a:pt x="74" y="114"/>
                      </a:lnTo>
                      <a:lnTo>
                        <a:pt x="76" y="116"/>
                      </a:lnTo>
                      <a:lnTo>
                        <a:pt x="78" y="116"/>
                      </a:lnTo>
                      <a:lnTo>
                        <a:pt x="80" y="116"/>
                      </a:lnTo>
                      <a:lnTo>
                        <a:pt x="80" y="114"/>
                      </a:lnTo>
                      <a:lnTo>
                        <a:pt x="88" y="114"/>
                      </a:lnTo>
                      <a:lnTo>
                        <a:pt x="90" y="114"/>
                      </a:lnTo>
                      <a:lnTo>
                        <a:pt x="92" y="112"/>
                      </a:lnTo>
                      <a:lnTo>
                        <a:pt x="96" y="112"/>
                      </a:lnTo>
                      <a:lnTo>
                        <a:pt x="98" y="114"/>
                      </a:lnTo>
                      <a:lnTo>
                        <a:pt x="98" y="118"/>
                      </a:lnTo>
                      <a:lnTo>
                        <a:pt x="96" y="118"/>
                      </a:lnTo>
                      <a:lnTo>
                        <a:pt x="96" y="120"/>
                      </a:lnTo>
                      <a:lnTo>
                        <a:pt x="94" y="120"/>
                      </a:lnTo>
                      <a:lnTo>
                        <a:pt x="94" y="122"/>
                      </a:lnTo>
                      <a:lnTo>
                        <a:pt x="92" y="122"/>
                      </a:lnTo>
                      <a:lnTo>
                        <a:pt x="92" y="128"/>
                      </a:lnTo>
                      <a:lnTo>
                        <a:pt x="90" y="128"/>
                      </a:lnTo>
                      <a:lnTo>
                        <a:pt x="90" y="130"/>
                      </a:lnTo>
                      <a:lnTo>
                        <a:pt x="88" y="130"/>
                      </a:lnTo>
                      <a:lnTo>
                        <a:pt x="88" y="132"/>
                      </a:lnTo>
                      <a:lnTo>
                        <a:pt x="88" y="134"/>
                      </a:lnTo>
                      <a:lnTo>
                        <a:pt x="88" y="138"/>
                      </a:lnTo>
                      <a:lnTo>
                        <a:pt x="88" y="152"/>
                      </a:lnTo>
                      <a:lnTo>
                        <a:pt x="90" y="154"/>
                      </a:lnTo>
                      <a:lnTo>
                        <a:pt x="92" y="154"/>
                      </a:lnTo>
                      <a:lnTo>
                        <a:pt x="92" y="160"/>
                      </a:lnTo>
                      <a:lnTo>
                        <a:pt x="94" y="162"/>
                      </a:lnTo>
                      <a:lnTo>
                        <a:pt x="96" y="164"/>
                      </a:lnTo>
                      <a:lnTo>
                        <a:pt x="96" y="166"/>
                      </a:lnTo>
                      <a:lnTo>
                        <a:pt x="98" y="168"/>
                      </a:lnTo>
                      <a:lnTo>
                        <a:pt x="98" y="170"/>
                      </a:lnTo>
                      <a:lnTo>
                        <a:pt x="96" y="172"/>
                      </a:lnTo>
                      <a:lnTo>
                        <a:pt x="94" y="172"/>
                      </a:lnTo>
                      <a:lnTo>
                        <a:pt x="92" y="174"/>
                      </a:lnTo>
                      <a:lnTo>
                        <a:pt x="88" y="176"/>
                      </a:lnTo>
                      <a:lnTo>
                        <a:pt x="88" y="178"/>
                      </a:lnTo>
                      <a:lnTo>
                        <a:pt x="90" y="178"/>
                      </a:lnTo>
                      <a:lnTo>
                        <a:pt x="90" y="180"/>
                      </a:lnTo>
                      <a:lnTo>
                        <a:pt x="92" y="180"/>
                      </a:lnTo>
                      <a:lnTo>
                        <a:pt x="94" y="180"/>
                      </a:lnTo>
                      <a:lnTo>
                        <a:pt x="94" y="182"/>
                      </a:lnTo>
                      <a:lnTo>
                        <a:pt x="96" y="184"/>
                      </a:lnTo>
                      <a:lnTo>
                        <a:pt x="98" y="186"/>
                      </a:lnTo>
                      <a:lnTo>
                        <a:pt x="100" y="188"/>
                      </a:lnTo>
                      <a:lnTo>
                        <a:pt x="100" y="194"/>
                      </a:lnTo>
                      <a:lnTo>
                        <a:pt x="100" y="196"/>
                      </a:lnTo>
                      <a:lnTo>
                        <a:pt x="102" y="196"/>
                      </a:lnTo>
                      <a:lnTo>
                        <a:pt x="102" y="198"/>
                      </a:lnTo>
                      <a:lnTo>
                        <a:pt x="102" y="200"/>
                      </a:lnTo>
                      <a:lnTo>
                        <a:pt x="104" y="202"/>
                      </a:lnTo>
                      <a:lnTo>
                        <a:pt x="104" y="206"/>
                      </a:lnTo>
                      <a:lnTo>
                        <a:pt x="104" y="208"/>
                      </a:lnTo>
                      <a:lnTo>
                        <a:pt x="104" y="210"/>
                      </a:lnTo>
                      <a:lnTo>
                        <a:pt x="106" y="212"/>
                      </a:lnTo>
                      <a:lnTo>
                        <a:pt x="106" y="214"/>
                      </a:lnTo>
                      <a:lnTo>
                        <a:pt x="108" y="216"/>
                      </a:lnTo>
                      <a:lnTo>
                        <a:pt x="108" y="218"/>
                      </a:lnTo>
                      <a:lnTo>
                        <a:pt x="110" y="218"/>
                      </a:lnTo>
                      <a:lnTo>
                        <a:pt x="112" y="220"/>
                      </a:lnTo>
                      <a:lnTo>
                        <a:pt x="114" y="220"/>
                      </a:lnTo>
                      <a:lnTo>
                        <a:pt x="116" y="220"/>
                      </a:lnTo>
                      <a:lnTo>
                        <a:pt x="118" y="220"/>
                      </a:lnTo>
                      <a:lnTo>
                        <a:pt x="118" y="218"/>
                      </a:lnTo>
                      <a:lnTo>
                        <a:pt x="120" y="218"/>
                      </a:lnTo>
                      <a:lnTo>
                        <a:pt x="122" y="216"/>
                      </a:lnTo>
                      <a:lnTo>
                        <a:pt x="124" y="216"/>
                      </a:lnTo>
                      <a:lnTo>
                        <a:pt x="124" y="214"/>
                      </a:lnTo>
                      <a:lnTo>
                        <a:pt x="126" y="214"/>
                      </a:lnTo>
                      <a:lnTo>
                        <a:pt x="126" y="216"/>
                      </a:lnTo>
                      <a:lnTo>
                        <a:pt x="128" y="216"/>
                      </a:lnTo>
                      <a:lnTo>
                        <a:pt x="128" y="220"/>
                      </a:lnTo>
                      <a:lnTo>
                        <a:pt x="130" y="220"/>
                      </a:lnTo>
                      <a:lnTo>
                        <a:pt x="130" y="218"/>
                      </a:lnTo>
                      <a:lnTo>
                        <a:pt x="132" y="216"/>
                      </a:lnTo>
                      <a:lnTo>
                        <a:pt x="132" y="214"/>
                      </a:lnTo>
                      <a:lnTo>
                        <a:pt x="134" y="212"/>
                      </a:lnTo>
                      <a:lnTo>
                        <a:pt x="134" y="210"/>
                      </a:lnTo>
                      <a:lnTo>
                        <a:pt x="136" y="210"/>
                      </a:lnTo>
                      <a:lnTo>
                        <a:pt x="138" y="210"/>
                      </a:lnTo>
                      <a:lnTo>
                        <a:pt x="140" y="210"/>
                      </a:lnTo>
                      <a:lnTo>
                        <a:pt x="142" y="210"/>
                      </a:lnTo>
                      <a:lnTo>
                        <a:pt x="142" y="208"/>
                      </a:lnTo>
                      <a:lnTo>
                        <a:pt x="144" y="206"/>
                      </a:lnTo>
                      <a:lnTo>
                        <a:pt x="146" y="206"/>
                      </a:lnTo>
                      <a:lnTo>
                        <a:pt x="148" y="206"/>
                      </a:lnTo>
                      <a:lnTo>
                        <a:pt x="148" y="204"/>
                      </a:lnTo>
                      <a:lnTo>
                        <a:pt x="150" y="204"/>
                      </a:lnTo>
                      <a:lnTo>
                        <a:pt x="152" y="202"/>
                      </a:lnTo>
                      <a:lnTo>
                        <a:pt x="152" y="200"/>
                      </a:lnTo>
                      <a:lnTo>
                        <a:pt x="152" y="198"/>
                      </a:lnTo>
                      <a:lnTo>
                        <a:pt x="152" y="196"/>
                      </a:lnTo>
                      <a:lnTo>
                        <a:pt x="158" y="196"/>
                      </a:lnTo>
                      <a:lnTo>
                        <a:pt x="160" y="194"/>
                      </a:lnTo>
                      <a:lnTo>
                        <a:pt x="162" y="194"/>
                      </a:lnTo>
                      <a:lnTo>
                        <a:pt x="164" y="192"/>
                      </a:lnTo>
                      <a:lnTo>
                        <a:pt x="164" y="190"/>
                      </a:lnTo>
                      <a:lnTo>
                        <a:pt x="164" y="188"/>
                      </a:lnTo>
                      <a:lnTo>
                        <a:pt x="164" y="186"/>
                      </a:lnTo>
                      <a:lnTo>
                        <a:pt x="160" y="186"/>
                      </a:lnTo>
                      <a:lnTo>
                        <a:pt x="156" y="186"/>
                      </a:lnTo>
                      <a:lnTo>
                        <a:pt x="152" y="186"/>
                      </a:lnTo>
                      <a:lnTo>
                        <a:pt x="152" y="178"/>
                      </a:lnTo>
                      <a:lnTo>
                        <a:pt x="150" y="176"/>
                      </a:lnTo>
                      <a:lnTo>
                        <a:pt x="150" y="174"/>
                      </a:lnTo>
                      <a:lnTo>
                        <a:pt x="148" y="172"/>
                      </a:lnTo>
                      <a:lnTo>
                        <a:pt x="150" y="172"/>
                      </a:lnTo>
                      <a:lnTo>
                        <a:pt x="150" y="170"/>
                      </a:lnTo>
                      <a:lnTo>
                        <a:pt x="150" y="168"/>
                      </a:lnTo>
                      <a:lnTo>
                        <a:pt x="150" y="166"/>
                      </a:lnTo>
                      <a:lnTo>
                        <a:pt x="150" y="164"/>
                      </a:lnTo>
                      <a:lnTo>
                        <a:pt x="148" y="162"/>
                      </a:lnTo>
                      <a:lnTo>
                        <a:pt x="146" y="160"/>
                      </a:lnTo>
                      <a:lnTo>
                        <a:pt x="144" y="160"/>
                      </a:lnTo>
                      <a:lnTo>
                        <a:pt x="142" y="158"/>
                      </a:lnTo>
                      <a:lnTo>
                        <a:pt x="140" y="156"/>
                      </a:lnTo>
                      <a:lnTo>
                        <a:pt x="140" y="150"/>
                      </a:lnTo>
                      <a:lnTo>
                        <a:pt x="142" y="150"/>
                      </a:lnTo>
                      <a:lnTo>
                        <a:pt x="142" y="152"/>
                      </a:lnTo>
                      <a:lnTo>
                        <a:pt x="144" y="154"/>
                      </a:lnTo>
                      <a:lnTo>
                        <a:pt x="146" y="152"/>
                      </a:lnTo>
                      <a:lnTo>
                        <a:pt x="152" y="152"/>
                      </a:lnTo>
                      <a:lnTo>
                        <a:pt x="154" y="154"/>
                      </a:lnTo>
                      <a:lnTo>
                        <a:pt x="154" y="158"/>
                      </a:lnTo>
                      <a:lnTo>
                        <a:pt x="156" y="158"/>
                      </a:lnTo>
                      <a:lnTo>
                        <a:pt x="158" y="158"/>
                      </a:lnTo>
                      <a:lnTo>
                        <a:pt x="158" y="156"/>
                      </a:lnTo>
                      <a:lnTo>
                        <a:pt x="160" y="156"/>
                      </a:lnTo>
                      <a:lnTo>
                        <a:pt x="160" y="158"/>
                      </a:lnTo>
                      <a:lnTo>
                        <a:pt x="162" y="158"/>
                      </a:lnTo>
                      <a:lnTo>
                        <a:pt x="164" y="158"/>
                      </a:lnTo>
                      <a:lnTo>
                        <a:pt x="166" y="158"/>
                      </a:lnTo>
                      <a:lnTo>
                        <a:pt x="168" y="160"/>
                      </a:lnTo>
                      <a:lnTo>
                        <a:pt x="170" y="162"/>
                      </a:lnTo>
                      <a:lnTo>
                        <a:pt x="172" y="164"/>
                      </a:lnTo>
                      <a:lnTo>
                        <a:pt x="174" y="166"/>
                      </a:lnTo>
                      <a:lnTo>
                        <a:pt x="176" y="166"/>
                      </a:lnTo>
                      <a:lnTo>
                        <a:pt x="176" y="164"/>
                      </a:lnTo>
                      <a:lnTo>
                        <a:pt x="176" y="162"/>
                      </a:lnTo>
                      <a:lnTo>
                        <a:pt x="176" y="160"/>
                      </a:lnTo>
                      <a:lnTo>
                        <a:pt x="178" y="158"/>
                      </a:lnTo>
                      <a:lnTo>
                        <a:pt x="178" y="154"/>
                      </a:lnTo>
                      <a:lnTo>
                        <a:pt x="178" y="152"/>
                      </a:lnTo>
                      <a:lnTo>
                        <a:pt x="184" y="152"/>
                      </a:lnTo>
                      <a:lnTo>
                        <a:pt x="186" y="154"/>
                      </a:lnTo>
                      <a:lnTo>
                        <a:pt x="188" y="154"/>
                      </a:lnTo>
                      <a:lnTo>
                        <a:pt x="190" y="154"/>
                      </a:lnTo>
                      <a:lnTo>
                        <a:pt x="192" y="152"/>
                      </a:lnTo>
                      <a:lnTo>
                        <a:pt x="194" y="152"/>
                      </a:lnTo>
                      <a:lnTo>
                        <a:pt x="194" y="150"/>
                      </a:lnTo>
                      <a:lnTo>
                        <a:pt x="196" y="150"/>
                      </a:lnTo>
                      <a:lnTo>
                        <a:pt x="196" y="148"/>
                      </a:lnTo>
                      <a:lnTo>
                        <a:pt x="198" y="148"/>
                      </a:lnTo>
                      <a:lnTo>
                        <a:pt x="200" y="146"/>
                      </a:lnTo>
                      <a:lnTo>
                        <a:pt x="206" y="146"/>
                      </a:lnTo>
                      <a:lnTo>
                        <a:pt x="206" y="144"/>
                      </a:lnTo>
                      <a:lnTo>
                        <a:pt x="206" y="142"/>
                      </a:lnTo>
                      <a:lnTo>
                        <a:pt x="210" y="142"/>
                      </a:lnTo>
                      <a:lnTo>
                        <a:pt x="212" y="142"/>
                      </a:lnTo>
                      <a:lnTo>
                        <a:pt x="212" y="134"/>
                      </a:lnTo>
                      <a:lnTo>
                        <a:pt x="210" y="134"/>
                      </a:lnTo>
                      <a:lnTo>
                        <a:pt x="210" y="132"/>
                      </a:lnTo>
                      <a:lnTo>
                        <a:pt x="208" y="130"/>
                      </a:lnTo>
                      <a:lnTo>
                        <a:pt x="206" y="128"/>
                      </a:lnTo>
                      <a:lnTo>
                        <a:pt x="204" y="126"/>
                      </a:lnTo>
                      <a:lnTo>
                        <a:pt x="202" y="124"/>
                      </a:lnTo>
                      <a:lnTo>
                        <a:pt x="200" y="122"/>
                      </a:lnTo>
                      <a:lnTo>
                        <a:pt x="200" y="120"/>
                      </a:lnTo>
                      <a:lnTo>
                        <a:pt x="200" y="118"/>
                      </a:lnTo>
                      <a:lnTo>
                        <a:pt x="200" y="116"/>
                      </a:lnTo>
                      <a:lnTo>
                        <a:pt x="204" y="116"/>
                      </a:lnTo>
                      <a:lnTo>
                        <a:pt x="206" y="112"/>
                      </a:lnTo>
                      <a:lnTo>
                        <a:pt x="206" y="110"/>
                      </a:lnTo>
                      <a:lnTo>
                        <a:pt x="206" y="108"/>
                      </a:lnTo>
                      <a:lnTo>
                        <a:pt x="204" y="108"/>
                      </a:lnTo>
                      <a:lnTo>
                        <a:pt x="202" y="106"/>
                      </a:lnTo>
                      <a:lnTo>
                        <a:pt x="202" y="104"/>
                      </a:lnTo>
                      <a:lnTo>
                        <a:pt x="204" y="104"/>
                      </a:lnTo>
                      <a:lnTo>
                        <a:pt x="206" y="104"/>
                      </a:lnTo>
                      <a:lnTo>
                        <a:pt x="212" y="102"/>
                      </a:lnTo>
                      <a:lnTo>
                        <a:pt x="214" y="102"/>
                      </a:lnTo>
                      <a:lnTo>
                        <a:pt x="216" y="102"/>
                      </a:lnTo>
                      <a:lnTo>
                        <a:pt x="218" y="100"/>
                      </a:lnTo>
                      <a:lnTo>
                        <a:pt x="218" y="96"/>
                      </a:lnTo>
                      <a:lnTo>
                        <a:pt x="214" y="96"/>
                      </a:lnTo>
                      <a:lnTo>
                        <a:pt x="214" y="94"/>
                      </a:lnTo>
                      <a:lnTo>
                        <a:pt x="214" y="86"/>
                      </a:lnTo>
                      <a:lnTo>
                        <a:pt x="214" y="84"/>
                      </a:lnTo>
                      <a:lnTo>
                        <a:pt x="216" y="84"/>
                      </a:lnTo>
                      <a:lnTo>
                        <a:pt x="218" y="82"/>
                      </a:lnTo>
                      <a:lnTo>
                        <a:pt x="220" y="82"/>
                      </a:lnTo>
                      <a:lnTo>
                        <a:pt x="222" y="82"/>
                      </a:lnTo>
                      <a:lnTo>
                        <a:pt x="222" y="80"/>
                      </a:lnTo>
                      <a:lnTo>
                        <a:pt x="224" y="78"/>
                      </a:lnTo>
                      <a:lnTo>
                        <a:pt x="224" y="76"/>
                      </a:lnTo>
                      <a:lnTo>
                        <a:pt x="226" y="76"/>
                      </a:lnTo>
                      <a:lnTo>
                        <a:pt x="228" y="74"/>
                      </a:lnTo>
                      <a:lnTo>
                        <a:pt x="228" y="72"/>
                      </a:lnTo>
                      <a:lnTo>
                        <a:pt x="226" y="70"/>
                      </a:lnTo>
                      <a:close/>
                      <a:moveTo>
                        <a:pt x="206" y="40"/>
                      </a:moveTo>
                      <a:lnTo>
                        <a:pt x="208" y="38"/>
                      </a:lnTo>
                      <a:lnTo>
                        <a:pt x="208" y="36"/>
                      </a:lnTo>
                      <a:lnTo>
                        <a:pt x="208" y="34"/>
                      </a:lnTo>
                      <a:lnTo>
                        <a:pt x="208" y="30"/>
                      </a:lnTo>
                      <a:lnTo>
                        <a:pt x="210" y="30"/>
                      </a:lnTo>
                      <a:lnTo>
                        <a:pt x="210" y="28"/>
                      </a:lnTo>
                      <a:lnTo>
                        <a:pt x="210" y="24"/>
                      </a:lnTo>
                      <a:lnTo>
                        <a:pt x="210" y="22"/>
                      </a:lnTo>
                      <a:lnTo>
                        <a:pt x="208" y="24"/>
                      </a:lnTo>
                      <a:lnTo>
                        <a:pt x="208" y="26"/>
                      </a:lnTo>
                      <a:lnTo>
                        <a:pt x="204" y="26"/>
                      </a:lnTo>
                      <a:lnTo>
                        <a:pt x="202" y="28"/>
                      </a:lnTo>
                      <a:lnTo>
                        <a:pt x="202" y="30"/>
                      </a:lnTo>
                      <a:lnTo>
                        <a:pt x="202" y="36"/>
                      </a:lnTo>
                      <a:lnTo>
                        <a:pt x="200" y="36"/>
                      </a:lnTo>
                      <a:lnTo>
                        <a:pt x="198" y="38"/>
                      </a:lnTo>
                      <a:lnTo>
                        <a:pt x="196" y="38"/>
                      </a:lnTo>
                      <a:lnTo>
                        <a:pt x="196" y="42"/>
                      </a:lnTo>
                      <a:lnTo>
                        <a:pt x="206" y="42"/>
                      </a:lnTo>
                      <a:lnTo>
                        <a:pt x="206" y="40"/>
                      </a:lnTo>
                      <a:close/>
                      <a:moveTo>
                        <a:pt x="56" y="8"/>
                      </a:moveTo>
                      <a:lnTo>
                        <a:pt x="56" y="10"/>
                      </a:lnTo>
                      <a:lnTo>
                        <a:pt x="62" y="10"/>
                      </a:lnTo>
                      <a:lnTo>
                        <a:pt x="64" y="8"/>
                      </a:lnTo>
                      <a:lnTo>
                        <a:pt x="64" y="4"/>
                      </a:lnTo>
                      <a:lnTo>
                        <a:pt x="62" y="2"/>
                      </a:lnTo>
                      <a:lnTo>
                        <a:pt x="62" y="0"/>
                      </a:lnTo>
                      <a:lnTo>
                        <a:pt x="60" y="0"/>
                      </a:lnTo>
                      <a:lnTo>
                        <a:pt x="56" y="0"/>
                      </a:lnTo>
                      <a:lnTo>
                        <a:pt x="56" y="2"/>
                      </a:lnTo>
                      <a:lnTo>
                        <a:pt x="56" y="6"/>
                      </a:lnTo>
                      <a:lnTo>
                        <a:pt x="56" y="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49" name="Freeform 42">
                  <a:extLst>
                    <a:ext uri="{FF2B5EF4-FFF2-40B4-BE49-F238E27FC236}">
                      <a16:creationId xmlns:a16="http://schemas.microsoft.com/office/drawing/2014/main" id="{227DF9CD-58D8-431D-9125-1B5F95E0685B}"/>
                    </a:ext>
                  </a:extLst>
                </p:cNvPr>
                <p:cNvSpPr>
                  <a:spLocks noChangeAspect="1" noEditPoints="1"/>
                </p:cNvSpPr>
                <p:nvPr/>
              </p:nvSpPr>
              <p:spPr bwMode="auto">
                <a:xfrm>
                  <a:off x="2919025" y="6008045"/>
                  <a:ext cx="79418" cy="37908"/>
                </a:xfrm>
                <a:custGeom>
                  <a:avLst/>
                  <a:gdLst/>
                  <a:ahLst/>
                  <a:cxnLst>
                    <a:cxn ang="0">
                      <a:pos x="18" y="2"/>
                    </a:cxn>
                    <a:cxn ang="0">
                      <a:pos x="4" y="2"/>
                    </a:cxn>
                    <a:cxn ang="0">
                      <a:pos x="8" y="4"/>
                    </a:cxn>
                    <a:cxn ang="0">
                      <a:pos x="4" y="4"/>
                    </a:cxn>
                    <a:cxn ang="0">
                      <a:pos x="2" y="6"/>
                    </a:cxn>
                    <a:cxn ang="0">
                      <a:pos x="4" y="6"/>
                    </a:cxn>
                    <a:cxn ang="0">
                      <a:pos x="4" y="10"/>
                    </a:cxn>
                    <a:cxn ang="0">
                      <a:pos x="2" y="12"/>
                    </a:cxn>
                    <a:cxn ang="0">
                      <a:pos x="0" y="14"/>
                    </a:cxn>
                    <a:cxn ang="0">
                      <a:pos x="0" y="14"/>
                    </a:cxn>
                    <a:cxn ang="0">
                      <a:pos x="8" y="16"/>
                    </a:cxn>
                    <a:cxn ang="0">
                      <a:pos x="12" y="14"/>
                    </a:cxn>
                    <a:cxn ang="0">
                      <a:pos x="12" y="12"/>
                    </a:cxn>
                    <a:cxn ang="0">
                      <a:pos x="14" y="12"/>
                    </a:cxn>
                    <a:cxn ang="0">
                      <a:pos x="16" y="10"/>
                    </a:cxn>
                    <a:cxn ang="0">
                      <a:pos x="18" y="8"/>
                    </a:cxn>
                    <a:cxn ang="0">
                      <a:pos x="18" y="4"/>
                    </a:cxn>
                    <a:cxn ang="0">
                      <a:pos x="38" y="2"/>
                    </a:cxn>
                    <a:cxn ang="0">
                      <a:pos x="36" y="0"/>
                    </a:cxn>
                    <a:cxn ang="0">
                      <a:pos x="30" y="2"/>
                    </a:cxn>
                    <a:cxn ang="0">
                      <a:pos x="30" y="0"/>
                    </a:cxn>
                    <a:cxn ang="0">
                      <a:pos x="26" y="0"/>
                    </a:cxn>
                    <a:cxn ang="0">
                      <a:pos x="24" y="2"/>
                    </a:cxn>
                    <a:cxn ang="0">
                      <a:pos x="22" y="4"/>
                    </a:cxn>
                    <a:cxn ang="0">
                      <a:pos x="22" y="8"/>
                    </a:cxn>
                    <a:cxn ang="0">
                      <a:pos x="18" y="10"/>
                    </a:cxn>
                    <a:cxn ang="0">
                      <a:pos x="20" y="16"/>
                    </a:cxn>
                    <a:cxn ang="0">
                      <a:pos x="26" y="16"/>
                    </a:cxn>
                    <a:cxn ang="0">
                      <a:pos x="30" y="14"/>
                    </a:cxn>
                    <a:cxn ang="0">
                      <a:pos x="30" y="12"/>
                    </a:cxn>
                    <a:cxn ang="0">
                      <a:pos x="28" y="10"/>
                    </a:cxn>
                    <a:cxn ang="0">
                      <a:pos x="36" y="8"/>
                    </a:cxn>
                    <a:cxn ang="0">
                      <a:pos x="38" y="4"/>
                    </a:cxn>
                    <a:cxn ang="0">
                      <a:pos x="40" y="4"/>
                    </a:cxn>
                    <a:cxn ang="0">
                      <a:pos x="38" y="2"/>
                    </a:cxn>
                  </a:cxnLst>
                  <a:rect l="0" t="0" r="r" b="b"/>
                  <a:pathLst>
                    <a:path w="40" h="18">
                      <a:moveTo>
                        <a:pt x="18" y="4"/>
                      </a:moveTo>
                      <a:lnTo>
                        <a:pt x="18" y="2"/>
                      </a:lnTo>
                      <a:lnTo>
                        <a:pt x="16" y="2"/>
                      </a:lnTo>
                      <a:lnTo>
                        <a:pt x="4" y="2"/>
                      </a:lnTo>
                      <a:lnTo>
                        <a:pt x="6" y="2"/>
                      </a:lnTo>
                      <a:lnTo>
                        <a:pt x="8" y="4"/>
                      </a:lnTo>
                      <a:lnTo>
                        <a:pt x="6" y="4"/>
                      </a:lnTo>
                      <a:lnTo>
                        <a:pt x="4" y="4"/>
                      </a:lnTo>
                      <a:lnTo>
                        <a:pt x="0" y="4"/>
                      </a:lnTo>
                      <a:lnTo>
                        <a:pt x="2" y="6"/>
                      </a:lnTo>
                      <a:lnTo>
                        <a:pt x="4" y="6"/>
                      </a:lnTo>
                      <a:lnTo>
                        <a:pt x="4" y="8"/>
                      </a:lnTo>
                      <a:lnTo>
                        <a:pt x="4" y="10"/>
                      </a:lnTo>
                      <a:lnTo>
                        <a:pt x="2" y="12"/>
                      </a:lnTo>
                      <a:lnTo>
                        <a:pt x="2" y="14"/>
                      </a:lnTo>
                      <a:lnTo>
                        <a:pt x="0" y="14"/>
                      </a:lnTo>
                      <a:lnTo>
                        <a:pt x="2" y="16"/>
                      </a:lnTo>
                      <a:lnTo>
                        <a:pt x="8" y="16"/>
                      </a:lnTo>
                      <a:lnTo>
                        <a:pt x="10" y="14"/>
                      </a:lnTo>
                      <a:lnTo>
                        <a:pt x="12" y="14"/>
                      </a:lnTo>
                      <a:lnTo>
                        <a:pt x="12" y="12"/>
                      </a:lnTo>
                      <a:lnTo>
                        <a:pt x="14" y="14"/>
                      </a:lnTo>
                      <a:lnTo>
                        <a:pt x="14" y="12"/>
                      </a:lnTo>
                      <a:lnTo>
                        <a:pt x="16" y="10"/>
                      </a:lnTo>
                      <a:lnTo>
                        <a:pt x="16" y="8"/>
                      </a:lnTo>
                      <a:lnTo>
                        <a:pt x="18" y="8"/>
                      </a:lnTo>
                      <a:lnTo>
                        <a:pt x="20" y="4"/>
                      </a:lnTo>
                      <a:lnTo>
                        <a:pt x="18" y="4"/>
                      </a:lnTo>
                      <a:close/>
                      <a:moveTo>
                        <a:pt x="38" y="2"/>
                      </a:moveTo>
                      <a:lnTo>
                        <a:pt x="38" y="2"/>
                      </a:lnTo>
                      <a:lnTo>
                        <a:pt x="36" y="2"/>
                      </a:lnTo>
                      <a:lnTo>
                        <a:pt x="36" y="0"/>
                      </a:lnTo>
                      <a:lnTo>
                        <a:pt x="30" y="2"/>
                      </a:lnTo>
                      <a:lnTo>
                        <a:pt x="30" y="0"/>
                      </a:lnTo>
                      <a:lnTo>
                        <a:pt x="26" y="0"/>
                      </a:lnTo>
                      <a:lnTo>
                        <a:pt x="24" y="0"/>
                      </a:lnTo>
                      <a:lnTo>
                        <a:pt x="24" y="2"/>
                      </a:lnTo>
                      <a:lnTo>
                        <a:pt x="24" y="4"/>
                      </a:lnTo>
                      <a:lnTo>
                        <a:pt x="22" y="4"/>
                      </a:lnTo>
                      <a:lnTo>
                        <a:pt x="22" y="6"/>
                      </a:lnTo>
                      <a:lnTo>
                        <a:pt x="22" y="8"/>
                      </a:lnTo>
                      <a:lnTo>
                        <a:pt x="20" y="10"/>
                      </a:lnTo>
                      <a:lnTo>
                        <a:pt x="18" y="10"/>
                      </a:lnTo>
                      <a:lnTo>
                        <a:pt x="18" y="18"/>
                      </a:lnTo>
                      <a:lnTo>
                        <a:pt x="20" y="16"/>
                      </a:lnTo>
                      <a:lnTo>
                        <a:pt x="24" y="16"/>
                      </a:lnTo>
                      <a:lnTo>
                        <a:pt x="26" y="16"/>
                      </a:lnTo>
                      <a:lnTo>
                        <a:pt x="28" y="14"/>
                      </a:lnTo>
                      <a:lnTo>
                        <a:pt x="30" y="14"/>
                      </a:lnTo>
                      <a:lnTo>
                        <a:pt x="30" y="12"/>
                      </a:lnTo>
                      <a:lnTo>
                        <a:pt x="28" y="12"/>
                      </a:lnTo>
                      <a:lnTo>
                        <a:pt x="28" y="10"/>
                      </a:lnTo>
                      <a:lnTo>
                        <a:pt x="36" y="10"/>
                      </a:lnTo>
                      <a:lnTo>
                        <a:pt x="36" y="8"/>
                      </a:lnTo>
                      <a:lnTo>
                        <a:pt x="38" y="6"/>
                      </a:lnTo>
                      <a:lnTo>
                        <a:pt x="38" y="4"/>
                      </a:lnTo>
                      <a:lnTo>
                        <a:pt x="40" y="4"/>
                      </a:lnTo>
                      <a:lnTo>
                        <a:pt x="38"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0" name="Freeform 43">
                  <a:extLst>
                    <a:ext uri="{FF2B5EF4-FFF2-40B4-BE49-F238E27FC236}">
                      <a16:creationId xmlns:a16="http://schemas.microsoft.com/office/drawing/2014/main" id="{337F39AE-6737-4791-AC48-277B3A18DC37}"/>
                    </a:ext>
                  </a:extLst>
                </p:cNvPr>
                <p:cNvSpPr>
                  <a:spLocks noChangeAspect="1"/>
                </p:cNvSpPr>
                <p:nvPr/>
              </p:nvSpPr>
              <p:spPr bwMode="auto">
                <a:xfrm>
                  <a:off x="2136763" y="3727296"/>
                  <a:ext cx="1318331" cy="1581572"/>
                </a:xfrm>
                <a:custGeom>
                  <a:avLst/>
                  <a:gdLst/>
                  <a:ahLst/>
                  <a:cxnLst>
                    <a:cxn ang="0">
                      <a:pos x="628" y="196"/>
                    </a:cxn>
                    <a:cxn ang="0">
                      <a:pos x="566" y="156"/>
                    </a:cxn>
                    <a:cxn ang="0">
                      <a:pos x="508" y="152"/>
                    </a:cxn>
                    <a:cxn ang="0">
                      <a:pos x="500" y="146"/>
                    </a:cxn>
                    <a:cxn ang="0">
                      <a:pos x="482" y="134"/>
                    </a:cxn>
                    <a:cxn ang="0">
                      <a:pos x="430" y="126"/>
                    </a:cxn>
                    <a:cxn ang="0">
                      <a:pos x="414" y="136"/>
                    </a:cxn>
                    <a:cxn ang="0">
                      <a:pos x="380" y="128"/>
                    </a:cxn>
                    <a:cxn ang="0">
                      <a:pos x="388" y="98"/>
                    </a:cxn>
                    <a:cxn ang="0">
                      <a:pos x="390" y="56"/>
                    </a:cxn>
                    <a:cxn ang="0">
                      <a:pos x="362" y="52"/>
                    </a:cxn>
                    <a:cxn ang="0">
                      <a:pos x="330" y="60"/>
                    </a:cxn>
                    <a:cxn ang="0">
                      <a:pos x="302" y="60"/>
                    </a:cxn>
                    <a:cxn ang="0">
                      <a:pos x="270" y="68"/>
                    </a:cxn>
                    <a:cxn ang="0">
                      <a:pos x="240" y="66"/>
                    </a:cxn>
                    <a:cxn ang="0">
                      <a:pos x="242" y="22"/>
                    </a:cxn>
                    <a:cxn ang="0">
                      <a:pos x="226" y="2"/>
                    </a:cxn>
                    <a:cxn ang="0">
                      <a:pos x="200" y="22"/>
                    </a:cxn>
                    <a:cxn ang="0">
                      <a:pos x="168" y="26"/>
                    </a:cxn>
                    <a:cxn ang="0">
                      <a:pos x="166" y="46"/>
                    </a:cxn>
                    <a:cxn ang="0">
                      <a:pos x="160" y="74"/>
                    </a:cxn>
                    <a:cxn ang="0">
                      <a:pos x="126" y="88"/>
                    </a:cxn>
                    <a:cxn ang="0">
                      <a:pos x="104" y="66"/>
                    </a:cxn>
                    <a:cxn ang="0">
                      <a:pos x="68" y="74"/>
                    </a:cxn>
                    <a:cxn ang="0">
                      <a:pos x="64" y="96"/>
                    </a:cxn>
                    <a:cxn ang="0">
                      <a:pos x="74" y="142"/>
                    </a:cxn>
                    <a:cxn ang="0">
                      <a:pos x="62" y="182"/>
                    </a:cxn>
                    <a:cxn ang="0">
                      <a:pos x="24" y="200"/>
                    </a:cxn>
                    <a:cxn ang="0">
                      <a:pos x="6" y="230"/>
                    </a:cxn>
                    <a:cxn ang="0">
                      <a:pos x="12" y="264"/>
                    </a:cxn>
                    <a:cxn ang="0">
                      <a:pos x="48" y="292"/>
                    </a:cxn>
                    <a:cxn ang="0">
                      <a:pos x="66" y="314"/>
                    </a:cxn>
                    <a:cxn ang="0">
                      <a:pos x="112" y="306"/>
                    </a:cxn>
                    <a:cxn ang="0">
                      <a:pos x="144" y="290"/>
                    </a:cxn>
                    <a:cxn ang="0">
                      <a:pos x="158" y="328"/>
                    </a:cxn>
                    <a:cxn ang="0">
                      <a:pos x="190" y="346"/>
                    </a:cxn>
                    <a:cxn ang="0">
                      <a:pos x="242" y="384"/>
                    </a:cxn>
                    <a:cxn ang="0">
                      <a:pos x="276" y="416"/>
                    </a:cxn>
                    <a:cxn ang="0">
                      <a:pos x="288" y="474"/>
                    </a:cxn>
                    <a:cxn ang="0">
                      <a:pos x="292" y="520"/>
                    </a:cxn>
                    <a:cxn ang="0">
                      <a:pos x="356" y="560"/>
                    </a:cxn>
                    <a:cxn ang="0">
                      <a:pos x="370" y="600"/>
                    </a:cxn>
                    <a:cxn ang="0">
                      <a:pos x="350" y="638"/>
                    </a:cxn>
                    <a:cxn ang="0">
                      <a:pos x="332" y="670"/>
                    </a:cxn>
                    <a:cxn ang="0">
                      <a:pos x="352" y="696"/>
                    </a:cxn>
                    <a:cxn ang="0">
                      <a:pos x="394" y="724"/>
                    </a:cxn>
                    <a:cxn ang="0">
                      <a:pos x="414" y="736"/>
                    </a:cxn>
                    <a:cxn ang="0">
                      <a:pos x="424" y="700"/>
                    </a:cxn>
                    <a:cxn ang="0">
                      <a:pos x="430" y="704"/>
                    </a:cxn>
                    <a:cxn ang="0">
                      <a:pos x="448" y="666"/>
                    </a:cxn>
                    <a:cxn ang="0">
                      <a:pos x="460" y="628"/>
                    </a:cxn>
                    <a:cxn ang="0">
                      <a:pos x="454" y="596"/>
                    </a:cxn>
                    <a:cxn ang="0">
                      <a:pos x="468" y="580"/>
                    </a:cxn>
                    <a:cxn ang="0">
                      <a:pos x="504" y="558"/>
                    </a:cxn>
                    <a:cxn ang="0">
                      <a:pos x="516" y="546"/>
                    </a:cxn>
                    <a:cxn ang="0">
                      <a:pos x="544" y="540"/>
                    </a:cxn>
                    <a:cxn ang="0">
                      <a:pos x="576" y="522"/>
                    </a:cxn>
                    <a:cxn ang="0">
                      <a:pos x="588" y="482"/>
                    </a:cxn>
                    <a:cxn ang="0">
                      <a:pos x="598" y="428"/>
                    </a:cxn>
                    <a:cxn ang="0">
                      <a:pos x="598" y="368"/>
                    </a:cxn>
                    <a:cxn ang="0">
                      <a:pos x="620" y="334"/>
                    </a:cxn>
                    <a:cxn ang="0">
                      <a:pos x="648" y="292"/>
                    </a:cxn>
                  </a:cxnLst>
                  <a:rect l="0" t="0" r="r" b="b"/>
                  <a:pathLst>
                    <a:path w="664" h="750">
                      <a:moveTo>
                        <a:pt x="664" y="238"/>
                      </a:moveTo>
                      <a:lnTo>
                        <a:pt x="664" y="236"/>
                      </a:lnTo>
                      <a:lnTo>
                        <a:pt x="664" y="232"/>
                      </a:lnTo>
                      <a:lnTo>
                        <a:pt x="662" y="230"/>
                      </a:lnTo>
                      <a:lnTo>
                        <a:pt x="662" y="228"/>
                      </a:lnTo>
                      <a:lnTo>
                        <a:pt x="660" y="226"/>
                      </a:lnTo>
                      <a:lnTo>
                        <a:pt x="658" y="224"/>
                      </a:lnTo>
                      <a:lnTo>
                        <a:pt x="658" y="220"/>
                      </a:lnTo>
                      <a:lnTo>
                        <a:pt x="658" y="212"/>
                      </a:lnTo>
                      <a:lnTo>
                        <a:pt x="658" y="210"/>
                      </a:lnTo>
                      <a:lnTo>
                        <a:pt x="658" y="208"/>
                      </a:lnTo>
                      <a:lnTo>
                        <a:pt x="658" y="206"/>
                      </a:lnTo>
                      <a:lnTo>
                        <a:pt x="656" y="206"/>
                      </a:lnTo>
                      <a:lnTo>
                        <a:pt x="656" y="204"/>
                      </a:lnTo>
                      <a:lnTo>
                        <a:pt x="654" y="202"/>
                      </a:lnTo>
                      <a:lnTo>
                        <a:pt x="652" y="200"/>
                      </a:lnTo>
                      <a:lnTo>
                        <a:pt x="650" y="198"/>
                      </a:lnTo>
                      <a:lnTo>
                        <a:pt x="648" y="198"/>
                      </a:lnTo>
                      <a:lnTo>
                        <a:pt x="646" y="198"/>
                      </a:lnTo>
                      <a:lnTo>
                        <a:pt x="644" y="198"/>
                      </a:lnTo>
                      <a:lnTo>
                        <a:pt x="642" y="198"/>
                      </a:lnTo>
                      <a:lnTo>
                        <a:pt x="640" y="198"/>
                      </a:lnTo>
                      <a:lnTo>
                        <a:pt x="638" y="198"/>
                      </a:lnTo>
                      <a:lnTo>
                        <a:pt x="636" y="198"/>
                      </a:lnTo>
                      <a:lnTo>
                        <a:pt x="634" y="198"/>
                      </a:lnTo>
                      <a:lnTo>
                        <a:pt x="632" y="200"/>
                      </a:lnTo>
                      <a:lnTo>
                        <a:pt x="630" y="198"/>
                      </a:lnTo>
                      <a:lnTo>
                        <a:pt x="628" y="198"/>
                      </a:lnTo>
                      <a:lnTo>
                        <a:pt x="628" y="196"/>
                      </a:lnTo>
                      <a:lnTo>
                        <a:pt x="626" y="196"/>
                      </a:lnTo>
                      <a:lnTo>
                        <a:pt x="624" y="196"/>
                      </a:lnTo>
                      <a:lnTo>
                        <a:pt x="622" y="196"/>
                      </a:lnTo>
                      <a:lnTo>
                        <a:pt x="620" y="194"/>
                      </a:lnTo>
                      <a:lnTo>
                        <a:pt x="620" y="192"/>
                      </a:lnTo>
                      <a:lnTo>
                        <a:pt x="620" y="190"/>
                      </a:lnTo>
                      <a:lnTo>
                        <a:pt x="618" y="190"/>
                      </a:lnTo>
                      <a:lnTo>
                        <a:pt x="616" y="190"/>
                      </a:lnTo>
                      <a:lnTo>
                        <a:pt x="614" y="190"/>
                      </a:lnTo>
                      <a:lnTo>
                        <a:pt x="612" y="188"/>
                      </a:lnTo>
                      <a:lnTo>
                        <a:pt x="610" y="186"/>
                      </a:lnTo>
                      <a:lnTo>
                        <a:pt x="610" y="184"/>
                      </a:lnTo>
                      <a:lnTo>
                        <a:pt x="608" y="182"/>
                      </a:lnTo>
                      <a:lnTo>
                        <a:pt x="604" y="180"/>
                      </a:lnTo>
                      <a:lnTo>
                        <a:pt x="600" y="176"/>
                      </a:lnTo>
                      <a:lnTo>
                        <a:pt x="598" y="174"/>
                      </a:lnTo>
                      <a:lnTo>
                        <a:pt x="598" y="172"/>
                      </a:lnTo>
                      <a:lnTo>
                        <a:pt x="594" y="168"/>
                      </a:lnTo>
                      <a:lnTo>
                        <a:pt x="590" y="166"/>
                      </a:lnTo>
                      <a:lnTo>
                        <a:pt x="586" y="162"/>
                      </a:lnTo>
                      <a:lnTo>
                        <a:pt x="582" y="160"/>
                      </a:lnTo>
                      <a:lnTo>
                        <a:pt x="578" y="158"/>
                      </a:lnTo>
                      <a:lnTo>
                        <a:pt x="574" y="156"/>
                      </a:lnTo>
                      <a:lnTo>
                        <a:pt x="572" y="156"/>
                      </a:lnTo>
                      <a:lnTo>
                        <a:pt x="570" y="156"/>
                      </a:lnTo>
                      <a:lnTo>
                        <a:pt x="566" y="156"/>
                      </a:lnTo>
                      <a:lnTo>
                        <a:pt x="564" y="156"/>
                      </a:lnTo>
                      <a:lnTo>
                        <a:pt x="560" y="156"/>
                      </a:lnTo>
                      <a:lnTo>
                        <a:pt x="558" y="156"/>
                      </a:lnTo>
                      <a:lnTo>
                        <a:pt x="556" y="156"/>
                      </a:lnTo>
                      <a:lnTo>
                        <a:pt x="554" y="156"/>
                      </a:lnTo>
                      <a:lnTo>
                        <a:pt x="554" y="158"/>
                      </a:lnTo>
                      <a:lnTo>
                        <a:pt x="554" y="160"/>
                      </a:lnTo>
                      <a:lnTo>
                        <a:pt x="552" y="158"/>
                      </a:lnTo>
                      <a:lnTo>
                        <a:pt x="550" y="158"/>
                      </a:lnTo>
                      <a:lnTo>
                        <a:pt x="548" y="156"/>
                      </a:lnTo>
                      <a:lnTo>
                        <a:pt x="546" y="156"/>
                      </a:lnTo>
                      <a:lnTo>
                        <a:pt x="544" y="156"/>
                      </a:lnTo>
                      <a:lnTo>
                        <a:pt x="544" y="154"/>
                      </a:lnTo>
                      <a:lnTo>
                        <a:pt x="542" y="154"/>
                      </a:lnTo>
                      <a:lnTo>
                        <a:pt x="540" y="154"/>
                      </a:lnTo>
                      <a:lnTo>
                        <a:pt x="538" y="154"/>
                      </a:lnTo>
                      <a:lnTo>
                        <a:pt x="536" y="154"/>
                      </a:lnTo>
                      <a:lnTo>
                        <a:pt x="534" y="154"/>
                      </a:lnTo>
                      <a:lnTo>
                        <a:pt x="532" y="154"/>
                      </a:lnTo>
                      <a:lnTo>
                        <a:pt x="530" y="152"/>
                      </a:lnTo>
                      <a:lnTo>
                        <a:pt x="528" y="150"/>
                      </a:lnTo>
                      <a:lnTo>
                        <a:pt x="526" y="150"/>
                      </a:lnTo>
                      <a:lnTo>
                        <a:pt x="524" y="148"/>
                      </a:lnTo>
                      <a:lnTo>
                        <a:pt x="520" y="148"/>
                      </a:lnTo>
                      <a:lnTo>
                        <a:pt x="518" y="146"/>
                      </a:lnTo>
                      <a:lnTo>
                        <a:pt x="516" y="146"/>
                      </a:lnTo>
                      <a:lnTo>
                        <a:pt x="514" y="146"/>
                      </a:lnTo>
                      <a:lnTo>
                        <a:pt x="512" y="148"/>
                      </a:lnTo>
                      <a:lnTo>
                        <a:pt x="510" y="150"/>
                      </a:lnTo>
                      <a:lnTo>
                        <a:pt x="508" y="152"/>
                      </a:lnTo>
                      <a:lnTo>
                        <a:pt x="506" y="154"/>
                      </a:lnTo>
                      <a:lnTo>
                        <a:pt x="504" y="156"/>
                      </a:lnTo>
                      <a:lnTo>
                        <a:pt x="504" y="158"/>
                      </a:lnTo>
                      <a:lnTo>
                        <a:pt x="502" y="156"/>
                      </a:lnTo>
                      <a:lnTo>
                        <a:pt x="502" y="154"/>
                      </a:lnTo>
                      <a:lnTo>
                        <a:pt x="500" y="154"/>
                      </a:lnTo>
                      <a:lnTo>
                        <a:pt x="500" y="152"/>
                      </a:lnTo>
                      <a:lnTo>
                        <a:pt x="500" y="156"/>
                      </a:lnTo>
                      <a:lnTo>
                        <a:pt x="500" y="158"/>
                      </a:lnTo>
                      <a:lnTo>
                        <a:pt x="500" y="160"/>
                      </a:lnTo>
                      <a:lnTo>
                        <a:pt x="498" y="162"/>
                      </a:lnTo>
                      <a:lnTo>
                        <a:pt x="496" y="164"/>
                      </a:lnTo>
                      <a:lnTo>
                        <a:pt x="494" y="164"/>
                      </a:lnTo>
                      <a:lnTo>
                        <a:pt x="492" y="166"/>
                      </a:lnTo>
                      <a:lnTo>
                        <a:pt x="494" y="162"/>
                      </a:lnTo>
                      <a:lnTo>
                        <a:pt x="494" y="160"/>
                      </a:lnTo>
                      <a:lnTo>
                        <a:pt x="494" y="158"/>
                      </a:lnTo>
                      <a:lnTo>
                        <a:pt x="496" y="156"/>
                      </a:lnTo>
                      <a:lnTo>
                        <a:pt x="496" y="154"/>
                      </a:lnTo>
                      <a:lnTo>
                        <a:pt x="496" y="152"/>
                      </a:lnTo>
                      <a:lnTo>
                        <a:pt x="496" y="150"/>
                      </a:lnTo>
                      <a:lnTo>
                        <a:pt x="498" y="150"/>
                      </a:lnTo>
                      <a:lnTo>
                        <a:pt x="498" y="148"/>
                      </a:lnTo>
                      <a:lnTo>
                        <a:pt x="500" y="148"/>
                      </a:lnTo>
                      <a:lnTo>
                        <a:pt x="500" y="146"/>
                      </a:lnTo>
                      <a:lnTo>
                        <a:pt x="502" y="146"/>
                      </a:lnTo>
                      <a:lnTo>
                        <a:pt x="502" y="144"/>
                      </a:lnTo>
                      <a:lnTo>
                        <a:pt x="500" y="142"/>
                      </a:lnTo>
                      <a:lnTo>
                        <a:pt x="498" y="142"/>
                      </a:lnTo>
                      <a:lnTo>
                        <a:pt x="496" y="144"/>
                      </a:lnTo>
                      <a:lnTo>
                        <a:pt x="494" y="144"/>
                      </a:lnTo>
                      <a:lnTo>
                        <a:pt x="494" y="146"/>
                      </a:lnTo>
                      <a:lnTo>
                        <a:pt x="494" y="144"/>
                      </a:lnTo>
                      <a:lnTo>
                        <a:pt x="496" y="142"/>
                      </a:lnTo>
                      <a:lnTo>
                        <a:pt x="496" y="140"/>
                      </a:lnTo>
                      <a:lnTo>
                        <a:pt x="496" y="138"/>
                      </a:lnTo>
                      <a:lnTo>
                        <a:pt x="494" y="138"/>
                      </a:lnTo>
                      <a:lnTo>
                        <a:pt x="494" y="136"/>
                      </a:lnTo>
                      <a:lnTo>
                        <a:pt x="494" y="134"/>
                      </a:lnTo>
                      <a:lnTo>
                        <a:pt x="492" y="134"/>
                      </a:lnTo>
                      <a:lnTo>
                        <a:pt x="490" y="132"/>
                      </a:lnTo>
                      <a:lnTo>
                        <a:pt x="488" y="132"/>
                      </a:lnTo>
                      <a:lnTo>
                        <a:pt x="488" y="130"/>
                      </a:lnTo>
                      <a:lnTo>
                        <a:pt x="486" y="130"/>
                      </a:lnTo>
                      <a:lnTo>
                        <a:pt x="486" y="132"/>
                      </a:lnTo>
                      <a:lnTo>
                        <a:pt x="484" y="132"/>
                      </a:lnTo>
                      <a:lnTo>
                        <a:pt x="484" y="134"/>
                      </a:lnTo>
                      <a:lnTo>
                        <a:pt x="482" y="134"/>
                      </a:lnTo>
                      <a:lnTo>
                        <a:pt x="482" y="132"/>
                      </a:lnTo>
                      <a:lnTo>
                        <a:pt x="480" y="130"/>
                      </a:lnTo>
                      <a:lnTo>
                        <a:pt x="478" y="128"/>
                      </a:lnTo>
                      <a:lnTo>
                        <a:pt x="476" y="124"/>
                      </a:lnTo>
                      <a:lnTo>
                        <a:pt x="474" y="124"/>
                      </a:lnTo>
                      <a:lnTo>
                        <a:pt x="472" y="122"/>
                      </a:lnTo>
                      <a:lnTo>
                        <a:pt x="470" y="122"/>
                      </a:lnTo>
                      <a:lnTo>
                        <a:pt x="468" y="122"/>
                      </a:lnTo>
                      <a:lnTo>
                        <a:pt x="464" y="122"/>
                      </a:lnTo>
                      <a:lnTo>
                        <a:pt x="462" y="120"/>
                      </a:lnTo>
                      <a:lnTo>
                        <a:pt x="460" y="120"/>
                      </a:lnTo>
                      <a:lnTo>
                        <a:pt x="458" y="118"/>
                      </a:lnTo>
                      <a:lnTo>
                        <a:pt x="456" y="116"/>
                      </a:lnTo>
                      <a:lnTo>
                        <a:pt x="454" y="116"/>
                      </a:lnTo>
                      <a:lnTo>
                        <a:pt x="454" y="114"/>
                      </a:lnTo>
                      <a:lnTo>
                        <a:pt x="452" y="112"/>
                      </a:lnTo>
                      <a:lnTo>
                        <a:pt x="450" y="112"/>
                      </a:lnTo>
                      <a:lnTo>
                        <a:pt x="450" y="114"/>
                      </a:lnTo>
                      <a:lnTo>
                        <a:pt x="448" y="114"/>
                      </a:lnTo>
                      <a:lnTo>
                        <a:pt x="446" y="114"/>
                      </a:lnTo>
                      <a:lnTo>
                        <a:pt x="444" y="114"/>
                      </a:lnTo>
                      <a:lnTo>
                        <a:pt x="440" y="114"/>
                      </a:lnTo>
                      <a:lnTo>
                        <a:pt x="438" y="114"/>
                      </a:lnTo>
                      <a:lnTo>
                        <a:pt x="436" y="114"/>
                      </a:lnTo>
                      <a:lnTo>
                        <a:pt x="434" y="116"/>
                      </a:lnTo>
                      <a:lnTo>
                        <a:pt x="434" y="118"/>
                      </a:lnTo>
                      <a:lnTo>
                        <a:pt x="432" y="120"/>
                      </a:lnTo>
                      <a:lnTo>
                        <a:pt x="432" y="122"/>
                      </a:lnTo>
                      <a:lnTo>
                        <a:pt x="430" y="124"/>
                      </a:lnTo>
                      <a:lnTo>
                        <a:pt x="430" y="126"/>
                      </a:lnTo>
                      <a:lnTo>
                        <a:pt x="432" y="128"/>
                      </a:lnTo>
                      <a:lnTo>
                        <a:pt x="432" y="130"/>
                      </a:lnTo>
                      <a:lnTo>
                        <a:pt x="432" y="132"/>
                      </a:lnTo>
                      <a:lnTo>
                        <a:pt x="434" y="132"/>
                      </a:lnTo>
                      <a:lnTo>
                        <a:pt x="432" y="132"/>
                      </a:lnTo>
                      <a:lnTo>
                        <a:pt x="430" y="132"/>
                      </a:lnTo>
                      <a:lnTo>
                        <a:pt x="428" y="132"/>
                      </a:lnTo>
                      <a:lnTo>
                        <a:pt x="426" y="132"/>
                      </a:lnTo>
                      <a:lnTo>
                        <a:pt x="424" y="132"/>
                      </a:lnTo>
                      <a:lnTo>
                        <a:pt x="422" y="134"/>
                      </a:lnTo>
                      <a:lnTo>
                        <a:pt x="420" y="136"/>
                      </a:lnTo>
                      <a:lnTo>
                        <a:pt x="420" y="138"/>
                      </a:lnTo>
                      <a:lnTo>
                        <a:pt x="418" y="138"/>
                      </a:lnTo>
                      <a:lnTo>
                        <a:pt x="418" y="140"/>
                      </a:lnTo>
                      <a:lnTo>
                        <a:pt x="418" y="142"/>
                      </a:lnTo>
                      <a:lnTo>
                        <a:pt x="416" y="144"/>
                      </a:lnTo>
                      <a:lnTo>
                        <a:pt x="416" y="148"/>
                      </a:lnTo>
                      <a:lnTo>
                        <a:pt x="414" y="150"/>
                      </a:lnTo>
                      <a:lnTo>
                        <a:pt x="412" y="150"/>
                      </a:lnTo>
                      <a:lnTo>
                        <a:pt x="412" y="148"/>
                      </a:lnTo>
                      <a:lnTo>
                        <a:pt x="414" y="148"/>
                      </a:lnTo>
                      <a:lnTo>
                        <a:pt x="414" y="146"/>
                      </a:lnTo>
                      <a:lnTo>
                        <a:pt x="414" y="142"/>
                      </a:lnTo>
                      <a:lnTo>
                        <a:pt x="416" y="140"/>
                      </a:lnTo>
                      <a:lnTo>
                        <a:pt x="416" y="138"/>
                      </a:lnTo>
                      <a:lnTo>
                        <a:pt x="416" y="136"/>
                      </a:lnTo>
                      <a:lnTo>
                        <a:pt x="414" y="136"/>
                      </a:lnTo>
                      <a:lnTo>
                        <a:pt x="412" y="136"/>
                      </a:lnTo>
                      <a:lnTo>
                        <a:pt x="410" y="138"/>
                      </a:lnTo>
                      <a:lnTo>
                        <a:pt x="408" y="140"/>
                      </a:lnTo>
                      <a:lnTo>
                        <a:pt x="406" y="140"/>
                      </a:lnTo>
                      <a:lnTo>
                        <a:pt x="406" y="138"/>
                      </a:lnTo>
                      <a:lnTo>
                        <a:pt x="404" y="138"/>
                      </a:lnTo>
                      <a:lnTo>
                        <a:pt x="402" y="138"/>
                      </a:lnTo>
                      <a:lnTo>
                        <a:pt x="400" y="140"/>
                      </a:lnTo>
                      <a:lnTo>
                        <a:pt x="398" y="140"/>
                      </a:lnTo>
                      <a:lnTo>
                        <a:pt x="396" y="138"/>
                      </a:lnTo>
                      <a:lnTo>
                        <a:pt x="394" y="138"/>
                      </a:lnTo>
                      <a:lnTo>
                        <a:pt x="392" y="136"/>
                      </a:lnTo>
                      <a:lnTo>
                        <a:pt x="390" y="134"/>
                      </a:lnTo>
                      <a:lnTo>
                        <a:pt x="390" y="130"/>
                      </a:lnTo>
                      <a:lnTo>
                        <a:pt x="390" y="128"/>
                      </a:lnTo>
                      <a:lnTo>
                        <a:pt x="390" y="124"/>
                      </a:lnTo>
                      <a:lnTo>
                        <a:pt x="390" y="122"/>
                      </a:lnTo>
                      <a:lnTo>
                        <a:pt x="388" y="120"/>
                      </a:lnTo>
                      <a:lnTo>
                        <a:pt x="386" y="120"/>
                      </a:lnTo>
                      <a:lnTo>
                        <a:pt x="384" y="120"/>
                      </a:lnTo>
                      <a:lnTo>
                        <a:pt x="384" y="122"/>
                      </a:lnTo>
                      <a:lnTo>
                        <a:pt x="382" y="124"/>
                      </a:lnTo>
                      <a:lnTo>
                        <a:pt x="382" y="126"/>
                      </a:lnTo>
                      <a:lnTo>
                        <a:pt x="380" y="126"/>
                      </a:lnTo>
                      <a:lnTo>
                        <a:pt x="380" y="128"/>
                      </a:lnTo>
                      <a:lnTo>
                        <a:pt x="378" y="128"/>
                      </a:lnTo>
                      <a:lnTo>
                        <a:pt x="376" y="130"/>
                      </a:lnTo>
                      <a:lnTo>
                        <a:pt x="372" y="132"/>
                      </a:lnTo>
                      <a:lnTo>
                        <a:pt x="370" y="132"/>
                      </a:lnTo>
                      <a:lnTo>
                        <a:pt x="368" y="134"/>
                      </a:lnTo>
                      <a:lnTo>
                        <a:pt x="366" y="134"/>
                      </a:lnTo>
                      <a:lnTo>
                        <a:pt x="362" y="132"/>
                      </a:lnTo>
                      <a:lnTo>
                        <a:pt x="360" y="132"/>
                      </a:lnTo>
                      <a:lnTo>
                        <a:pt x="362" y="130"/>
                      </a:lnTo>
                      <a:lnTo>
                        <a:pt x="364" y="130"/>
                      </a:lnTo>
                      <a:lnTo>
                        <a:pt x="366" y="130"/>
                      </a:lnTo>
                      <a:lnTo>
                        <a:pt x="368" y="128"/>
                      </a:lnTo>
                      <a:lnTo>
                        <a:pt x="370" y="128"/>
                      </a:lnTo>
                      <a:lnTo>
                        <a:pt x="370" y="126"/>
                      </a:lnTo>
                      <a:lnTo>
                        <a:pt x="372" y="124"/>
                      </a:lnTo>
                      <a:lnTo>
                        <a:pt x="374" y="122"/>
                      </a:lnTo>
                      <a:lnTo>
                        <a:pt x="374" y="120"/>
                      </a:lnTo>
                      <a:lnTo>
                        <a:pt x="374" y="118"/>
                      </a:lnTo>
                      <a:lnTo>
                        <a:pt x="374" y="116"/>
                      </a:lnTo>
                      <a:lnTo>
                        <a:pt x="376" y="114"/>
                      </a:lnTo>
                      <a:lnTo>
                        <a:pt x="378" y="112"/>
                      </a:lnTo>
                      <a:lnTo>
                        <a:pt x="380" y="110"/>
                      </a:lnTo>
                      <a:lnTo>
                        <a:pt x="380" y="108"/>
                      </a:lnTo>
                      <a:lnTo>
                        <a:pt x="382" y="106"/>
                      </a:lnTo>
                      <a:lnTo>
                        <a:pt x="382" y="104"/>
                      </a:lnTo>
                      <a:lnTo>
                        <a:pt x="384" y="102"/>
                      </a:lnTo>
                      <a:lnTo>
                        <a:pt x="388" y="98"/>
                      </a:lnTo>
                      <a:lnTo>
                        <a:pt x="390" y="96"/>
                      </a:lnTo>
                      <a:lnTo>
                        <a:pt x="392" y="96"/>
                      </a:lnTo>
                      <a:lnTo>
                        <a:pt x="394" y="94"/>
                      </a:lnTo>
                      <a:lnTo>
                        <a:pt x="396" y="92"/>
                      </a:lnTo>
                      <a:lnTo>
                        <a:pt x="398" y="88"/>
                      </a:lnTo>
                      <a:lnTo>
                        <a:pt x="398" y="86"/>
                      </a:lnTo>
                      <a:lnTo>
                        <a:pt x="400" y="84"/>
                      </a:lnTo>
                      <a:lnTo>
                        <a:pt x="402" y="84"/>
                      </a:lnTo>
                      <a:lnTo>
                        <a:pt x="404" y="82"/>
                      </a:lnTo>
                      <a:lnTo>
                        <a:pt x="404" y="80"/>
                      </a:lnTo>
                      <a:lnTo>
                        <a:pt x="406" y="80"/>
                      </a:lnTo>
                      <a:lnTo>
                        <a:pt x="404" y="78"/>
                      </a:lnTo>
                      <a:lnTo>
                        <a:pt x="402" y="78"/>
                      </a:lnTo>
                      <a:lnTo>
                        <a:pt x="404" y="78"/>
                      </a:lnTo>
                      <a:lnTo>
                        <a:pt x="404" y="76"/>
                      </a:lnTo>
                      <a:lnTo>
                        <a:pt x="406" y="76"/>
                      </a:lnTo>
                      <a:lnTo>
                        <a:pt x="406" y="74"/>
                      </a:lnTo>
                      <a:lnTo>
                        <a:pt x="406" y="72"/>
                      </a:lnTo>
                      <a:lnTo>
                        <a:pt x="406" y="70"/>
                      </a:lnTo>
                      <a:lnTo>
                        <a:pt x="406" y="68"/>
                      </a:lnTo>
                      <a:lnTo>
                        <a:pt x="404" y="66"/>
                      </a:lnTo>
                      <a:lnTo>
                        <a:pt x="402" y="66"/>
                      </a:lnTo>
                      <a:lnTo>
                        <a:pt x="400" y="66"/>
                      </a:lnTo>
                      <a:lnTo>
                        <a:pt x="398" y="66"/>
                      </a:lnTo>
                      <a:lnTo>
                        <a:pt x="394" y="64"/>
                      </a:lnTo>
                      <a:lnTo>
                        <a:pt x="392" y="62"/>
                      </a:lnTo>
                      <a:lnTo>
                        <a:pt x="392" y="60"/>
                      </a:lnTo>
                      <a:lnTo>
                        <a:pt x="390" y="58"/>
                      </a:lnTo>
                      <a:lnTo>
                        <a:pt x="390" y="56"/>
                      </a:lnTo>
                      <a:lnTo>
                        <a:pt x="390" y="52"/>
                      </a:lnTo>
                      <a:lnTo>
                        <a:pt x="390" y="48"/>
                      </a:lnTo>
                      <a:lnTo>
                        <a:pt x="388" y="44"/>
                      </a:lnTo>
                      <a:lnTo>
                        <a:pt x="388" y="40"/>
                      </a:lnTo>
                      <a:lnTo>
                        <a:pt x="388" y="34"/>
                      </a:lnTo>
                      <a:lnTo>
                        <a:pt x="386" y="30"/>
                      </a:lnTo>
                      <a:lnTo>
                        <a:pt x="386" y="26"/>
                      </a:lnTo>
                      <a:lnTo>
                        <a:pt x="384" y="24"/>
                      </a:lnTo>
                      <a:lnTo>
                        <a:pt x="384" y="22"/>
                      </a:lnTo>
                      <a:lnTo>
                        <a:pt x="382" y="20"/>
                      </a:lnTo>
                      <a:lnTo>
                        <a:pt x="382" y="18"/>
                      </a:lnTo>
                      <a:lnTo>
                        <a:pt x="380" y="18"/>
                      </a:lnTo>
                      <a:lnTo>
                        <a:pt x="380" y="20"/>
                      </a:lnTo>
                      <a:lnTo>
                        <a:pt x="380" y="24"/>
                      </a:lnTo>
                      <a:lnTo>
                        <a:pt x="380" y="26"/>
                      </a:lnTo>
                      <a:lnTo>
                        <a:pt x="378" y="26"/>
                      </a:lnTo>
                      <a:lnTo>
                        <a:pt x="376" y="24"/>
                      </a:lnTo>
                      <a:lnTo>
                        <a:pt x="376" y="22"/>
                      </a:lnTo>
                      <a:lnTo>
                        <a:pt x="376" y="24"/>
                      </a:lnTo>
                      <a:lnTo>
                        <a:pt x="374" y="26"/>
                      </a:lnTo>
                      <a:lnTo>
                        <a:pt x="374" y="30"/>
                      </a:lnTo>
                      <a:lnTo>
                        <a:pt x="372" y="30"/>
                      </a:lnTo>
                      <a:lnTo>
                        <a:pt x="372" y="32"/>
                      </a:lnTo>
                      <a:lnTo>
                        <a:pt x="370" y="32"/>
                      </a:lnTo>
                      <a:lnTo>
                        <a:pt x="370" y="34"/>
                      </a:lnTo>
                      <a:lnTo>
                        <a:pt x="368" y="36"/>
                      </a:lnTo>
                      <a:lnTo>
                        <a:pt x="366" y="40"/>
                      </a:lnTo>
                      <a:lnTo>
                        <a:pt x="364" y="42"/>
                      </a:lnTo>
                      <a:lnTo>
                        <a:pt x="364" y="44"/>
                      </a:lnTo>
                      <a:lnTo>
                        <a:pt x="364" y="46"/>
                      </a:lnTo>
                      <a:lnTo>
                        <a:pt x="362" y="50"/>
                      </a:lnTo>
                      <a:lnTo>
                        <a:pt x="362" y="52"/>
                      </a:lnTo>
                      <a:lnTo>
                        <a:pt x="360" y="54"/>
                      </a:lnTo>
                      <a:lnTo>
                        <a:pt x="358" y="56"/>
                      </a:lnTo>
                      <a:lnTo>
                        <a:pt x="358" y="58"/>
                      </a:lnTo>
                      <a:lnTo>
                        <a:pt x="356" y="58"/>
                      </a:lnTo>
                      <a:lnTo>
                        <a:pt x="354" y="60"/>
                      </a:lnTo>
                      <a:lnTo>
                        <a:pt x="352" y="60"/>
                      </a:lnTo>
                      <a:lnTo>
                        <a:pt x="350" y="60"/>
                      </a:lnTo>
                      <a:lnTo>
                        <a:pt x="348" y="58"/>
                      </a:lnTo>
                      <a:lnTo>
                        <a:pt x="348" y="56"/>
                      </a:lnTo>
                      <a:lnTo>
                        <a:pt x="348" y="58"/>
                      </a:lnTo>
                      <a:lnTo>
                        <a:pt x="346" y="58"/>
                      </a:lnTo>
                      <a:lnTo>
                        <a:pt x="344" y="58"/>
                      </a:lnTo>
                      <a:lnTo>
                        <a:pt x="342" y="58"/>
                      </a:lnTo>
                      <a:lnTo>
                        <a:pt x="342" y="56"/>
                      </a:lnTo>
                      <a:lnTo>
                        <a:pt x="340" y="56"/>
                      </a:lnTo>
                      <a:lnTo>
                        <a:pt x="340" y="58"/>
                      </a:lnTo>
                      <a:lnTo>
                        <a:pt x="338" y="58"/>
                      </a:lnTo>
                      <a:lnTo>
                        <a:pt x="336" y="60"/>
                      </a:lnTo>
                      <a:lnTo>
                        <a:pt x="336" y="62"/>
                      </a:lnTo>
                      <a:lnTo>
                        <a:pt x="334" y="62"/>
                      </a:lnTo>
                      <a:lnTo>
                        <a:pt x="332" y="60"/>
                      </a:lnTo>
                      <a:lnTo>
                        <a:pt x="330" y="60"/>
                      </a:lnTo>
                      <a:lnTo>
                        <a:pt x="328" y="60"/>
                      </a:lnTo>
                      <a:lnTo>
                        <a:pt x="328" y="58"/>
                      </a:lnTo>
                      <a:lnTo>
                        <a:pt x="326" y="56"/>
                      </a:lnTo>
                      <a:lnTo>
                        <a:pt x="324" y="56"/>
                      </a:lnTo>
                      <a:lnTo>
                        <a:pt x="322" y="54"/>
                      </a:lnTo>
                      <a:lnTo>
                        <a:pt x="322" y="52"/>
                      </a:lnTo>
                      <a:lnTo>
                        <a:pt x="320" y="52"/>
                      </a:lnTo>
                      <a:lnTo>
                        <a:pt x="318" y="52"/>
                      </a:lnTo>
                      <a:lnTo>
                        <a:pt x="316" y="52"/>
                      </a:lnTo>
                      <a:lnTo>
                        <a:pt x="314" y="54"/>
                      </a:lnTo>
                      <a:lnTo>
                        <a:pt x="312" y="56"/>
                      </a:lnTo>
                      <a:lnTo>
                        <a:pt x="310" y="56"/>
                      </a:lnTo>
                      <a:lnTo>
                        <a:pt x="308" y="56"/>
                      </a:lnTo>
                      <a:lnTo>
                        <a:pt x="306" y="56"/>
                      </a:lnTo>
                      <a:lnTo>
                        <a:pt x="306" y="54"/>
                      </a:lnTo>
                      <a:lnTo>
                        <a:pt x="306" y="52"/>
                      </a:lnTo>
                      <a:lnTo>
                        <a:pt x="304" y="52"/>
                      </a:lnTo>
                      <a:lnTo>
                        <a:pt x="302" y="54"/>
                      </a:lnTo>
                      <a:lnTo>
                        <a:pt x="302" y="56"/>
                      </a:lnTo>
                      <a:lnTo>
                        <a:pt x="302" y="58"/>
                      </a:lnTo>
                      <a:lnTo>
                        <a:pt x="302" y="60"/>
                      </a:lnTo>
                      <a:lnTo>
                        <a:pt x="304" y="60"/>
                      </a:lnTo>
                      <a:lnTo>
                        <a:pt x="304" y="64"/>
                      </a:lnTo>
                      <a:lnTo>
                        <a:pt x="306" y="64"/>
                      </a:lnTo>
                      <a:lnTo>
                        <a:pt x="304" y="66"/>
                      </a:lnTo>
                      <a:lnTo>
                        <a:pt x="302" y="66"/>
                      </a:lnTo>
                      <a:lnTo>
                        <a:pt x="298" y="64"/>
                      </a:lnTo>
                      <a:lnTo>
                        <a:pt x="296" y="64"/>
                      </a:lnTo>
                      <a:lnTo>
                        <a:pt x="294" y="64"/>
                      </a:lnTo>
                      <a:lnTo>
                        <a:pt x="292" y="62"/>
                      </a:lnTo>
                      <a:lnTo>
                        <a:pt x="290" y="62"/>
                      </a:lnTo>
                      <a:lnTo>
                        <a:pt x="290" y="64"/>
                      </a:lnTo>
                      <a:lnTo>
                        <a:pt x="288" y="64"/>
                      </a:lnTo>
                      <a:lnTo>
                        <a:pt x="286" y="64"/>
                      </a:lnTo>
                      <a:lnTo>
                        <a:pt x="284" y="62"/>
                      </a:lnTo>
                      <a:lnTo>
                        <a:pt x="282" y="62"/>
                      </a:lnTo>
                      <a:lnTo>
                        <a:pt x="280" y="64"/>
                      </a:lnTo>
                      <a:lnTo>
                        <a:pt x="278" y="64"/>
                      </a:lnTo>
                      <a:lnTo>
                        <a:pt x="278" y="66"/>
                      </a:lnTo>
                      <a:lnTo>
                        <a:pt x="278" y="68"/>
                      </a:lnTo>
                      <a:lnTo>
                        <a:pt x="274" y="68"/>
                      </a:lnTo>
                      <a:lnTo>
                        <a:pt x="272" y="68"/>
                      </a:lnTo>
                      <a:lnTo>
                        <a:pt x="270" y="68"/>
                      </a:lnTo>
                      <a:lnTo>
                        <a:pt x="270" y="70"/>
                      </a:lnTo>
                      <a:lnTo>
                        <a:pt x="270" y="72"/>
                      </a:lnTo>
                      <a:lnTo>
                        <a:pt x="268" y="70"/>
                      </a:lnTo>
                      <a:lnTo>
                        <a:pt x="266" y="70"/>
                      </a:lnTo>
                      <a:lnTo>
                        <a:pt x="264" y="70"/>
                      </a:lnTo>
                      <a:lnTo>
                        <a:pt x="262" y="72"/>
                      </a:lnTo>
                      <a:lnTo>
                        <a:pt x="262" y="74"/>
                      </a:lnTo>
                      <a:lnTo>
                        <a:pt x="262" y="76"/>
                      </a:lnTo>
                      <a:lnTo>
                        <a:pt x="262" y="78"/>
                      </a:lnTo>
                      <a:lnTo>
                        <a:pt x="260" y="78"/>
                      </a:lnTo>
                      <a:lnTo>
                        <a:pt x="256" y="78"/>
                      </a:lnTo>
                      <a:lnTo>
                        <a:pt x="254" y="78"/>
                      </a:lnTo>
                      <a:lnTo>
                        <a:pt x="252" y="78"/>
                      </a:lnTo>
                      <a:lnTo>
                        <a:pt x="252" y="76"/>
                      </a:lnTo>
                      <a:lnTo>
                        <a:pt x="250" y="76"/>
                      </a:lnTo>
                      <a:lnTo>
                        <a:pt x="250" y="74"/>
                      </a:lnTo>
                      <a:lnTo>
                        <a:pt x="248" y="74"/>
                      </a:lnTo>
                      <a:lnTo>
                        <a:pt x="244" y="72"/>
                      </a:lnTo>
                      <a:lnTo>
                        <a:pt x="242" y="70"/>
                      </a:lnTo>
                      <a:lnTo>
                        <a:pt x="242" y="68"/>
                      </a:lnTo>
                      <a:lnTo>
                        <a:pt x="240" y="66"/>
                      </a:lnTo>
                      <a:lnTo>
                        <a:pt x="240" y="64"/>
                      </a:lnTo>
                      <a:lnTo>
                        <a:pt x="240" y="62"/>
                      </a:lnTo>
                      <a:lnTo>
                        <a:pt x="240" y="60"/>
                      </a:lnTo>
                      <a:lnTo>
                        <a:pt x="238" y="58"/>
                      </a:lnTo>
                      <a:lnTo>
                        <a:pt x="238" y="56"/>
                      </a:lnTo>
                      <a:lnTo>
                        <a:pt x="236" y="54"/>
                      </a:lnTo>
                      <a:lnTo>
                        <a:pt x="234" y="54"/>
                      </a:lnTo>
                      <a:lnTo>
                        <a:pt x="234" y="52"/>
                      </a:lnTo>
                      <a:lnTo>
                        <a:pt x="234" y="50"/>
                      </a:lnTo>
                      <a:lnTo>
                        <a:pt x="234" y="48"/>
                      </a:lnTo>
                      <a:lnTo>
                        <a:pt x="236" y="44"/>
                      </a:lnTo>
                      <a:lnTo>
                        <a:pt x="236" y="42"/>
                      </a:lnTo>
                      <a:lnTo>
                        <a:pt x="238" y="40"/>
                      </a:lnTo>
                      <a:lnTo>
                        <a:pt x="238" y="36"/>
                      </a:lnTo>
                      <a:lnTo>
                        <a:pt x="238" y="34"/>
                      </a:lnTo>
                      <a:lnTo>
                        <a:pt x="238" y="32"/>
                      </a:lnTo>
                      <a:lnTo>
                        <a:pt x="240" y="30"/>
                      </a:lnTo>
                      <a:lnTo>
                        <a:pt x="242" y="28"/>
                      </a:lnTo>
                      <a:lnTo>
                        <a:pt x="242" y="26"/>
                      </a:lnTo>
                      <a:lnTo>
                        <a:pt x="244" y="26"/>
                      </a:lnTo>
                      <a:lnTo>
                        <a:pt x="242" y="24"/>
                      </a:lnTo>
                      <a:lnTo>
                        <a:pt x="242" y="22"/>
                      </a:lnTo>
                      <a:lnTo>
                        <a:pt x="240" y="22"/>
                      </a:lnTo>
                      <a:lnTo>
                        <a:pt x="240" y="20"/>
                      </a:lnTo>
                      <a:lnTo>
                        <a:pt x="240" y="18"/>
                      </a:lnTo>
                      <a:lnTo>
                        <a:pt x="240" y="16"/>
                      </a:lnTo>
                      <a:lnTo>
                        <a:pt x="238" y="16"/>
                      </a:lnTo>
                      <a:lnTo>
                        <a:pt x="236" y="16"/>
                      </a:lnTo>
                      <a:lnTo>
                        <a:pt x="234" y="16"/>
                      </a:lnTo>
                      <a:lnTo>
                        <a:pt x="234" y="14"/>
                      </a:lnTo>
                      <a:lnTo>
                        <a:pt x="234" y="12"/>
                      </a:lnTo>
                      <a:lnTo>
                        <a:pt x="236" y="12"/>
                      </a:lnTo>
                      <a:lnTo>
                        <a:pt x="236" y="10"/>
                      </a:lnTo>
                      <a:lnTo>
                        <a:pt x="236" y="8"/>
                      </a:lnTo>
                      <a:lnTo>
                        <a:pt x="236" y="6"/>
                      </a:lnTo>
                      <a:lnTo>
                        <a:pt x="236" y="4"/>
                      </a:lnTo>
                      <a:lnTo>
                        <a:pt x="236" y="2"/>
                      </a:lnTo>
                      <a:lnTo>
                        <a:pt x="234" y="0"/>
                      </a:lnTo>
                      <a:lnTo>
                        <a:pt x="232" y="0"/>
                      </a:lnTo>
                      <a:lnTo>
                        <a:pt x="230" y="0"/>
                      </a:lnTo>
                      <a:lnTo>
                        <a:pt x="230" y="2"/>
                      </a:lnTo>
                      <a:lnTo>
                        <a:pt x="228" y="2"/>
                      </a:lnTo>
                      <a:lnTo>
                        <a:pt x="226" y="2"/>
                      </a:lnTo>
                      <a:lnTo>
                        <a:pt x="224" y="2"/>
                      </a:lnTo>
                      <a:lnTo>
                        <a:pt x="226" y="4"/>
                      </a:lnTo>
                      <a:lnTo>
                        <a:pt x="226" y="6"/>
                      </a:lnTo>
                      <a:lnTo>
                        <a:pt x="226" y="8"/>
                      </a:lnTo>
                      <a:lnTo>
                        <a:pt x="224" y="10"/>
                      </a:lnTo>
                      <a:lnTo>
                        <a:pt x="222" y="10"/>
                      </a:lnTo>
                      <a:lnTo>
                        <a:pt x="220" y="10"/>
                      </a:lnTo>
                      <a:lnTo>
                        <a:pt x="220" y="12"/>
                      </a:lnTo>
                      <a:lnTo>
                        <a:pt x="220" y="14"/>
                      </a:lnTo>
                      <a:lnTo>
                        <a:pt x="218" y="14"/>
                      </a:lnTo>
                      <a:lnTo>
                        <a:pt x="216" y="14"/>
                      </a:lnTo>
                      <a:lnTo>
                        <a:pt x="214" y="14"/>
                      </a:lnTo>
                      <a:lnTo>
                        <a:pt x="212" y="16"/>
                      </a:lnTo>
                      <a:lnTo>
                        <a:pt x="210" y="16"/>
                      </a:lnTo>
                      <a:lnTo>
                        <a:pt x="210" y="18"/>
                      </a:lnTo>
                      <a:lnTo>
                        <a:pt x="208" y="18"/>
                      </a:lnTo>
                      <a:lnTo>
                        <a:pt x="206" y="20"/>
                      </a:lnTo>
                      <a:lnTo>
                        <a:pt x="202" y="22"/>
                      </a:lnTo>
                      <a:lnTo>
                        <a:pt x="200" y="22"/>
                      </a:lnTo>
                      <a:lnTo>
                        <a:pt x="198" y="22"/>
                      </a:lnTo>
                      <a:lnTo>
                        <a:pt x="196" y="20"/>
                      </a:lnTo>
                      <a:lnTo>
                        <a:pt x="194" y="20"/>
                      </a:lnTo>
                      <a:lnTo>
                        <a:pt x="192" y="20"/>
                      </a:lnTo>
                      <a:lnTo>
                        <a:pt x="192" y="22"/>
                      </a:lnTo>
                      <a:lnTo>
                        <a:pt x="190" y="26"/>
                      </a:lnTo>
                      <a:lnTo>
                        <a:pt x="190" y="28"/>
                      </a:lnTo>
                      <a:lnTo>
                        <a:pt x="190" y="30"/>
                      </a:lnTo>
                      <a:lnTo>
                        <a:pt x="190" y="32"/>
                      </a:lnTo>
                      <a:lnTo>
                        <a:pt x="190" y="34"/>
                      </a:lnTo>
                      <a:lnTo>
                        <a:pt x="188" y="34"/>
                      </a:lnTo>
                      <a:lnTo>
                        <a:pt x="186" y="32"/>
                      </a:lnTo>
                      <a:lnTo>
                        <a:pt x="184" y="32"/>
                      </a:lnTo>
                      <a:lnTo>
                        <a:pt x="184" y="30"/>
                      </a:lnTo>
                      <a:lnTo>
                        <a:pt x="182" y="28"/>
                      </a:lnTo>
                      <a:lnTo>
                        <a:pt x="180" y="26"/>
                      </a:lnTo>
                      <a:lnTo>
                        <a:pt x="178" y="24"/>
                      </a:lnTo>
                      <a:lnTo>
                        <a:pt x="178" y="26"/>
                      </a:lnTo>
                      <a:lnTo>
                        <a:pt x="176" y="26"/>
                      </a:lnTo>
                      <a:lnTo>
                        <a:pt x="174" y="26"/>
                      </a:lnTo>
                      <a:lnTo>
                        <a:pt x="174" y="24"/>
                      </a:lnTo>
                      <a:lnTo>
                        <a:pt x="172" y="24"/>
                      </a:lnTo>
                      <a:lnTo>
                        <a:pt x="172" y="26"/>
                      </a:lnTo>
                      <a:lnTo>
                        <a:pt x="170" y="26"/>
                      </a:lnTo>
                      <a:lnTo>
                        <a:pt x="168" y="26"/>
                      </a:lnTo>
                      <a:lnTo>
                        <a:pt x="168" y="24"/>
                      </a:lnTo>
                      <a:lnTo>
                        <a:pt x="168" y="22"/>
                      </a:lnTo>
                      <a:lnTo>
                        <a:pt x="166" y="22"/>
                      </a:lnTo>
                      <a:lnTo>
                        <a:pt x="166" y="20"/>
                      </a:lnTo>
                      <a:lnTo>
                        <a:pt x="164" y="20"/>
                      </a:lnTo>
                      <a:lnTo>
                        <a:pt x="162" y="20"/>
                      </a:lnTo>
                      <a:lnTo>
                        <a:pt x="160" y="20"/>
                      </a:lnTo>
                      <a:lnTo>
                        <a:pt x="158" y="22"/>
                      </a:lnTo>
                      <a:lnTo>
                        <a:pt x="158" y="20"/>
                      </a:lnTo>
                      <a:lnTo>
                        <a:pt x="156" y="20"/>
                      </a:lnTo>
                      <a:lnTo>
                        <a:pt x="156" y="18"/>
                      </a:lnTo>
                      <a:lnTo>
                        <a:pt x="154" y="18"/>
                      </a:lnTo>
                      <a:lnTo>
                        <a:pt x="154" y="20"/>
                      </a:lnTo>
                      <a:lnTo>
                        <a:pt x="154" y="22"/>
                      </a:lnTo>
                      <a:lnTo>
                        <a:pt x="154" y="24"/>
                      </a:lnTo>
                      <a:lnTo>
                        <a:pt x="156" y="26"/>
                      </a:lnTo>
                      <a:lnTo>
                        <a:pt x="156" y="28"/>
                      </a:lnTo>
                      <a:lnTo>
                        <a:pt x="158" y="28"/>
                      </a:lnTo>
                      <a:lnTo>
                        <a:pt x="160" y="28"/>
                      </a:lnTo>
                      <a:lnTo>
                        <a:pt x="160" y="30"/>
                      </a:lnTo>
                      <a:lnTo>
                        <a:pt x="162" y="30"/>
                      </a:lnTo>
                      <a:lnTo>
                        <a:pt x="162" y="32"/>
                      </a:lnTo>
                      <a:lnTo>
                        <a:pt x="164" y="32"/>
                      </a:lnTo>
                      <a:lnTo>
                        <a:pt x="164" y="34"/>
                      </a:lnTo>
                      <a:lnTo>
                        <a:pt x="164" y="36"/>
                      </a:lnTo>
                      <a:lnTo>
                        <a:pt x="164" y="38"/>
                      </a:lnTo>
                      <a:lnTo>
                        <a:pt x="162" y="40"/>
                      </a:lnTo>
                      <a:lnTo>
                        <a:pt x="162" y="42"/>
                      </a:lnTo>
                      <a:lnTo>
                        <a:pt x="164" y="42"/>
                      </a:lnTo>
                      <a:lnTo>
                        <a:pt x="164" y="44"/>
                      </a:lnTo>
                      <a:lnTo>
                        <a:pt x="166" y="46"/>
                      </a:lnTo>
                      <a:lnTo>
                        <a:pt x="166" y="48"/>
                      </a:lnTo>
                      <a:lnTo>
                        <a:pt x="166" y="50"/>
                      </a:lnTo>
                      <a:lnTo>
                        <a:pt x="166" y="52"/>
                      </a:lnTo>
                      <a:lnTo>
                        <a:pt x="166" y="54"/>
                      </a:lnTo>
                      <a:lnTo>
                        <a:pt x="168" y="54"/>
                      </a:lnTo>
                      <a:lnTo>
                        <a:pt x="170" y="54"/>
                      </a:lnTo>
                      <a:lnTo>
                        <a:pt x="172" y="54"/>
                      </a:lnTo>
                      <a:lnTo>
                        <a:pt x="174" y="54"/>
                      </a:lnTo>
                      <a:lnTo>
                        <a:pt x="176" y="54"/>
                      </a:lnTo>
                      <a:lnTo>
                        <a:pt x="178" y="54"/>
                      </a:lnTo>
                      <a:lnTo>
                        <a:pt x="178" y="56"/>
                      </a:lnTo>
                      <a:lnTo>
                        <a:pt x="178" y="58"/>
                      </a:lnTo>
                      <a:lnTo>
                        <a:pt x="178" y="60"/>
                      </a:lnTo>
                      <a:lnTo>
                        <a:pt x="176" y="62"/>
                      </a:lnTo>
                      <a:lnTo>
                        <a:pt x="174" y="62"/>
                      </a:lnTo>
                      <a:lnTo>
                        <a:pt x="172" y="64"/>
                      </a:lnTo>
                      <a:lnTo>
                        <a:pt x="168" y="64"/>
                      </a:lnTo>
                      <a:lnTo>
                        <a:pt x="166" y="64"/>
                      </a:lnTo>
                      <a:lnTo>
                        <a:pt x="166" y="66"/>
                      </a:lnTo>
                      <a:lnTo>
                        <a:pt x="166" y="68"/>
                      </a:lnTo>
                      <a:lnTo>
                        <a:pt x="166" y="70"/>
                      </a:lnTo>
                      <a:lnTo>
                        <a:pt x="164" y="72"/>
                      </a:lnTo>
                      <a:lnTo>
                        <a:pt x="162" y="72"/>
                      </a:lnTo>
                      <a:lnTo>
                        <a:pt x="160" y="74"/>
                      </a:lnTo>
                      <a:lnTo>
                        <a:pt x="158" y="74"/>
                      </a:lnTo>
                      <a:lnTo>
                        <a:pt x="156" y="76"/>
                      </a:lnTo>
                      <a:lnTo>
                        <a:pt x="156" y="78"/>
                      </a:lnTo>
                      <a:lnTo>
                        <a:pt x="154" y="78"/>
                      </a:lnTo>
                      <a:lnTo>
                        <a:pt x="152" y="78"/>
                      </a:lnTo>
                      <a:lnTo>
                        <a:pt x="150" y="78"/>
                      </a:lnTo>
                      <a:lnTo>
                        <a:pt x="148" y="78"/>
                      </a:lnTo>
                      <a:lnTo>
                        <a:pt x="148" y="80"/>
                      </a:lnTo>
                      <a:lnTo>
                        <a:pt x="146" y="82"/>
                      </a:lnTo>
                      <a:lnTo>
                        <a:pt x="144" y="84"/>
                      </a:lnTo>
                      <a:lnTo>
                        <a:pt x="144" y="86"/>
                      </a:lnTo>
                      <a:lnTo>
                        <a:pt x="144" y="88"/>
                      </a:lnTo>
                      <a:lnTo>
                        <a:pt x="142" y="88"/>
                      </a:lnTo>
                      <a:lnTo>
                        <a:pt x="140" y="88"/>
                      </a:lnTo>
                      <a:lnTo>
                        <a:pt x="140" y="86"/>
                      </a:lnTo>
                      <a:lnTo>
                        <a:pt x="142" y="86"/>
                      </a:lnTo>
                      <a:lnTo>
                        <a:pt x="140" y="84"/>
                      </a:lnTo>
                      <a:lnTo>
                        <a:pt x="140" y="82"/>
                      </a:lnTo>
                      <a:lnTo>
                        <a:pt x="138" y="82"/>
                      </a:lnTo>
                      <a:lnTo>
                        <a:pt x="136" y="84"/>
                      </a:lnTo>
                      <a:lnTo>
                        <a:pt x="134" y="86"/>
                      </a:lnTo>
                      <a:lnTo>
                        <a:pt x="132" y="86"/>
                      </a:lnTo>
                      <a:lnTo>
                        <a:pt x="132" y="88"/>
                      </a:lnTo>
                      <a:lnTo>
                        <a:pt x="130" y="88"/>
                      </a:lnTo>
                      <a:lnTo>
                        <a:pt x="128" y="88"/>
                      </a:lnTo>
                      <a:lnTo>
                        <a:pt x="126" y="88"/>
                      </a:lnTo>
                      <a:lnTo>
                        <a:pt x="124" y="86"/>
                      </a:lnTo>
                      <a:lnTo>
                        <a:pt x="122" y="86"/>
                      </a:lnTo>
                      <a:lnTo>
                        <a:pt x="122" y="84"/>
                      </a:lnTo>
                      <a:lnTo>
                        <a:pt x="120" y="82"/>
                      </a:lnTo>
                      <a:lnTo>
                        <a:pt x="120" y="80"/>
                      </a:lnTo>
                      <a:lnTo>
                        <a:pt x="118" y="80"/>
                      </a:lnTo>
                      <a:lnTo>
                        <a:pt x="118" y="78"/>
                      </a:lnTo>
                      <a:lnTo>
                        <a:pt x="116" y="78"/>
                      </a:lnTo>
                      <a:lnTo>
                        <a:pt x="114" y="78"/>
                      </a:lnTo>
                      <a:lnTo>
                        <a:pt x="114" y="76"/>
                      </a:lnTo>
                      <a:lnTo>
                        <a:pt x="114" y="74"/>
                      </a:lnTo>
                      <a:lnTo>
                        <a:pt x="112" y="70"/>
                      </a:lnTo>
                      <a:lnTo>
                        <a:pt x="112" y="68"/>
                      </a:lnTo>
                      <a:lnTo>
                        <a:pt x="112" y="66"/>
                      </a:lnTo>
                      <a:lnTo>
                        <a:pt x="112" y="64"/>
                      </a:lnTo>
                      <a:lnTo>
                        <a:pt x="110" y="64"/>
                      </a:lnTo>
                      <a:lnTo>
                        <a:pt x="112" y="62"/>
                      </a:lnTo>
                      <a:lnTo>
                        <a:pt x="110" y="62"/>
                      </a:lnTo>
                      <a:lnTo>
                        <a:pt x="110" y="60"/>
                      </a:lnTo>
                      <a:lnTo>
                        <a:pt x="108" y="60"/>
                      </a:lnTo>
                      <a:lnTo>
                        <a:pt x="108" y="62"/>
                      </a:lnTo>
                      <a:lnTo>
                        <a:pt x="106" y="62"/>
                      </a:lnTo>
                      <a:lnTo>
                        <a:pt x="106" y="64"/>
                      </a:lnTo>
                      <a:lnTo>
                        <a:pt x="104" y="64"/>
                      </a:lnTo>
                      <a:lnTo>
                        <a:pt x="104" y="66"/>
                      </a:lnTo>
                      <a:lnTo>
                        <a:pt x="102" y="66"/>
                      </a:lnTo>
                      <a:lnTo>
                        <a:pt x="102" y="68"/>
                      </a:lnTo>
                      <a:lnTo>
                        <a:pt x="100" y="68"/>
                      </a:lnTo>
                      <a:lnTo>
                        <a:pt x="100" y="66"/>
                      </a:lnTo>
                      <a:lnTo>
                        <a:pt x="98" y="64"/>
                      </a:lnTo>
                      <a:lnTo>
                        <a:pt x="96" y="64"/>
                      </a:lnTo>
                      <a:lnTo>
                        <a:pt x="96" y="62"/>
                      </a:lnTo>
                      <a:lnTo>
                        <a:pt x="94" y="64"/>
                      </a:lnTo>
                      <a:lnTo>
                        <a:pt x="94" y="66"/>
                      </a:lnTo>
                      <a:lnTo>
                        <a:pt x="94" y="68"/>
                      </a:lnTo>
                      <a:lnTo>
                        <a:pt x="92" y="68"/>
                      </a:lnTo>
                      <a:lnTo>
                        <a:pt x="88" y="68"/>
                      </a:lnTo>
                      <a:lnTo>
                        <a:pt x="86" y="68"/>
                      </a:lnTo>
                      <a:lnTo>
                        <a:pt x="84" y="68"/>
                      </a:lnTo>
                      <a:lnTo>
                        <a:pt x="82" y="70"/>
                      </a:lnTo>
                      <a:lnTo>
                        <a:pt x="80" y="70"/>
                      </a:lnTo>
                      <a:lnTo>
                        <a:pt x="78" y="70"/>
                      </a:lnTo>
                      <a:lnTo>
                        <a:pt x="76" y="68"/>
                      </a:lnTo>
                      <a:lnTo>
                        <a:pt x="74" y="68"/>
                      </a:lnTo>
                      <a:lnTo>
                        <a:pt x="74" y="66"/>
                      </a:lnTo>
                      <a:lnTo>
                        <a:pt x="72" y="66"/>
                      </a:lnTo>
                      <a:lnTo>
                        <a:pt x="70" y="66"/>
                      </a:lnTo>
                      <a:lnTo>
                        <a:pt x="70" y="68"/>
                      </a:lnTo>
                      <a:lnTo>
                        <a:pt x="68" y="70"/>
                      </a:lnTo>
                      <a:lnTo>
                        <a:pt x="68" y="72"/>
                      </a:lnTo>
                      <a:lnTo>
                        <a:pt x="68" y="74"/>
                      </a:lnTo>
                      <a:lnTo>
                        <a:pt x="68" y="76"/>
                      </a:lnTo>
                      <a:lnTo>
                        <a:pt x="70" y="78"/>
                      </a:lnTo>
                      <a:lnTo>
                        <a:pt x="70" y="80"/>
                      </a:lnTo>
                      <a:lnTo>
                        <a:pt x="72" y="80"/>
                      </a:lnTo>
                      <a:lnTo>
                        <a:pt x="74" y="82"/>
                      </a:lnTo>
                      <a:lnTo>
                        <a:pt x="76" y="82"/>
                      </a:lnTo>
                      <a:lnTo>
                        <a:pt x="78" y="82"/>
                      </a:lnTo>
                      <a:lnTo>
                        <a:pt x="80" y="84"/>
                      </a:lnTo>
                      <a:lnTo>
                        <a:pt x="80" y="86"/>
                      </a:lnTo>
                      <a:lnTo>
                        <a:pt x="82" y="88"/>
                      </a:lnTo>
                      <a:lnTo>
                        <a:pt x="80" y="88"/>
                      </a:lnTo>
                      <a:lnTo>
                        <a:pt x="76" y="88"/>
                      </a:lnTo>
                      <a:lnTo>
                        <a:pt x="74" y="88"/>
                      </a:lnTo>
                      <a:lnTo>
                        <a:pt x="72" y="88"/>
                      </a:lnTo>
                      <a:lnTo>
                        <a:pt x="70" y="88"/>
                      </a:lnTo>
                      <a:lnTo>
                        <a:pt x="68" y="88"/>
                      </a:lnTo>
                      <a:lnTo>
                        <a:pt x="66" y="88"/>
                      </a:lnTo>
                      <a:lnTo>
                        <a:pt x="66" y="90"/>
                      </a:lnTo>
                      <a:lnTo>
                        <a:pt x="64" y="90"/>
                      </a:lnTo>
                      <a:lnTo>
                        <a:pt x="64" y="92"/>
                      </a:lnTo>
                      <a:lnTo>
                        <a:pt x="64" y="94"/>
                      </a:lnTo>
                      <a:lnTo>
                        <a:pt x="64" y="96"/>
                      </a:lnTo>
                      <a:lnTo>
                        <a:pt x="64" y="98"/>
                      </a:lnTo>
                      <a:lnTo>
                        <a:pt x="64" y="100"/>
                      </a:lnTo>
                      <a:lnTo>
                        <a:pt x="64" y="102"/>
                      </a:lnTo>
                      <a:lnTo>
                        <a:pt x="64" y="104"/>
                      </a:lnTo>
                      <a:lnTo>
                        <a:pt x="64" y="106"/>
                      </a:lnTo>
                      <a:lnTo>
                        <a:pt x="66" y="106"/>
                      </a:lnTo>
                      <a:lnTo>
                        <a:pt x="68" y="108"/>
                      </a:lnTo>
                      <a:lnTo>
                        <a:pt x="70" y="110"/>
                      </a:lnTo>
                      <a:lnTo>
                        <a:pt x="72" y="114"/>
                      </a:lnTo>
                      <a:lnTo>
                        <a:pt x="72" y="116"/>
                      </a:lnTo>
                      <a:lnTo>
                        <a:pt x="72" y="118"/>
                      </a:lnTo>
                      <a:lnTo>
                        <a:pt x="72" y="120"/>
                      </a:lnTo>
                      <a:lnTo>
                        <a:pt x="74" y="120"/>
                      </a:lnTo>
                      <a:lnTo>
                        <a:pt x="74" y="122"/>
                      </a:lnTo>
                      <a:lnTo>
                        <a:pt x="76" y="124"/>
                      </a:lnTo>
                      <a:lnTo>
                        <a:pt x="76" y="126"/>
                      </a:lnTo>
                      <a:lnTo>
                        <a:pt x="76" y="128"/>
                      </a:lnTo>
                      <a:lnTo>
                        <a:pt x="74" y="132"/>
                      </a:lnTo>
                      <a:lnTo>
                        <a:pt x="72" y="134"/>
                      </a:lnTo>
                      <a:lnTo>
                        <a:pt x="74" y="136"/>
                      </a:lnTo>
                      <a:lnTo>
                        <a:pt x="74" y="138"/>
                      </a:lnTo>
                      <a:lnTo>
                        <a:pt x="74" y="140"/>
                      </a:lnTo>
                      <a:lnTo>
                        <a:pt x="74" y="142"/>
                      </a:lnTo>
                      <a:lnTo>
                        <a:pt x="74" y="144"/>
                      </a:lnTo>
                      <a:lnTo>
                        <a:pt x="74" y="146"/>
                      </a:lnTo>
                      <a:lnTo>
                        <a:pt x="72" y="148"/>
                      </a:lnTo>
                      <a:lnTo>
                        <a:pt x="72" y="152"/>
                      </a:lnTo>
                      <a:lnTo>
                        <a:pt x="70" y="154"/>
                      </a:lnTo>
                      <a:lnTo>
                        <a:pt x="70" y="156"/>
                      </a:lnTo>
                      <a:lnTo>
                        <a:pt x="70" y="158"/>
                      </a:lnTo>
                      <a:lnTo>
                        <a:pt x="70" y="162"/>
                      </a:lnTo>
                      <a:lnTo>
                        <a:pt x="70" y="164"/>
                      </a:lnTo>
                      <a:lnTo>
                        <a:pt x="70" y="166"/>
                      </a:lnTo>
                      <a:lnTo>
                        <a:pt x="70" y="168"/>
                      </a:lnTo>
                      <a:lnTo>
                        <a:pt x="70" y="170"/>
                      </a:lnTo>
                      <a:lnTo>
                        <a:pt x="70" y="172"/>
                      </a:lnTo>
                      <a:lnTo>
                        <a:pt x="70" y="174"/>
                      </a:lnTo>
                      <a:lnTo>
                        <a:pt x="70" y="176"/>
                      </a:lnTo>
                      <a:lnTo>
                        <a:pt x="70" y="178"/>
                      </a:lnTo>
                      <a:lnTo>
                        <a:pt x="68" y="180"/>
                      </a:lnTo>
                      <a:lnTo>
                        <a:pt x="68" y="182"/>
                      </a:lnTo>
                      <a:lnTo>
                        <a:pt x="68" y="184"/>
                      </a:lnTo>
                      <a:lnTo>
                        <a:pt x="66" y="184"/>
                      </a:lnTo>
                      <a:lnTo>
                        <a:pt x="64" y="184"/>
                      </a:lnTo>
                      <a:lnTo>
                        <a:pt x="62" y="184"/>
                      </a:lnTo>
                      <a:lnTo>
                        <a:pt x="62" y="182"/>
                      </a:lnTo>
                      <a:lnTo>
                        <a:pt x="60" y="182"/>
                      </a:lnTo>
                      <a:lnTo>
                        <a:pt x="58" y="180"/>
                      </a:lnTo>
                      <a:lnTo>
                        <a:pt x="56" y="180"/>
                      </a:lnTo>
                      <a:lnTo>
                        <a:pt x="54" y="182"/>
                      </a:lnTo>
                      <a:lnTo>
                        <a:pt x="52" y="182"/>
                      </a:lnTo>
                      <a:lnTo>
                        <a:pt x="50" y="184"/>
                      </a:lnTo>
                      <a:lnTo>
                        <a:pt x="50" y="186"/>
                      </a:lnTo>
                      <a:lnTo>
                        <a:pt x="48" y="186"/>
                      </a:lnTo>
                      <a:lnTo>
                        <a:pt x="46" y="184"/>
                      </a:lnTo>
                      <a:lnTo>
                        <a:pt x="44" y="184"/>
                      </a:lnTo>
                      <a:lnTo>
                        <a:pt x="42" y="186"/>
                      </a:lnTo>
                      <a:lnTo>
                        <a:pt x="42" y="188"/>
                      </a:lnTo>
                      <a:lnTo>
                        <a:pt x="40" y="188"/>
                      </a:lnTo>
                      <a:lnTo>
                        <a:pt x="38" y="188"/>
                      </a:lnTo>
                      <a:lnTo>
                        <a:pt x="36" y="188"/>
                      </a:lnTo>
                      <a:lnTo>
                        <a:pt x="34" y="188"/>
                      </a:lnTo>
                      <a:lnTo>
                        <a:pt x="32" y="190"/>
                      </a:lnTo>
                      <a:lnTo>
                        <a:pt x="30" y="190"/>
                      </a:lnTo>
                      <a:lnTo>
                        <a:pt x="28" y="192"/>
                      </a:lnTo>
                      <a:lnTo>
                        <a:pt x="26" y="194"/>
                      </a:lnTo>
                      <a:lnTo>
                        <a:pt x="24" y="194"/>
                      </a:lnTo>
                      <a:lnTo>
                        <a:pt x="24" y="196"/>
                      </a:lnTo>
                      <a:lnTo>
                        <a:pt x="24" y="198"/>
                      </a:lnTo>
                      <a:lnTo>
                        <a:pt x="24" y="200"/>
                      </a:lnTo>
                      <a:lnTo>
                        <a:pt x="22" y="200"/>
                      </a:lnTo>
                      <a:lnTo>
                        <a:pt x="20" y="200"/>
                      </a:lnTo>
                      <a:lnTo>
                        <a:pt x="18" y="200"/>
                      </a:lnTo>
                      <a:lnTo>
                        <a:pt x="18" y="202"/>
                      </a:lnTo>
                      <a:lnTo>
                        <a:pt x="18" y="204"/>
                      </a:lnTo>
                      <a:lnTo>
                        <a:pt x="18" y="206"/>
                      </a:lnTo>
                      <a:lnTo>
                        <a:pt x="18" y="208"/>
                      </a:lnTo>
                      <a:lnTo>
                        <a:pt x="18" y="210"/>
                      </a:lnTo>
                      <a:lnTo>
                        <a:pt x="18" y="212"/>
                      </a:lnTo>
                      <a:lnTo>
                        <a:pt x="16" y="212"/>
                      </a:lnTo>
                      <a:lnTo>
                        <a:pt x="14" y="214"/>
                      </a:lnTo>
                      <a:lnTo>
                        <a:pt x="14" y="216"/>
                      </a:lnTo>
                      <a:lnTo>
                        <a:pt x="12" y="218"/>
                      </a:lnTo>
                      <a:lnTo>
                        <a:pt x="14" y="220"/>
                      </a:lnTo>
                      <a:lnTo>
                        <a:pt x="14" y="222"/>
                      </a:lnTo>
                      <a:lnTo>
                        <a:pt x="14" y="224"/>
                      </a:lnTo>
                      <a:lnTo>
                        <a:pt x="16" y="224"/>
                      </a:lnTo>
                      <a:lnTo>
                        <a:pt x="16" y="226"/>
                      </a:lnTo>
                      <a:lnTo>
                        <a:pt x="16" y="228"/>
                      </a:lnTo>
                      <a:lnTo>
                        <a:pt x="14" y="226"/>
                      </a:lnTo>
                      <a:lnTo>
                        <a:pt x="12" y="226"/>
                      </a:lnTo>
                      <a:lnTo>
                        <a:pt x="10" y="228"/>
                      </a:lnTo>
                      <a:lnTo>
                        <a:pt x="8" y="228"/>
                      </a:lnTo>
                      <a:lnTo>
                        <a:pt x="8" y="230"/>
                      </a:lnTo>
                      <a:lnTo>
                        <a:pt x="6" y="230"/>
                      </a:lnTo>
                      <a:lnTo>
                        <a:pt x="6" y="232"/>
                      </a:lnTo>
                      <a:lnTo>
                        <a:pt x="4" y="234"/>
                      </a:lnTo>
                      <a:lnTo>
                        <a:pt x="4" y="236"/>
                      </a:lnTo>
                      <a:lnTo>
                        <a:pt x="4" y="238"/>
                      </a:lnTo>
                      <a:lnTo>
                        <a:pt x="4" y="240"/>
                      </a:lnTo>
                      <a:lnTo>
                        <a:pt x="6" y="242"/>
                      </a:lnTo>
                      <a:lnTo>
                        <a:pt x="4" y="242"/>
                      </a:lnTo>
                      <a:lnTo>
                        <a:pt x="4" y="244"/>
                      </a:lnTo>
                      <a:lnTo>
                        <a:pt x="2" y="244"/>
                      </a:lnTo>
                      <a:lnTo>
                        <a:pt x="0" y="246"/>
                      </a:lnTo>
                      <a:lnTo>
                        <a:pt x="0" y="248"/>
                      </a:lnTo>
                      <a:lnTo>
                        <a:pt x="2" y="248"/>
                      </a:lnTo>
                      <a:lnTo>
                        <a:pt x="4" y="250"/>
                      </a:lnTo>
                      <a:lnTo>
                        <a:pt x="6" y="250"/>
                      </a:lnTo>
                      <a:lnTo>
                        <a:pt x="6" y="252"/>
                      </a:lnTo>
                      <a:lnTo>
                        <a:pt x="6" y="254"/>
                      </a:lnTo>
                      <a:lnTo>
                        <a:pt x="6" y="256"/>
                      </a:lnTo>
                      <a:lnTo>
                        <a:pt x="8" y="256"/>
                      </a:lnTo>
                      <a:lnTo>
                        <a:pt x="8" y="258"/>
                      </a:lnTo>
                      <a:lnTo>
                        <a:pt x="10" y="260"/>
                      </a:lnTo>
                      <a:lnTo>
                        <a:pt x="12" y="264"/>
                      </a:lnTo>
                      <a:lnTo>
                        <a:pt x="12" y="266"/>
                      </a:lnTo>
                      <a:lnTo>
                        <a:pt x="14" y="266"/>
                      </a:lnTo>
                      <a:lnTo>
                        <a:pt x="14" y="268"/>
                      </a:lnTo>
                      <a:lnTo>
                        <a:pt x="16" y="268"/>
                      </a:lnTo>
                      <a:lnTo>
                        <a:pt x="20" y="272"/>
                      </a:lnTo>
                      <a:lnTo>
                        <a:pt x="22" y="274"/>
                      </a:lnTo>
                      <a:lnTo>
                        <a:pt x="22" y="276"/>
                      </a:lnTo>
                      <a:lnTo>
                        <a:pt x="22" y="278"/>
                      </a:lnTo>
                      <a:lnTo>
                        <a:pt x="20" y="278"/>
                      </a:lnTo>
                      <a:lnTo>
                        <a:pt x="18" y="280"/>
                      </a:lnTo>
                      <a:lnTo>
                        <a:pt x="16" y="282"/>
                      </a:lnTo>
                      <a:lnTo>
                        <a:pt x="18" y="282"/>
                      </a:lnTo>
                      <a:lnTo>
                        <a:pt x="20" y="282"/>
                      </a:lnTo>
                      <a:lnTo>
                        <a:pt x="24" y="282"/>
                      </a:lnTo>
                      <a:lnTo>
                        <a:pt x="26" y="282"/>
                      </a:lnTo>
                      <a:lnTo>
                        <a:pt x="28" y="282"/>
                      </a:lnTo>
                      <a:lnTo>
                        <a:pt x="30" y="284"/>
                      </a:lnTo>
                      <a:lnTo>
                        <a:pt x="30" y="286"/>
                      </a:lnTo>
                      <a:lnTo>
                        <a:pt x="32" y="286"/>
                      </a:lnTo>
                      <a:lnTo>
                        <a:pt x="32" y="290"/>
                      </a:lnTo>
                      <a:lnTo>
                        <a:pt x="34" y="292"/>
                      </a:lnTo>
                      <a:lnTo>
                        <a:pt x="34" y="294"/>
                      </a:lnTo>
                      <a:lnTo>
                        <a:pt x="36" y="294"/>
                      </a:lnTo>
                      <a:lnTo>
                        <a:pt x="40" y="294"/>
                      </a:lnTo>
                      <a:lnTo>
                        <a:pt x="42" y="292"/>
                      </a:lnTo>
                      <a:lnTo>
                        <a:pt x="44" y="292"/>
                      </a:lnTo>
                      <a:lnTo>
                        <a:pt x="46" y="292"/>
                      </a:lnTo>
                      <a:lnTo>
                        <a:pt x="48" y="292"/>
                      </a:lnTo>
                      <a:lnTo>
                        <a:pt x="52" y="290"/>
                      </a:lnTo>
                      <a:lnTo>
                        <a:pt x="54" y="288"/>
                      </a:lnTo>
                      <a:lnTo>
                        <a:pt x="54" y="286"/>
                      </a:lnTo>
                      <a:lnTo>
                        <a:pt x="56" y="286"/>
                      </a:lnTo>
                      <a:lnTo>
                        <a:pt x="58" y="284"/>
                      </a:lnTo>
                      <a:lnTo>
                        <a:pt x="60" y="282"/>
                      </a:lnTo>
                      <a:lnTo>
                        <a:pt x="62" y="282"/>
                      </a:lnTo>
                      <a:lnTo>
                        <a:pt x="62" y="280"/>
                      </a:lnTo>
                      <a:lnTo>
                        <a:pt x="62" y="282"/>
                      </a:lnTo>
                      <a:lnTo>
                        <a:pt x="62" y="284"/>
                      </a:lnTo>
                      <a:lnTo>
                        <a:pt x="62" y="286"/>
                      </a:lnTo>
                      <a:lnTo>
                        <a:pt x="62" y="288"/>
                      </a:lnTo>
                      <a:lnTo>
                        <a:pt x="62" y="290"/>
                      </a:lnTo>
                      <a:lnTo>
                        <a:pt x="62" y="292"/>
                      </a:lnTo>
                      <a:lnTo>
                        <a:pt x="62" y="296"/>
                      </a:lnTo>
                      <a:lnTo>
                        <a:pt x="60" y="298"/>
                      </a:lnTo>
                      <a:lnTo>
                        <a:pt x="60" y="302"/>
                      </a:lnTo>
                      <a:lnTo>
                        <a:pt x="62" y="302"/>
                      </a:lnTo>
                      <a:lnTo>
                        <a:pt x="62" y="304"/>
                      </a:lnTo>
                      <a:lnTo>
                        <a:pt x="62" y="308"/>
                      </a:lnTo>
                      <a:lnTo>
                        <a:pt x="62" y="310"/>
                      </a:lnTo>
                      <a:lnTo>
                        <a:pt x="62" y="312"/>
                      </a:lnTo>
                      <a:lnTo>
                        <a:pt x="64" y="312"/>
                      </a:lnTo>
                      <a:lnTo>
                        <a:pt x="66" y="314"/>
                      </a:lnTo>
                      <a:lnTo>
                        <a:pt x="68" y="314"/>
                      </a:lnTo>
                      <a:lnTo>
                        <a:pt x="70" y="312"/>
                      </a:lnTo>
                      <a:lnTo>
                        <a:pt x="70" y="310"/>
                      </a:lnTo>
                      <a:lnTo>
                        <a:pt x="72" y="310"/>
                      </a:lnTo>
                      <a:lnTo>
                        <a:pt x="74" y="310"/>
                      </a:lnTo>
                      <a:lnTo>
                        <a:pt x="76" y="310"/>
                      </a:lnTo>
                      <a:lnTo>
                        <a:pt x="80" y="312"/>
                      </a:lnTo>
                      <a:lnTo>
                        <a:pt x="82" y="312"/>
                      </a:lnTo>
                      <a:lnTo>
                        <a:pt x="84" y="312"/>
                      </a:lnTo>
                      <a:lnTo>
                        <a:pt x="88" y="312"/>
                      </a:lnTo>
                      <a:lnTo>
                        <a:pt x="90" y="312"/>
                      </a:lnTo>
                      <a:lnTo>
                        <a:pt x="90" y="314"/>
                      </a:lnTo>
                      <a:lnTo>
                        <a:pt x="92" y="314"/>
                      </a:lnTo>
                      <a:lnTo>
                        <a:pt x="94" y="316"/>
                      </a:lnTo>
                      <a:lnTo>
                        <a:pt x="94" y="314"/>
                      </a:lnTo>
                      <a:lnTo>
                        <a:pt x="98" y="314"/>
                      </a:lnTo>
                      <a:lnTo>
                        <a:pt x="100" y="312"/>
                      </a:lnTo>
                      <a:lnTo>
                        <a:pt x="102" y="310"/>
                      </a:lnTo>
                      <a:lnTo>
                        <a:pt x="102" y="308"/>
                      </a:lnTo>
                      <a:lnTo>
                        <a:pt x="104" y="308"/>
                      </a:lnTo>
                      <a:lnTo>
                        <a:pt x="104" y="306"/>
                      </a:lnTo>
                      <a:lnTo>
                        <a:pt x="106" y="306"/>
                      </a:lnTo>
                      <a:lnTo>
                        <a:pt x="108" y="306"/>
                      </a:lnTo>
                      <a:lnTo>
                        <a:pt x="110" y="306"/>
                      </a:lnTo>
                      <a:lnTo>
                        <a:pt x="112" y="306"/>
                      </a:lnTo>
                      <a:lnTo>
                        <a:pt x="114" y="304"/>
                      </a:lnTo>
                      <a:lnTo>
                        <a:pt x="114" y="302"/>
                      </a:lnTo>
                      <a:lnTo>
                        <a:pt x="114" y="300"/>
                      </a:lnTo>
                      <a:lnTo>
                        <a:pt x="118" y="300"/>
                      </a:lnTo>
                      <a:lnTo>
                        <a:pt x="120" y="300"/>
                      </a:lnTo>
                      <a:lnTo>
                        <a:pt x="122" y="300"/>
                      </a:lnTo>
                      <a:lnTo>
                        <a:pt x="122" y="298"/>
                      </a:lnTo>
                      <a:lnTo>
                        <a:pt x="124" y="298"/>
                      </a:lnTo>
                      <a:lnTo>
                        <a:pt x="124" y="296"/>
                      </a:lnTo>
                      <a:lnTo>
                        <a:pt x="126" y="294"/>
                      </a:lnTo>
                      <a:lnTo>
                        <a:pt x="128" y="292"/>
                      </a:lnTo>
                      <a:lnTo>
                        <a:pt x="130" y="292"/>
                      </a:lnTo>
                      <a:lnTo>
                        <a:pt x="130" y="290"/>
                      </a:lnTo>
                      <a:lnTo>
                        <a:pt x="134" y="290"/>
                      </a:lnTo>
                      <a:lnTo>
                        <a:pt x="136" y="290"/>
                      </a:lnTo>
                      <a:lnTo>
                        <a:pt x="138" y="290"/>
                      </a:lnTo>
                      <a:lnTo>
                        <a:pt x="140" y="292"/>
                      </a:lnTo>
                      <a:lnTo>
                        <a:pt x="140" y="290"/>
                      </a:lnTo>
                      <a:lnTo>
                        <a:pt x="142" y="290"/>
                      </a:lnTo>
                      <a:lnTo>
                        <a:pt x="142" y="288"/>
                      </a:lnTo>
                      <a:lnTo>
                        <a:pt x="144" y="290"/>
                      </a:lnTo>
                      <a:lnTo>
                        <a:pt x="146" y="290"/>
                      </a:lnTo>
                      <a:lnTo>
                        <a:pt x="146" y="288"/>
                      </a:lnTo>
                      <a:lnTo>
                        <a:pt x="148" y="288"/>
                      </a:lnTo>
                      <a:lnTo>
                        <a:pt x="150" y="288"/>
                      </a:lnTo>
                      <a:lnTo>
                        <a:pt x="150" y="286"/>
                      </a:lnTo>
                      <a:lnTo>
                        <a:pt x="152" y="286"/>
                      </a:lnTo>
                      <a:lnTo>
                        <a:pt x="152" y="288"/>
                      </a:lnTo>
                      <a:lnTo>
                        <a:pt x="152" y="290"/>
                      </a:lnTo>
                      <a:lnTo>
                        <a:pt x="152" y="292"/>
                      </a:lnTo>
                      <a:lnTo>
                        <a:pt x="152" y="294"/>
                      </a:lnTo>
                      <a:lnTo>
                        <a:pt x="152" y="296"/>
                      </a:lnTo>
                      <a:lnTo>
                        <a:pt x="150" y="298"/>
                      </a:lnTo>
                      <a:lnTo>
                        <a:pt x="150" y="300"/>
                      </a:lnTo>
                      <a:lnTo>
                        <a:pt x="150" y="302"/>
                      </a:lnTo>
                      <a:lnTo>
                        <a:pt x="148" y="302"/>
                      </a:lnTo>
                      <a:lnTo>
                        <a:pt x="148" y="304"/>
                      </a:lnTo>
                      <a:lnTo>
                        <a:pt x="148" y="306"/>
                      </a:lnTo>
                      <a:lnTo>
                        <a:pt x="150" y="308"/>
                      </a:lnTo>
                      <a:lnTo>
                        <a:pt x="152" y="310"/>
                      </a:lnTo>
                      <a:lnTo>
                        <a:pt x="152" y="312"/>
                      </a:lnTo>
                      <a:lnTo>
                        <a:pt x="152" y="314"/>
                      </a:lnTo>
                      <a:lnTo>
                        <a:pt x="150" y="316"/>
                      </a:lnTo>
                      <a:lnTo>
                        <a:pt x="150" y="318"/>
                      </a:lnTo>
                      <a:lnTo>
                        <a:pt x="150" y="320"/>
                      </a:lnTo>
                      <a:lnTo>
                        <a:pt x="152" y="320"/>
                      </a:lnTo>
                      <a:lnTo>
                        <a:pt x="154" y="324"/>
                      </a:lnTo>
                      <a:lnTo>
                        <a:pt x="156" y="324"/>
                      </a:lnTo>
                      <a:lnTo>
                        <a:pt x="158" y="328"/>
                      </a:lnTo>
                      <a:lnTo>
                        <a:pt x="158" y="330"/>
                      </a:lnTo>
                      <a:lnTo>
                        <a:pt x="158" y="332"/>
                      </a:lnTo>
                      <a:lnTo>
                        <a:pt x="160" y="332"/>
                      </a:lnTo>
                      <a:lnTo>
                        <a:pt x="162" y="332"/>
                      </a:lnTo>
                      <a:lnTo>
                        <a:pt x="164" y="332"/>
                      </a:lnTo>
                      <a:lnTo>
                        <a:pt x="166" y="332"/>
                      </a:lnTo>
                      <a:lnTo>
                        <a:pt x="166" y="334"/>
                      </a:lnTo>
                      <a:lnTo>
                        <a:pt x="166" y="336"/>
                      </a:lnTo>
                      <a:lnTo>
                        <a:pt x="166" y="338"/>
                      </a:lnTo>
                      <a:lnTo>
                        <a:pt x="166" y="340"/>
                      </a:lnTo>
                      <a:lnTo>
                        <a:pt x="168" y="340"/>
                      </a:lnTo>
                      <a:lnTo>
                        <a:pt x="170" y="342"/>
                      </a:lnTo>
                      <a:lnTo>
                        <a:pt x="172" y="342"/>
                      </a:lnTo>
                      <a:lnTo>
                        <a:pt x="174" y="342"/>
                      </a:lnTo>
                      <a:lnTo>
                        <a:pt x="176" y="342"/>
                      </a:lnTo>
                      <a:lnTo>
                        <a:pt x="178" y="342"/>
                      </a:lnTo>
                      <a:lnTo>
                        <a:pt x="180" y="340"/>
                      </a:lnTo>
                      <a:lnTo>
                        <a:pt x="180" y="342"/>
                      </a:lnTo>
                      <a:lnTo>
                        <a:pt x="182" y="342"/>
                      </a:lnTo>
                      <a:lnTo>
                        <a:pt x="184" y="344"/>
                      </a:lnTo>
                      <a:lnTo>
                        <a:pt x="184" y="346"/>
                      </a:lnTo>
                      <a:lnTo>
                        <a:pt x="186" y="346"/>
                      </a:lnTo>
                      <a:lnTo>
                        <a:pt x="188" y="346"/>
                      </a:lnTo>
                      <a:lnTo>
                        <a:pt x="190" y="344"/>
                      </a:lnTo>
                      <a:lnTo>
                        <a:pt x="190" y="346"/>
                      </a:lnTo>
                      <a:lnTo>
                        <a:pt x="192" y="346"/>
                      </a:lnTo>
                      <a:lnTo>
                        <a:pt x="192" y="348"/>
                      </a:lnTo>
                      <a:lnTo>
                        <a:pt x="196" y="350"/>
                      </a:lnTo>
                      <a:lnTo>
                        <a:pt x="198" y="352"/>
                      </a:lnTo>
                      <a:lnTo>
                        <a:pt x="202" y="352"/>
                      </a:lnTo>
                      <a:lnTo>
                        <a:pt x="204" y="354"/>
                      </a:lnTo>
                      <a:lnTo>
                        <a:pt x="206" y="354"/>
                      </a:lnTo>
                      <a:lnTo>
                        <a:pt x="208" y="354"/>
                      </a:lnTo>
                      <a:lnTo>
                        <a:pt x="210" y="356"/>
                      </a:lnTo>
                      <a:lnTo>
                        <a:pt x="210" y="358"/>
                      </a:lnTo>
                      <a:lnTo>
                        <a:pt x="212" y="358"/>
                      </a:lnTo>
                      <a:lnTo>
                        <a:pt x="212" y="360"/>
                      </a:lnTo>
                      <a:lnTo>
                        <a:pt x="214" y="360"/>
                      </a:lnTo>
                      <a:lnTo>
                        <a:pt x="214" y="362"/>
                      </a:lnTo>
                      <a:lnTo>
                        <a:pt x="218" y="362"/>
                      </a:lnTo>
                      <a:lnTo>
                        <a:pt x="220" y="360"/>
                      </a:lnTo>
                      <a:lnTo>
                        <a:pt x="224" y="360"/>
                      </a:lnTo>
                      <a:lnTo>
                        <a:pt x="226" y="360"/>
                      </a:lnTo>
                      <a:lnTo>
                        <a:pt x="228" y="360"/>
                      </a:lnTo>
                      <a:lnTo>
                        <a:pt x="230" y="362"/>
                      </a:lnTo>
                      <a:lnTo>
                        <a:pt x="234" y="364"/>
                      </a:lnTo>
                      <a:lnTo>
                        <a:pt x="236" y="364"/>
                      </a:lnTo>
                      <a:lnTo>
                        <a:pt x="236" y="366"/>
                      </a:lnTo>
                      <a:lnTo>
                        <a:pt x="238" y="368"/>
                      </a:lnTo>
                      <a:lnTo>
                        <a:pt x="238" y="370"/>
                      </a:lnTo>
                      <a:lnTo>
                        <a:pt x="238" y="372"/>
                      </a:lnTo>
                      <a:lnTo>
                        <a:pt x="238" y="374"/>
                      </a:lnTo>
                      <a:lnTo>
                        <a:pt x="238" y="376"/>
                      </a:lnTo>
                      <a:lnTo>
                        <a:pt x="240" y="380"/>
                      </a:lnTo>
                      <a:lnTo>
                        <a:pt x="240" y="382"/>
                      </a:lnTo>
                      <a:lnTo>
                        <a:pt x="242" y="382"/>
                      </a:lnTo>
                      <a:lnTo>
                        <a:pt x="242" y="384"/>
                      </a:lnTo>
                      <a:lnTo>
                        <a:pt x="242" y="386"/>
                      </a:lnTo>
                      <a:lnTo>
                        <a:pt x="242" y="388"/>
                      </a:lnTo>
                      <a:lnTo>
                        <a:pt x="242" y="390"/>
                      </a:lnTo>
                      <a:lnTo>
                        <a:pt x="240" y="390"/>
                      </a:lnTo>
                      <a:lnTo>
                        <a:pt x="238" y="390"/>
                      </a:lnTo>
                      <a:lnTo>
                        <a:pt x="238" y="392"/>
                      </a:lnTo>
                      <a:lnTo>
                        <a:pt x="238" y="394"/>
                      </a:lnTo>
                      <a:lnTo>
                        <a:pt x="240" y="396"/>
                      </a:lnTo>
                      <a:lnTo>
                        <a:pt x="242" y="396"/>
                      </a:lnTo>
                      <a:lnTo>
                        <a:pt x="244" y="398"/>
                      </a:lnTo>
                      <a:lnTo>
                        <a:pt x="244" y="400"/>
                      </a:lnTo>
                      <a:lnTo>
                        <a:pt x="242" y="402"/>
                      </a:lnTo>
                      <a:lnTo>
                        <a:pt x="242" y="404"/>
                      </a:lnTo>
                      <a:lnTo>
                        <a:pt x="242" y="406"/>
                      </a:lnTo>
                      <a:lnTo>
                        <a:pt x="242" y="408"/>
                      </a:lnTo>
                      <a:lnTo>
                        <a:pt x="244" y="410"/>
                      </a:lnTo>
                      <a:lnTo>
                        <a:pt x="244" y="412"/>
                      </a:lnTo>
                      <a:lnTo>
                        <a:pt x="246" y="414"/>
                      </a:lnTo>
                      <a:lnTo>
                        <a:pt x="248" y="414"/>
                      </a:lnTo>
                      <a:lnTo>
                        <a:pt x="250" y="414"/>
                      </a:lnTo>
                      <a:lnTo>
                        <a:pt x="252" y="414"/>
                      </a:lnTo>
                      <a:lnTo>
                        <a:pt x="254" y="414"/>
                      </a:lnTo>
                      <a:lnTo>
                        <a:pt x="258" y="414"/>
                      </a:lnTo>
                      <a:lnTo>
                        <a:pt x="262" y="416"/>
                      </a:lnTo>
                      <a:lnTo>
                        <a:pt x="268" y="416"/>
                      </a:lnTo>
                      <a:lnTo>
                        <a:pt x="270" y="416"/>
                      </a:lnTo>
                      <a:lnTo>
                        <a:pt x="272" y="416"/>
                      </a:lnTo>
                      <a:lnTo>
                        <a:pt x="274" y="416"/>
                      </a:lnTo>
                      <a:lnTo>
                        <a:pt x="276" y="416"/>
                      </a:lnTo>
                      <a:lnTo>
                        <a:pt x="278" y="416"/>
                      </a:lnTo>
                      <a:lnTo>
                        <a:pt x="276" y="418"/>
                      </a:lnTo>
                      <a:lnTo>
                        <a:pt x="276" y="420"/>
                      </a:lnTo>
                      <a:lnTo>
                        <a:pt x="276" y="424"/>
                      </a:lnTo>
                      <a:lnTo>
                        <a:pt x="276" y="426"/>
                      </a:lnTo>
                      <a:lnTo>
                        <a:pt x="276" y="428"/>
                      </a:lnTo>
                      <a:lnTo>
                        <a:pt x="276" y="430"/>
                      </a:lnTo>
                      <a:lnTo>
                        <a:pt x="276" y="432"/>
                      </a:lnTo>
                      <a:lnTo>
                        <a:pt x="278" y="432"/>
                      </a:lnTo>
                      <a:lnTo>
                        <a:pt x="280" y="434"/>
                      </a:lnTo>
                      <a:lnTo>
                        <a:pt x="282" y="434"/>
                      </a:lnTo>
                      <a:lnTo>
                        <a:pt x="286" y="436"/>
                      </a:lnTo>
                      <a:lnTo>
                        <a:pt x="286" y="438"/>
                      </a:lnTo>
                      <a:lnTo>
                        <a:pt x="288" y="440"/>
                      </a:lnTo>
                      <a:lnTo>
                        <a:pt x="290" y="440"/>
                      </a:lnTo>
                      <a:lnTo>
                        <a:pt x="290" y="442"/>
                      </a:lnTo>
                      <a:lnTo>
                        <a:pt x="292" y="444"/>
                      </a:lnTo>
                      <a:lnTo>
                        <a:pt x="292" y="446"/>
                      </a:lnTo>
                      <a:lnTo>
                        <a:pt x="292" y="448"/>
                      </a:lnTo>
                      <a:lnTo>
                        <a:pt x="292" y="450"/>
                      </a:lnTo>
                      <a:lnTo>
                        <a:pt x="292" y="452"/>
                      </a:lnTo>
                      <a:lnTo>
                        <a:pt x="292" y="454"/>
                      </a:lnTo>
                      <a:lnTo>
                        <a:pt x="292" y="460"/>
                      </a:lnTo>
                      <a:lnTo>
                        <a:pt x="292" y="462"/>
                      </a:lnTo>
                      <a:lnTo>
                        <a:pt x="290" y="464"/>
                      </a:lnTo>
                      <a:lnTo>
                        <a:pt x="292" y="466"/>
                      </a:lnTo>
                      <a:lnTo>
                        <a:pt x="292" y="468"/>
                      </a:lnTo>
                      <a:lnTo>
                        <a:pt x="290" y="470"/>
                      </a:lnTo>
                      <a:lnTo>
                        <a:pt x="288" y="472"/>
                      </a:lnTo>
                      <a:lnTo>
                        <a:pt x="288" y="474"/>
                      </a:lnTo>
                      <a:lnTo>
                        <a:pt x="286" y="476"/>
                      </a:lnTo>
                      <a:lnTo>
                        <a:pt x="286" y="478"/>
                      </a:lnTo>
                      <a:lnTo>
                        <a:pt x="286" y="480"/>
                      </a:lnTo>
                      <a:lnTo>
                        <a:pt x="288" y="480"/>
                      </a:lnTo>
                      <a:lnTo>
                        <a:pt x="290" y="482"/>
                      </a:lnTo>
                      <a:lnTo>
                        <a:pt x="290" y="484"/>
                      </a:lnTo>
                      <a:lnTo>
                        <a:pt x="292" y="484"/>
                      </a:lnTo>
                      <a:lnTo>
                        <a:pt x="290" y="484"/>
                      </a:lnTo>
                      <a:lnTo>
                        <a:pt x="290" y="486"/>
                      </a:lnTo>
                      <a:lnTo>
                        <a:pt x="288" y="486"/>
                      </a:lnTo>
                      <a:lnTo>
                        <a:pt x="286" y="488"/>
                      </a:lnTo>
                      <a:lnTo>
                        <a:pt x="286" y="490"/>
                      </a:lnTo>
                      <a:lnTo>
                        <a:pt x="288" y="492"/>
                      </a:lnTo>
                      <a:lnTo>
                        <a:pt x="290" y="492"/>
                      </a:lnTo>
                      <a:lnTo>
                        <a:pt x="290" y="494"/>
                      </a:lnTo>
                      <a:lnTo>
                        <a:pt x="290" y="496"/>
                      </a:lnTo>
                      <a:lnTo>
                        <a:pt x="290" y="498"/>
                      </a:lnTo>
                      <a:lnTo>
                        <a:pt x="290" y="500"/>
                      </a:lnTo>
                      <a:lnTo>
                        <a:pt x="290" y="502"/>
                      </a:lnTo>
                      <a:lnTo>
                        <a:pt x="292" y="502"/>
                      </a:lnTo>
                      <a:lnTo>
                        <a:pt x="294" y="502"/>
                      </a:lnTo>
                      <a:lnTo>
                        <a:pt x="294" y="504"/>
                      </a:lnTo>
                      <a:lnTo>
                        <a:pt x="294" y="506"/>
                      </a:lnTo>
                      <a:lnTo>
                        <a:pt x="292" y="508"/>
                      </a:lnTo>
                      <a:lnTo>
                        <a:pt x="292" y="512"/>
                      </a:lnTo>
                      <a:lnTo>
                        <a:pt x="292" y="514"/>
                      </a:lnTo>
                      <a:lnTo>
                        <a:pt x="292" y="516"/>
                      </a:lnTo>
                      <a:lnTo>
                        <a:pt x="292" y="520"/>
                      </a:lnTo>
                      <a:lnTo>
                        <a:pt x="292" y="522"/>
                      </a:lnTo>
                      <a:lnTo>
                        <a:pt x="294" y="524"/>
                      </a:lnTo>
                      <a:lnTo>
                        <a:pt x="296" y="524"/>
                      </a:lnTo>
                      <a:lnTo>
                        <a:pt x="300" y="526"/>
                      </a:lnTo>
                      <a:lnTo>
                        <a:pt x="304" y="526"/>
                      </a:lnTo>
                      <a:lnTo>
                        <a:pt x="308" y="528"/>
                      </a:lnTo>
                      <a:lnTo>
                        <a:pt x="312" y="528"/>
                      </a:lnTo>
                      <a:lnTo>
                        <a:pt x="314" y="528"/>
                      </a:lnTo>
                      <a:lnTo>
                        <a:pt x="318" y="528"/>
                      </a:lnTo>
                      <a:lnTo>
                        <a:pt x="320" y="528"/>
                      </a:lnTo>
                      <a:lnTo>
                        <a:pt x="326" y="528"/>
                      </a:lnTo>
                      <a:lnTo>
                        <a:pt x="330" y="528"/>
                      </a:lnTo>
                      <a:lnTo>
                        <a:pt x="332" y="528"/>
                      </a:lnTo>
                      <a:lnTo>
                        <a:pt x="334" y="530"/>
                      </a:lnTo>
                      <a:lnTo>
                        <a:pt x="334" y="532"/>
                      </a:lnTo>
                      <a:lnTo>
                        <a:pt x="334" y="534"/>
                      </a:lnTo>
                      <a:lnTo>
                        <a:pt x="334" y="538"/>
                      </a:lnTo>
                      <a:lnTo>
                        <a:pt x="334" y="540"/>
                      </a:lnTo>
                      <a:lnTo>
                        <a:pt x="334" y="544"/>
                      </a:lnTo>
                      <a:lnTo>
                        <a:pt x="336" y="546"/>
                      </a:lnTo>
                      <a:lnTo>
                        <a:pt x="336" y="552"/>
                      </a:lnTo>
                      <a:lnTo>
                        <a:pt x="338" y="554"/>
                      </a:lnTo>
                      <a:lnTo>
                        <a:pt x="338" y="556"/>
                      </a:lnTo>
                      <a:lnTo>
                        <a:pt x="340" y="558"/>
                      </a:lnTo>
                      <a:lnTo>
                        <a:pt x="340" y="560"/>
                      </a:lnTo>
                      <a:lnTo>
                        <a:pt x="342" y="562"/>
                      </a:lnTo>
                      <a:lnTo>
                        <a:pt x="344" y="562"/>
                      </a:lnTo>
                      <a:lnTo>
                        <a:pt x="346" y="562"/>
                      </a:lnTo>
                      <a:lnTo>
                        <a:pt x="346" y="560"/>
                      </a:lnTo>
                      <a:lnTo>
                        <a:pt x="348" y="560"/>
                      </a:lnTo>
                      <a:lnTo>
                        <a:pt x="350" y="560"/>
                      </a:lnTo>
                      <a:lnTo>
                        <a:pt x="350" y="558"/>
                      </a:lnTo>
                      <a:lnTo>
                        <a:pt x="352" y="558"/>
                      </a:lnTo>
                      <a:lnTo>
                        <a:pt x="354" y="558"/>
                      </a:lnTo>
                      <a:lnTo>
                        <a:pt x="356" y="560"/>
                      </a:lnTo>
                      <a:lnTo>
                        <a:pt x="358" y="560"/>
                      </a:lnTo>
                      <a:lnTo>
                        <a:pt x="358" y="562"/>
                      </a:lnTo>
                      <a:lnTo>
                        <a:pt x="360" y="562"/>
                      </a:lnTo>
                      <a:lnTo>
                        <a:pt x="360" y="564"/>
                      </a:lnTo>
                      <a:lnTo>
                        <a:pt x="360" y="566"/>
                      </a:lnTo>
                      <a:lnTo>
                        <a:pt x="360" y="570"/>
                      </a:lnTo>
                      <a:lnTo>
                        <a:pt x="360" y="572"/>
                      </a:lnTo>
                      <a:lnTo>
                        <a:pt x="358" y="574"/>
                      </a:lnTo>
                      <a:lnTo>
                        <a:pt x="358" y="576"/>
                      </a:lnTo>
                      <a:lnTo>
                        <a:pt x="358" y="578"/>
                      </a:lnTo>
                      <a:lnTo>
                        <a:pt x="358" y="580"/>
                      </a:lnTo>
                      <a:lnTo>
                        <a:pt x="358" y="582"/>
                      </a:lnTo>
                      <a:lnTo>
                        <a:pt x="358" y="584"/>
                      </a:lnTo>
                      <a:lnTo>
                        <a:pt x="358" y="586"/>
                      </a:lnTo>
                      <a:lnTo>
                        <a:pt x="358" y="588"/>
                      </a:lnTo>
                      <a:lnTo>
                        <a:pt x="358" y="590"/>
                      </a:lnTo>
                      <a:lnTo>
                        <a:pt x="358" y="592"/>
                      </a:lnTo>
                      <a:lnTo>
                        <a:pt x="358" y="594"/>
                      </a:lnTo>
                      <a:lnTo>
                        <a:pt x="360" y="592"/>
                      </a:lnTo>
                      <a:lnTo>
                        <a:pt x="362" y="592"/>
                      </a:lnTo>
                      <a:lnTo>
                        <a:pt x="364" y="590"/>
                      </a:lnTo>
                      <a:lnTo>
                        <a:pt x="366" y="592"/>
                      </a:lnTo>
                      <a:lnTo>
                        <a:pt x="368" y="594"/>
                      </a:lnTo>
                      <a:lnTo>
                        <a:pt x="368" y="596"/>
                      </a:lnTo>
                      <a:lnTo>
                        <a:pt x="370" y="598"/>
                      </a:lnTo>
                      <a:lnTo>
                        <a:pt x="370" y="600"/>
                      </a:lnTo>
                      <a:lnTo>
                        <a:pt x="372" y="600"/>
                      </a:lnTo>
                      <a:lnTo>
                        <a:pt x="374" y="602"/>
                      </a:lnTo>
                      <a:lnTo>
                        <a:pt x="374" y="604"/>
                      </a:lnTo>
                      <a:lnTo>
                        <a:pt x="374" y="608"/>
                      </a:lnTo>
                      <a:lnTo>
                        <a:pt x="374" y="610"/>
                      </a:lnTo>
                      <a:lnTo>
                        <a:pt x="376" y="612"/>
                      </a:lnTo>
                      <a:lnTo>
                        <a:pt x="376" y="616"/>
                      </a:lnTo>
                      <a:lnTo>
                        <a:pt x="376" y="618"/>
                      </a:lnTo>
                      <a:lnTo>
                        <a:pt x="376" y="620"/>
                      </a:lnTo>
                      <a:lnTo>
                        <a:pt x="374" y="622"/>
                      </a:lnTo>
                      <a:lnTo>
                        <a:pt x="372" y="624"/>
                      </a:lnTo>
                      <a:lnTo>
                        <a:pt x="368" y="624"/>
                      </a:lnTo>
                      <a:lnTo>
                        <a:pt x="366" y="626"/>
                      </a:lnTo>
                      <a:lnTo>
                        <a:pt x="362" y="626"/>
                      </a:lnTo>
                      <a:lnTo>
                        <a:pt x="360" y="628"/>
                      </a:lnTo>
                      <a:lnTo>
                        <a:pt x="358" y="630"/>
                      </a:lnTo>
                      <a:lnTo>
                        <a:pt x="358" y="632"/>
                      </a:lnTo>
                      <a:lnTo>
                        <a:pt x="358" y="634"/>
                      </a:lnTo>
                      <a:lnTo>
                        <a:pt x="356" y="634"/>
                      </a:lnTo>
                      <a:lnTo>
                        <a:pt x="354" y="634"/>
                      </a:lnTo>
                      <a:lnTo>
                        <a:pt x="352" y="634"/>
                      </a:lnTo>
                      <a:lnTo>
                        <a:pt x="352" y="636"/>
                      </a:lnTo>
                      <a:lnTo>
                        <a:pt x="350" y="636"/>
                      </a:lnTo>
                      <a:lnTo>
                        <a:pt x="350" y="638"/>
                      </a:lnTo>
                      <a:lnTo>
                        <a:pt x="350" y="640"/>
                      </a:lnTo>
                      <a:lnTo>
                        <a:pt x="348" y="640"/>
                      </a:lnTo>
                      <a:lnTo>
                        <a:pt x="348" y="642"/>
                      </a:lnTo>
                      <a:lnTo>
                        <a:pt x="348" y="644"/>
                      </a:lnTo>
                      <a:lnTo>
                        <a:pt x="348" y="646"/>
                      </a:lnTo>
                      <a:lnTo>
                        <a:pt x="346" y="646"/>
                      </a:lnTo>
                      <a:lnTo>
                        <a:pt x="344" y="646"/>
                      </a:lnTo>
                      <a:lnTo>
                        <a:pt x="342" y="648"/>
                      </a:lnTo>
                      <a:lnTo>
                        <a:pt x="340" y="650"/>
                      </a:lnTo>
                      <a:lnTo>
                        <a:pt x="340" y="652"/>
                      </a:lnTo>
                      <a:lnTo>
                        <a:pt x="340" y="654"/>
                      </a:lnTo>
                      <a:lnTo>
                        <a:pt x="340" y="656"/>
                      </a:lnTo>
                      <a:lnTo>
                        <a:pt x="338" y="658"/>
                      </a:lnTo>
                      <a:lnTo>
                        <a:pt x="336" y="658"/>
                      </a:lnTo>
                      <a:lnTo>
                        <a:pt x="336" y="660"/>
                      </a:lnTo>
                      <a:lnTo>
                        <a:pt x="334" y="660"/>
                      </a:lnTo>
                      <a:lnTo>
                        <a:pt x="334" y="662"/>
                      </a:lnTo>
                      <a:lnTo>
                        <a:pt x="334" y="664"/>
                      </a:lnTo>
                      <a:lnTo>
                        <a:pt x="334" y="666"/>
                      </a:lnTo>
                      <a:lnTo>
                        <a:pt x="332" y="668"/>
                      </a:lnTo>
                      <a:lnTo>
                        <a:pt x="332" y="670"/>
                      </a:lnTo>
                      <a:lnTo>
                        <a:pt x="330" y="670"/>
                      </a:lnTo>
                      <a:lnTo>
                        <a:pt x="330" y="672"/>
                      </a:lnTo>
                      <a:lnTo>
                        <a:pt x="326" y="672"/>
                      </a:lnTo>
                      <a:lnTo>
                        <a:pt x="324" y="672"/>
                      </a:lnTo>
                      <a:lnTo>
                        <a:pt x="324" y="674"/>
                      </a:lnTo>
                      <a:lnTo>
                        <a:pt x="324" y="676"/>
                      </a:lnTo>
                      <a:lnTo>
                        <a:pt x="324" y="680"/>
                      </a:lnTo>
                      <a:lnTo>
                        <a:pt x="322" y="680"/>
                      </a:lnTo>
                      <a:lnTo>
                        <a:pt x="322" y="682"/>
                      </a:lnTo>
                      <a:lnTo>
                        <a:pt x="324" y="682"/>
                      </a:lnTo>
                      <a:lnTo>
                        <a:pt x="326" y="682"/>
                      </a:lnTo>
                      <a:lnTo>
                        <a:pt x="328" y="682"/>
                      </a:lnTo>
                      <a:lnTo>
                        <a:pt x="330" y="682"/>
                      </a:lnTo>
                      <a:lnTo>
                        <a:pt x="332" y="680"/>
                      </a:lnTo>
                      <a:lnTo>
                        <a:pt x="334" y="680"/>
                      </a:lnTo>
                      <a:lnTo>
                        <a:pt x="336" y="680"/>
                      </a:lnTo>
                      <a:lnTo>
                        <a:pt x="338" y="682"/>
                      </a:lnTo>
                      <a:lnTo>
                        <a:pt x="340" y="682"/>
                      </a:lnTo>
                      <a:lnTo>
                        <a:pt x="342" y="684"/>
                      </a:lnTo>
                      <a:lnTo>
                        <a:pt x="344" y="686"/>
                      </a:lnTo>
                      <a:lnTo>
                        <a:pt x="346" y="688"/>
                      </a:lnTo>
                      <a:lnTo>
                        <a:pt x="348" y="690"/>
                      </a:lnTo>
                      <a:lnTo>
                        <a:pt x="348" y="692"/>
                      </a:lnTo>
                      <a:lnTo>
                        <a:pt x="350" y="694"/>
                      </a:lnTo>
                      <a:lnTo>
                        <a:pt x="350" y="696"/>
                      </a:lnTo>
                      <a:lnTo>
                        <a:pt x="352" y="696"/>
                      </a:lnTo>
                      <a:lnTo>
                        <a:pt x="352" y="698"/>
                      </a:lnTo>
                      <a:lnTo>
                        <a:pt x="354" y="698"/>
                      </a:lnTo>
                      <a:lnTo>
                        <a:pt x="356" y="696"/>
                      </a:lnTo>
                      <a:lnTo>
                        <a:pt x="356" y="694"/>
                      </a:lnTo>
                      <a:lnTo>
                        <a:pt x="358" y="694"/>
                      </a:lnTo>
                      <a:lnTo>
                        <a:pt x="360" y="694"/>
                      </a:lnTo>
                      <a:lnTo>
                        <a:pt x="360" y="696"/>
                      </a:lnTo>
                      <a:lnTo>
                        <a:pt x="364" y="698"/>
                      </a:lnTo>
                      <a:lnTo>
                        <a:pt x="366" y="700"/>
                      </a:lnTo>
                      <a:lnTo>
                        <a:pt x="366" y="702"/>
                      </a:lnTo>
                      <a:lnTo>
                        <a:pt x="368" y="702"/>
                      </a:lnTo>
                      <a:lnTo>
                        <a:pt x="370" y="704"/>
                      </a:lnTo>
                      <a:lnTo>
                        <a:pt x="372" y="704"/>
                      </a:lnTo>
                      <a:lnTo>
                        <a:pt x="374" y="704"/>
                      </a:lnTo>
                      <a:lnTo>
                        <a:pt x="374" y="706"/>
                      </a:lnTo>
                      <a:lnTo>
                        <a:pt x="376" y="706"/>
                      </a:lnTo>
                      <a:lnTo>
                        <a:pt x="378" y="706"/>
                      </a:lnTo>
                      <a:lnTo>
                        <a:pt x="378" y="708"/>
                      </a:lnTo>
                      <a:lnTo>
                        <a:pt x="380" y="710"/>
                      </a:lnTo>
                      <a:lnTo>
                        <a:pt x="382" y="712"/>
                      </a:lnTo>
                      <a:lnTo>
                        <a:pt x="384" y="714"/>
                      </a:lnTo>
                      <a:lnTo>
                        <a:pt x="388" y="714"/>
                      </a:lnTo>
                      <a:lnTo>
                        <a:pt x="390" y="714"/>
                      </a:lnTo>
                      <a:lnTo>
                        <a:pt x="390" y="716"/>
                      </a:lnTo>
                      <a:lnTo>
                        <a:pt x="392" y="718"/>
                      </a:lnTo>
                      <a:lnTo>
                        <a:pt x="392" y="720"/>
                      </a:lnTo>
                      <a:lnTo>
                        <a:pt x="394" y="722"/>
                      </a:lnTo>
                      <a:lnTo>
                        <a:pt x="394" y="724"/>
                      </a:lnTo>
                      <a:lnTo>
                        <a:pt x="396" y="724"/>
                      </a:lnTo>
                      <a:lnTo>
                        <a:pt x="396" y="726"/>
                      </a:lnTo>
                      <a:lnTo>
                        <a:pt x="398" y="726"/>
                      </a:lnTo>
                      <a:lnTo>
                        <a:pt x="402" y="726"/>
                      </a:lnTo>
                      <a:lnTo>
                        <a:pt x="404" y="728"/>
                      </a:lnTo>
                      <a:lnTo>
                        <a:pt x="404" y="730"/>
                      </a:lnTo>
                      <a:lnTo>
                        <a:pt x="402" y="732"/>
                      </a:lnTo>
                      <a:lnTo>
                        <a:pt x="400" y="734"/>
                      </a:lnTo>
                      <a:lnTo>
                        <a:pt x="398" y="736"/>
                      </a:lnTo>
                      <a:lnTo>
                        <a:pt x="398" y="738"/>
                      </a:lnTo>
                      <a:lnTo>
                        <a:pt x="398" y="740"/>
                      </a:lnTo>
                      <a:lnTo>
                        <a:pt x="400" y="740"/>
                      </a:lnTo>
                      <a:lnTo>
                        <a:pt x="400" y="742"/>
                      </a:lnTo>
                      <a:lnTo>
                        <a:pt x="402" y="742"/>
                      </a:lnTo>
                      <a:lnTo>
                        <a:pt x="402" y="744"/>
                      </a:lnTo>
                      <a:lnTo>
                        <a:pt x="400" y="746"/>
                      </a:lnTo>
                      <a:lnTo>
                        <a:pt x="400" y="748"/>
                      </a:lnTo>
                      <a:lnTo>
                        <a:pt x="400" y="750"/>
                      </a:lnTo>
                      <a:lnTo>
                        <a:pt x="402" y="750"/>
                      </a:lnTo>
                      <a:lnTo>
                        <a:pt x="404" y="750"/>
                      </a:lnTo>
                      <a:lnTo>
                        <a:pt x="404" y="748"/>
                      </a:lnTo>
                      <a:lnTo>
                        <a:pt x="406" y="746"/>
                      </a:lnTo>
                      <a:lnTo>
                        <a:pt x="408" y="744"/>
                      </a:lnTo>
                      <a:lnTo>
                        <a:pt x="410" y="740"/>
                      </a:lnTo>
                      <a:lnTo>
                        <a:pt x="412" y="738"/>
                      </a:lnTo>
                      <a:lnTo>
                        <a:pt x="412" y="736"/>
                      </a:lnTo>
                      <a:lnTo>
                        <a:pt x="414" y="736"/>
                      </a:lnTo>
                      <a:lnTo>
                        <a:pt x="414" y="734"/>
                      </a:lnTo>
                      <a:lnTo>
                        <a:pt x="414" y="732"/>
                      </a:lnTo>
                      <a:lnTo>
                        <a:pt x="414" y="730"/>
                      </a:lnTo>
                      <a:lnTo>
                        <a:pt x="414" y="728"/>
                      </a:lnTo>
                      <a:lnTo>
                        <a:pt x="414" y="726"/>
                      </a:lnTo>
                      <a:lnTo>
                        <a:pt x="412" y="726"/>
                      </a:lnTo>
                      <a:lnTo>
                        <a:pt x="414" y="722"/>
                      </a:lnTo>
                      <a:lnTo>
                        <a:pt x="416" y="722"/>
                      </a:lnTo>
                      <a:lnTo>
                        <a:pt x="416" y="720"/>
                      </a:lnTo>
                      <a:lnTo>
                        <a:pt x="418" y="718"/>
                      </a:lnTo>
                      <a:lnTo>
                        <a:pt x="416" y="718"/>
                      </a:lnTo>
                      <a:lnTo>
                        <a:pt x="416" y="716"/>
                      </a:lnTo>
                      <a:lnTo>
                        <a:pt x="414" y="714"/>
                      </a:lnTo>
                      <a:lnTo>
                        <a:pt x="414" y="712"/>
                      </a:lnTo>
                      <a:lnTo>
                        <a:pt x="414" y="710"/>
                      </a:lnTo>
                      <a:lnTo>
                        <a:pt x="416" y="708"/>
                      </a:lnTo>
                      <a:lnTo>
                        <a:pt x="418" y="708"/>
                      </a:lnTo>
                      <a:lnTo>
                        <a:pt x="418" y="706"/>
                      </a:lnTo>
                      <a:lnTo>
                        <a:pt x="418" y="704"/>
                      </a:lnTo>
                      <a:lnTo>
                        <a:pt x="418" y="702"/>
                      </a:lnTo>
                      <a:lnTo>
                        <a:pt x="420" y="702"/>
                      </a:lnTo>
                      <a:lnTo>
                        <a:pt x="422" y="702"/>
                      </a:lnTo>
                      <a:lnTo>
                        <a:pt x="424" y="702"/>
                      </a:lnTo>
                      <a:lnTo>
                        <a:pt x="424" y="700"/>
                      </a:lnTo>
                      <a:lnTo>
                        <a:pt x="424" y="698"/>
                      </a:lnTo>
                      <a:lnTo>
                        <a:pt x="426" y="696"/>
                      </a:lnTo>
                      <a:lnTo>
                        <a:pt x="426" y="694"/>
                      </a:lnTo>
                      <a:lnTo>
                        <a:pt x="426" y="690"/>
                      </a:lnTo>
                      <a:lnTo>
                        <a:pt x="426" y="688"/>
                      </a:lnTo>
                      <a:lnTo>
                        <a:pt x="428" y="686"/>
                      </a:lnTo>
                      <a:lnTo>
                        <a:pt x="428" y="684"/>
                      </a:lnTo>
                      <a:lnTo>
                        <a:pt x="430" y="684"/>
                      </a:lnTo>
                      <a:lnTo>
                        <a:pt x="432" y="682"/>
                      </a:lnTo>
                      <a:lnTo>
                        <a:pt x="434" y="682"/>
                      </a:lnTo>
                      <a:lnTo>
                        <a:pt x="436" y="682"/>
                      </a:lnTo>
                      <a:lnTo>
                        <a:pt x="436" y="684"/>
                      </a:lnTo>
                      <a:lnTo>
                        <a:pt x="436" y="686"/>
                      </a:lnTo>
                      <a:lnTo>
                        <a:pt x="436" y="688"/>
                      </a:lnTo>
                      <a:lnTo>
                        <a:pt x="436" y="690"/>
                      </a:lnTo>
                      <a:lnTo>
                        <a:pt x="434" y="692"/>
                      </a:lnTo>
                      <a:lnTo>
                        <a:pt x="434" y="694"/>
                      </a:lnTo>
                      <a:lnTo>
                        <a:pt x="432" y="694"/>
                      </a:lnTo>
                      <a:lnTo>
                        <a:pt x="432" y="696"/>
                      </a:lnTo>
                      <a:lnTo>
                        <a:pt x="432" y="698"/>
                      </a:lnTo>
                      <a:lnTo>
                        <a:pt x="430" y="700"/>
                      </a:lnTo>
                      <a:lnTo>
                        <a:pt x="430" y="702"/>
                      </a:lnTo>
                      <a:lnTo>
                        <a:pt x="430" y="704"/>
                      </a:lnTo>
                      <a:lnTo>
                        <a:pt x="428" y="706"/>
                      </a:lnTo>
                      <a:lnTo>
                        <a:pt x="426" y="708"/>
                      </a:lnTo>
                      <a:lnTo>
                        <a:pt x="424" y="708"/>
                      </a:lnTo>
                      <a:lnTo>
                        <a:pt x="422" y="710"/>
                      </a:lnTo>
                      <a:lnTo>
                        <a:pt x="420" y="712"/>
                      </a:lnTo>
                      <a:lnTo>
                        <a:pt x="418" y="714"/>
                      </a:lnTo>
                      <a:lnTo>
                        <a:pt x="416" y="714"/>
                      </a:lnTo>
                      <a:lnTo>
                        <a:pt x="418" y="716"/>
                      </a:lnTo>
                      <a:lnTo>
                        <a:pt x="420" y="716"/>
                      </a:lnTo>
                      <a:lnTo>
                        <a:pt x="422" y="716"/>
                      </a:lnTo>
                      <a:lnTo>
                        <a:pt x="422" y="714"/>
                      </a:lnTo>
                      <a:lnTo>
                        <a:pt x="424" y="714"/>
                      </a:lnTo>
                      <a:lnTo>
                        <a:pt x="424" y="712"/>
                      </a:lnTo>
                      <a:lnTo>
                        <a:pt x="424" y="710"/>
                      </a:lnTo>
                      <a:lnTo>
                        <a:pt x="426" y="710"/>
                      </a:lnTo>
                      <a:lnTo>
                        <a:pt x="428" y="710"/>
                      </a:lnTo>
                      <a:lnTo>
                        <a:pt x="430" y="710"/>
                      </a:lnTo>
                      <a:lnTo>
                        <a:pt x="430" y="708"/>
                      </a:lnTo>
                      <a:lnTo>
                        <a:pt x="432" y="706"/>
                      </a:lnTo>
                      <a:lnTo>
                        <a:pt x="434" y="702"/>
                      </a:lnTo>
                      <a:lnTo>
                        <a:pt x="436" y="700"/>
                      </a:lnTo>
                      <a:lnTo>
                        <a:pt x="438" y="696"/>
                      </a:lnTo>
                      <a:lnTo>
                        <a:pt x="440" y="692"/>
                      </a:lnTo>
                      <a:lnTo>
                        <a:pt x="440" y="688"/>
                      </a:lnTo>
                      <a:lnTo>
                        <a:pt x="442" y="684"/>
                      </a:lnTo>
                      <a:lnTo>
                        <a:pt x="444" y="680"/>
                      </a:lnTo>
                      <a:lnTo>
                        <a:pt x="446" y="674"/>
                      </a:lnTo>
                      <a:lnTo>
                        <a:pt x="448" y="668"/>
                      </a:lnTo>
                      <a:lnTo>
                        <a:pt x="448" y="666"/>
                      </a:lnTo>
                      <a:lnTo>
                        <a:pt x="448" y="664"/>
                      </a:lnTo>
                      <a:lnTo>
                        <a:pt x="450" y="662"/>
                      </a:lnTo>
                      <a:lnTo>
                        <a:pt x="452" y="660"/>
                      </a:lnTo>
                      <a:lnTo>
                        <a:pt x="454" y="658"/>
                      </a:lnTo>
                      <a:lnTo>
                        <a:pt x="454" y="656"/>
                      </a:lnTo>
                      <a:lnTo>
                        <a:pt x="456" y="654"/>
                      </a:lnTo>
                      <a:lnTo>
                        <a:pt x="458" y="654"/>
                      </a:lnTo>
                      <a:lnTo>
                        <a:pt x="460" y="652"/>
                      </a:lnTo>
                      <a:lnTo>
                        <a:pt x="460" y="650"/>
                      </a:lnTo>
                      <a:lnTo>
                        <a:pt x="460" y="648"/>
                      </a:lnTo>
                      <a:lnTo>
                        <a:pt x="458" y="646"/>
                      </a:lnTo>
                      <a:lnTo>
                        <a:pt x="460" y="646"/>
                      </a:lnTo>
                      <a:lnTo>
                        <a:pt x="462" y="644"/>
                      </a:lnTo>
                      <a:lnTo>
                        <a:pt x="464" y="642"/>
                      </a:lnTo>
                      <a:lnTo>
                        <a:pt x="462" y="640"/>
                      </a:lnTo>
                      <a:lnTo>
                        <a:pt x="462" y="638"/>
                      </a:lnTo>
                      <a:lnTo>
                        <a:pt x="462" y="636"/>
                      </a:lnTo>
                      <a:lnTo>
                        <a:pt x="462" y="634"/>
                      </a:lnTo>
                      <a:lnTo>
                        <a:pt x="462" y="632"/>
                      </a:lnTo>
                      <a:lnTo>
                        <a:pt x="464" y="630"/>
                      </a:lnTo>
                      <a:lnTo>
                        <a:pt x="462" y="630"/>
                      </a:lnTo>
                      <a:lnTo>
                        <a:pt x="462" y="628"/>
                      </a:lnTo>
                      <a:lnTo>
                        <a:pt x="460" y="628"/>
                      </a:lnTo>
                      <a:lnTo>
                        <a:pt x="462" y="626"/>
                      </a:lnTo>
                      <a:lnTo>
                        <a:pt x="462" y="624"/>
                      </a:lnTo>
                      <a:lnTo>
                        <a:pt x="462" y="622"/>
                      </a:lnTo>
                      <a:lnTo>
                        <a:pt x="462" y="620"/>
                      </a:lnTo>
                      <a:lnTo>
                        <a:pt x="460" y="618"/>
                      </a:lnTo>
                      <a:lnTo>
                        <a:pt x="458" y="618"/>
                      </a:lnTo>
                      <a:lnTo>
                        <a:pt x="458" y="616"/>
                      </a:lnTo>
                      <a:lnTo>
                        <a:pt x="456" y="614"/>
                      </a:lnTo>
                      <a:lnTo>
                        <a:pt x="456" y="612"/>
                      </a:lnTo>
                      <a:lnTo>
                        <a:pt x="456" y="610"/>
                      </a:lnTo>
                      <a:lnTo>
                        <a:pt x="456" y="608"/>
                      </a:lnTo>
                      <a:lnTo>
                        <a:pt x="454" y="606"/>
                      </a:lnTo>
                      <a:lnTo>
                        <a:pt x="454" y="604"/>
                      </a:lnTo>
                      <a:lnTo>
                        <a:pt x="456" y="604"/>
                      </a:lnTo>
                      <a:lnTo>
                        <a:pt x="456" y="606"/>
                      </a:lnTo>
                      <a:lnTo>
                        <a:pt x="458" y="606"/>
                      </a:lnTo>
                      <a:lnTo>
                        <a:pt x="458" y="604"/>
                      </a:lnTo>
                      <a:lnTo>
                        <a:pt x="458" y="602"/>
                      </a:lnTo>
                      <a:lnTo>
                        <a:pt x="458" y="600"/>
                      </a:lnTo>
                      <a:lnTo>
                        <a:pt x="458" y="598"/>
                      </a:lnTo>
                      <a:lnTo>
                        <a:pt x="456" y="598"/>
                      </a:lnTo>
                      <a:lnTo>
                        <a:pt x="454" y="598"/>
                      </a:lnTo>
                      <a:lnTo>
                        <a:pt x="454" y="596"/>
                      </a:lnTo>
                      <a:lnTo>
                        <a:pt x="456" y="596"/>
                      </a:lnTo>
                      <a:lnTo>
                        <a:pt x="458" y="596"/>
                      </a:lnTo>
                      <a:lnTo>
                        <a:pt x="458" y="594"/>
                      </a:lnTo>
                      <a:lnTo>
                        <a:pt x="458" y="592"/>
                      </a:lnTo>
                      <a:lnTo>
                        <a:pt x="456" y="592"/>
                      </a:lnTo>
                      <a:lnTo>
                        <a:pt x="456" y="590"/>
                      </a:lnTo>
                      <a:lnTo>
                        <a:pt x="454" y="590"/>
                      </a:lnTo>
                      <a:lnTo>
                        <a:pt x="454" y="588"/>
                      </a:lnTo>
                      <a:lnTo>
                        <a:pt x="456" y="586"/>
                      </a:lnTo>
                      <a:lnTo>
                        <a:pt x="458" y="586"/>
                      </a:lnTo>
                      <a:lnTo>
                        <a:pt x="460" y="586"/>
                      </a:lnTo>
                      <a:lnTo>
                        <a:pt x="462" y="586"/>
                      </a:lnTo>
                      <a:lnTo>
                        <a:pt x="462" y="588"/>
                      </a:lnTo>
                      <a:lnTo>
                        <a:pt x="464" y="588"/>
                      </a:lnTo>
                      <a:lnTo>
                        <a:pt x="464" y="590"/>
                      </a:lnTo>
                      <a:lnTo>
                        <a:pt x="466" y="590"/>
                      </a:lnTo>
                      <a:lnTo>
                        <a:pt x="466" y="588"/>
                      </a:lnTo>
                      <a:lnTo>
                        <a:pt x="468" y="586"/>
                      </a:lnTo>
                      <a:lnTo>
                        <a:pt x="466" y="586"/>
                      </a:lnTo>
                      <a:lnTo>
                        <a:pt x="466" y="584"/>
                      </a:lnTo>
                      <a:lnTo>
                        <a:pt x="468" y="582"/>
                      </a:lnTo>
                      <a:lnTo>
                        <a:pt x="468" y="580"/>
                      </a:lnTo>
                      <a:lnTo>
                        <a:pt x="468" y="578"/>
                      </a:lnTo>
                      <a:lnTo>
                        <a:pt x="470" y="578"/>
                      </a:lnTo>
                      <a:lnTo>
                        <a:pt x="470" y="576"/>
                      </a:lnTo>
                      <a:lnTo>
                        <a:pt x="472" y="576"/>
                      </a:lnTo>
                      <a:lnTo>
                        <a:pt x="474" y="574"/>
                      </a:lnTo>
                      <a:lnTo>
                        <a:pt x="478" y="574"/>
                      </a:lnTo>
                      <a:lnTo>
                        <a:pt x="478" y="572"/>
                      </a:lnTo>
                      <a:lnTo>
                        <a:pt x="480" y="572"/>
                      </a:lnTo>
                      <a:lnTo>
                        <a:pt x="480" y="570"/>
                      </a:lnTo>
                      <a:lnTo>
                        <a:pt x="480" y="568"/>
                      </a:lnTo>
                      <a:lnTo>
                        <a:pt x="480" y="566"/>
                      </a:lnTo>
                      <a:lnTo>
                        <a:pt x="482" y="566"/>
                      </a:lnTo>
                      <a:lnTo>
                        <a:pt x="482" y="564"/>
                      </a:lnTo>
                      <a:lnTo>
                        <a:pt x="484" y="564"/>
                      </a:lnTo>
                      <a:lnTo>
                        <a:pt x="486" y="564"/>
                      </a:lnTo>
                      <a:lnTo>
                        <a:pt x="488" y="564"/>
                      </a:lnTo>
                      <a:lnTo>
                        <a:pt x="488" y="562"/>
                      </a:lnTo>
                      <a:lnTo>
                        <a:pt x="490" y="562"/>
                      </a:lnTo>
                      <a:lnTo>
                        <a:pt x="492" y="562"/>
                      </a:lnTo>
                      <a:lnTo>
                        <a:pt x="494" y="562"/>
                      </a:lnTo>
                      <a:lnTo>
                        <a:pt x="494" y="560"/>
                      </a:lnTo>
                      <a:lnTo>
                        <a:pt x="496" y="558"/>
                      </a:lnTo>
                      <a:lnTo>
                        <a:pt x="496" y="556"/>
                      </a:lnTo>
                      <a:lnTo>
                        <a:pt x="498" y="556"/>
                      </a:lnTo>
                      <a:lnTo>
                        <a:pt x="500" y="556"/>
                      </a:lnTo>
                      <a:lnTo>
                        <a:pt x="502" y="556"/>
                      </a:lnTo>
                      <a:lnTo>
                        <a:pt x="504" y="558"/>
                      </a:lnTo>
                      <a:lnTo>
                        <a:pt x="506" y="558"/>
                      </a:lnTo>
                      <a:lnTo>
                        <a:pt x="506" y="560"/>
                      </a:lnTo>
                      <a:lnTo>
                        <a:pt x="506" y="562"/>
                      </a:lnTo>
                      <a:lnTo>
                        <a:pt x="508" y="560"/>
                      </a:lnTo>
                      <a:lnTo>
                        <a:pt x="510" y="560"/>
                      </a:lnTo>
                      <a:lnTo>
                        <a:pt x="510" y="558"/>
                      </a:lnTo>
                      <a:lnTo>
                        <a:pt x="508" y="558"/>
                      </a:lnTo>
                      <a:lnTo>
                        <a:pt x="508" y="556"/>
                      </a:lnTo>
                      <a:lnTo>
                        <a:pt x="506" y="556"/>
                      </a:lnTo>
                      <a:lnTo>
                        <a:pt x="506" y="554"/>
                      </a:lnTo>
                      <a:lnTo>
                        <a:pt x="508" y="554"/>
                      </a:lnTo>
                      <a:lnTo>
                        <a:pt x="510" y="552"/>
                      </a:lnTo>
                      <a:lnTo>
                        <a:pt x="512" y="550"/>
                      </a:lnTo>
                      <a:lnTo>
                        <a:pt x="514" y="550"/>
                      </a:lnTo>
                      <a:lnTo>
                        <a:pt x="516" y="550"/>
                      </a:lnTo>
                      <a:lnTo>
                        <a:pt x="518" y="550"/>
                      </a:lnTo>
                      <a:lnTo>
                        <a:pt x="520" y="550"/>
                      </a:lnTo>
                      <a:lnTo>
                        <a:pt x="520" y="548"/>
                      </a:lnTo>
                      <a:lnTo>
                        <a:pt x="518" y="546"/>
                      </a:lnTo>
                      <a:lnTo>
                        <a:pt x="516" y="546"/>
                      </a:lnTo>
                      <a:lnTo>
                        <a:pt x="518" y="544"/>
                      </a:lnTo>
                      <a:lnTo>
                        <a:pt x="520" y="542"/>
                      </a:lnTo>
                      <a:lnTo>
                        <a:pt x="522" y="542"/>
                      </a:lnTo>
                      <a:lnTo>
                        <a:pt x="524" y="542"/>
                      </a:lnTo>
                      <a:lnTo>
                        <a:pt x="524" y="544"/>
                      </a:lnTo>
                      <a:lnTo>
                        <a:pt x="524" y="546"/>
                      </a:lnTo>
                      <a:lnTo>
                        <a:pt x="524" y="548"/>
                      </a:lnTo>
                      <a:lnTo>
                        <a:pt x="526" y="546"/>
                      </a:lnTo>
                      <a:lnTo>
                        <a:pt x="526" y="544"/>
                      </a:lnTo>
                      <a:lnTo>
                        <a:pt x="526" y="542"/>
                      </a:lnTo>
                      <a:lnTo>
                        <a:pt x="530" y="542"/>
                      </a:lnTo>
                      <a:lnTo>
                        <a:pt x="532" y="542"/>
                      </a:lnTo>
                      <a:lnTo>
                        <a:pt x="534" y="542"/>
                      </a:lnTo>
                      <a:lnTo>
                        <a:pt x="536" y="544"/>
                      </a:lnTo>
                      <a:lnTo>
                        <a:pt x="536" y="542"/>
                      </a:lnTo>
                      <a:lnTo>
                        <a:pt x="536" y="540"/>
                      </a:lnTo>
                      <a:lnTo>
                        <a:pt x="538" y="540"/>
                      </a:lnTo>
                      <a:lnTo>
                        <a:pt x="538" y="538"/>
                      </a:lnTo>
                      <a:lnTo>
                        <a:pt x="540" y="538"/>
                      </a:lnTo>
                      <a:lnTo>
                        <a:pt x="540" y="536"/>
                      </a:lnTo>
                      <a:lnTo>
                        <a:pt x="542" y="536"/>
                      </a:lnTo>
                      <a:lnTo>
                        <a:pt x="544" y="536"/>
                      </a:lnTo>
                      <a:lnTo>
                        <a:pt x="544" y="538"/>
                      </a:lnTo>
                      <a:lnTo>
                        <a:pt x="544" y="540"/>
                      </a:lnTo>
                      <a:lnTo>
                        <a:pt x="544" y="542"/>
                      </a:lnTo>
                      <a:lnTo>
                        <a:pt x="544" y="544"/>
                      </a:lnTo>
                      <a:lnTo>
                        <a:pt x="548" y="542"/>
                      </a:lnTo>
                      <a:lnTo>
                        <a:pt x="550" y="542"/>
                      </a:lnTo>
                      <a:lnTo>
                        <a:pt x="552" y="542"/>
                      </a:lnTo>
                      <a:lnTo>
                        <a:pt x="554" y="542"/>
                      </a:lnTo>
                      <a:lnTo>
                        <a:pt x="556" y="542"/>
                      </a:lnTo>
                      <a:lnTo>
                        <a:pt x="558" y="542"/>
                      </a:lnTo>
                      <a:lnTo>
                        <a:pt x="560" y="542"/>
                      </a:lnTo>
                      <a:lnTo>
                        <a:pt x="562" y="540"/>
                      </a:lnTo>
                      <a:lnTo>
                        <a:pt x="562" y="538"/>
                      </a:lnTo>
                      <a:lnTo>
                        <a:pt x="562" y="536"/>
                      </a:lnTo>
                      <a:lnTo>
                        <a:pt x="560" y="536"/>
                      </a:lnTo>
                      <a:lnTo>
                        <a:pt x="560" y="534"/>
                      </a:lnTo>
                      <a:lnTo>
                        <a:pt x="562" y="534"/>
                      </a:lnTo>
                      <a:lnTo>
                        <a:pt x="562" y="532"/>
                      </a:lnTo>
                      <a:lnTo>
                        <a:pt x="564" y="528"/>
                      </a:lnTo>
                      <a:lnTo>
                        <a:pt x="566" y="528"/>
                      </a:lnTo>
                      <a:lnTo>
                        <a:pt x="568" y="526"/>
                      </a:lnTo>
                      <a:lnTo>
                        <a:pt x="570" y="526"/>
                      </a:lnTo>
                      <a:lnTo>
                        <a:pt x="572" y="526"/>
                      </a:lnTo>
                      <a:lnTo>
                        <a:pt x="574" y="524"/>
                      </a:lnTo>
                      <a:lnTo>
                        <a:pt x="576" y="524"/>
                      </a:lnTo>
                      <a:lnTo>
                        <a:pt x="578" y="524"/>
                      </a:lnTo>
                      <a:lnTo>
                        <a:pt x="576" y="524"/>
                      </a:lnTo>
                      <a:lnTo>
                        <a:pt x="576" y="522"/>
                      </a:lnTo>
                      <a:lnTo>
                        <a:pt x="576" y="520"/>
                      </a:lnTo>
                      <a:lnTo>
                        <a:pt x="576" y="518"/>
                      </a:lnTo>
                      <a:lnTo>
                        <a:pt x="576" y="516"/>
                      </a:lnTo>
                      <a:lnTo>
                        <a:pt x="576" y="512"/>
                      </a:lnTo>
                      <a:lnTo>
                        <a:pt x="576" y="510"/>
                      </a:lnTo>
                      <a:lnTo>
                        <a:pt x="576" y="508"/>
                      </a:lnTo>
                      <a:lnTo>
                        <a:pt x="576" y="504"/>
                      </a:lnTo>
                      <a:lnTo>
                        <a:pt x="576" y="502"/>
                      </a:lnTo>
                      <a:lnTo>
                        <a:pt x="578" y="500"/>
                      </a:lnTo>
                      <a:lnTo>
                        <a:pt x="580" y="498"/>
                      </a:lnTo>
                      <a:lnTo>
                        <a:pt x="582" y="496"/>
                      </a:lnTo>
                      <a:lnTo>
                        <a:pt x="584" y="494"/>
                      </a:lnTo>
                      <a:lnTo>
                        <a:pt x="584" y="492"/>
                      </a:lnTo>
                      <a:lnTo>
                        <a:pt x="584" y="490"/>
                      </a:lnTo>
                      <a:lnTo>
                        <a:pt x="586" y="490"/>
                      </a:lnTo>
                      <a:lnTo>
                        <a:pt x="588" y="488"/>
                      </a:lnTo>
                      <a:lnTo>
                        <a:pt x="588" y="486"/>
                      </a:lnTo>
                      <a:lnTo>
                        <a:pt x="588" y="484"/>
                      </a:lnTo>
                      <a:lnTo>
                        <a:pt x="588" y="482"/>
                      </a:lnTo>
                      <a:lnTo>
                        <a:pt x="588" y="480"/>
                      </a:lnTo>
                      <a:lnTo>
                        <a:pt x="590" y="480"/>
                      </a:lnTo>
                      <a:lnTo>
                        <a:pt x="592" y="480"/>
                      </a:lnTo>
                      <a:lnTo>
                        <a:pt x="592" y="478"/>
                      </a:lnTo>
                      <a:lnTo>
                        <a:pt x="594" y="478"/>
                      </a:lnTo>
                      <a:lnTo>
                        <a:pt x="594" y="476"/>
                      </a:lnTo>
                      <a:lnTo>
                        <a:pt x="594" y="474"/>
                      </a:lnTo>
                      <a:lnTo>
                        <a:pt x="594" y="472"/>
                      </a:lnTo>
                      <a:lnTo>
                        <a:pt x="594" y="470"/>
                      </a:lnTo>
                      <a:lnTo>
                        <a:pt x="594" y="468"/>
                      </a:lnTo>
                      <a:lnTo>
                        <a:pt x="594" y="466"/>
                      </a:lnTo>
                      <a:lnTo>
                        <a:pt x="592" y="464"/>
                      </a:lnTo>
                      <a:lnTo>
                        <a:pt x="592" y="462"/>
                      </a:lnTo>
                      <a:lnTo>
                        <a:pt x="592" y="458"/>
                      </a:lnTo>
                      <a:lnTo>
                        <a:pt x="592" y="456"/>
                      </a:lnTo>
                      <a:lnTo>
                        <a:pt x="592" y="454"/>
                      </a:lnTo>
                      <a:lnTo>
                        <a:pt x="592" y="452"/>
                      </a:lnTo>
                      <a:lnTo>
                        <a:pt x="592" y="450"/>
                      </a:lnTo>
                      <a:lnTo>
                        <a:pt x="592" y="448"/>
                      </a:lnTo>
                      <a:lnTo>
                        <a:pt x="594" y="446"/>
                      </a:lnTo>
                      <a:lnTo>
                        <a:pt x="596" y="444"/>
                      </a:lnTo>
                      <a:lnTo>
                        <a:pt x="598" y="444"/>
                      </a:lnTo>
                      <a:lnTo>
                        <a:pt x="598" y="442"/>
                      </a:lnTo>
                      <a:lnTo>
                        <a:pt x="600" y="442"/>
                      </a:lnTo>
                      <a:lnTo>
                        <a:pt x="600" y="440"/>
                      </a:lnTo>
                      <a:lnTo>
                        <a:pt x="600" y="438"/>
                      </a:lnTo>
                      <a:lnTo>
                        <a:pt x="600" y="436"/>
                      </a:lnTo>
                      <a:lnTo>
                        <a:pt x="598" y="436"/>
                      </a:lnTo>
                      <a:lnTo>
                        <a:pt x="598" y="434"/>
                      </a:lnTo>
                      <a:lnTo>
                        <a:pt x="598" y="432"/>
                      </a:lnTo>
                      <a:lnTo>
                        <a:pt x="598" y="430"/>
                      </a:lnTo>
                      <a:lnTo>
                        <a:pt x="598" y="428"/>
                      </a:lnTo>
                      <a:lnTo>
                        <a:pt x="598" y="426"/>
                      </a:lnTo>
                      <a:lnTo>
                        <a:pt x="598" y="424"/>
                      </a:lnTo>
                      <a:lnTo>
                        <a:pt x="598" y="422"/>
                      </a:lnTo>
                      <a:lnTo>
                        <a:pt x="598" y="420"/>
                      </a:lnTo>
                      <a:lnTo>
                        <a:pt x="600" y="420"/>
                      </a:lnTo>
                      <a:lnTo>
                        <a:pt x="600" y="418"/>
                      </a:lnTo>
                      <a:lnTo>
                        <a:pt x="600" y="416"/>
                      </a:lnTo>
                      <a:lnTo>
                        <a:pt x="600" y="414"/>
                      </a:lnTo>
                      <a:lnTo>
                        <a:pt x="602" y="408"/>
                      </a:lnTo>
                      <a:lnTo>
                        <a:pt x="602" y="406"/>
                      </a:lnTo>
                      <a:lnTo>
                        <a:pt x="602" y="404"/>
                      </a:lnTo>
                      <a:lnTo>
                        <a:pt x="602" y="402"/>
                      </a:lnTo>
                      <a:lnTo>
                        <a:pt x="602" y="400"/>
                      </a:lnTo>
                      <a:lnTo>
                        <a:pt x="600" y="398"/>
                      </a:lnTo>
                      <a:lnTo>
                        <a:pt x="600" y="396"/>
                      </a:lnTo>
                      <a:lnTo>
                        <a:pt x="600" y="390"/>
                      </a:lnTo>
                      <a:lnTo>
                        <a:pt x="598" y="386"/>
                      </a:lnTo>
                      <a:lnTo>
                        <a:pt x="598" y="384"/>
                      </a:lnTo>
                      <a:lnTo>
                        <a:pt x="598" y="382"/>
                      </a:lnTo>
                      <a:lnTo>
                        <a:pt x="598" y="380"/>
                      </a:lnTo>
                      <a:lnTo>
                        <a:pt x="596" y="380"/>
                      </a:lnTo>
                      <a:lnTo>
                        <a:pt x="598" y="376"/>
                      </a:lnTo>
                      <a:lnTo>
                        <a:pt x="598" y="374"/>
                      </a:lnTo>
                      <a:lnTo>
                        <a:pt x="598" y="372"/>
                      </a:lnTo>
                      <a:lnTo>
                        <a:pt x="598" y="370"/>
                      </a:lnTo>
                      <a:lnTo>
                        <a:pt x="598" y="368"/>
                      </a:lnTo>
                      <a:lnTo>
                        <a:pt x="598" y="366"/>
                      </a:lnTo>
                      <a:lnTo>
                        <a:pt x="596" y="364"/>
                      </a:lnTo>
                      <a:lnTo>
                        <a:pt x="596" y="360"/>
                      </a:lnTo>
                      <a:lnTo>
                        <a:pt x="596" y="358"/>
                      </a:lnTo>
                      <a:lnTo>
                        <a:pt x="598" y="356"/>
                      </a:lnTo>
                      <a:lnTo>
                        <a:pt x="598" y="354"/>
                      </a:lnTo>
                      <a:lnTo>
                        <a:pt x="600" y="352"/>
                      </a:lnTo>
                      <a:lnTo>
                        <a:pt x="602" y="352"/>
                      </a:lnTo>
                      <a:lnTo>
                        <a:pt x="602" y="350"/>
                      </a:lnTo>
                      <a:lnTo>
                        <a:pt x="600" y="350"/>
                      </a:lnTo>
                      <a:lnTo>
                        <a:pt x="600" y="348"/>
                      </a:lnTo>
                      <a:lnTo>
                        <a:pt x="598" y="348"/>
                      </a:lnTo>
                      <a:lnTo>
                        <a:pt x="598" y="346"/>
                      </a:lnTo>
                      <a:lnTo>
                        <a:pt x="600" y="346"/>
                      </a:lnTo>
                      <a:lnTo>
                        <a:pt x="602" y="344"/>
                      </a:lnTo>
                      <a:lnTo>
                        <a:pt x="604" y="344"/>
                      </a:lnTo>
                      <a:lnTo>
                        <a:pt x="606" y="346"/>
                      </a:lnTo>
                      <a:lnTo>
                        <a:pt x="606" y="348"/>
                      </a:lnTo>
                      <a:lnTo>
                        <a:pt x="608" y="348"/>
                      </a:lnTo>
                      <a:lnTo>
                        <a:pt x="608" y="350"/>
                      </a:lnTo>
                      <a:lnTo>
                        <a:pt x="608" y="348"/>
                      </a:lnTo>
                      <a:lnTo>
                        <a:pt x="610" y="348"/>
                      </a:lnTo>
                      <a:lnTo>
                        <a:pt x="612" y="346"/>
                      </a:lnTo>
                      <a:lnTo>
                        <a:pt x="616" y="342"/>
                      </a:lnTo>
                      <a:lnTo>
                        <a:pt x="618" y="340"/>
                      </a:lnTo>
                      <a:lnTo>
                        <a:pt x="620" y="338"/>
                      </a:lnTo>
                      <a:lnTo>
                        <a:pt x="620" y="334"/>
                      </a:lnTo>
                      <a:lnTo>
                        <a:pt x="620" y="332"/>
                      </a:lnTo>
                      <a:lnTo>
                        <a:pt x="620" y="328"/>
                      </a:lnTo>
                      <a:lnTo>
                        <a:pt x="622" y="324"/>
                      </a:lnTo>
                      <a:lnTo>
                        <a:pt x="622" y="322"/>
                      </a:lnTo>
                      <a:lnTo>
                        <a:pt x="622" y="320"/>
                      </a:lnTo>
                      <a:lnTo>
                        <a:pt x="624" y="320"/>
                      </a:lnTo>
                      <a:lnTo>
                        <a:pt x="624" y="318"/>
                      </a:lnTo>
                      <a:lnTo>
                        <a:pt x="626" y="318"/>
                      </a:lnTo>
                      <a:lnTo>
                        <a:pt x="628" y="316"/>
                      </a:lnTo>
                      <a:lnTo>
                        <a:pt x="628" y="314"/>
                      </a:lnTo>
                      <a:lnTo>
                        <a:pt x="630" y="312"/>
                      </a:lnTo>
                      <a:lnTo>
                        <a:pt x="630" y="310"/>
                      </a:lnTo>
                      <a:lnTo>
                        <a:pt x="630" y="308"/>
                      </a:lnTo>
                      <a:lnTo>
                        <a:pt x="632" y="306"/>
                      </a:lnTo>
                      <a:lnTo>
                        <a:pt x="634" y="306"/>
                      </a:lnTo>
                      <a:lnTo>
                        <a:pt x="636" y="306"/>
                      </a:lnTo>
                      <a:lnTo>
                        <a:pt x="638" y="304"/>
                      </a:lnTo>
                      <a:lnTo>
                        <a:pt x="640" y="304"/>
                      </a:lnTo>
                      <a:lnTo>
                        <a:pt x="640" y="302"/>
                      </a:lnTo>
                      <a:lnTo>
                        <a:pt x="640" y="300"/>
                      </a:lnTo>
                      <a:lnTo>
                        <a:pt x="640" y="298"/>
                      </a:lnTo>
                      <a:lnTo>
                        <a:pt x="642" y="298"/>
                      </a:lnTo>
                      <a:lnTo>
                        <a:pt x="642" y="296"/>
                      </a:lnTo>
                      <a:lnTo>
                        <a:pt x="644" y="296"/>
                      </a:lnTo>
                      <a:lnTo>
                        <a:pt x="644" y="294"/>
                      </a:lnTo>
                      <a:lnTo>
                        <a:pt x="646" y="294"/>
                      </a:lnTo>
                      <a:lnTo>
                        <a:pt x="648" y="292"/>
                      </a:lnTo>
                      <a:lnTo>
                        <a:pt x="650" y="290"/>
                      </a:lnTo>
                      <a:lnTo>
                        <a:pt x="650" y="288"/>
                      </a:lnTo>
                      <a:lnTo>
                        <a:pt x="652" y="286"/>
                      </a:lnTo>
                      <a:lnTo>
                        <a:pt x="654" y="282"/>
                      </a:lnTo>
                      <a:lnTo>
                        <a:pt x="656" y="278"/>
                      </a:lnTo>
                      <a:lnTo>
                        <a:pt x="656" y="276"/>
                      </a:lnTo>
                      <a:lnTo>
                        <a:pt x="658" y="272"/>
                      </a:lnTo>
                      <a:lnTo>
                        <a:pt x="660" y="268"/>
                      </a:lnTo>
                      <a:lnTo>
                        <a:pt x="660" y="266"/>
                      </a:lnTo>
                      <a:lnTo>
                        <a:pt x="662" y="264"/>
                      </a:lnTo>
                      <a:lnTo>
                        <a:pt x="664" y="260"/>
                      </a:lnTo>
                      <a:lnTo>
                        <a:pt x="664" y="258"/>
                      </a:lnTo>
                      <a:lnTo>
                        <a:pt x="664" y="256"/>
                      </a:lnTo>
                      <a:lnTo>
                        <a:pt x="664" y="254"/>
                      </a:lnTo>
                      <a:lnTo>
                        <a:pt x="664" y="252"/>
                      </a:lnTo>
                      <a:lnTo>
                        <a:pt x="664" y="250"/>
                      </a:lnTo>
                      <a:lnTo>
                        <a:pt x="664" y="248"/>
                      </a:lnTo>
                      <a:lnTo>
                        <a:pt x="664" y="246"/>
                      </a:lnTo>
                      <a:lnTo>
                        <a:pt x="664" y="244"/>
                      </a:lnTo>
                      <a:lnTo>
                        <a:pt x="664" y="242"/>
                      </a:lnTo>
                      <a:lnTo>
                        <a:pt x="664" y="23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1" name="Freeform 44">
                  <a:extLst>
                    <a:ext uri="{FF2B5EF4-FFF2-40B4-BE49-F238E27FC236}">
                      <a16:creationId xmlns:a16="http://schemas.microsoft.com/office/drawing/2014/main" id="{ADE50EDF-E330-4550-B4D0-4A0552D18C87}"/>
                    </a:ext>
                  </a:extLst>
                </p:cNvPr>
                <p:cNvSpPr>
                  <a:spLocks noChangeAspect="1"/>
                </p:cNvSpPr>
                <p:nvPr/>
              </p:nvSpPr>
              <p:spPr bwMode="auto">
                <a:xfrm>
                  <a:off x="2025579" y="3192383"/>
                  <a:ext cx="71476" cy="33696"/>
                </a:xfrm>
                <a:custGeom>
                  <a:avLst/>
                  <a:gdLst/>
                  <a:ahLst/>
                  <a:cxnLst>
                    <a:cxn ang="0">
                      <a:pos x="24" y="16"/>
                    </a:cxn>
                    <a:cxn ang="0">
                      <a:pos x="26" y="14"/>
                    </a:cxn>
                    <a:cxn ang="0">
                      <a:pos x="26" y="12"/>
                    </a:cxn>
                    <a:cxn ang="0">
                      <a:pos x="26" y="12"/>
                    </a:cxn>
                    <a:cxn ang="0">
                      <a:pos x="26" y="10"/>
                    </a:cxn>
                    <a:cxn ang="0">
                      <a:pos x="28" y="10"/>
                    </a:cxn>
                    <a:cxn ang="0">
                      <a:pos x="28" y="10"/>
                    </a:cxn>
                    <a:cxn ang="0">
                      <a:pos x="28" y="10"/>
                    </a:cxn>
                    <a:cxn ang="0">
                      <a:pos x="30" y="10"/>
                    </a:cxn>
                    <a:cxn ang="0">
                      <a:pos x="32" y="12"/>
                    </a:cxn>
                    <a:cxn ang="0">
                      <a:pos x="34" y="12"/>
                    </a:cxn>
                    <a:cxn ang="0">
                      <a:pos x="36" y="12"/>
                    </a:cxn>
                    <a:cxn ang="0">
                      <a:pos x="36" y="12"/>
                    </a:cxn>
                    <a:cxn ang="0">
                      <a:pos x="36" y="12"/>
                    </a:cxn>
                    <a:cxn ang="0">
                      <a:pos x="36" y="12"/>
                    </a:cxn>
                    <a:cxn ang="0">
                      <a:pos x="36" y="12"/>
                    </a:cxn>
                    <a:cxn ang="0">
                      <a:pos x="36" y="10"/>
                    </a:cxn>
                    <a:cxn ang="0">
                      <a:pos x="36" y="10"/>
                    </a:cxn>
                    <a:cxn ang="0">
                      <a:pos x="34" y="8"/>
                    </a:cxn>
                    <a:cxn ang="0">
                      <a:pos x="32" y="6"/>
                    </a:cxn>
                    <a:cxn ang="0">
                      <a:pos x="32" y="4"/>
                    </a:cxn>
                    <a:cxn ang="0">
                      <a:pos x="30" y="4"/>
                    </a:cxn>
                    <a:cxn ang="0">
                      <a:pos x="30" y="4"/>
                    </a:cxn>
                    <a:cxn ang="0">
                      <a:pos x="26" y="4"/>
                    </a:cxn>
                    <a:cxn ang="0">
                      <a:pos x="22" y="2"/>
                    </a:cxn>
                    <a:cxn ang="0">
                      <a:pos x="18" y="2"/>
                    </a:cxn>
                    <a:cxn ang="0">
                      <a:pos x="16" y="2"/>
                    </a:cxn>
                    <a:cxn ang="0">
                      <a:pos x="12" y="2"/>
                    </a:cxn>
                    <a:cxn ang="0">
                      <a:pos x="10" y="0"/>
                    </a:cxn>
                    <a:cxn ang="0">
                      <a:pos x="8" y="0"/>
                    </a:cxn>
                    <a:cxn ang="0">
                      <a:pos x="8" y="0"/>
                    </a:cxn>
                    <a:cxn ang="0">
                      <a:pos x="6" y="2"/>
                    </a:cxn>
                    <a:cxn ang="0">
                      <a:pos x="4" y="2"/>
                    </a:cxn>
                    <a:cxn ang="0">
                      <a:pos x="2" y="2"/>
                    </a:cxn>
                    <a:cxn ang="0">
                      <a:pos x="0" y="2"/>
                    </a:cxn>
                    <a:cxn ang="0">
                      <a:pos x="0" y="4"/>
                    </a:cxn>
                    <a:cxn ang="0">
                      <a:pos x="0" y="4"/>
                    </a:cxn>
                    <a:cxn ang="0">
                      <a:pos x="0" y="4"/>
                    </a:cxn>
                    <a:cxn ang="0">
                      <a:pos x="0" y="4"/>
                    </a:cxn>
                    <a:cxn ang="0">
                      <a:pos x="0" y="4"/>
                    </a:cxn>
                    <a:cxn ang="0">
                      <a:pos x="0" y="4"/>
                    </a:cxn>
                    <a:cxn ang="0">
                      <a:pos x="2" y="6"/>
                    </a:cxn>
                    <a:cxn ang="0">
                      <a:pos x="4" y="8"/>
                    </a:cxn>
                    <a:cxn ang="0">
                      <a:pos x="6" y="10"/>
                    </a:cxn>
                    <a:cxn ang="0">
                      <a:pos x="6" y="10"/>
                    </a:cxn>
                    <a:cxn ang="0">
                      <a:pos x="8" y="10"/>
                    </a:cxn>
                    <a:cxn ang="0">
                      <a:pos x="10" y="12"/>
                    </a:cxn>
                    <a:cxn ang="0">
                      <a:pos x="12" y="12"/>
                    </a:cxn>
                    <a:cxn ang="0">
                      <a:pos x="12" y="12"/>
                    </a:cxn>
                    <a:cxn ang="0">
                      <a:pos x="14" y="12"/>
                    </a:cxn>
                    <a:cxn ang="0">
                      <a:pos x="14" y="12"/>
                    </a:cxn>
                    <a:cxn ang="0">
                      <a:pos x="16" y="12"/>
                    </a:cxn>
                    <a:cxn ang="0">
                      <a:pos x="16" y="12"/>
                    </a:cxn>
                    <a:cxn ang="0">
                      <a:pos x="16" y="14"/>
                    </a:cxn>
                    <a:cxn ang="0">
                      <a:pos x="18" y="14"/>
                    </a:cxn>
                    <a:cxn ang="0">
                      <a:pos x="18" y="14"/>
                    </a:cxn>
                    <a:cxn ang="0">
                      <a:pos x="18" y="14"/>
                    </a:cxn>
                    <a:cxn ang="0">
                      <a:pos x="24" y="16"/>
                    </a:cxn>
                    <a:cxn ang="0">
                      <a:pos x="24" y="16"/>
                    </a:cxn>
                    <a:cxn ang="0">
                      <a:pos x="24" y="16"/>
                    </a:cxn>
                  </a:cxnLst>
                  <a:rect l="0" t="0" r="r" b="b"/>
                  <a:pathLst>
                    <a:path w="36" h="16">
                      <a:moveTo>
                        <a:pt x="24" y="16"/>
                      </a:moveTo>
                      <a:lnTo>
                        <a:pt x="26" y="14"/>
                      </a:lnTo>
                      <a:lnTo>
                        <a:pt x="26" y="12"/>
                      </a:lnTo>
                      <a:lnTo>
                        <a:pt x="26" y="10"/>
                      </a:lnTo>
                      <a:lnTo>
                        <a:pt x="28" y="10"/>
                      </a:lnTo>
                      <a:lnTo>
                        <a:pt x="30" y="10"/>
                      </a:lnTo>
                      <a:lnTo>
                        <a:pt x="32" y="12"/>
                      </a:lnTo>
                      <a:lnTo>
                        <a:pt x="34" y="12"/>
                      </a:lnTo>
                      <a:lnTo>
                        <a:pt x="36" y="12"/>
                      </a:lnTo>
                      <a:lnTo>
                        <a:pt x="36" y="10"/>
                      </a:lnTo>
                      <a:lnTo>
                        <a:pt x="34" y="8"/>
                      </a:lnTo>
                      <a:lnTo>
                        <a:pt x="32" y="6"/>
                      </a:lnTo>
                      <a:lnTo>
                        <a:pt x="32" y="4"/>
                      </a:lnTo>
                      <a:lnTo>
                        <a:pt x="30" y="4"/>
                      </a:lnTo>
                      <a:lnTo>
                        <a:pt x="26" y="4"/>
                      </a:lnTo>
                      <a:lnTo>
                        <a:pt x="22" y="2"/>
                      </a:lnTo>
                      <a:lnTo>
                        <a:pt x="18" y="2"/>
                      </a:lnTo>
                      <a:lnTo>
                        <a:pt x="16" y="2"/>
                      </a:lnTo>
                      <a:lnTo>
                        <a:pt x="12" y="2"/>
                      </a:lnTo>
                      <a:lnTo>
                        <a:pt x="10" y="0"/>
                      </a:lnTo>
                      <a:lnTo>
                        <a:pt x="8" y="0"/>
                      </a:lnTo>
                      <a:lnTo>
                        <a:pt x="6" y="2"/>
                      </a:lnTo>
                      <a:lnTo>
                        <a:pt x="4" y="2"/>
                      </a:lnTo>
                      <a:lnTo>
                        <a:pt x="2" y="2"/>
                      </a:lnTo>
                      <a:lnTo>
                        <a:pt x="0" y="2"/>
                      </a:lnTo>
                      <a:lnTo>
                        <a:pt x="0" y="4"/>
                      </a:lnTo>
                      <a:lnTo>
                        <a:pt x="2" y="6"/>
                      </a:lnTo>
                      <a:lnTo>
                        <a:pt x="4" y="8"/>
                      </a:lnTo>
                      <a:lnTo>
                        <a:pt x="6" y="10"/>
                      </a:lnTo>
                      <a:lnTo>
                        <a:pt x="8" y="10"/>
                      </a:lnTo>
                      <a:lnTo>
                        <a:pt x="10" y="12"/>
                      </a:lnTo>
                      <a:lnTo>
                        <a:pt x="12" y="12"/>
                      </a:lnTo>
                      <a:lnTo>
                        <a:pt x="14" y="12"/>
                      </a:lnTo>
                      <a:lnTo>
                        <a:pt x="16" y="12"/>
                      </a:lnTo>
                      <a:lnTo>
                        <a:pt x="16" y="14"/>
                      </a:lnTo>
                      <a:lnTo>
                        <a:pt x="18" y="14"/>
                      </a:lnTo>
                      <a:lnTo>
                        <a:pt x="24" y="1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2" name="Freeform 45">
                  <a:extLst>
                    <a:ext uri="{FF2B5EF4-FFF2-40B4-BE49-F238E27FC236}">
                      <a16:creationId xmlns:a16="http://schemas.microsoft.com/office/drawing/2014/main" id="{64D0C0F8-E311-4EE3-A30F-D2FEA3AF9252}"/>
                    </a:ext>
                  </a:extLst>
                </p:cNvPr>
                <p:cNvSpPr>
                  <a:spLocks noChangeAspect="1"/>
                </p:cNvSpPr>
                <p:nvPr/>
              </p:nvSpPr>
              <p:spPr bwMode="auto">
                <a:xfrm>
                  <a:off x="2553706" y="3495641"/>
                  <a:ext cx="27796" cy="42119"/>
                </a:xfrm>
                <a:custGeom>
                  <a:avLst/>
                  <a:gdLst/>
                  <a:ahLst/>
                  <a:cxnLst>
                    <a:cxn ang="0">
                      <a:pos x="0" y="18"/>
                    </a:cxn>
                    <a:cxn ang="0">
                      <a:pos x="0" y="20"/>
                    </a:cxn>
                    <a:cxn ang="0">
                      <a:pos x="0" y="20"/>
                    </a:cxn>
                    <a:cxn ang="0">
                      <a:pos x="2" y="20"/>
                    </a:cxn>
                    <a:cxn ang="0">
                      <a:pos x="4" y="20"/>
                    </a:cxn>
                    <a:cxn ang="0">
                      <a:pos x="6" y="20"/>
                    </a:cxn>
                    <a:cxn ang="0">
                      <a:pos x="8" y="20"/>
                    </a:cxn>
                    <a:cxn ang="0">
                      <a:pos x="10" y="20"/>
                    </a:cxn>
                    <a:cxn ang="0">
                      <a:pos x="10" y="18"/>
                    </a:cxn>
                    <a:cxn ang="0">
                      <a:pos x="12" y="16"/>
                    </a:cxn>
                    <a:cxn ang="0">
                      <a:pos x="12" y="14"/>
                    </a:cxn>
                    <a:cxn ang="0">
                      <a:pos x="12" y="12"/>
                    </a:cxn>
                    <a:cxn ang="0">
                      <a:pos x="12" y="10"/>
                    </a:cxn>
                    <a:cxn ang="0">
                      <a:pos x="12" y="8"/>
                    </a:cxn>
                    <a:cxn ang="0">
                      <a:pos x="14" y="8"/>
                    </a:cxn>
                    <a:cxn ang="0">
                      <a:pos x="14" y="8"/>
                    </a:cxn>
                    <a:cxn ang="0">
                      <a:pos x="14" y="6"/>
                    </a:cxn>
                    <a:cxn ang="0">
                      <a:pos x="14" y="6"/>
                    </a:cxn>
                    <a:cxn ang="0">
                      <a:pos x="14" y="4"/>
                    </a:cxn>
                    <a:cxn ang="0">
                      <a:pos x="14" y="4"/>
                    </a:cxn>
                    <a:cxn ang="0">
                      <a:pos x="14" y="4"/>
                    </a:cxn>
                    <a:cxn ang="0">
                      <a:pos x="14" y="4"/>
                    </a:cxn>
                    <a:cxn ang="0">
                      <a:pos x="14" y="2"/>
                    </a:cxn>
                    <a:cxn ang="0">
                      <a:pos x="14" y="2"/>
                    </a:cxn>
                    <a:cxn ang="0">
                      <a:pos x="14" y="2"/>
                    </a:cxn>
                    <a:cxn ang="0">
                      <a:pos x="14" y="0"/>
                    </a:cxn>
                    <a:cxn ang="0">
                      <a:pos x="14" y="0"/>
                    </a:cxn>
                    <a:cxn ang="0">
                      <a:pos x="12" y="2"/>
                    </a:cxn>
                    <a:cxn ang="0">
                      <a:pos x="12" y="2"/>
                    </a:cxn>
                    <a:cxn ang="0">
                      <a:pos x="12" y="4"/>
                    </a:cxn>
                    <a:cxn ang="0">
                      <a:pos x="12" y="4"/>
                    </a:cxn>
                    <a:cxn ang="0">
                      <a:pos x="10" y="4"/>
                    </a:cxn>
                    <a:cxn ang="0">
                      <a:pos x="10" y="4"/>
                    </a:cxn>
                    <a:cxn ang="0">
                      <a:pos x="10" y="4"/>
                    </a:cxn>
                    <a:cxn ang="0">
                      <a:pos x="10" y="4"/>
                    </a:cxn>
                    <a:cxn ang="0">
                      <a:pos x="8" y="4"/>
                    </a:cxn>
                    <a:cxn ang="0">
                      <a:pos x="8" y="4"/>
                    </a:cxn>
                    <a:cxn ang="0">
                      <a:pos x="8" y="4"/>
                    </a:cxn>
                    <a:cxn ang="0">
                      <a:pos x="6" y="6"/>
                    </a:cxn>
                    <a:cxn ang="0">
                      <a:pos x="6" y="6"/>
                    </a:cxn>
                    <a:cxn ang="0">
                      <a:pos x="6" y="8"/>
                    </a:cxn>
                    <a:cxn ang="0">
                      <a:pos x="6" y="12"/>
                    </a:cxn>
                    <a:cxn ang="0">
                      <a:pos x="6" y="12"/>
                    </a:cxn>
                    <a:cxn ang="0">
                      <a:pos x="6" y="12"/>
                    </a:cxn>
                    <a:cxn ang="0">
                      <a:pos x="6" y="14"/>
                    </a:cxn>
                    <a:cxn ang="0">
                      <a:pos x="6" y="14"/>
                    </a:cxn>
                    <a:cxn ang="0">
                      <a:pos x="4" y="14"/>
                    </a:cxn>
                    <a:cxn ang="0">
                      <a:pos x="2" y="16"/>
                    </a:cxn>
                    <a:cxn ang="0">
                      <a:pos x="2" y="16"/>
                    </a:cxn>
                    <a:cxn ang="0">
                      <a:pos x="0" y="16"/>
                    </a:cxn>
                    <a:cxn ang="0">
                      <a:pos x="0" y="16"/>
                    </a:cxn>
                    <a:cxn ang="0">
                      <a:pos x="0" y="16"/>
                    </a:cxn>
                    <a:cxn ang="0">
                      <a:pos x="0" y="16"/>
                    </a:cxn>
                    <a:cxn ang="0">
                      <a:pos x="0" y="18"/>
                    </a:cxn>
                    <a:cxn ang="0">
                      <a:pos x="0" y="18"/>
                    </a:cxn>
                    <a:cxn ang="0">
                      <a:pos x="0" y="18"/>
                    </a:cxn>
                  </a:cxnLst>
                  <a:rect l="0" t="0" r="r" b="b"/>
                  <a:pathLst>
                    <a:path w="14" h="20">
                      <a:moveTo>
                        <a:pt x="0" y="18"/>
                      </a:moveTo>
                      <a:lnTo>
                        <a:pt x="0" y="20"/>
                      </a:lnTo>
                      <a:lnTo>
                        <a:pt x="2" y="20"/>
                      </a:lnTo>
                      <a:lnTo>
                        <a:pt x="4" y="20"/>
                      </a:lnTo>
                      <a:lnTo>
                        <a:pt x="6" y="20"/>
                      </a:lnTo>
                      <a:lnTo>
                        <a:pt x="8" y="20"/>
                      </a:lnTo>
                      <a:lnTo>
                        <a:pt x="10" y="20"/>
                      </a:lnTo>
                      <a:lnTo>
                        <a:pt x="10" y="18"/>
                      </a:lnTo>
                      <a:lnTo>
                        <a:pt x="12" y="16"/>
                      </a:lnTo>
                      <a:lnTo>
                        <a:pt x="12" y="14"/>
                      </a:lnTo>
                      <a:lnTo>
                        <a:pt x="12" y="12"/>
                      </a:lnTo>
                      <a:lnTo>
                        <a:pt x="12" y="10"/>
                      </a:lnTo>
                      <a:lnTo>
                        <a:pt x="12" y="8"/>
                      </a:lnTo>
                      <a:lnTo>
                        <a:pt x="14" y="8"/>
                      </a:lnTo>
                      <a:lnTo>
                        <a:pt x="14" y="6"/>
                      </a:lnTo>
                      <a:lnTo>
                        <a:pt x="14" y="4"/>
                      </a:lnTo>
                      <a:lnTo>
                        <a:pt x="14" y="2"/>
                      </a:lnTo>
                      <a:lnTo>
                        <a:pt x="14" y="0"/>
                      </a:lnTo>
                      <a:lnTo>
                        <a:pt x="12" y="2"/>
                      </a:lnTo>
                      <a:lnTo>
                        <a:pt x="12" y="4"/>
                      </a:lnTo>
                      <a:lnTo>
                        <a:pt x="10" y="4"/>
                      </a:lnTo>
                      <a:lnTo>
                        <a:pt x="8" y="4"/>
                      </a:lnTo>
                      <a:lnTo>
                        <a:pt x="6" y="6"/>
                      </a:lnTo>
                      <a:lnTo>
                        <a:pt x="6" y="8"/>
                      </a:lnTo>
                      <a:lnTo>
                        <a:pt x="6" y="12"/>
                      </a:lnTo>
                      <a:lnTo>
                        <a:pt x="6" y="14"/>
                      </a:lnTo>
                      <a:lnTo>
                        <a:pt x="4" y="14"/>
                      </a:lnTo>
                      <a:lnTo>
                        <a:pt x="2" y="16"/>
                      </a:lnTo>
                      <a:lnTo>
                        <a:pt x="0" y="16"/>
                      </a:lnTo>
                      <a:lnTo>
                        <a:pt x="0" y="1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3" name="Freeform 46">
                  <a:extLst>
                    <a:ext uri="{FF2B5EF4-FFF2-40B4-BE49-F238E27FC236}">
                      <a16:creationId xmlns:a16="http://schemas.microsoft.com/office/drawing/2014/main" id="{34CD1E9B-8B47-4DEE-A505-6D0AB120AE83}"/>
                    </a:ext>
                  </a:extLst>
                </p:cNvPr>
                <p:cNvSpPr>
                  <a:spLocks noChangeAspect="1"/>
                </p:cNvSpPr>
                <p:nvPr/>
              </p:nvSpPr>
              <p:spPr bwMode="auto">
                <a:xfrm>
                  <a:off x="2402813" y="3192383"/>
                  <a:ext cx="63535" cy="33696"/>
                </a:xfrm>
                <a:custGeom>
                  <a:avLst/>
                  <a:gdLst/>
                  <a:ahLst/>
                  <a:cxnLst>
                    <a:cxn ang="0">
                      <a:pos x="20" y="4"/>
                    </a:cxn>
                    <a:cxn ang="0">
                      <a:pos x="18" y="4"/>
                    </a:cxn>
                    <a:cxn ang="0">
                      <a:pos x="16" y="4"/>
                    </a:cxn>
                    <a:cxn ang="0">
                      <a:pos x="14" y="4"/>
                    </a:cxn>
                    <a:cxn ang="0">
                      <a:pos x="12" y="2"/>
                    </a:cxn>
                    <a:cxn ang="0">
                      <a:pos x="8" y="2"/>
                    </a:cxn>
                    <a:cxn ang="0">
                      <a:pos x="6" y="0"/>
                    </a:cxn>
                    <a:cxn ang="0">
                      <a:pos x="4" y="0"/>
                    </a:cxn>
                    <a:cxn ang="0">
                      <a:pos x="4" y="0"/>
                    </a:cxn>
                    <a:cxn ang="0">
                      <a:pos x="2" y="2"/>
                    </a:cxn>
                    <a:cxn ang="0">
                      <a:pos x="2" y="2"/>
                    </a:cxn>
                    <a:cxn ang="0">
                      <a:pos x="0" y="4"/>
                    </a:cxn>
                    <a:cxn ang="0">
                      <a:pos x="0" y="6"/>
                    </a:cxn>
                    <a:cxn ang="0">
                      <a:pos x="0" y="8"/>
                    </a:cxn>
                    <a:cxn ang="0">
                      <a:pos x="0" y="10"/>
                    </a:cxn>
                    <a:cxn ang="0">
                      <a:pos x="0" y="12"/>
                    </a:cxn>
                    <a:cxn ang="0">
                      <a:pos x="0" y="12"/>
                    </a:cxn>
                    <a:cxn ang="0">
                      <a:pos x="0" y="12"/>
                    </a:cxn>
                    <a:cxn ang="0">
                      <a:pos x="2" y="14"/>
                    </a:cxn>
                    <a:cxn ang="0">
                      <a:pos x="6" y="14"/>
                    </a:cxn>
                    <a:cxn ang="0">
                      <a:pos x="6" y="14"/>
                    </a:cxn>
                    <a:cxn ang="0">
                      <a:pos x="8" y="14"/>
                    </a:cxn>
                    <a:cxn ang="0">
                      <a:pos x="8" y="16"/>
                    </a:cxn>
                    <a:cxn ang="0">
                      <a:pos x="8" y="16"/>
                    </a:cxn>
                    <a:cxn ang="0">
                      <a:pos x="8" y="16"/>
                    </a:cxn>
                    <a:cxn ang="0">
                      <a:pos x="10" y="14"/>
                    </a:cxn>
                    <a:cxn ang="0">
                      <a:pos x="10" y="14"/>
                    </a:cxn>
                    <a:cxn ang="0">
                      <a:pos x="10" y="14"/>
                    </a:cxn>
                    <a:cxn ang="0">
                      <a:pos x="10" y="14"/>
                    </a:cxn>
                    <a:cxn ang="0">
                      <a:pos x="10" y="14"/>
                    </a:cxn>
                    <a:cxn ang="0">
                      <a:pos x="12" y="14"/>
                    </a:cxn>
                    <a:cxn ang="0">
                      <a:pos x="12" y="14"/>
                    </a:cxn>
                    <a:cxn ang="0">
                      <a:pos x="14" y="14"/>
                    </a:cxn>
                    <a:cxn ang="0">
                      <a:pos x="16" y="14"/>
                    </a:cxn>
                    <a:cxn ang="0">
                      <a:pos x="18" y="14"/>
                    </a:cxn>
                    <a:cxn ang="0">
                      <a:pos x="22" y="14"/>
                    </a:cxn>
                    <a:cxn ang="0">
                      <a:pos x="24" y="12"/>
                    </a:cxn>
                    <a:cxn ang="0">
                      <a:pos x="26" y="12"/>
                    </a:cxn>
                    <a:cxn ang="0">
                      <a:pos x="28" y="10"/>
                    </a:cxn>
                    <a:cxn ang="0">
                      <a:pos x="30" y="10"/>
                    </a:cxn>
                    <a:cxn ang="0">
                      <a:pos x="32" y="8"/>
                    </a:cxn>
                    <a:cxn ang="0">
                      <a:pos x="32" y="8"/>
                    </a:cxn>
                    <a:cxn ang="0">
                      <a:pos x="32" y="6"/>
                    </a:cxn>
                    <a:cxn ang="0">
                      <a:pos x="32" y="4"/>
                    </a:cxn>
                    <a:cxn ang="0">
                      <a:pos x="32" y="4"/>
                    </a:cxn>
                    <a:cxn ang="0">
                      <a:pos x="30" y="4"/>
                    </a:cxn>
                    <a:cxn ang="0">
                      <a:pos x="30" y="4"/>
                    </a:cxn>
                    <a:cxn ang="0">
                      <a:pos x="28" y="4"/>
                    </a:cxn>
                    <a:cxn ang="0">
                      <a:pos x="24" y="4"/>
                    </a:cxn>
                    <a:cxn ang="0">
                      <a:pos x="22" y="4"/>
                    </a:cxn>
                    <a:cxn ang="0">
                      <a:pos x="20" y="4"/>
                    </a:cxn>
                    <a:cxn ang="0">
                      <a:pos x="20" y="4"/>
                    </a:cxn>
                  </a:cxnLst>
                  <a:rect l="0" t="0" r="r" b="b"/>
                  <a:pathLst>
                    <a:path w="32" h="16">
                      <a:moveTo>
                        <a:pt x="20" y="4"/>
                      </a:moveTo>
                      <a:lnTo>
                        <a:pt x="18" y="4"/>
                      </a:lnTo>
                      <a:lnTo>
                        <a:pt x="16" y="4"/>
                      </a:lnTo>
                      <a:lnTo>
                        <a:pt x="14" y="4"/>
                      </a:lnTo>
                      <a:lnTo>
                        <a:pt x="12" y="2"/>
                      </a:lnTo>
                      <a:lnTo>
                        <a:pt x="8" y="2"/>
                      </a:lnTo>
                      <a:lnTo>
                        <a:pt x="6" y="0"/>
                      </a:lnTo>
                      <a:lnTo>
                        <a:pt x="4" y="0"/>
                      </a:lnTo>
                      <a:lnTo>
                        <a:pt x="2" y="2"/>
                      </a:lnTo>
                      <a:lnTo>
                        <a:pt x="0" y="4"/>
                      </a:lnTo>
                      <a:lnTo>
                        <a:pt x="0" y="6"/>
                      </a:lnTo>
                      <a:lnTo>
                        <a:pt x="0" y="8"/>
                      </a:lnTo>
                      <a:lnTo>
                        <a:pt x="0" y="10"/>
                      </a:lnTo>
                      <a:lnTo>
                        <a:pt x="0" y="12"/>
                      </a:lnTo>
                      <a:lnTo>
                        <a:pt x="2" y="14"/>
                      </a:lnTo>
                      <a:lnTo>
                        <a:pt x="6" y="14"/>
                      </a:lnTo>
                      <a:lnTo>
                        <a:pt x="8" y="14"/>
                      </a:lnTo>
                      <a:lnTo>
                        <a:pt x="8" y="16"/>
                      </a:lnTo>
                      <a:lnTo>
                        <a:pt x="10" y="14"/>
                      </a:lnTo>
                      <a:lnTo>
                        <a:pt x="12" y="14"/>
                      </a:lnTo>
                      <a:lnTo>
                        <a:pt x="14" y="14"/>
                      </a:lnTo>
                      <a:lnTo>
                        <a:pt x="16" y="14"/>
                      </a:lnTo>
                      <a:lnTo>
                        <a:pt x="18" y="14"/>
                      </a:lnTo>
                      <a:lnTo>
                        <a:pt x="22" y="14"/>
                      </a:lnTo>
                      <a:lnTo>
                        <a:pt x="24" y="12"/>
                      </a:lnTo>
                      <a:lnTo>
                        <a:pt x="26" y="12"/>
                      </a:lnTo>
                      <a:lnTo>
                        <a:pt x="28" y="10"/>
                      </a:lnTo>
                      <a:lnTo>
                        <a:pt x="30" y="10"/>
                      </a:lnTo>
                      <a:lnTo>
                        <a:pt x="32" y="8"/>
                      </a:lnTo>
                      <a:lnTo>
                        <a:pt x="32" y="6"/>
                      </a:lnTo>
                      <a:lnTo>
                        <a:pt x="32" y="4"/>
                      </a:lnTo>
                      <a:lnTo>
                        <a:pt x="30" y="4"/>
                      </a:lnTo>
                      <a:lnTo>
                        <a:pt x="28" y="4"/>
                      </a:lnTo>
                      <a:lnTo>
                        <a:pt x="24" y="4"/>
                      </a:lnTo>
                      <a:lnTo>
                        <a:pt x="22" y="4"/>
                      </a:lnTo>
                      <a:lnTo>
                        <a:pt x="20" y="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4" name="Freeform 47">
                  <a:extLst>
                    <a:ext uri="{FF2B5EF4-FFF2-40B4-BE49-F238E27FC236}">
                      <a16:creationId xmlns:a16="http://schemas.microsoft.com/office/drawing/2014/main" id="{730E589D-593E-4071-9761-C3505E174F36}"/>
                    </a:ext>
                  </a:extLst>
                </p:cNvPr>
                <p:cNvSpPr>
                  <a:spLocks noChangeAspect="1"/>
                </p:cNvSpPr>
                <p:nvPr/>
              </p:nvSpPr>
              <p:spPr bwMode="auto">
                <a:xfrm>
                  <a:off x="2668862" y="3697812"/>
                  <a:ext cx="138980" cy="168476"/>
                </a:xfrm>
                <a:custGeom>
                  <a:avLst/>
                  <a:gdLst/>
                  <a:ahLst/>
                  <a:cxnLst>
                    <a:cxn ang="0">
                      <a:pos x="6" y="20"/>
                    </a:cxn>
                    <a:cxn ang="0">
                      <a:pos x="4" y="22"/>
                    </a:cxn>
                    <a:cxn ang="0">
                      <a:pos x="4" y="30"/>
                    </a:cxn>
                    <a:cxn ang="0">
                      <a:pos x="4" y="32"/>
                    </a:cxn>
                    <a:cxn ang="0">
                      <a:pos x="0" y="38"/>
                    </a:cxn>
                    <a:cxn ang="0">
                      <a:pos x="4" y="42"/>
                    </a:cxn>
                    <a:cxn ang="0">
                      <a:pos x="4" y="46"/>
                    </a:cxn>
                    <a:cxn ang="0">
                      <a:pos x="8" y="52"/>
                    </a:cxn>
                    <a:cxn ang="0">
                      <a:pos x="12" y="50"/>
                    </a:cxn>
                    <a:cxn ang="0">
                      <a:pos x="14" y="50"/>
                    </a:cxn>
                    <a:cxn ang="0">
                      <a:pos x="14" y="54"/>
                    </a:cxn>
                    <a:cxn ang="0">
                      <a:pos x="14" y="62"/>
                    </a:cxn>
                    <a:cxn ang="0">
                      <a:pos x="20" y="70"/>
                    </a:cxn>
                    <a:cxn ang="0">
                      <a:pos x="22" y="76"/>
                    </a:cxn>
                    <a:cxn ang="0">
                      <a:pos x="24" y="78"/>
                    </a:cxn>
                    <a:cxn ang="0">
                      <a:pos x="34" y="80"/>
                    </a:cxn>
                    <a:cxn ang="0">
                      <a:pos x="38" y="78"/>
                    </a:cxn>
                    <a:cxn ang="0">
                      <a:pos x="34" y="74"/>
                    </a:cxn>
                    <a:cxn ang="0">
                      <a:pos x="36" y="68"/>
                    </a:cxn>
                    <a:cxn ang="0">
                      <a:pos x="38" y="68"/>
                    </a:cxn>
                    <a:cxn ang="0">
                      <a:pos x="38" y="70"/>
                    </a:cxn>
                    <a:cxn ang="0">
                      <a:pos x="44" y="70"/>
                    </a:cxn>
                    <a:cxn ang="0">
                      <a:pos x="44" y="70"/>
                    </a:cxn>
                    <a:cxn ang="0">
                      <a:pos x="50" y="66"/>
                    </a:cxn>
                    <a:cxn ang="0">
                      <a:pos x="54" y="68"/>
                    </a:cxn>
                    <a:cxn ang="0">
                      <a:pos x="56" y="70"/>
                    </a:cxn>
                    <a:cxn ang="0">
                      <a:pos x="60" y="72"/>
                    </a:cxn>
                    <a:cxn ang="0">
                      <a:pos x="60" y="70"/>
                    </a:cxn>
                    <a:cxn ang="0">
                      <a:pos x="62" y="64"/>
                    </a:cxn>
                    <a:cxn ang="0">
                      <a:pos x="66" y="62"/>
                    </a:cxn>
                    <a:cxn ang="0">
                      <a:pos x="66" y="56"/>
                    </a:cxn>
                    <a:cxn ang="0">
                      <a:pos x="66" y="52"/>
                    </a:cxn>
                    <a:cxn ang="0">
                      <a:pos x="68" y="52"/>
                    </a:cxn>
                    <a:cxn ang="0">
                      <a:pos x="68" y="46"/>
                    </a:cxn>
                    <a:cxn ang="0">
                      <a:pos x="64" y="42"/>
                    </a:cxn>
                    <a:cxn ang="0">
                      <a:pos x="62" y="36"/>
                    </a:cxn>
                    <a:cxn ang="0">
                      <a:pos x="60" y="24"/>
                    </a:cxn>
                    <a:cxn ang="0">
                      <a:pos x="66" y="16"/>
                    </a:cxn>
                    <a:cxn ang="0">
                      <a:pos x="68" y="12"/>
                    </a:cxn>
                    <a:cxn ang="0">
                      <a:pos x="70" y="6"/>
                    </a:cxn>
                    <a:cxn ang="0">
                      <a:pos x="70" y="4"/>
                    </a:cxn>
                    <a:cxn ang="0">
                      <a:pos x="68" y="2"/>
                    </a:cxn>
                    <a:cxn ang="0">
                      <a:pos x="56" y="0"/>
                    </a:cxn>
                    <a:cxn ang="0">
                      <a:pos x="52" y="0"/>
                    </a:cxn>
                    <a:cxn ang="0">
                      <a:pos x="50" y="2"/>
                    </a:cxn>
                    <a:cxn ang="0">
                      <a:pos x="46" y="2"/>
                    </a:cxn>
                    <a:cxn ang="0">
                      <a:pos x="40" y="2"/>
                    </a:cxn>
                    <a:cxn ang="0">
                      <a:pos x="40" y="2"/>
                    </a:cxn>
                    <a:cxn ang="0">
                      <a:pos x="38" y="6"/>
                    </a:cxn>
                    <a:cxn ang="0">
                      <a:pos x="32" y="2"/>
                    </a:cxn>
                    <a:cxn ang="0">
                      <a:pos x="26" y="0"/>
                    </a:cxn>
                    <a:cxn ang="0">
                      <a:pos x="24" y="0"/>
                    </a:cxn>
                    <a:cxn ang="0">
                      <a:pos x="18" y="2"/>
                    </a:cxn>
                    <a:cxn ang="0">
                      <a:pos x="18" y="2"/>
                    </a:cxn>
                    <a:cxn ang="0">
                      <a:pos x="14" y="6"/>
                    </a:cxn>
                    <a:cxn ang="0">
                      <a:pos x="16" y="12"/>
                    </a:cxn>
                    <a:cxn ang="0">
                      <a:pos x="16" y="18"/>
                    </a:cxn>
                  </a:cxnLst>
                  <a:rect l="0" t="0" r="r" b="b"/>
                  <a:pathLst>
                    <a:path w="70" h="80">
                      <a:moveTo>
                        <a:pt x="16" y="18"/>
                      </a:moveTo>
                      <a:lnTo>
                        <a:pt x="12" y="18"/>
                      </a:lnTo>
                      <a:lnTo>
                        <a:pt x="8" y="18"/>
                      </a:lnTo>
                      <a:lnTo>
                        <a:pt x="6" y="20"/>
                      </a:lnTo>
                      <a:lnTo>
                        <a:pt x="4" y="20"/>
                      </a:lnTo>
                      <a:lnTo>
                        <a:pt x="4" y="22"/>
                      </a:lnTo>
                      <a:lnTo>
                        <a:pt x="2" y="24"/>
                      </a:lnTo>
                      <a:lnTo>
                        <a:pt x="4" y="28"/>
                      </a:lnTo>
                      <a:lnTo>
                        <a:pt x="4" y="30"/>
                      </a:lnTo>
                      <a:lnTo>
                        <a:pt x="4" y="32"/>
                      </a:lnTo>
                      <a:lnTo>
                        <a:pt x="2" y="32"/>
                      </a:lnTo>
                      <a:lnTo>
                        <a:pt x="0" y="34"/>
                      </a:lnTo>
                      <a:lnTo>
                        <a:pt x="0" y="36"/>
                      </a:lnTo>
                      <a:lnTo>
                        <a:pt x="0" y="38"/>
                      </a:lnTo>
                      <a:lnTo>
                        <a:pt x="0" y="40"/>
                      </a:lnTo>
                      <a:lnTo>
                        <a:pt x="2" y="42"/>
                      </a:lnTo>
                      <a:lnTo>
                        <a:pt x="4" y="42"/>
                      </a:lnTo>
                      <a:lnTo>
                        <a:pt x="4" y="44"/>
                      </a:lnTo>
                      <a:lnTo>
                        <a:pt x="4" y="46"/>
                      </a:lnTo>
                      <a:lnTo>
                        <a:pt x="6" y="48"/>
                      </a:lnTo>
                      <a:lnTo>
                        <a:pt x="8" y="50"/>
                      </a:lnTo>
                      <a:lnTo>
                        <a:pt x="8" y="52"/>
                      </a:lnTo>
                      <a:lnTo>
                        <a:pt x="10" y="52"/>
                      </a:lnTo>
                      <a:lnTo>
                        <a:pt x="12" y="50"/>
                      </a:lnTo>
                      <a:lnTo>
                        <a:pt x="14" y="48"/>
                      </a:lnTo>
                      <a:lnTo>
                        <a:pt x="14" y="50"/>
                      </a:lnTo>
                      <a:lnTo>
                        <a:pt x="14" y="52"/>
                      </a:lnTo>
                      <a:lnTo>
                        <a:pt x="14" y="54"/>
                      </a:lnTo>
                      <a:lnTo>
                        <a:pt x="14" y="56"/>
                      </a:lnTo>
                      <a:lnTo>
                        <a:pt x="14" y="58"/>
                      </a:lnTo>
                      <a:lnTo>
                        <a:pt x="14" y="60"/>
                      </a:lnTo>
                      <a:lnTo>
                        <a:pt x="14" y="62"/>
                      </a:lnTo>
                      <a:lnTo>
                        <a:pt x="16" y="64"/>
                      </a:lnTo>
                      <a:lnTo>
                        <a:pt x="18" y="66"/>
                      </a:lnTo>
                      <a:lnTo>
                        <a:pt x="18" y="68"/>
                      </a:lnTo>
                      <a:lnTo>
                        <a:pt x="20" y="70"/>
                      </a:lnTo>
                      <a:lnTo>
                        <a:pt x="20" y="72"/>
                      </a:lnTo>
                      <a:lnTo>
                        <a:pt x="22" y="74"/>
                      </a:lnTo>
                      <a:lnTo>
                        <a:pt x="22" y="76"/>
                      </a:lnTo>
                      <a:lnTo>
                        <a:pt x="24" y="76"/>
                      </a:lnTo>
                      <a:lnTo>
                        <a:pt x="24" y="78"/>
                      </a:lnTo>
                      <a:lnTo>
                        <a:pt x="26" y="78"/>
                      </a:lnTo>
                      <a:lnTo>
                        <a:pt x="28" y="78"/>
                      </a:lnTo>
                      <a:lnTo>
                        <a:pt x="32" y="78"/>
                      </a:lnTo>
                      <a:lnTo>
                        <a:pt x="34" y="80"/>
                      </a:lnTo>
                      <a:lnTo>
                        <a:pt x="36" y="80"/>
                      </a:lnTo>
                      <a:lnTo>
                        <a:pt x="38" y="80"/>
                      </a:lnTo>
                      <a:lnTo>
                        <a:pt x="38" y="78"/>
                      </a:lnTo>
                      <a:lnTo>
                        <a:pt x="36" y="76"/>
                      </a:lnTo>
                      <a:lnTo>
                        <a:pt x="34" y="74"/>
                      </a:lnTo>
                      <a:lnTo>
                        <a:pt x="34" y="72"/>
                      </a:lnTo>
                      <a:lnTo>
                        <a:pt x="34" y="70"/>
                      </a:lnTo>
                      <a:lnTo>
                        <a:pt x="36" y="68"/>
                      </a:lnTo>
                      <a:lnTo>
                        <a:pt x="36" y="66"/>
                      </a:lnTo>
                      <a:lnTo>
                        <a:pt x="38" y="66"/>
                      </a:lnTo>
                      <a:lnTo>
                        <a:pt x="38" y="68"/>
                      </a:lnTo>
                      <a:lnTo>
                        <a:pt x="38" y="70"/>
                      </a:lnTo>
                      <a:lnTo>
                        <a:pt x="40" y="70"/>
                      </a:lnTo>
                      <a:lnTo>
                        <a:pt x="42" y="70"/>
                      </a:lnTo>
                      <a:lnTo>
                        <a:pt x="44" y="70"/>
                      </a:lnTo>
                      <a:lnTo>
                        <a:pt x="46" y="68"/>
                      </a:lnTo>
                      <a:lnTo>
                        <a:pt x="48" y="66"/>
                      </a:lnTo>
                      <a:lnTo>
                        <a:pt x="50" y="66"/>
                      </a:lnTo>
                      <a:lnTo>
                        <a:pt x="52" y="66"/>
                      </a:lnTo>
                      <a:lnTo>
                        <a:pt x="54" y="68"/>
                      </a:lnTo>
                      <a:lnTo>
                        <a:pt x="54" y="70"/>
                      </a:lnTo>
                      <a:lnTo>
                        <a:pt x="56" y="70"/>
                      </a:lnTo>
                      <a:lnTo>
                        <a:pt x="58" y="70"/>
                      </a:lnTo>
                      <a:lnTo>
                        <a:pt x="60" y="70"/>
                      </a:lnTo>
                      <a:lnTo>
                        <a:pt x="60" y="72"/>
                      </a:lnTo>
                      <a:lnTo>
                        <a:pt x="60" y="70"/>
                      </a:lnTo>
                      <a:lnTo>
                        <a:pt x="60" y="68"/>
                      </a:lnTo>
                      <a:lnTo>
                        <a:pt x="62" y="66"/>
                      </a:lnTo>
                      <a:lnTo>
                        <a:pt x="62" y="64"/>
                      </a:lnTo>
                      <a:lnTo>
                        <a:pt x="64" y="64"/>
                      </a:lnTo>
                      <a:lnTo>
                        <a:pt x="66" y="62"/>
                      </a:lnTo>
                      <a:lnTo>
                        <a:pt x="66" y="58"/>
                      </a:lnTo>
                      <a:lnTo>
                        <a:pt x="66" y="56"/>
                      </a:lnTo>
                      <a:lnTo>
                        <a:pt x="66" y="54"/>
                      </a:lnTo>
                      <a:lnTo>
                        <a:pt x="66" y="52"/>
                      </a:lnTo>
                      <a:lnTo>
                        <a:pt x="68" y="52"/>
                      </a:lnTo>
                      <a:lnTo>
                        <a:pt x="68" y="50"/>
                      </a:lnTo>
                      <a:lnTo>
                        <a:pt x="70" y="48"/>
                      </a:lnTo>
                      <a:lnTo>
                        <a:pt x="68" y="46"/>
                      </a:lnTo>
                      <a:lnTo>
                        <a:pt x="68" y="44"/>
                      </a:lnTo>
                      <a:lnTo>
                        <a:pt x="66" y="44"/>
                      </a:lnTo>
                      <a:lnTo>
                        <a:pt x="66" y="42"/>
                      </a:lnTo>
                      <a:lnTo>
                        <a:pt x="64" y="42"/>
                      </a:lnTo>
                      <a:lnTo>
                        <a:pt x="64" y="40"/>
                      </a:lnTo>
                      <a:lnTo>
                        <a:pt x="62" y="38"/>
                      </a:lnTo>
                      <a:lnTo>
                        <a:pt x="62" y="36"/>
                      </a:lnTo>
                      <a:lnTo>
                        <a:pt x="62" y="32"/>
                      </a:lnTo>
                      <a:lnTo>
                        <a:pt x="60" y="30"/>
                      </a:lnTo>
                      <a:lnTo>
                        <a:pt x="60" y="26"/>
                      </a:lnTo>
                      <a:lnTo>
                        <a:pt x="60" y="24"/>
                      </a:lnTo>
                      <a:lnTo>
                        <a:pt x="60" y="22"/>
                      </a:lnTo>
                      <a:lnTo>
                        <a:pt x="62" y="20"/>
                      </a:lnTo>
                      <a:lnTo>
                        <a:pt x="64" y="18"/>
                      </a:lnTo>
                      <a:lnTo>
                        <a:pt x="66" y="16"/>
                      </a:lnTo>
                      <a:lnTo>
                        <a:pt x="66" y="14"/>
                      </a:lnTo>
                      <a:lnTo>
                        <a:pt x="68" y="12"/>
                      </a:lnTo>
                      <a:lnTo>
                        <a:pt x="70" y="10"/>
                      </a:lnTo>
                      <a:lnTo>
                        <a:pt x="70" y="8"/>
                      </a:lnTo>
                      <a:lnTo>
                        <a:pt x="70" y="6"/>
                      </a:lnTo>
                      <a:lnTo>
                        <a:pt x="70" y="4"/>
                      </a:lnTo>
                      <a:lnTo>
                        <a:pt x="70" y="2"/>
                      </a:lnTo>
                      <a:lnTo>
                        <a:pt x="68" y="2"/>
                      </a:lnTo>
                      <a:lnTo>
                        <a:pt x="66" y="2"/>
                      </a:lnTo>
                      <a:lnTo>
                        <a:pt x="64" y="0"/>
                      </a:lnTo>
                      <a:lnTo>
                        <a:pt x="60" y="0"/>
                      </a:lnTo>
                      <a:lnTo>
                        <a:pt x="56" y="0"/>
                      </a:lnTo>
                      <a:lnTo>
                        <a:pt x="54" y="0"/>
                      </a:lnTo>
                      <a:lnTo>
                        <a:pt x="52" y="0"/>
                      </a:lnTo>
                      <a:lnTo>
                        <a:pt x="50" y="0"/>
                      </a:lnTo>
                      <a:lnTo>
                        <a:pt x="50" y="2"/>
                      </a:lnTo>
                      <a:lnTo>
                        <a:pt x="50" y="4"/>
                      </a:lnTo>
                      <a:lnTo>
                        <a:pt x="48" y="2"/>
                      </a:lnTo>
                      <a:lnTo>
                        <a:pt x="46" y="2"/>
                      </a:lnTo>
                      <a:lnTo>
                        <a:pt x="42" y="2"/>
                      </a:lnTo>
                      <a:lnTo>
                        <a:pt x="40" y="2"/>
                      </a:lnTo>
                      <a:lnTo>
                        <a:pt x="40" y="4"/>
                      </a:lnTo>
                      <a:lnTo>
                        <a:pt x="38" y="4"/>
                      </a:lnTo>
                      <a:lnTo>
                        <a:pt x="38" y="6"/>
                      </a:lnTo>
                      <a:lnTo>
                        <a:pt x="36" y="4"/>
                      </a:lnTo>
                      <a:lnTo>
                        <a:pt x="34" y="4"/>
                      </a:lnTo>
                      <a:lnTo>
                        <a:pt x="32" y="2"/>
                      </a:lnTo>
                      <a:lnTo>
                        <a:pt x="30" y="2"/>
                      </a:lnTo>
                      <a:lnTo>
                        <a:pt x="28" y="2"/>
                      </a:lnTo>
                      <a:lnTo>
                        <a:pt x="26" y="0"/>
                      </a:lnTo>
                      <a:lnTo>
                        <a:pt x="24" y="0"/>
                      </a:lnTo>
                      <a:lnTo>
                        <a:pt x="22" y="0"/>
                      </a:lnTo>
                      <a:lnTo>
                        <a:pt x="20" y="2"/>
                      </a:lnTo>
                      <a:lnTo>
                        <a:pt x="18" y="2"/>
                      </a:lnTo>
                      <a:lnTo>
                        <a:pt x="18" y="4"/>
                      </a:lnTo>
                      <a:lnTo>
                        <a:pt x="16" y="4"/>
                      </a:lnTo>
                      <a:lnTo>
                        <a:pt x="16" y="6"/>
                      </a:lnTo>
                      <a:lnTo>
                        <a:pt x="14" y="6"/>
                      </a:lnTo>
                      <a:lnTo>
                        <a:pt x="14" y="8"/>
                      </a:lnTo>
                      <a:lnTo>
                        <a:pt x="14" y="10"/>
                      </a:lnTo>
                      <a:lnTo>
                        <a:pt x="16" y="12"/>
                      </a:lnTo>
                      <a:lnTo>
                        <a:pt x="16" y="14"/>
                      </a:lnTo>
                      <a:lnTo>
                        <a:pt x="18" y="16"/>
                      </a:lnTo>
                      <a:lnTo>
                        <a:pt x="16" y="1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5" name="Freeform 48">
                  <a:extLst>
                    <a:ext uri="{FF2B5EF4-FFF2-40B4-BE49-F238E27FC236}">
                      <a16:creationId xmlns:a16="http://schemas.microsoft.com/office/drawing/2014/main" id="{C9020BED-BC7D-47D4-BD46-8CFF282EBCEC}"/>
                    </a:ext>
                  </a:extLst>
                </p:cNvPr>
                <p:cNvSpPr>
                  <a:spLocks noChangeAspect="1"/>
                </p:cNvSpPr>
                <p:nvPr/>
              </p:nvSpPr>
              <p:spPr bwMode="auto">
                <a:xfrm>
                  <a:off x="2275745" y="3449310"/>
                  <a:ext cx="15884" cy="21059"/>
                </a:xfrm>
                <a:custGeom>
                  <a:avLst/>
                  <a:gdLst/>
                  <a:ahLst/>
                  <a:cxnLst>
                    <a:cxn ang="0">
                      <a:pos x="6" y="10"/>
                    </a:cxn>
                    <a:cxn ang="0">
                      <a:pos x="6" y="10"/>
                    </a:cxn>
                    <a:cxn ang="0">
                      <a:pos x="8" y="8"/>
                    </a:cxn>
                    <a:cxn ang="0">
                      <a:pos x="8" y="6"/>
                    </a:cxn>
                    <a:cxn ang="0">
                      <a:pos x="8" y="6"/>
                    </a:cxn>
                    <a:cxn ang="0">
                      <a:pos x="8" y="4"/>
                    </a:cxn>
                    <a:cxn ang="0">
                      <a:pos x="6" y="2"/>
                    </a:cxn>
                    <a:cxn ang="0">
                      <a:pos x="6" y="0"/>
                    </a:cxn>
                    <a:cxn ang="0">
                      <a:pos x="4" y="0"/>
                    </a:cxn>
                    <a:cxn ang="0">
                      <a:pos x="2" y="0"/>
                    </a:cxn>
                    <a:cxn ang="0">
                      <a:pos x="2" y="0"/>
                    </a:cxn>
                    <a:cxn ang="0">
                      <a:pos x="0" y="0"/>
                    </a:cxn>
                    <a:cxn ang="0">
                      <a:pos x="0" y="0"/>
                    </a:cxn>
                    <a:cxn ang="0">
                      <a:pos x="0" y="2"/>
                    </a:cxn>
                    <a:cxn ang="0">
                      <a:pos x="0" y="4"/>
                    </a:cxn>
                    <a:cxn ang="0">
                      <a:pos x="0" y="4"/>
                    </a:cxn>
                    <a:cxn ang="0">
                      <a:pos x="0" y="6"/>
                    </a:cxn>
                    <a:cxn ang="0">
                      <a:pos x="0" y="8"/>
                    </a:cxn>
                    <a:cxn ang="0">
                      <a:pos x="0" y="8"/>
                    </a:cxn>
                    <a:cxn ang="0">
                      <a:pos x="0" y="10"/>
                    </a:cxn>
                    <a:cxn ang="0">
                      <a:pos x="0" y="10"/>
                    </a:cxn>
                    <a:cxn ang="0">
                      <a:pos x="0" y="10"/>
                    </a:cxn>
                    <a:cxn ang="0">
                      <a:pos x="6" y="10"/>
                    </a:cxn>
                    <a:cxn ang="0">
                      <a:pos x="6" y="10"/>
                    </a:cxn>
                    <a:cxn ang="0">
                      <a:pos x="6" y="10"/>
                    </a:cxn>
                  </a:cxnLst>
                  <a:rect l="0" t="0" r="r" b="b"/>
                  <a:pathLst>
                    <a:path w="8" h="10">
                      <a:moveTo>
                        <a:pt x="6" y="10"/>
                      </a:moveTo>
                      <a:lnTo>
                        <a:pt x="6" y="10"/>
                      </a:lnTo>
                      <a:lnTo>
                        <a:pt x="8" y="8"/>
                      </a:lnTo>
                      <a:lnTo>
                        <a:pt x="8" y="6"/>
                      </a:lnTo>
                      <a:lnTo>
                        <a:pt x="8" y="4"/>
                      </a:lnTo>
                      <a:lnTo>
                        <a:pt x="6" y="2"/>
                      </a:lnTo>
                      <a:lnTo>
                        <a:pt x="6" y="0"/>
                      </a:lnTo>
                      <a:lnTo>
                        <a:pt x="4" y="0"/>
                      </a:lnTo>
                      <a:lnTo>
                        <a:pt x="2" y="0"/>
                      </a:lnTo>
                      <a:lnTo>
                        <a:pt x="0" y="0"/>
                      </a:lnTo>
                      <a:lnTo>
                        <a:pt x="0" y="2"/>
                      </a:lnTo>
                      <a:lnTo>
                        <a:pt x="0" y="4"/>
                      </a:lnTo>
                      <a:lnTo>
                        <a:pt x="0" y="6"/>
                      </a:lnTo>
                      <a:lnTo>
                        <a:pt x="0" y="8"/>
                      </a:lnTo>
                      <a:lnTo>
                        <a:pt x="0" y="10"/>
                      </a:lnTo>
                      <a:lnTo>
                        <a:pt x="6" y="1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6" name="Freeform 49">
                  <a:extLst>
                    <a:ext uri="{FF2B5EF4-FFF2-40B4-BE49-F238E27FC236}">
                      <a16:creationId xmlns:a16="http://schemas.microsoft.com/office/drawing/2014/main" id="{73C4AC06-64E7-49F3-9971-EDF5E749C760}"/>
                    </a:ext>
                  </a:extLst>
                </p:cNvPr>
                <p:cNvSpPr>
                  <a:spLocks noChangeAspect="1"/>
                </p:cNvSpPr>
                <p:nvPr/>
              </p:nvSpPr>
              <p:spPr bwMode="auto">
                <a:xfrm>
                  <a:off x="2915059" y="3946315"/>
                  <a:ext cx="75446" cy="67391"/>
                </a:xfrm>
                <a:custGeom>
                  <a:avLst/>
                  <a:gdLst/>
                  <a:ahLst/>
                  <a:cxnLst>
                    <a:cxn ang="0">
                      <a:pos x="16" y="2"/>
                    </a:cxn>
                    <a:cxn ang="0">
                      <a:pos x="14" y="2"/>
                    </a:cxn>
                    <a:cxn ang="0">
                      <a:pos x="10" y="0"/>
                    </a:cxn>
                    <a:cxn ang="0">
                      <a:pos x="4" y="0"/>
                    </a:cxn>
                    <a:cxn ang="0">
                      <a:pos x="2" y="0"/>
                    </a:cxn>
                    <a:cxn ang="0">
                      <a:pos x="2" y="4"/>
                    </a:cxn>
                    <a:cxn ang="0">
                      <a:pos x="2" y="6"/>
                    </a:cxn>
                    <a:cxn ang="0">
                      <a:pos x="2" y="8"/>
                    </a:cxn>
                    <a:cxn ang="0">
                      <a:pos x="2" y="8"/>
                    </a:cxn>
                    <a:cxn ang="0">
                      <a:pos x="0" y="10"/>
                    </a:cxn>
                    <a:cxn ang="0">
                      <a:pos x="0" y="10"/>
                    </a:cxn>
                    <a:cxn ang="0">
                      <a:pos x="0" y="12"/>
                    </a:cxn>
                    <a:cxn ang="0">
                      <a:pos x="0" y="14"/>
                    </a:cxn>
                    <a:cxn ang="0">
                      <a:pos x="0" y="14"/>
                    </a:cxn>
                    <a:cxn ang="0">
                      <a:pos x="0" y="16"/>
                    </a:cxn>
                    <a:cxn ang="0">
                      <a:pos x="2" y="16"/>
                    </a:cxn>
                    <a:cxn ang="0">
                      <a:pos x="4" y="18"/>
                    </a:cxn>
                    <a:cxn ang="0">
                      <a:pos x="4" y="18"/>
                    </a:cxn>
                    <a:cxn ang="0">
                      <a:pos x="2" y="20"/>
                    </a:cxn>
                    <a:cxn ang="0">
                      <a:pos x="0" y="20"/>
                    </a:cxn>
                    <a:cxn ang="0">
                      <a:pos x="0" y="20"/>
                    </a:cxn>
                    <a:cxn ang="0">
                      <a:pos x="0" y="22"/>
                    </a:cxn>
                    <a:cxn ang="0">
                      <a:pos x="2" y="24"/>
                    </a:cxn>
                    <a:cxn ang="0">
                      <a:pos x="4" y="30"/>
                    </a:cxn>
                    <a:cxn ang="0">
                      <a:pos x="6" y="30"/>
                    </a:cxn>
                    <a:cxn ang="0">
                      <a:pos x="10" y="32"/>
                    </a:cxn>
                    <a:cxn ang="0">
                      <a:pos x="14" y="30"/>
                    </a:cxn>
                    <a:cxn ang="0">
                      <a:pos x="16" y="30"/>
                    </a:cxn>
                    <a:cxn ang="0">
                      <a:pos x="18" y="30"/>
                    </a:cxn>
                    <a:cxn ang="0">
                      <a:pos x="18" y="28"/>
                    </a:cxn>
                    <a:cxn ang="0">
                      <a:pos x="18" y="28"/>
                    </a:cxn>
                    <a:cxn ang="0">
                      <a:pos x="20" y="28"/>
                    </a:cxn>
                    <a:cxn ang="0">
                      <a:pos x="24" y="28"/>
                    </a:cxn>
                    <a:cxn ang="0">
                      <a:pos x="28" y="28"/>
                    </a:cxn>
                    <a:cxn ang="0">
                      <a:pos x="32" y="24"/>
                    </a:cxn>
                    <a:cxn ang="0">
                      <a:pos x="34" y="22"/>
                    </a:cxn>
                    <a:cxn ang="0">
                      <a:pos x="34" y="20"/>
                    </a:cxn>
                    <a:cxn ang="0">
                      <a:pos x="36" y="16"/>
                    </a:cxn>
                    <a:cxn ang="0">
                      <a:pos x="36" y="12"/>
                    </a:cxn>
                    <a:cxn ang="0">
                      <a:pos x="36" y="12"/>
                    </a:cxn>
                    <a:cxn ang="0">
                      <a:pos x="36" y="12"/>
                    </a:cxn>
                    <a:cxn ang="0">
                      <a:pos x="36" y="10"/>
                    </a:cxn>
                    <a:cxn ang="0">
                      <a:pos x="38" y="8"/>
                    </a:cxn>
                    <a:cxn ang="0">
                      <a:pos x="38" y="4"/>
                    </a:cxn>
                    <a:cxn ang="0">
                      <a:pos x="38" y="0"/>
                    </a:cxn>
                    <a:cxn ang="0">
                      <a:pos x="36" y="0"/>
                    </a:cxn>
                    <a:cxn ang="0">
                      <a:pos x="30" y="0"/>
                    </a:cxn>
                    <a:cxn ang="0">
                      <a:pos x="26" y="0"/>
                    </a:cxn>
                    <a:cxn ang="0">
                      <a:pos x="26" y="0"/>
                    </a:cxn>
                    <a:cxn ang="0">
                      <a:pos x="24" y="2"/>
                    </a:cxn>
                    <a:cxn ang="0">
                      <a:pos x="20" y="2"/>
                    </a:cxn>
                    <a:cxn ang="0">
                      <a:pos x="18" y="2"/>
                    </a:cxn>
                  </a:cxnLst>
                  <a:rect l="0" t="0" r="r" b="b"/>
                  <a:pathLst>
                    <a:path w="38" h="32">
                      <a:moveTo>
                        <a:pt x="18" y="2"/>
                      </a:moveTo>
                      <a:lnTo>
                        <a:pt x="16" y="2"/>
                      </a:lnTo>
                      <a:lnTo>
                        <a:pt x="14" y="2"/>
                      </a:lnTo>
                      <a:lnTo>
                        <a:pt x="12" y="0"/>
                      </a:lnTo>
                      <a:lnTo>
                        <a:pt x="10" y="0"/>
                      </a:lnTo>
                      <a:lnTo>
                        <a:pt x="6" y="0"/>
                      </a:lnTo>
                      <a:lnTo>
                        <a:pt x="4" y="0"/>
                      </a:lnTo>
                      <a:lnTo>
                        <a:pt x="2" y="0"/>
                      </a:lnTo>
                      <a:lnTo>
                        <a:pt x="2" y="2"/>
                      </a:lnTo>
                      <a:lnTo>
                        <a:pt x="2" y="4"/>
                      </a:lnTo>
                      <a:lnTo>
                        <a:pt x="2" y="6"/>
                      </a:lnTo>
                      <a:lnTo>
                        <a:pt x="2" y="8"/>
                      </a:lnTo>
                      <a:lnTo>
                        <a:pt x="4" y="8"/>
                      </a:lnTo>
                      <a:lnTo>
                        <a:pt x="2" y="8"/>
                      </a:lnTo>
                      <a:lnTo>
                        <a:pt x="0" y="10"/>
                      </a:lnTo>
                      <a:lnTo>
                        <a:pt x="0" y="12"/>
                      </a:lnTo>
                      <a:lnTo>
                        <a:pt x="0" y="14"/>
                      </a:lnTo>
                      <a:lnTo>
                        <a:pt x="0" y="16"/>
                      </a:lnTo>
                      <a:lnTo>
                        <a:pt x="2" y="16"/>
                      </a:lnTo>
                      <a:lnTo>
                        <a:pt x="4" y="16"/>
                      </a:lnTo>
                      <a:lnTo>
                        <a:pt x="4" y="18"/>
                      </a:lnTo>
                      <a:lnTo>
                        <a:pt x="2" y="20"/>
                      </a:lnTo>
                      <a:lnTo>
                        <a:pt x="0" y="20"/>
                      </a:lnTo>
                      <a:lnTo>
                        <a:pt x="0" y="22"/>
                      </a:lnTo>
                      <a:lnTo>
                        <a:pt x="2" y="24"/>
                      </a:lnTo>
                      <a:lnTo>
                        <a:pt x="2" y="28"/>
                      </a:lnTo>
                      <a:lnTo>
                        <a:pt x="4" y="30"/>
                      </a:lnTo>
                      <a:lnTo>
                        <a:pt x="6" y="30"/>
                      </a:lnTo>
                      <a:lnTo>
                        <a:pt x="8" y="32"/>
                      </a:lnTo>
                      <a:lnTo>
                        <a:pt x="10" y="32"/>
                      </a:lnTo>
                      <a:lnTo>
                        <a:pt x="14" y="30"/>
                      </a:lnTo>
                      <a:lnTo>
                        <a:pt x="16" y="30"/>
                      </a:lnTo>
                      <a:lnTo>
                        <a:pt x="18" y="30"/>
                      </a:lnTo>
                      <a:lnTo>
                        <a:pt x="18" y="28"/>
                      </a:lnTo>
                      <a:lnTo>
                        <a:pt x="20" y="28"/>
                      </a:lnTo>
                      <a:lnTo>
                        <a:pt x="24" y="28"/>
                      </a:lnTo>
                      <a:lnTo>
                        <a:pt x="26" y="28"/>
                      </a:lnTo>
                      <a:lnTo>
                        <a:pt x="28" y="28"/>
                      </a:lnTo>
                      <a:lnTo>
                        <a:pt x="30" y="26"/>
                      </a:lnTo>
                      <a:lnTo>
                        <a:pt x="32" y="24"/>
                      </a:lnTo>
                      <a:lnTo>
                        <a:pt x="34" y="22"/>
                      </a:lnTo>
                      <a:lnTo>
                        <a:pt x="34" y="20"/>
                      </a:lnTo>
                      <a:lnTo>
                        <a:pt x="34" y="18"/>
                      </a:lnTo>
                      <a:lnTo>
                        <a:pt x="36" y="16"/>
                      </a:lnTo>
                      <a:lnTo>
                        <a:pt x="36" y="14"/>
                      </a:lnTo>
                      <a:lnTo>
                        <a:pt x="36" y="12"/>
                      </a:lnTo>
                      <a:lnTo>
                        <a:pt x="36" y="10"/>
                      </a:lnTo>
                      <a:lnTo>
                        <a:pt x="38" y="10"/>
                      </a:lnTo>
                      <a:lnTo>
                        <a:pt x="38" y="8"/>
                      </a:lnTo>
                      <a:lnTo>
                        <a:pt x="38" y="6"/>
                      </a:lnTo>
                      <a:lnTo>
                        <a:pt x="38" y="4"/>
                      </a:lnTo>
                      <a:lnTo>
                        <a:pt x="38" y="2"/>
                      </a:lnTo>
                      <a:lnTo>
                        <a:pt x="38" y="0"/>
                      </a:lnTo>
                      <a:lnTo>
                        <a:pt x="36" y="0"/>
                      </a:lnTo>
                      <a:lnTo>
                        <a:pt x="34" y="0"/>
                      </a:lnTo>
                      <a:lnTo>
                        <a:pt x="30" y="0"/>
                      </a:lnTo>
                      <a:lnTo>
                        <a:pt x="28" y="0"/>
                      </a:lnTo>
                      <a:lnTo>
                        <a:pt x="26" y="0"/>
                      </a:lnTo>
                      <a:lnTo>
                        <a:pt x="24" y="0"/>
                      </a:lnTo>
                      <a:lnTo>
                        <a:pt x="24" y="2"/>
                      </a:lnTo>
                      <a:lnTo>
                        <a:pt x="20" y="2"/>
                      </a:lnTo>
                      <a:lnTo>
                        <a:pt x="18"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7" name="Freeform 50">
                  <a:extLst>
                    <a:ext uri="{FF2B5EF4-FFF2-40B4-BE49-F238E27FC236}">
                      <a16:creationId xmlns:a16="http://schemas.microsoft.com/office/drawing/2014/main" id="{4FFA62F7-9AE4-4951-92FE-775C283DEE54}"/>
                    </a:ext>
                  </a:extLst>
                </p:cNvPr>
                <p:cNvSpPr>
                  <a:spLocks noChangeAspect="1"/>
                </p:cNvSpPr>
                <p:nvPr/>
              </p:nvSpPr>
              <p:spPr bwMode="auto">
                <a:xfrm>
                  <a:off x="2164562" y="3133415"/>
                  <a:ext cx="91331" cy="75815"/>
                </a:xfrm>
                <a:custGeom>
                  <a:avLst/>
                  <a:gdLst/>
                  <a:ahLst/>
                  <a:cxnLst>
                    <a:cxn ang="0">
                      <a:pos x="40" y="26"/>
                    </a:cxn>
                    <a:cxn ang="0">
                      <a:pos x="40" y="26"/>
                    </a:cxn>
                    <a:cxn ang="0">
                      <a:pos x="42" y="20"/>
                    </a:cxn>
                    <a:cxn ang="0">
                      <a:pos x="44" y="18"/>
                    </a:cxn>
                    <a:cxn ang="0">
                      <a:pos x="44" y="14"/>
                    </a:cxn>
                    <a:cxn ang="0">
                      <a:pos x="46" y="10"/>
                    </a:cxn>
                    <a:cxn ang="0">
                      <a:pos x="46" y="6"/>
                    </a:cxn>
                    <a:cxn ang="0">
                      <a:pos x="44" y="2"/>
                    </a:cxn>
                    <a:cxn ang="0">
                      <a:pos x="42" y="4"/>
                    </a:cxn>
                    <a:cxn ang="0">
                      <a:pos x="42" y="6"/>
                    </a:cxn>
                    <a:cxn ang="0">
                      <a:pos x="42" y="4"/>
                    </a:cxn>
                    <a:cxn ang="0">
                      <a:pos x="38" y="4"/>
                    </a:cxn>
                    <a:cxn ang="0">
                      <a:pos x="32" y="2"/>
                    </a:cxn>
                    <a:cxn ang="0">
                      <a:pos x="26" y="0"/>
                    </a:cxn>
                    <a:cxn ang="0">
                      <a:pos x="20" y="0"/>
                    </a:cxn>
                    <a:cxn ang="0">
                      <a:pos x="16" y="2"/>
                    </a:cxn>
                    <a:cxn ang="0">
                      <a:pos x="14" y="4"/>
                    </a:cxn>
                    <a:cxn ang="0">
                      <a:pos x="14" y="6"/>
                    </a:cxn>
                    <a:cxn ang="0">
                      <a:pos x="16" y="6"/>
                    </a:cxn>
                    <a:cxn ang="0">
                      <a:pos x="22" y="6"/>
                    </a:cxn>
                    <a:cxn ang="0">
                      <a:pos x="24" y="8"/>
                    </a:cxn>
                    <a:cxn ang="0">
                      <a:pos x="28" y="10"/>
                    </a:cxn>
                    <a:cxn ang="0">
                      <a:pos x="30" y="12"/>
                    </a:cxn>
                    <a:cxn ang="0">
                      <a:pos x="30" y="12"/>
                    </a:cxn>
                    <a:cxn ang="0">
                      <a:pos x="30" y="12"/>
                    </a:cxn>
                    <a:cxn ang="0">
                      <a:pos x="28" y="12"/>
                    </a:cxn>
                    <a:cxn ang="0">
                      <a:pos x="26" y="14"/>
                    </a:cxn>
                    <a:cxn ang="0">
                      <a:pos x="26" y="18"/>
                    </a:cxn>
                    <a:cxn ang="0">
                      <a:pos x="26" y="22"/>
                    </a:cxn>
                    <a:cxn ang="0">
                      <a:pos x="28" y="24"/>
                    </a:cxn>
                    <a:cxn ang="0">
                      <a:pos x="26" y="26"/>
                    </a:cxn>
                    <a:cxn ang="0">
                      <a:pos x="24" y="26"/>
                    </a:cxn>
                    <a:cxn ang="0">
                      <a:pos x="20" y="26"/>
                    </a:cxn>
                    <a:cxn ang="0">
                      <a:pos x="14" y="24"/>
                    </a:cxn>
                    <a:cxn ang="0">
                      <a:pos x="10" y="24"/>
                    </a:cxn>
                    <a:cxn ang="0">
                      <a:pos x="10" y="24"/>
                    </a:cxn>
                    <a:cxn ang="0">
                      <a:pos x="4" y="24"/>
                    </a:cxn>
                    <a:cxn ang="0">
                      <a:pos x="2" y="24"/>
                    </a:cxn>
                    <a:cxn ang="0">
                      <a:pos x="0" y="26"/>
                    </a:cxn>
                    <a:cxn ang="0">
                      <a:pos x="0" y="28"/>
                    </a:cxn>
                    <a:cxn ang="0">
                      <a:pos x="2" y="32"/>
                    </a:cxn>
                    <a:cxn ang="0">
                      <a:pos x="6" y="36"/>
                    </a:cxn>
                    <a:cxn ang="0">
                      <a:pos x="8" y="36"/>
                    </a:cxn>
                    <a:cxn ang="0">
                      <a:pos x="10" y="36"/>
                    </a:cxn>
                    <a:cxn ang="0">
                      <a:pos x="12" y="36"/>
                    </a:cxn>
                    <a:cxn ang="0">
                      <a:pos x="14" y="34"/>
                    </a:cxn>
                    <a:cxn ang="0">
                      <a:pos x="14" y="32"/>
                    </a:cxn>
                    <a:cxn ang="0">
                      <a:pos x="14" y="32"/>
                    </a:cxn>
                    <a:cxn ang="0">
                      <a:pos x="18" y="32"/>
                    </a:cxn>
                    <a:cxn ang="0">
                      <a:pos x="22" y="32"/>
                    </a:cxn>
                    <a:cxn ang="0">
                      <a:pos x="30" y="32"/>
                    </a:cxn>
                    <a:cxn ang="0">
                      <a:pos x="34" y="32"/>
                    </a:cxn>
                    <a:cxn ang="0">
                      <a:pos x="36" y="32"/>
                    </a:cxn>
                    <a:cxn ang="0">
                      <a:pos x="38" y="32"/>
                    </a:cxn>
                    <a:cxn ang="0">
                      <a:pos x="40" y="34"/>
                    </a:cxn>
                    <a:cxn ang="0">
                      <a:pos x="42" y="36"/>
                    </a:cxn>
                    <a:cxn ang="0">
                      <a:pos x="42" y="36"/>
                    </a:cxn>
                    <a:cxn ang="0">
                      <a:pos x="40" y="28"/>
                    </a:cxn>
                  </a:cxnLst>
                  <a:rect l="0" t="0" r="r" b="b"/>
                  <a:pathLst>
                    <a:path w="46" h="36">
                      <a:moveTo>
                        <a:pt x="40" y="28"/>
                      </a:moveTo>
                      <a:lnTo>
                        <a:pt x="40" y="26"/>
                      </a:lnTo>
                      <a:lnTo>
                        <a:pt x="40" y="24"/>
                      </a:lnTo>
                      <a:lnTo>
                        <a:pt x="42" y="20"/>
                      </a:lnTo>
                      <a:lnTo>
                        <a:pt x="44" y="18"/>
                      </a:lnTo>
                      <a:lnTo>
                        <a:pt x="44" y="16"/>
                      </a:lnTo>
                      <a:lnTo>
                        <a:pt x="44" y="14"/>
                      </a:lnTo>
                      <a:lnTo>
                        <a:pt x="46" y="12"/>
                      </a:lnTo>
                      <a:lnTo>
                        <a:pt x="46" y="10"/>
                      </a:lnTo>
                      <a:lnTo>
                        <a:pt x="46" y="8"/>
                      </a:lnTo>
                      <a:lnTo>
                        <a:pt x="46" y="6"/>
                      </a:lnTo>
                      <a:lnTo>
                        <a:pt x="44" y="4"/>
                      </a:lnTo>
                      <a:lnTo>
                        <a:pt x="44" y="2"/>
                      </a:lnTo>
                      <a:lnTo>
                        <a:pt x="42" y="4"/>
                      </a:lnTo>
                      <a:lnTo>
                        <a:pt x="42" y="6"/>
                      </a:lnTo>
                      <a:lnTo>
                        <a:pt x="42" y="4"/>
                      </a:lnTo>
                      <a:lnTo>
                        <a:pt x="40" y="4"/>
                      </a:lnTo>
                      <a:lnTo>
                        <a:pt x="38" y="4"/>
                      </a:lnTo>
                      <a:lnTo>
                        <a:pt x="34" y="2"/>
                      </a:lnTo>
                      <a:lnTo>
                        <a:pt x="32" y="2"/>
                      </a:lnTo>
                      <a:lnTo>
                        <a:pt x="30" y="2"/>
                      </a:lnTo>
                      <a:lnTo>
                        <a:pt x="26" y="0"/>
                      </a:lnTo>
                      <a:lnTo>
                        <a:pt x="24" y="0"/>
                      </a:lnTo>
                      <a:lnTo>
                        <a:pt x="20" y="0"/>
                      </a:lnTo>
                      <a:lnTo>
                        <a:pt x="18" y="2"/>
                      </a:lnTo>
                      <a:lnTo>
                        <a:pt x="16" y="2"/>
                      </a:lnTo>
                      <a:lnTo>
                        <a:pt x="14" y="4"/>
                      </a:lnTo>
                      <a:lnTo>
                        <a:pt x="14" y="6"/>
                      </a:lnTo>
                      <a:lnTo>
                        <a:pt x="16" y="6"/>
                      </a:lnTo>
                      <a:lnTo>
                        <a:pt x="20" y="6"/>
                      </a:lnTo>
                      <a:lnTo>
                        <a:pt x="22" y="6"/>
                      </a:lnTo>
                      <a:lnTo>
                        <a:pt x="24" y="6"/>
                      </a:lnTo>
                      <a:lnTo>
                        <a:pt x="24" y="8"/>
                      </a:lnTo>
                      <a:lnTo>
                        <a:pt x="26" y="8"/>
                      </a:lnTo>
                      <a:lnTo>
                        <a:pt x="28" y="10"/>
                      </a:lnTo>
                      <a:lnTo>
                        <a:pt x="30" y="12"/>
                      </a:lnTo>
                      <a:lnTo>
                        <a:pt x="28" y="12"/>
                      </a:lnTo>
                      <a:lnTo>
                        <a:pt x="26" y="14"/>
                      </a:lnTo>
                      <a:lnTo>
                        <a:pt x="26" y="16"/>
                      </a:lnTo>
                      <a:lnTo>
                        <a:pt x="26" y="18"/>
                      </a:lnTo>
                      <a:lnTo>
                        <a:pt x="26" y="20"/>
                      </a:lnTo>
                      <a:lnTo>
                        <a:pt x="26" y="22"/>
                      </a:lnTo>
                      <a:lnTo>
                        <a:pt x="28" y="24"/>
                      </a:lnTo>
                      <a:lnTo>
                        <a:pt x="26" y="26"/>
                      </a:lnTo>
                      <a:lnTo>
                        <a:pt x="24" y="26"/>
                      </a:lnTo>
                      <a:lnTo>
                        <a:pt x="22" y="26"/>
                      </a:lnTo>
                      <a:lnTo>
                        <a:pt x="20" y="26"/>
                      </a:lnTo>
                      <a:lnTo>
                        <a:pt x="16" y="24"/>
                      </a:lnTo>
                      <a:lnTo>
                        <a:pt x="14" y="24"/>
                      </a:lnTo>
                      <a:lnTo>
                        <a:pt x="12" y="24"/>
                      </a:lnTo>
                      <a:lnTo>
                        <a:pt x="10" y="24"/>
                      </a:lnTo>
                      <a:lnTo>
                        <a:pt x="8" y="24"/>
                      </a:lnTo>
                      <a:lnTo>
                        <a:pt x="4" y="24"/>
                      </a:lnTo>
                      <a:lnTo>
                        <a:pt x="2" y="24"/>
                      </a:lnTo>
                      <a:lnTo>
                        <a:pt x="0" y="26"/>
                      </a:lnTo>
                      <a:lnTo>
                        <a:pt x="0" y="28"/>
                      </a:lnTo>
                      <a:lnTo>
                        <a:pt x="2" y="30"/>
                      </a:lnTo>
                      <a:lnTo>
                        <a:pt x="2" y="32"/>
                      </a:lnTo>
                      <a:lnTo>
                        <a:pt x="4" y="34"/>
                      </a:lnTo>
                      <a:lnTo>
                        <a:pt x="6" y="36"/>
                      </a:lnTo>
                      <a:lnTo>
                        <a:pt x="8" y="36"/>
                      </a:lnTo>
                      <a:lnTo>
                        <a:pt x="10" y="36"/>
                      </a:lnTo>
                      <a:lnTo>
                        <a:pt x="12" y="36"/>
                      </a:lnTo>
                      <a:lnTo>
                        <a:pt x="12" y="34"/>
                      </a:lnTo>
                      <a:lnTo>
                        <a:pt x="14" y="34"/>
                      </a:lnTo>
                      <a:lnTo>
                        <a:pt x="14" y="32"/>
                      </a:lnTo>
                      <a:lnTo>
                        <a:pt x="16" y="32"/>
                      </a:lnTo>
                      <a:lnTo>
                        <a:pt x="18" y="32"/>
                      </a:lnTo>
                      <a:lnTo>
                        <a:pt x="20" y="32"/>
                      </a:lnTo>
                      <a:lnTo>
                        <a:pt x="22" y="32"/>
                      </a:lnTo>
                      <a:lnTo>
                        <a:pt x="26" y="32"/>
                      </a:lnTo>
                      <a:lnTo>
                        <a:pt x="30" y="32"/>
                      </a:lnTo>
                      <a:lnTo>
                        <a:pt x="32" y="32"/>
                      </a:lnTo>
                      <a:lnTo>
                        <a:pt x="34" y="32"/>
                      </a:lnTo>
                      <a:lnTo>
                        <a:pt x="36" y="32"/>
                      </a:lnTo>
                      <a:lnTo>
                        <a:pt x="38" y="32"/>
                      </a:lnTo>
                      <a:lnTo>
                        <a:pt x="40" y="32"/>
                      </a:lnTo>
                      <a:lnTo>
                        <a:pt x="40" y="34"/>
                      </a:lnTo>
                      <a:lnTo>
                        <a:pt x="42" y="34"/>
                      </a:lnTo>
                      <a:lnTo>
                        <a:pt x="42" y="36"/>
                      </a:lnTo>
                      <a:lnTo>
                        <a:pt x="40" y="28"/>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8" name="Freeform 51">
                  <a:extLst>
                    <a:ext uri="{FF2B5EF4-FFF2-40B4-BE49-F238E27FC236}">
                      <a16:creationId xmlns:a16="http://schemas.microsoft.com/office/drawing/2014/main" id="{A1B69537-0241-462B-829C-99293550611E}"/>
                    </a:ext>
                  </a:extLst>
                </p:cNvPr>
                <p:cNvSpPr>
                  <a:spLocks noChangeAspect="1"/>
                </p:cNvSpPr>
                <p:nvPr/>
              </p:nvSpPr>
              <p:spPr bwMode="auto">
                <a:xfrm>
                  <a:off x="1918367" y="4047400"/>
                  <a:ext cx="11912" cy="12636"/>
                </a:xfrm>
                <a:custGeom>
                  <a:avLst/>
                  <a:gdLst/>
                  <a:ahLst/>
                  <a:cxnLst>
                    <a:cxn ang="0">
                      <a:pos x="2" y="6"/>
                    </a:cxn>
                    <a:cxn ang="0">
                      <a:pos x="4" y="6"/>
                    </a:cxn>
                    <a:cxn ang="0">
                      <a:pos x="4" y="6"/>
                    </a:cxn>
                    <a:cxn ang="0">
                      <a:pos x="6" y="4"/>
                    </a:cxn>
                    <a:cxn ang="0">
                      <a:pos x="6" y="2"/>
                    </a:cxn>
                    <a:cxn ang="0">
                      <a:pos x="6" y="2"/>
                    </a:cxn>
                    <a:cxn ang="0">
                      <a:pos x="6" y="0"/>
                    </a:cxn>
                    <a:cxn ang="0">
                      <a:pos x="4" y="0"/>
                    </a:cxn>
                    <a:cxn ang="0">
                      <a:pos x="4" y="0"/>
                    </a:cxn>
                    <a:cxn ang="0">
                      <a:pos x="2" y="2"/>
                    </a:cxn>
                    <a:cxn ang="0">
                      <a:pos x="2" y="2"/>
                    </a:cxn>
                    <a:cxn ang="0">
                      <a:pos x="0" y="4"/>
                    </a:cxn>
                    <a:cxn ang="0">
                      <a:pos x="0" y="4"/>
                    </a:cxn>
                    <a:cxn ang="0">
                      <a:pos x="0" y="6"/>
                    </a:cxn>
                    <a:cxn ang="0">
                      <a:pos x="0" y="6"/>
                    </a:cxn>
                    <a:cxn ang="0">
                      <a:pos x="0" y="6"/>
                    </a:cxn>
                    <a:cxn ang="0">
                      <a:pos x="2" y="6"/>
                    </a:cxn>
                    <a:cxn ang="0">
                      <a:pos x="2" y="6"/>
                    </a:cxn>
                    <a:cxn ang="0">
                      <a:pos x="2" y="6"/>
                    </a:cxn>
                  </a:cxnLst>
                  <a:rect l="0" t="0" r="r" b="b"/>
                  <a:pathLst>
                    <a:path w="6" h="6">
                      <a:moveTo>
                        <a:pt x="2" y="6"/>
                      </a:moveTo>
                      <a:lnTo>
                        <a:pt x="4" y="6"/>
                      </a:lnTo>
                      <a:lnTo>
                        <a:pt x="6" y="4"/>
                      </a:lnTo>
                      <a:lnTo>
                        <a:pt x="6" y="2"/>
                      </a:lnTo>
                      <a:lnTo>
                        <a:pt x="6" y="0"/>
                      </a:lnTo>
                      <a:lnTo>
                        <a:pt x="4" y="0"/>
                      </a:lnTo>
                      <a:lnTo>
                        <a:pt x="2" y="2"/>
                      </a:lnTo>
                      <a:lnTo>
                        <a:pt x="0" y="4"/>
                      </a:lnTo>
                      <a:lnTo>
                        <a:pt x="0" y="6"/>
                      </a:lnTo>
                      <a:lnTo>
                        <a:pt x="2"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59" name="Freeform 52">
                  <a:extLst>
                    <a:ext uri="{FF2B5EF4-FFF2-40B4-BE49-F238E27FC236}">
                      <a16:creationId xmlns:a16="http://schemas.microsoft.com/office/drawing/2014/main" id="{7FD1192B-517F-4E7F-9E45-71EFF44F4997}"/>
                    </a:ext>
                  </a:extLst>
                </p:cNvPr>
                <p:cNvSpPr>
                  <a:spLocks noChangeAspect="1" noEditPoints="1"/>
                </p:cNvSpPr>
                <p:nvPr/>
              </p:nvSpPr>
              <p:spPr bwMode="auto">
                <a:xfrm>
                  <a:off x="2537823" y="3234501"/>
                  <a:ext cx="63535" cy="223231"/>
                </a:xfrm>
                <a:custGeom>
                  <a:avLst/>
                  <a:gdLst/>
                  <a:ahLst/>
                  <a:cxnLst>
                    <a:cxn ang="0">
                      <a:pos x="22" y="76"/>
                    </a:cxn>
                    <a:cxn ang="0">
                      <a:pos x="20" y="82"/>
                    </a:cxn>
                    <a:cxn ang="0">
                      <a:pos x="22" y="84"/>
                    </a:cxn>
                    <a:cxn ang="0">
                      <a:pos x="22" y="84"/>
                    </a:cxn>
                    <a:cxn ang="0">
                      <a:pos x="24" y="82"/>
                    </a:cxn>
                    <a:cxn ang="0">
                      <a:pos x="24" y="80"/>
                    </a:cxn>
                    <a:cxn ang="0">
                      <a:pos x="22" y="78"/>
                    </a:cxn>
                    <a:cxn ang="0">
                      <a:pos x="22" y="76"/>
                    </a:cxn>
                    <a:cxn ang="0">
                      <a:pos x="12" y="100"/>
                    </a:cxn>
                    <a:cxn ang="0">
                      <a:pos x="12" y="98"/>
                    </a:cxn>
                    <a:cxn ang="0">
                      <a:pos x="12" y="98"/>
                    </a:cxn>
                    <a:cxn ang="0">
                      <a:pos x="10" y="100"/>
                    </a:cxn>
                    <a:cxn ang="0">
                      <a:pos x="10" y="104"/>
                    </a:cxn>
                    <a:cxn ang="0">
                      <a:pos x="12" y="104"/>
                    </a:cxn>
                    <a:cxn ang="0">
                      <a:pos x="12" y="106"/>
                    </a:cxn>
                    <a:cxn ang="0">
                      <a:pos x="12" y="106"/>
                    </a:cxn>
                    <a:cxn ang="0">
                      <a:pos x="14" y="104"/>
                    </a:cxn>
                    <a:cxn ang="0">
                      <a:pos x="14" y="102"/>
                    </a:cxn>
                    <a:cxn ang="0">
                      <a:pos x="12" y="100"/>
                    </a:cxn>
                    <a:cxn ang="0">
                      <a:pos x="12" y="100"/>
                    </a:cxn>
                    <a:cxn ang="0">
                      <a:pos x="0" y="0"/>
                    </a:cxn>
                    <a:cxn ang="0">
                      <a:pos x="6" y="8"/>
                    </a:cxn>
                    <a:cxn ang="0">
                      <a:pos x="8" y="6"/>
                    </a:cxn>
                    <a:cxn ang="0">
                      <a:pos x="4" y="0"/>
                    </a:cxn>
                    <a:cxn ang="0">
                      <a:pos x="0" y="0"/>
                    </a:cxn>
                    <a:cxn ang="0">
                      <a:pos x="20" y="28"/>
                    </a:cxn>
                    <a:cxn ang="0">
                      <a:pos x="22" y="26"/>
                    </a:cxn>
                    <a:cxn ang="0">
                      <a:pos x="22" y="24"/>
                    </a:cxn>
                    <a:cxn ang="0">
                      <a:pos x="22" y="24"/>
                    </a:cxn>
                    <a:cxn ang="0">
                      <a:pos x="20" y="24"/>
                    </a:cxn>
                    <a:cxn ang="0">
                      <a:pos x="20" y="22"/>
                    </a:cxn>
                    <a:cxn ang="0">
                      <a:pos x="18" y="22"/>
                    </a:cxn>
                    <a:cxn ang="0">
                      <a:pos x="18" y="22"/>
                    </a:cxn>
                    <a:cxn ang="0">
                      <a:pos x="16" y="22"/>
                    </a:cxn>
                    <a:cxn ang="0">
                      <a:pos x="16" y="26"/>
                    </a:cxn>
                    <a:cxn ang="0">
                      <a:pos x="18" y="26"/>
                    </a:cxn>
                    <a:cxn ang="0">
                      <a:pos x="18" y="28"/>
                    </a:cxn>
                    <a:cxn ang="0">
                      <a:pos x="20" y="28"/>
                    </a:cxn>
                    <a:cxn ang="0">
                      <a:pos x="30" y="54"/>
                    </a:cxn>
                    <a:cxn ang="0">
                      <a:pos x="28" y="50"/>
                    </a:cxn>
                    <a:cxn ang="0">
                      <a:pos x="26" y="50"/>
                    </a:cxn>
                    <a:cxn ang="0">
                      <a:pos x="24" y="50"/>
                    </a:cxn>
                    <a:cxn ang="0">
                      <a:pos x="26" y="52"/>
                    </a:cxn>
                    <a:cxn ang="0">
                      <a:pos x="26" y="54"/>
                    </a:cxn>
                    <a:cxn ang="0">
                      <a:pos x="26" y="56"/>
                    </a:cxn>
                    <a:cxn ang="0">
                      <a:pos x="26" y="58"/>
                    </a:cxn>
                    <a:cxn ang="0">
                      <a:pos x="28" y="58"/>
                    </a:cxn>
                    <a:cxn ang="0">
                      <a:pos x="28" y="60"/>
                    </a:cxn>
                    <a:cxn ang="0">
                      <a:pos x="30" y="60"/>
                    </a:cxn>
                    <a:cxn ang="0">
                      <a:pos x="30" y="60"/>
                    </a:cxn>
                    <a:cxn ang="0">
                      <a:pos x="30" y="60"/>
                    </a:cxn>
                    <a:cxn ang="0">
                      <a:pos x="30" y="60"/>
                    </a:cxn>
                    <a:cxn ang="0">
                      <a:pos x="32" y="58"/>
                    </a:cxn>
                    <a:cxn ang="0">
                      <a:pos x="32" y="56"/>
                    </a:cxn>
                    <a:cxn ang="0">
                      <a:pos x="30" y="54"/>
                    </a:cxn>
                  </a:cxnLst>
                  <a:rect l="0" t="0" r="r" b="b"/>
                  <a:pathLst>
                    <a:path w="32" h="106">
                      <a:moveTo>
                        <a:pt x="22" y="76"/>
                      </a:moveTo>
                      <a:lnTo>
                        <a:pt x="20" y="82"/>
                      </a:lnTo>
                      <a:lnTo>
                        <a:pt x="22" y="84"/>
                      </a:lnTo>
                      <a:lnTo>
                        <a:pt x="24" y="82"/>
                      </a:lnTo>
                      <a:lnTo>
                        <a:pt x="24" y="80"/>
                      </a:lnTo>
                      <a:lnTo>
                        <a:pt x="22" y="78"/>
                      </a:lnTo>
                      <a:lnTo>
                        <a:pt x="22" y="76"/>
                      </a:lnTo>
                      <a:close/>
                      <a:moveTo>
                        <a:pt x="12" y="100"/>
                      </a:moveTo>
                      <a:lnTo>
                        <a:pt x="12" y="98"/>
                      </a:lnTo>
                      <a:lnTo>
                        <a:pt x="10" y="100"/>
                      </a:lnTo>
                      <a:lnTo>
                        <a:pt x="10" y="104"/>
                      </a:lnTo>
                      <a:lnTo>
                        <a:pt x="12" y="104"/>
                      </a:lnTo>
                      <a:lnTo>
                        <a:pt x="12" y="106"/>
                      </a:lnTo>
                      <a:lnTo>
                        <a:pt x="14" y="104"/>
                      </a:lnTo>
                      <a:lnTo>
                        <a:pt x="14" y="102"/>
                      </a:lnTo>
                      <a:lnTo>
                        <a:pt x="12" y="100"/>
                      </a:lnTo>
                      <a:close/>
                      <a:moveTo>
                        <a:pt x="0" y="0"/>
                      </a:moveTo>
                      <a:lnTo>
                        <a:pt x="6" y="8"/>
                      </a:lnTo>
                      <a:lnTo>
                        <a:pt x="8" y="6"/>
                      </a:lnTo>
                      <a:lnTo>
                        <a:pt x="4" y="0"/>
                      </a:lnTo>
                      <a:lnTo>
                        <a:pt x="0" y="0"/>
                      </a:lnTo>
                      <a:close/>
                      <a:moveTo>
                        <a:pt x="20" y="28"/>
                      </a:moveTo>
                      <a:lnTo>
                        <a:pt x="22" y="26"/>
                      </a:lnTo>
                      <a:lnTo>
                        <a:pt x="22" y="24"/>
                      </a:lnTo>
                      <a:lnTo>
                        <a:pt x="20" y="24"/>
                      </a:lnTo>
                      <a:lnTo>
                        <a:pt x="20" y="22"/>
                      </a:lnTo>
                      <a:lnTo>
                        <a:pt x="18" y="22"/>
                      </a:lnTo>
                      <a:lnTo>
                        <a:pt x="16" y="22"/>
                      </a:lnTo>
                      <a:lnTo>
                        <a:pt x="16" y="26"/>
                      </a:lnTo>
                      <a:lnTo>
                        <a:pt x="18" y="26"/>
                      </a:lnTo>
                      <a:lnTo>
                        <a:pt x="18" y="28"/>
                      </a:lnTo>
                      <a:lnTo>
                        <a:pt x="20" y="28"/>
                      </a:lnTo>
                      <a:close/>
                      <a:moveTo>
                        <a:pt x="30" y="54"/>
                      </a:moveTo>
                      <a:lnTo>
                        <a:pt x="28" y="50"/>
                      </a:lnTo>
                      <a:lnTo>
                        <a:pt x="26" y="50"/>
                      </a:lnTo>
                      <a:lnTo>
                        <a:pt x="24" y="50"/>
                      </a:lnTo>
                      <a:lnTo>
                        <a:pt x="26" y="52"/>
                      </a:lnTo>
                      <a:lnTo>
                        <a:pt x="26" y="54"/>
                      </a:lnTo>
                      <a:lnTo>
                        <a:pt x="26" y="56"/>
                      </a:lnTo>
                      <a:lnTo>
                        <a:pt x="26" y="58"/>
                      </a:lnTo>
                      <a:lnTo>
                        <a:pt x="28" y="58"/>
                      </a:lnTo>
                      <a:lnTo>
                        <a:pt x="28" y="60"/>
                      </a:lnTo>
                      <a:lnTo>
                        <a:pt x="30" y="60"/>
                      </a:lnTo>
                      <a:lnTo>
                        <a:pt x="32" y="58"/>
                      </a:lnTo>
                      <a:lnTo>
                        <a:pt x="32" y="56"/>
                      </a:lnTo>
                      <a:lnTo>
                        <a:pt x="30" y="54"/>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0" name="Freeform 232">
                  <a:extLst>
                    <a:ext uri="{FF2B5EF4-FFF2-40B4-BE49-F238E27FC236}">
                      <a16:creationId xmlns:a16="http://schemas.microsoft.com/office/drawing/2014/main" id="{679C50E9-C7EE-4E46-8211-1430B303E905}"/>
                    </a:ext>
                  </a:extLst>
                </p:cNvPr>
                <p:cNvSpPr>
                  <a:spLocks noChangeAspect="1"/>
                </p:cNvSpPr>
                <p:nvPr/>
              </p:nvSpPr>
              <p:spPr bwMode="auto">
                <a:xfrm>
                  <a:off x="2803871" y="5334139"/>
                  <a:ext cx="7942" cy="4212"/>
                </a:xfrm>
                <a:custGeom>
                  <a:avLst/>
                  <a:gdLst/>
                  <a:ahLst/>
                  <a:cxnLst>
                    <a:cxn ang="0">
                      <a:pos x="2" y="2"/>
                    </a:cxn>
                    <a:cxn ang="0">
                      <a:pos x="2" y="2"/>
                    </a:cxn>
                    <a:cxn ang="0">
                      <a:pos x="2" y="2"/>
                    </a:cxn>
                    <a:cxn ang="0">
                      <a:pos x="2" y="2"/>
                    </a:cxn>
                    <a:cxn ang="0">
                      <a:pos x="4" y="2"/>
                    </a:cxn>
                    <a:cxn ang="0">
                      <a:pos x="2" y="0"/>
                    </a:cxn>
                    <a:cxn ang="0">
                      <a:pos x="0" y="0"/>
                    </a:cxn>
                    <a:cxn ang="0">
                      <a:pos x="0" y="0"/>
                    </a:cxn>
                    <a:cxn ang="0">
                      <a:pos x="0" y="0"/>
                    </a:cxn>
                    <a:cxn ang="0">
                      <a:pos x="0" y="0"/>
                    </a:cxn>
                    <a:cxn ang="0">
                      <a:pos x="0" y="2"/>
                    </a:cxn>
                    <a:cxn ang="0">
                      <a:pos x="2" y="2"/>
                    </a:cxn>
                    <a:cxn ang="0">
                      <a:pos x="2" y="2"/>
                    </a:cxn>
                    <a:cxn ang="0">
                      <a:pos x="2" y="2"/>
                    </a:cxn>
                    <a:cxn ang="0">
                      <a:pos x="2" y="2"/>
                    </a:cxn>
                  </a:cxnLst>
                  <a:rect l="0" t="0" r="r" b="b"/>
                  <a:pathLst>
                    <a:path w="4" h="2">
                      <a:moveTo>
                        <a:pt x="2" y="2"/>
                      </a:moveTo>
                      <a:lnTo>
                        <a:pt x="2" y="2"/>
                      </a:lnTo>
                      <a:lnTo>
                        <a:pt x="4" y="2"/>
                      </a:lnTo>
                      <a:lnTo>
                        <a:pt x="2" y="0"/>
                      </a:lnTo>
                      <a:lnTo>
                        <a:pt x="0" y="0"/>
                      </a:lnTo>
                      <a:lnTo>
                        <a:pt x="0" y="2"/>
                      </a:lnTo>
                      <a:lnTo>
                        <a:pt x="2"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1" name="Freeform 233">
                  <a:extLst>
                    <a:ext uri="{FF2B5EF4-FFF2-40B4-BE49-F238E27FC236}">
                      <a16:creationId xmlns:a16="http://schemas.microsoft.com/office/drawing/2014/main" id="{819C2F2B-C3DA-4EEF-9E52-BD182F1691FF}"/>
                    </a:ext>
                  </a:extLst>
                </p:cNvPr>
                <p:cNvSpPr>
                  <a:spLocks noChangeAspect="1"/>
                </p:cNvSpPr>
                <p:nvPr/>
              </p:nvSpPr>
              <p:spPr bwMode="auto">
                <a:xfrm>
                  <a:off x="1918366" y="4047402"/>
                  <a:ext cx="11912" cy="12636"/>
                </a:xfrm>
                <a:custGeom>
                  <a:avLst/>
                  <a:gdLst/>
                  <a:ahLst/>
                  <a:cxnLst>
                    <a:cxn ang="0">
                      <a:pos x="2" y="6"/>
                    </a:cxn>
                    <a:cxn ang="0">
                      <a:pos x="4" y="6"/>
                    </a:cxn>
                    <a:cxn ang="0">
                      <a:pos x="4" y="6"/>
                    </a:cxn>
                    <a:cxn ang="0">
                      <a:pos x="6" y="4"/>
                    </a:cxn>
                    <a:cxn ang="0">
                      <a:pos x="6" y="2"/>
                    </a:cxn>
                    <a:cxn ang="0">
                      <a:pos x="6" y="2"/>
                    </a:cxn>
                    <a:cxn ang="0">
                      <a:pos x="6" y="0"/>
                    </a:cxn>
                    <a:cxn ang="0">
                      <a:pos x="4" y="0"/>
                    </a:cxn>
                    <a:cxn ang="0">
                      <a:pos x="4" y="0"/>
                    </a:cxn>
                    <a:cxn ang="0">
                      <a:pos x="2" y="2"/>
                    </a:cxn>
                    <a:cxn ang="0">
                      <a:pos x="2" y="2"/>
                    </a:cxn>
                    <a:cxn ang="0">
                      <a:pos x="0" y="4"/>
                    </a:cxn>
                    <a:cxn ang="0">
                      <a:pos x="0" y="4"/>
                    </a:cxn>
                    <a:cxn ang="0">
                      <a:pos x="0" y="6"/>
                    </a:cxn>
                    <a:cxn ang="0">
                      <a:pos x="0" y="6"/>
                    </a:cxn>
                    <a:cxn ang="0">
                      <a:pos x="0" y="6"/>
                    </a:cxn>
                    <a:cxn ang="0">
                      <a:pos x="2" y="6"/>
                    </a:cxn>
                    <a:cxn ang="0">
                      <a:pos x="2" y="6"/>
                    </a:cxn>
                    <a:cxn ang="0">
                      <a:pos x="2" y="6"/>
                    </a:cxn>
                  </a:cxnLst>
                  <a:rect l="0" t="0" r="r" b="b"/>
                  <a:pathLst>
                    <a:path w="6" h="6">
                      <a:moveTo>
                        <a:pt x="2" y="6"/>
                      </a:moveTo>
                      <a:lnTo>
                        <a:pt x="4" y="6"/>
                      </a:lnTo>
                      <a:lnTo>
                        <a:pt x="6" y="4"/>
                      </a:lnTo>
                      <a:lnTo>
                        <a:pt x="6" y="2"/>
                      </a:lnTo>
                      <a:lnTo>
                        <a:pt x="6" y="0"/>
                      </a:lnTo>
                      <a:lnTo>
                        <a:pt x="4" y="0"/>
                      </a:lnTo>
                      <a:lnTo>
                        <a:pt x="2" y="2"/>
                      </a:lnTo>
                      <a:lnTo>
                        <a:pt x="0" y="4"/>
                      </a:lnTo>
                      <a:lnTo>
                        <a:pt x="0" y="6"/>
                      </a:lnTo>
                      <a:lnTo>
                        <a:pt x="2" y="6"/>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2" name="Freeform 235">
                  <a:extLst>
                    <a:ext uri="{FF2B5EF4-FFF2-40B4-BE49-F238E27FC236}">
                      <a16:creationId xmlns:a16="http://schemas.microsoft.com/office/drawing/2014/main" id="{3B57E0E7-FD9A-41A9-A616-19578282231D}"/>
                    </a:ext>
                  </a:extLst>
                </p:cNvPr>
                <p:cNvSpPr>
                  <a:spLocks noChangeAspect="1"/>
                </p:cNvSpPr>
                <p:nvPr/>
              </p:nvSpPr>
              <p:spPr bwMode="auto">
                <a:xfrm>
                  <a:off x="2287656" y="4380143"/>
                  <a:ext cx="3970" cy="2106"/>
                </a:xfrm>
                <a:custGeom>
                  <a:avLst/>
                  <a:gdLst/>
                  <a:ahLst/>
                  <a:cxnLst>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3" name="Freeform 237">
                  <a:extLst>
                    <a:ext uri="{FF2B5EF4-FFF2-40B4-BE49-F238E27FC236}">
                      <a16:creationId xmlns:a16="http://schemas.microsoft.com/office/drawing/2014/main" id="{FD31A794-D664-4220-9F0B-E73EECC469A7}"/>
                    </a:ext>
                  </a:extLst>
                </p:cNvPr>
                <p:cNvSpPr>
                  <a:spLocks noChangeAspect="1"/>
                </p:cNvSpPr>
                <p:nvPr/>
              </p:nvSpPr>
              <p:spPr bwMode="auto">
                <a:xfrm>
                  <a:off x="2803868" y="5334141"/>
                  <a:ext cx="7942" cy="4212"/>
                </a:xfrm>
                <a:custGeom>
                  <a:avLst/>
                  <a:gdLst/>
                  <a:ahLst/>
                  <a:cxnLst>
                    <a:cxn ang="0">
                      <a:pos x="2" y="2"/>
                    </a:cxn>
                    <a:cxn ang="0">
                      <a:pos x="2" y="2"/>
                    </a:cxn>
                    <a:cxn ang="0">
                      <a:pos x="2" y="2"/>
                    </a:cxn>
                    <a:cxn ang="0">
                      <a:pos x="2" y="2"/>
                    </a:cxn>
                    <a:cxn ang="0">
                      <a:pos x="4" y="2"/>
                    </a:cxn>
                    <a:cxn ang="0">
                      <a:pos x="2" y="0"/>
                    </a:cxn>
                    <a:cxn ang="0">
                      <a:pos x="0" y="0"/>
                    </a:cxn>
                    <a:cxn ang="0">
                      <a:pos x="0" y="0"/>
                    </a:cxn>
                    <a:cxn ang="0">
                      <a:pos x="0" y="0"/>
                    </a:cxn>
                    <a:cxn ang="0">
                      <a:pos x="0" y="0"/>
                    </a:cxn>
                    <a:cxn ang="0">
                      <a:pos x="0" y="2"/>
                    </a:cxn>
                    <a:cxn ang="0">
                      <a:pos x="2" y="2"/>
                    </a:cxn>
                    <a:cxn ang="0">
                      <a:pos x="2" y="2"/>
                    </a:cxn>
                    <a:cxn ang="0">
                      <a:pos x="2" y="2"/>
                    </a:cxn>
                    <a:cxn ang="0">
                      <a:pos x="2" y="2"/>
                    </a:cxn>
                  </a:cxnLst>
                  <a:rect l="0" t="0" r="r" b="b"/>
                  <a:pathLst>
                    <a:path w="4" h="2">
                      <a:moveTo>
                        <a:pt x="2" y="2"/>
                      </a:moveTo>
                      <a:lnTo>
                        <a:pt x="2" y="2"/>
                      </a:lnTo>
                      <a:lnTo>
                        <a:pt x="4" y="2"/>
                      </a:lnTo>
                      <a:lnTo>
                        <a:pt x="2" y="0"/>
                      </a:lnTo>
                      <a:lnTo>
                        <a:pt x="0" y="0"/>
                      </a:lnTo>
                      <a:lnTo>
                        <a:pt x="0" y="2"/>
                      </a:lnTo>
                      <a:lnTo>
                        <a:pt x="2" y="2"/>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64" name="Freeform 239">
                  <a:extLst>
                    <a:ext uri="{FF2B5EF4-FFF2-40B4-BE49-F238E27FC236}">
                      <a16:creationId xmlns:a16="http://schemas.microsoft.com/office/drawing/2014/main" id="{437F7F95-279B-469D-A251-121E7C29D1E5}"/>
                    </a:ext>
                  </a:extLst>
                </p:cNvPr>
                <p:cNvSpPr>
                  <a:spLocks noChangeAspect="1"/>
                </p:cNvSpPr>
                <p:nvPr/>
              </p:nvSpPr>
              <p:spPr bwMode="auto">
                <a:xfrm>
                  <a:off x="2287894" y="4380065"/>
                  <a:ext cx="3970" cy="2106"/>
                </a:xfrm>
                <a:custGeom>
                  <a:avLst/>
                  <a:gdLst/>
                  <a:ahLst/>
                  <a:cxnLst>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0" y="0"/>
                      </a:lnTo>
                      <a:close/>
                    </a:path>
                  </a:pathLst>
                </a:custGeom>
                <a:grpFill/>
                <a:ln w="3175">
                  <a:solidFill>
                    <a:schemeClr val="bg1"/>
                  </a:solidFill>
                  <a:round/>
                  <a:headEnd/>
                  <a:tailEnd/>
                </a:ln>
              </p:spPr>
              <p:txBody>
                <a:bodyPr/>
                <a:lstStyle/>
                <a:p>
                  <a:pPr defTabSz="914400">
                    <a:tabLst>
                      <a:tab pos="194331" algn="l"/>
                    </a:tabLst>
                    <a:defRPr/>
                  </a:pPr>
                  <a:endParaRPr lang="en-US" sz="1950" kern="0">
                    <a:solidFill>
                      <a:srgbClr val="000000"/>
                    </a:solidFill>
                    <a:latin typeface="Arial"/>
                  </a:endParaRPr>
                </a:p>
              </p:txBody>
            </p:sp>
          </p:grpSp>
          <p:sp>
            <p:nvSpPr>
              <p:cNvPr id="119" name="Freeform 19">
                <a:extLst>
                  <a:ext uri="{FF2B5EF4-FFF2-40B4-BE49-F238E27FC236}">
                    <a16:creationId xmlns:a16="http://schemas.microsoft.com/office/drawing/2014/main" id="{0115B13E-9CED-4594-BE5C-9251A68D5D3F}"/>
                  </a:ext>
                </a:extLst>
              </p:cNvPr>
              <p:cNvSpPr>
                <a:spLocks noChangeAspect="1" noEditPoints="1"/>
              </p:cNvSpPr>
              <p:nvPr/>
            </p:nvSpPr>
            <p:spPr bwMode="auto">
              <a:xfrm>
                <a:off x="1233520" y="2606357"/>
                <a:ext cx="1537478" cy="807455"/>
              </a:xfrm>
              <a:custGeom>
                <a:avLst/>
                <a:gdLst/>
                <a:ahLst/>
                <a:cxnLst>
                  <a:cxn ang="0">
                    <a:pos x="888" y="60"/>
                  </a:cxn>
                  <a:cxn ang="0">
                    <a:pos x="790" y="94"/>
                  </a:cxn>
                  <a:cxn ang="0">
                    <a:pos x="758" y="116"/>
                  </a:cxn>
                  <a:cxn ang="0">
                    <a:pos x="702" y="140"/>
                  </a:cxn>
                  <a:cxn ang="0">
                    <a:pos x="654" y="144"/>
                  </a:cxn>
                  <a:cxn ang="0">
                    <a:pos x="682" y="102"/>
                  </a:cxn>
                  <a:cxn ang="0">
                    <a:pos x="678" y="84"/>
                  </a:cxn>
                  <a:cxn ang="0">
                    <a:pos x="678" y="60"/>
                  </a:cxn>
                  <a:cxn ang="0">
                    <a:pos x="636" y="52"/>
                  </a:cxn>
                  <a:cxn ang="0">
                    <a:pos x="620" y="42"/>
                  </a:cxn>
                  <a:cxn ang="0">
                    <a:pos x="564" y="48"/>
                  </a:cxn>
                  <a:cxn ang="0">
                    <a:pos x="602" y="24"/>
                  </a:cxn>
                  <a:cxn ang="0">
                    <a:pos x="558" y="16"/>
                  </a:cxn>
                  <a:cxn ang="0">
                    <a:pos x="130" y="16"/>
                  </a:cxn>
                  <a:cxn ang="0">
                    <a:pos x="106" y="36"/>
                  </a:cxn>
                  <a:cxn ang="0">
                    <a:pos x="90" y="36"/>
                  </a:cxn>
                  <a:cxn ang="0">
                    <a:pos x="78" y="58"/>
                  </a:cxn>
                  <a:cxn ang="0">
                    <a:pos x="38" y="114"/>
                  </a:cxn>
                  <a:cxn ang="0">
                    <a:pos x="4" y="166"/>
                  </a:cxn>
                  <a:cxn ang="0">
                    <a:pos x="8" y="214"/>
                  </a:cxn>
                  <a:cxn ang="0">
                    <a:pos x="8" y="242"/>
                  </a:cxn>
                  <a:cxn ang="0">
                    <a:pos x="12" y="284"/>
                  </a:cxn>
                  <a:cxn ang="0">
                    <a:pos x="50" y="314"/>
                  </a:cxn>
                  <a:cxn ang="0">
                    <a:pos x="214" y="334"/>
                  </a:cxn>
                  <a:cxn ang="0">
                    <a:pos x="250" y="386"/>
                  </a:cxn>
                  <a:cxn ang="0">
                    <a:pos x="294" y="388"/>
                  </a:cxn>
                  <a:cxn ang="0">
                    <a:pos x="318" y="442"/>
                  </a:cxn>
                  <a:cxn ang="0">
                    <a:pos x="334" y="418"/>
                  </a:cxn>
                  <a:cxn ang="0">
                    <a:pos x="354" y="398"/>
                  </a:cxn>
                  <a:cxn ang="0">
                    <a:pos x="388" y="380"/>
                  </a:cxn>
                  <a:cxn ang="0">
                    <a:pos x="420" y="368"/>
                  </a:cxn>
                  <a:cxn ang="0">
                    <a:pos x="458" y="382"/>
                  </a:cxn>
                  <a:cxn ang="0">
                    <a:pos x="484" y="388"/>
                  </a:cxn>
                  <a:cxn ang="0">
                    <a:pos x="478" y="364"/>
                  </a:cxn>
                  <a:cxn ang="0">
                    <a:pos x="528" y="360"/>
                  </a:cxn>
                  <a:cxn ang="0">
                    <a:pos x="560" y="368"/>
                  </a:cxn>
                  <a:cxn ang="0">
                    <a:pos x="582" y="408"/>
                  </a:cxn>
                  <a:cxn ang="0">
                    <a:pos x="590" y="424"/>
                  </a:cxn>
                  <a:cxn ang="0">
                    <a:pos x="606" y="460"/>
                  </a:cxn>
                  <a:cxn ang="0">
                    <a:pos x="616" y="386"/>
                  </a:cxn>
                  <a:cxn ang="0">
                    <a:pos x="630" y="328"/>
                  </a:cxn>
                  <a:cxn ang="0">
                    <a:pos x="662" y="308"/>
                  </a:cxn>
                  <a:cxn ang="0">
                    <a:pos x="700" y="280"/>
                  </a:cxn>
                  <a:cxn ang="0">
                    <a:pos x="730" y="260"/>
                  </a:cxn>
                  <a:cxn ang="0">
                    <a:pos x="726" y="232"/>
                  </a:cxn>
                  <a:cxn ang="0">
                    <a:pos x="730" y="210"/>
                  </a:cxn>
                  <a:cxn ang="0">
                    <a:pos x="742" y="194"/>
                  </a:cxn>
                  <a:cxn ang="0">
                    <a:pos x="740" y="228"/>
                  </a:cxn>
                  <a:cxn ang="0">
                    <a:pos x="766" y="180"/>
                  </a:cxn>
                  <a:cxn ang="0">
                    <a:pos x="790" y="170"/>
                  </a:cxn>
                  <a:cxn ang="0">
                    <a:pos x="804" y="160"/>
                  </a:cxn>
                  <a:cxn ang="0">
                    <a:pos x="850" y="148"/>
                  </a:cxn>
                  <a:cxn ang="0">
                    <a:pos x="850" y="130"/>
                  </a:cxn>
                  <a:cxn ang="0">
                    <a:pos x="882" y="102"/>
                  </a:cxn>
                  <a:cxn ang="0">
                    <a:pos x="926" y="86"/>
                  </a:cxn>
                  <a:cxn ang="0">
                    <a:pos x="646" y="86"/>
                  </a:cxn>
                  <a:cxn ang="0">
                    <a:pos x="626" y="102"/>
                  </a:cxn>
                  <a:cxn ang="0">
                    <a:pos x="592" y="140"/>
                  </a:cxn>
                  <a:cxn ang="0">
                    <a:pos x="612" y="94"/>
                  </a:cxn>
                  <a:cxn ang="0">
                    <a:pos x="622" y="76"/>
                  </a:cxn>
                  <a:cxn ang="0">
                    <a:pos x="666" y="68"/>
                  </a:cxn>
                </a:cxnLst>
                <a:rect l="0" t="0" r="r" b="b"/>
                <a:pathLst>
                  <a:path w="934" h="462">
                    <a:moveTo>
                      <a:pt x="932" y="38"/>
                    </a:moveTo>
                    <a:lnTo>
                      <a:pt x="932" y="38"/>
                    </a:lnTo>
                    <a:lnTo>
                      <a:pt x="926" y="38"/>
                    </a:lnTo>
                    <a:lnTo>
                      <a:pt x="922" y="38"/>
                    </a:lnTo>
                    <a:lnTo>
                      <a:pt x="916" y="38"/>
                    </a:lnTo>
                    <a:lnTo>
                      <a:pt x="916" y="36"/>
                    </a:lnTo>
                    <a:lnTo>
                      <a:pt x="912" y="36"/>
                    </a:lnTo>
                    <a:lnTo>
                      <a:pt x="910" y="36"/>
                    </a:lnTo>
                    <a:lnTo>
                      <a:pt x="908" y="38"/>
                    </a:lnTo>
                    <a:lnTo>
                      <a:pt x="908" y="40"/>
                    </a:lnTo>
                    <a:lnTo>
                      <a:pt x="906" y="40"/>
                    </a:lnTo>
                    <a:lnTo>
                      <a:pt x="906" y="42"/>
                    </a:lnTo>
                    <a:lnTo>
                      <a:pt x="904" y="42"/>
                    </a:lnTo>
                    <a:lnTo>
                      <a:pt x="904" y="44"/>
                    </a:lnTo>
                    <a:lnTo>
                      <a:pt x="902" y="46"/>
                    </a:lnTo>
                    <a:lnTo>
                      <a:pt x="898" y="48"/>
                    </a:lnTo>
                    <a:lnTo>
                      <a:pt x="896" y="50"/>
                    </a:lnTo>
                    <a:lnTo>
                      <a:pt x="894" y="50"/>
                    </a:lnTo>
                    <a:lnTo>
                      <a:pt x="894" y="54"/>
                    </a:lnTo>
                    <a:lnTo>
                      <a:pt x="892" y="56"/>
                    </a:lnTo>
                    <a:lnTo>
                      <a:pt x="892" y="58"/>
                    </a:lnTo>
                    <a:lnTo>
                      <a:pt x="890" y="58"/>
                    </a:lnTo>
                    <a:lnTo>
                      <a:pt x="888" y="58"/>
                    </a:lnTo>
                    <a:lnTo>
                      <a:pt x="888" y="60"/>
                    </a:lnTo>
                    <a:lnTo>
                      <a:pt x="888" y="62"/>
                    </a:lnTo>
                    <a:lnTo>
                      <a:pt x="888" y="68"/>
                    </a:lnTo>
                    <a:lnTo>
                      <a:pt x="886" y="68"/>
                    </a:lnTo>
                    <a:lnTo>
                      <a:pt x="886" y="70"/>
                    </a:lnTo>
                    <a:lnTo>
                      <a:pt x="884" y="68"/>
                    </a:lnTo>
                    <a:lnTo>
                      <a:pt x="880" y="68"/>
                    </a:lnTo>
                    <a:lnTo>
                      <a:pt x="878" y="70"/>
                    </a:lnTo>
                    <a:lnTo>
                      <a:pt x="876" y="70"/>
                    </a:lnTo>
                    <a:lnTo>
                      <a:pt x="876" y="72"/>
                    </a:lnTo>
                    <a:lnTo>
                      <a:pt x="874" y="74"/>
                    </a:lnTo>
                    <a:lnTo>
                      <a:pt x="874" y="76"/>
                    </a:lnTo>
                    <a:lnTo>
                      <a:pt x="866" y="76"/>
                    </a:lnTo>
                    <a:lnTo>
                      <a:pt x="864" y="76"/>
                    </a:lnTo>
                    <a:lnTo>
                      <a:pt x="864" y="78"/>
                    </a:lnTo>
                    <a:lnTo>
                      <a:pt x="862" y="78"/>
                    </a:lnTo>
                    <a:lnTo>
                      <a:pt x="862" y="80"/>
                    </a:lnTo>
                    <a:lnTo>
                      <a:pt x="810" y="80"/>
                    </a:lnTo>
                    <a:lnTo>
                      <a:pt x="808" y="82"/>
                    </a:lnTo>
                    <a:lnTo>
                      <a:pt x="806" y="82"/>
                    </a:lnTo>
                    <a:lnTo>
                      <a:pt x="804" y="84"/>
                    </a:lnTo>
                    <a:lnTo>
                      <a:pt x="800" y="86"/>
                    </a:lnTo>
                    <a:lnTo>
                      <a:pt x="796" y="88"/>
                    </a:lnTo>
                    <a:lnTo>
                      <a:pt x="794" y="90"/>
                    </a:lnTo>
                    <a:lnTo>
                      <a:pt x="792" y="92"/>
                    </a:lnTo>
                    <a:lnTo>
                      <a:pt x="790" y="94"/>
                    </a:lnTo>
                    <a:lnTo>
                      <a:pt x="788" y="94"/>
                    </a:lnTo>
                    <a:lnTo>
                      <a:pt x="788" y="96"/>
                    </a:lnTo>
                    <a:lnTo>
                      <a:pt x="782" y="96"/>
                    </a:lnTo>
                    <a:lnTo>
                      <a:pt x="780" y="96"/>
                    </a:lnTo>
                    <a:lnTo>
                      <a:pt x="782" y="98"/>
                    </a:lnTo>
                    <a:lnTo>
                      <a:pt x="782" y="102"/>
                    </a:lnTo>
                    <a:lnTo>
                      <a:pt x="782" y="104"/>
                    </a:lnTo>
                    <a:lnTo>
                      <a:pt x="780" y="104"/>
                    </a:lnTo>
                    <a:lnTo>
                      <a:pt x="778" y="106"/>
                    </a:lnTo>
                    <a:lnTo>
                      <a:pt x="778" y="108"/>
                    </a:lnTo>
                    <a:lnTo>
                      <a:pt x="778" y="110"/>
                    </a:lnTo>
                    <a:lnTo>
                      <a:pt x="772" y="110"/>
                    </a:lnTo>
                    <a:lnTo>
                      <a:pt x="772" y="112"/>
                    </a:lnTo>
                    <a:lnTo>
                      <a:pt x="770" y="114"/>
                    </a:lnTo>
                    <a:lnTo>
                      <a:pt x="768" y="114"/>
                    </a:lnTo>
                    <a:lnTo>
                      <a:pt x="766" y="114"/>
                    </a:lnTo>
                    <a:lnTo>
                      <a:pt x="764" y="114"/>
                    </a:lnTo>
                    <a:lnTo>
                      <a:pt x="762" y="112"/>
                    </a:lnTo>
                    <a:lnTo>
                      <a:pt x="760" y="114"/>
                    </a:lnTo>
                    <a:lnTo>
                      <a:pt x="758" y="114"/>
                    </a:lnTo>
                    <a:lnTo>
                      <a:pt x="758" y="116"/>
                    </a:lnTo>
                    <a:lnTo>
                      <a:pt x="752" y="116"/>
                    </a:lnTo>
                    <a:lnTo>
                      <a:pt x="750" y="114"/>
                    </a:lnTo>
                    <a:lnTo>
                      <a:pt x="748" y="112"/>
                    </a:lnTo>
                    <a:lnTo>
                      <a:pt x="744" y="112"/>
                    </a:lnTo>
                    <a:lnTo>
                      <a:pt x="742" y="114"/>
                    </a:lnTo>
                    <a:lnTo>
                      <a:pt x="740" y="114"/>
                    </a:lnTo>
                    <a:lnTo>
                      <a:pt x="738" y="114"/>
                    </a:lnTo>
                    <a:lnTo>
                      <a:pt x="736" y="116"/>
                    </a:lnTo>
                    <a:lnTo>
                      <a:pt x="734" y="116"/>
                    </a:lnTo>
                    <a:lnTo>
                      <a:pt x="732" y="116"/>
                    </a:lnTo>
                    <a:lnTo>
                      <a:pt x="732" y="122"/>
                    </a:lnTo>
                    <a:lnTo>
                      <a:pt x="730" y="122"/>
                    </a:lnTo>
                    <a:lnTo>
                      <a:pt x="730" y="124"/>
                    </a:lnTo>
                    <a:lnTo>
                      <a:pt x="732" y="124"/>
                    </a:lnTo>
                    <a:lnTo>
                      <a:pt x="730" y="124"/>
                    </a:lnTo>
                    <a:lnTo>
                      <a:pt x="728" y="126"/>
                    </a:lnTo>
                    <a:lnTo>
                      <a:pt x="726" y="126"/>
                    </a:lnTo>
                    <a:lnTo>
                      <a:pt x="724" y="128"/>
                    </a:lnTo>
                    <a:lnTo>
                      <a:pt x="718" y="132"/>
                    </a:lnTo>
                    <a:lnTo>
                      <a:pt x="712" y="134"/>
                    </a:lnTo>
                    <a:lnTo>
                      <a:pt x="710" y="136"/>
                    </a:lnTo>
                    <a:lnTo>
                      <a:pt x="708" y="136"/>
                    </a:lnTo>
                    <a:lnTo>
                      <a:pt x="704" y="138"/>
                    </a:lnTo>
                    <a:lnTo>
                      <a:pt x="702" y="138"/>
                    </a:lnTo>
                    <a:lnTo>
                      <a:pt x="702" y="140"/>
                    </a:lnTo>
                    <a:lnTo>
                      <a:pt x="700" y="140"/>
                    </a:lnTo>
                    <a:lnTo>
                      <a:pt x="696" y="142"/>
                    </a:lnTo>
                    <a:lnTo>
                      <a:pt x="694" y="142"/>
                    </a:lnTo>
                    <a:lnTo>
                      <a:pt x="690" y="144"/>
                    </a:lnTo>
                    <a:lnTo>
                      <a:pt x="688" y="144"/>
                    </a:lnTo>
                    <a:lnTo>
                      <a:pt x="686" y="144"/>
                    </a:lnTo>
                    <a:lnTo>
                      <a:pt x="684" y="146"/>
                    </a:lnTo>
                    <a:lnTo>
                      <a:pt x="682" y="146"/>
                    </a:lnTo>
                    <a:lnTo>
                      <a:pt x="680" y="146"/>
                    </a:lnTo>
                    <a:lnTo>
                      <a:pt x="678" y="148"/>
                    </a:lnTo>
                    <a:lnTo>
                      <a:pt x="676" y="148"/>
                    </a:lnTo>
                    <a:lnTo>
                      <a:pt x="670" y="148"/>
                    </a:lnTo>
                    <a:lnTo>
                      <a:pt x="668" y="150"/>
                    </a:lnTo>
                    <a:lnTo>
                      <a:pt x="662" y="150"/>
                    </a:lnTo>
                    <a:lnTo>
                      <a:pt x="660" y="148"/>
                    </a:lnTo>
                    <a:lnTo>
                      <a:pt x="660" y="146"/>
                    </a:lnTo>
                    <a:lnTo>
                      <a:pt x="656" y="146"/>
                    </a:lnTo>
                    <a:lnTo>
                      <a:pt x="654" y="146"/>
                    </a:lnTo>
                    <a:lnTo>
                      <a:pt x="652" y="146"/>
                    </a:lnTo>
                    <a:lnTo>
                      <a:pt x="652" y="144"/>
                    </a:lnTo>
                    <a:lnTo>
                      <a:pt x="654" y="144"/>
                    </a:lnTo>
                    <a:lnTo>
                      <a:pt x="654" y="142"/>
                    </a:lnTo>
                    <a:lnTo>
                      <a:pt x="658" y="142"/>
                    </a:lnTo>
                    <a:lnTo>
                      <a:pt x="660" y="140"/>
                    </a:lnTo>
                    <a:lnTo>
                      <a:pt x="660" y="136"/>
                    </a:lnTo>
                    <a:lnTo>
                      <a:pt x="662" y="134"/>
                    </a:lnTo>
                    <a:lnTo>
                      <a:pt x="666" y="132"/>
                    </a:lnTo>
                    <a:lnTo>
                      <a:pt x="668" y="130"/>
                    </a:lnTo>
                    <a:lnTo>
                      <a:pt x="672" y="128"/>
                    </a:lnTo>
                    <a:lnTo>
                      <a:pt x="674" y="128"/>
                    </a:lnTo>
                    <a:lnTo>
                      <a:pt x="676" y="128"/>
                    </a:lnTo>
                    <a:lnTo>
                      <a:pt x="678" y="126"/>
                    </a:lnTo>
                    <a:lnTo>
                      <a:pt x="678" y="124"/>
                    </a:lnTo>
                    <a:lnTo>
                      <a:pt x="678" y="120"/>
                    </a:lnTo>
                    <a:lnTo>
                      <a:pt x="678" y="118"/>
                    </a:lnTo>
                    <a:lnTo>
                      <a:pt x="680" y="118"/>
                    </a:lnTo>
                    <a:lnTo>
                      <a:pt x="680" y="116"/>
                    </a:lnTo>
                    <a:lnTo>
                      <a:pt x="678" y="116"/>
                    </a:lnTo>
                    <a:lnTo>
                      <a:pt x="678" y="114"/>
                    </a:lnTo>
                    <a:lnTo>
                      <a:pt x="680" y="112"/>
                    </a:lnTo>
                    <a:lnTo>
                      <a:pt x="680" y="110"/>
                    </a:lnTo>
                    <a:lnTo>
                      <a:pt x="680" y="106"/>
                    </a:lnTo>
                    <a:lnTo>
                      <a:pt x="680" y="104"/>
                    </a:lnTo>
                    <a:lnTo>
                      <a:pt x="682" y="102"/>
                    </a:lnTo>
                    <a:lnTo>
                      <a:pt x="682" y="100"/>
                    </a:lnTo>
                    <a:lnTo>
                      <a:pt x="680" y="100"/>
                    </a:lnTo>
                    <a:lnTo>
                      <a:pt x="678" y="100"/>
                    </a:lnTo>
                    <a:lnTo>
                      <a:pt x="676" y="100"/>
                    </a:lnTo>
                    <a:lnTo>
                      <a:pt x="674" y="102"/>
                    </a:lnTo>
                    <a:lnTo>
                      <a:pt x="672" y="104"/>
                    </a:lnTo>
                    <a:lnTo>
                      <a:pt x="668" y="106"/>
                    </a:lnTo>
                    <a:lnTo>
                      <a:pt x="666" y="106"/>
                    </a:lnTo>
                    <a:lnTo>
                      <a:pt x="664" y="108"/>
                    </a:lnTo>
                    <a:lnTo>
                      <a:pt x="662" y="108"/>
                    </a:lnTo>
                    <a:lnTo>
                      <a:pt x="660" y="106"/>
                    </a:lnTo>
                    <a:lnTo>
                      <a:pt x="662" y="104"/>
                    </a:lnTo>
                    <a:lnTo>
                      <a:pt x="664" y="102"/>
                    </a:lnTo>
                    <a:lnTo>
                      <a:pt x="666" y="100"/>
                    </a:lnTo>
                    <a:lnTo>
                      <a:pt x="668" y="98"/>
                    </a:lnTo>
                    <a:lnTo>
                      <a:pt x="670" y="98"/>
                    </a:lnTo>
                    <a:lnTo>
                      <a:pt x="672" y="96"/>
                    </a:lnTo>
                    <a:lnTo>
                      <a:pt x="674" y="96"/>
                    </a:lnTo>
                    <a:lnTo>
                      <a:pt x="676" y="94"/>
                    </a:lnTo>
                    <a:lnTo>
                      <a:pt x="678" y="92"/>
                    </a:lnTo>
                    <a:lnTo>
                      <a:pt x="680" y="90"/>
                    </a:lnTo>
                    <a:lnTo>
                      <a:pt x="680" y="86"/>
                    </a:lnTo>
                    <a:lnTo>
                      <a:pt x="678" y="84"/>
                    </a:lnTo>
                    <a:lnTo>
                      <a:pt x="678" y="82"/>
                    </a:lnTo>
                    <a:lnTo>
                      <a:pt x="680" y="82"/>
                    </a:lnTo>
                    <a:lnTo>
                      <a:pt x="682" y="80"/>
                    </a:lnTo>
                    <a:lnTo>
                      <a:pt x="682" y="78"/>
                    </a:lnTo>
                    <a:lnTo>
                      <a:pt x="682" y="74"/>
                    </a:lnTo>
                    <a:lnTo>
                      <a:pt x="680" y="74"/>
                    </a:lnTo>
                    <a:lnTo>
                      <a:pt x="678" y="74"/>
                    </a:lnTo>
                    <a:lnTo>
                      <a:pt x="676" y="72"/>
                    </a:lnTo>
                    <a:lnTo>
                      <a:pt x="674" y="70"/>
                    </a:lnTo>
                    <a:lnTo>
                      <a:pt x="672" y="68"/>
                    </a:lnTo>
                    <a:lnTo>
                      <a:pt x="670" y="68"/>
                    </a:lnTo>
                    <a:lnTo>
                      <a:pt x="668" y="68"/>
                    </a:lnTo>
                    <a:lnTo>
                      <a:pt x="668" y="64"/>
                    </a:lnTo>
                    <a:lnTo>
                      <a:pt x="670" y="62"/>
                    </a:lnTo>
                    <a:lnTo>
                      <a:pt x="672" y="62"/>
                    </a:lnTo>
                    <a:lnTo>
                      <a:pt x="674" y="64"/>
                    </a:lnTo>
                    <a:lnTo>
                      <a:pt x="678" y="64"/>
                    </a:lnTo>
                    <a:lnTo>
                      <a:pt x="678" y="62"/>
                    </a:lnTo>
                    <a:lnTo>
                      <a:pt x="678" y="60"/>
                    </a:lnTo>
                    <a:lnTo>
                      <a:pt x="678" y="58"/>
                    </a:lnTo>
                    <a:lnTo>
                      <a:pt x="680" y="58"/>
                    </a:lnTo>
                    <a:lnTo>
                      <a:pt x="682" y="56"/>
                    </a:lnTo>
                    <a:lnTo>
                      <a:pt x="682" y="54"/>
                    </a:lnTo>
                    <a:lnTo>
                      <a:pt x="682" y="52"/>
                    </a:lnTo>
                    <a:lnTo>
                      <a:pt x="678" y="52"/>
                    </a:lnTo>
                    <a:lnTo>
                      <a:pt x="678" y="54"/>
                    </a:lnTo>
                    <a:lnTo>
                      <a:pt x="678" y="56"/>
                    </a:lnTo>
                    <a:lnTo>
                      <a:pt x="676" y="54"/>
                    </a:lnTo>
                    <a:lnTo>
                      <a:pt x="674" y="54"/>
                    </a:lnTo>
                    <a:lnTo>
                      <a:pt x="672" y="54"/>
                    </a:lnTo>
                    <a:lnTo>
                      <a:pt x="672" y="50"/>
                    </a:lnTo>
                    <a:lnTo>
                      <a:pt x="668" y="50"/>
                    </a:lnTo>
                    <a:lnTo>
                      <a:pt x="666" y="50"/>
                    </a:lnTo>
                    <a:lnTo>
                      <a:pt x="664" y="52"/>
                    </a:lnTo>
                    <a:lnTo>
                      <a:pt x="658" y="52"/>
                    </a:lnTo>
                    <a:lnTo>
                      <a:pt x="656" y="50"/>
                    </a:lnTo>
                    <a:lnTo>
                      <a:pt x="652" y="50"/>
                    </a:lnTo>
                    <a:lnTo>
                      <a:pt x="650" y="52"/>
                    </a:lnTo>
                    <a:lnTo>
                      <a:pt x="648" y="52"/>
                    </a:lnTo>
                    <a:lnTo>
                      <a:pt x="646" y="52"/>
                    </a:lnTo>
                    <a:lnTo>
                      <a:pt x="636" y="52"/>
                    </a:lnTo>
                    <a:lnTo>
                      <a:pt x="634" y="52"/>
                    </a:lnTo>
                    <a:lnTo>
                      <a:pt x="632" y="50"/>
                    </a:lnTo>
                    <a:lnTo>
                      <a:pt x="632" y="48"/>
                    </a:lnTo>
                    <a:lnTo>
                      <a:pt x="630" y="46"/>
                    </a:lnTo>
                    <a:lnTo>
                      <a:pt x="628" y="46"/>
                    </a:lnTo>
                    <a:lnTo>
                      <a:pt x="624" y="46"/>
                    </a:lnTo>
                    <a:lnTo>
                      <a:pt x="622" y="46"/>
                    </a:lnTo>
                    <a:lnTo>
                      <a:pt x="622" y="44"/>
                    </a:lnTo>
                    <a:lnTo>
                      <a:pt x="624" y="44"/>
                    </a:lnTo>
                    <a:lnTo>
                      <a:pt x="626" y="42"/>
                    </a:lnTo>
                    <a:lnTo>
                      <a:pt x="628" y="42"/>
                    </a:lnTo>
                    <a:lnTo>
                      <a:pt x="630" y="40"/>
                    </a:lnTo>
                    <a:lnTo>
                      <a:pt x="632" y="40"/>
                    </a:lnTo>
                    <a:lnTo>
                      <a:pt x="634" y="38"/>
                    </a:lnTo>
                    <a:lnTo>
                      <a:pt x="636" y="38"/>
                    </a:lnTo>
                    <a:lnTo>
                      <a:pt x="634" y="36"/>
                    </a:lnTo>
                    <a:lnTo>
                      <a:pt x="632" y="36"/>
                    </a:lnTo>
                    <a:lnTo>
                      <a:pt x="630" y="36"/>
                    </a:lnTo>
                    <a:lnTo>
                      <a:pt x="626" y="38"/>
                    </a:lnTo>
                    <a:lnTo>
                      <a:pt x="624" y="40"/>
                    </a:lnTo>
                    <a:lnTo>
                      <a:pt x="622" y="40"/>
                    </a:lnTo>
                    <a:lnTo>
                      <a:pt x="620" y="42"/>
                    </a:lnTo>
                    <a:lnTo>
                      <a:pt x="618" y="42"/>
                    </a:lnTo>
                    <a:lnTo>
                      <a:pt x="616" y="44"/>
                    </a:lnTo>
                    <a:lnTo>
                      <a:pt x="612" y="46"/>
                    </a:lnTo>
                    <a:lnTo>
                      <a:pt x="610" y="46"/>
                    </a:lnTo>
                    <a:lnTo>
                      <a:pt x="608" y="48"/>
                    </a:lnTo>
                    <a:lnTo>
                      <a:pt x="606" y="48"/>
                    </a:lnTo>
                    <a:lnTo>
                      <a:pt x="604" y="48"/>
                    </a:lnTo>
                    <a:lnTo>
                      <a:pt x="598" y="48"/>
                    </a:lnTo>
                    <a:lnTo>
                      <a:pt x="596" y="50"/>
                    </a:lnTo>
                    <a:lnTo>
                      <a:pt x="596" y="52"/>
                    </a:lnTo>
                    <a:lnTo>
                      <a:pt x="582" y="52"/>
                    </a:lnTo>
                    <a:lnTo>
                      <a:pt x="582" y="50"/>
                    </a:lnTo>
                    <a:lnTo>
                      <a:pt x="584" y="48"/>
                    </a:lnTo>
                    <a:lnTo>
                      <a:pt x="586" y="46"/>
                    </a:lnTo>
                    <a:lnTo>
                      <a:pt x="584" y="46"/>
                    </a:lnTo>
                    <a:lnTo>
                      <a:pt x="578" y="46"/>
                    </a:lnTo>
                    <a:lnTo>
                      <a:pt x="576" y="48"/>
                    </a:lnTo>
                    <a:lnTo>
                      <a:pt x="574" y="48"/>
                    </a:lnTo>
                    <a:lnTo>
                      <a:pt x="572" y="48"/>
                    </a:lnTo>
                    <a:lnTo>
                      <a:pt x="572" y="50"/>
                    </a:lnTo>
                    <a:lnTo>
                      <a:pt x="564" y="50"/>
                    </a:lnTo>
                    <a:lnTo>
                      <a:pt x="564" y="48"/>
                    </a:lnTo>
                    <a:lnTo>
                      <a:pt x="566" y="46"/>
                    </a:lnTo>
                    <a:lnTo>
                      <a:pt x="568" y="44"/>
                    </a:lnTo>
                    <a:lnTo>
                      <a:pt x="570" y="44"/>
                    </a:lnTo>
                    <a:lnTo>
                      <a:pt x="574" y="42"/>
                    </a:lnTo>
                    <a:lnTo>
                      <a:pt x="576" y="40"/>
                    </a:lnTo>
                    <a:lnTo>
                      <a:pt x="582" y="38"/>
                    </a:lnTo>
                    <a:lnTo>
                      <a:pt x="586" y="36"/>
                    </a:lnTo>
                    <a:lnTo>
                      <a:pt x="588" y="36"/>
                    </a:lnTo>
                    <a:lnTo>
                      <a:pt x="590" y="34"/>
                    </a:lnTo>
                    <a:lnTo>
                      <a:pt x="594" y="34"/>
                    </a:lnTo>
                    <a:lnTo>
                      <a:pt x="594" y="32"/>
                    </a:lnTo>
                    <a:lnTo>
                      <a:pt x="596" y="32"/>
                    </a:lnTo>
                    <a:lnTo>
                      <a:pt x="600" y="30"/>
                    </a:lnTo>
                    <a:lnTo>
                      <a:pt x="604" y="28"/>
                    </a:lnTo>
                    <a:lnTo>
                      <a:pt x="608" y="28"/>
                    </a:lnTo>
                    <a:lnTo>
                      <a:pt x="612" y="28"/>
                    </a:lnTo>
                    <a:lnTo>
                      <a:pt x="614" y="26"/>
                    </a:lnTo>
                    <a:lnTo>
                      <a:pt x="618" y="26"/>
                    </a:lnTo>
                    <a:lnTo>
                      <a:pt x="614" y="26"/>
                    </a:lnTo>
                    <a:lnTo>
                      <a:pt x="612" y="24"/>
                    </a:lnTo>
                    <a:lnTo>
                      <a:pt x="610" y="24"/>
                    </a:lnTo>
                    <a:lnTo>
                      <a:pt x="608" y="24"/>
                    </a:lnTo>
                    <a:lnTo>
                      <a:pt x="608" y="22"/>
                    </a:lnTo>
                    <a:lnTo>
                      <a:pt x="606" y="22"/>
                    </a:lnTo>
                    <a:lnTo>
                      <a:pt x="602" y="24"/>
                    </a:lnTo>
                    <a:lnTo>
                      <a:pt x="598" y="24"/>
                    </a:lnTo>
                    <a:lnTo>
                      <a:pt x="598" y="20"/>
                    </a:lnTo>
                    <a:lnTo>
                      <a:pt x="596" y="20"/>
                    </a:lnTo>
                    <a:lnTo>
                      <a:pt x="594" y="22"/>
                    </a:lnTo>
                    <a:lnTo>
                      <a:pt x="592" y="24"/>
                    </a:lnTo>
                    <a:lnTo>
                      <a:pt x="590" y="24"/>
                    </a:lnTo>
                    <a:lnTo>
                      <a:pt x="590" y="26"/>
                    </a:lnTo>
                    <a:lnTo>
                      <a:pt x="588" y="26"/>
                    </a:lnTo>
                    <a:lnTo>
                      <a:pt x="586" y="24"/>
                    </a:lnTo>
                    <a:lnTo>
                      <a:pt x="584" y="24"/>
                    </a:lnTo>
                    <a:lnTo>
                      <a:pt x="584" y="22"/>
                    </a:lnTo>
                    <a:lnTo>
                      <a:pt x="582" y="20"/>
                    </a:lnTo>
                    <a:lnTo>
                      <a:pt x="576" y="20"/>
                    </a:lnTo>
                    <a:lnTo>
                      <a:pt x="574" y="20"/>
                    </a:lnTo>
                    <a:lnTo>
                      <a:pt x="574" y="18"/>
                    </a:lnTo>
                    <a:lnTo>
                      <a:pt x="574" y="16"/>
                    </a:lnTo>
                    <a:lnTo>
                      <a:pt x="572" y="16"/>
                    </a:lnTo>
                    <a:lnTo>
                      <a:pt x="572" y="14"/>
                    </a:lnTo>
                    <a:lnTo>
                      <a:pt x="570" y="14"/>
                    </a:lnTo>
                    <a:lnTo>
                      <a:pt x="568" y="12"/>
                    </a:lnTo>
                    <a:lnTo>
                      <a:pt x="566" y="12"/>
                    </a:lnTo>
                    <a:lnTo>
                      <a:pt x="562" y="18"/>
                    </a:lnTo>
                    <a:lnTo>
                      <a:pt x="560" y="18"/>
                    </a:lnTo>
                    <a:lnTo>
                      <a:pt x="558" y="16"/>
                    </a:lnTo>
                    <a:lnTo>
                      <a:pt x="556" y="14"/>
                    </a:lnTo>
                    <a:lnTo>
                      <a:pt x="554" y="14"/>
                    </a:lnTo>
                    <a:lnTo>
                      <a:pt x="552" y="12"/>
                    </a:lnTo>
                    <a:lnTo>
                      <a:pt x="550" y="12"/>
                    </a:lnTo>
                    <a:lnTo>
                      <a:pt x="548" y="12"/>
                    </a:lnTo>
                    <a:lnTo>
                      <a:pt x="546" y="10"/>
                    </a:lnTo>
                    <a:lnTo>
                      <a:pt x="546" y="8"/>
                    </a:lnTo>
                    <a:lnTo>
                      <a:pt x="546" y="6"/>
                    </a:lnTo>
                    <a:lnTo>
                      <a:pt x="548" y="4"/>
                    </a:lnTo>
                    <a:lnTo>
                      <a:pt x="550" y="4"/>
                    </a:lnTo>
                    <a:lnTo>
                      <a:pt x="550" y="2"/>
                    </a:lnTo>
                    <a:lnTo>
                      <a:pt x="548" y="0"/>
                    </a:lnTo>
                    <a:lnTo>
                      <a:pt x="546" y="0"/>
                    </a:lnTo>
                    <a:lnTo>
                      <a:pt x="542" y="4"/>
                    </a:lnTo>
                    <a:lnTo>
                      <a:pt x="540" y="6"/>
                    </a:lnTo>
                    <a:lnTo>
                      <a:pt x="540" y="8"/>
                    </a:lnTo>
                    <a:lnTo>
                      <a:pt x="130" y="8"/>
                    </a:lnTo>
                    <a:lnTo>
                      <a:pt x="130" y="12"/>
                    </a:lnTo>
                    <a:lnTo>
                      <a:pt x="130" y="14"/>
                    </a:lnTo>
                    <a:lnTo>
                      <a:pt x="130" y="16"/>
                    </a:lnTo>
                    <a:lnTo>
                      <a:pt x="128" y="16"/>
                    </a:lnTo>
                    <a:lnTo>
                      <a:pt x="128" y="20"/>
                    </a:lnTo>
                    <a:lnTo>
                      <a:pt x="128" y="22"/>
                    </a:lnTo>
                    <a:lnTo>
                      <a:pt x="128" y="26"/>
                    </a:lnTo>
                    <a:lnTo>
                      <a:pt x="126" y="26"/>
                    </a:lnTo>
                    <a:lnTo>
                      <a:pt x="124" y="28"/>
                    </a:lnTo>
                    <a:lnTo>
                      <a:pt x="122" y="28"/>
                    </a:lnTo>
                    <a:lnTo>
                      <a:pt x="120" y="28"/>
                    </a:lnTo>
                    <a:lnTo>
                      <a:pt x="120" y="32"/>
                    </a:lnTo>
                    <a:lnTo>
                      <a:pt x="120" y="34"/>
                    </a:lnTo>
                    <a:lnTo>
                      <a:pt x="118" y="34"/>
                    </a:lnTo>
                    <a:lnTo>
                      <a:pt x="118" y="36"/>
                    </a:lnTo>
                    <a:lnTo>
                      <a:pt x="116" y="38"/>
                    </a:lnTo>
                    <a:lnTo>
                      <a:pt x="114" y="40"/>
                    </a:lnTo>
                    <a:lnTo>
                      <a:pt x="112" y="40"/>
                    </a:lnTo>
                    <a:lnTo>
                      <a:pt x="108" y="40"/>
                    </a:lnTo>
                    <a:lnTo>
                      <a:pt x="106" y="42"/>
                    </a:lnTo>
                    <a:lnTo>
                      <a:pt x="104" y="42"/>
                    </a:lnTo>
                    <a:lnTo>
                      <a:pt x="106" y="42"/>
                    </a:lnTo>
                    <a:lnTo>
                      <a:pt x="108" y="40"/>
                    </a:lnTo>
                    <a:lnTo>
                      <a:pt x="110" y="40"/>
                    </a:lnTo>
                    <a:lnTo>
                      <a:pt x="112" y="38"/>
                    </a:lnTo>
                    <a:lnTo>
                      <a:pt x="106" y="38"/>
                    </a:lnTo>
                    <a:lnTo>
                      <a:pt x="106" y="36"/>
                    </a:lnTo>
                    <a:lnTo>
                      <a:pt x="108" y="34"/>
                    </a:lnTo>
                    <a:lnTo>
                      <a:pt x="110" y="34"/>
                    </a:lnTo>
                    <a:lnTo>
                      <a:pt x="110" y="32"/>
                    </a:lnTo>
                    <a:lnTo>
                      <a:pt x="112" y="30"/>
                    </a:lnTo>
                    <a:lnTo>
                      <a:pt x="114" y="28"/>
                    </a:lnTo>
                    <a:lnTo>
                      <a:pt x="116" y="28"/>
                    </a:lnTo>
                    <a:lnTo>
                      <a:pt x="118" y="26"/>
                    </a:lnTo>
                    <a:lnTo>
                      <a:pt x="118" y="24"/>
                    </a:lnTo>
                    <a:lnTo>
                      <a:pt x="120" y="24"/>
                    </a:lnTo>
                    <a:lnTo>
                      <a:pt x="106" y="24"/>
                    </a:lnTo>
                    <a:lnTo>
                      <a:pt x="106" y="22"/>
                    </a:lnTo>
                    <a:lnTo>
                      <a:pt x="104" y="22"/>
                    </a:lnTo>
                    <a:lnTo>
                      <a:pt x="104" y="20"/>
                    </a:lnTo>
                    <a:lnTo>
                      <a:pt x="102" y="20"/>
                    </a:lnTo>
                    <a:lnTo>
                      <a:pt x="100" y="18"/>
                    </a:lnTo>
                    <a:lnTo>
                      <a:pt x="98" y="18"/>
                    </a:lnTo>
                    <a:lnTo>
                      <a:pt x="94" y="18"/>
                    </a:lnTo>
                    <a:lnTo>
                      <a:pt x="92" y="20"/>
                    </a:lnTo>
                    <a:lnTo>
                      <a:pt x="92" y="24"/>
                    </a:lnTo>
                    <a:lnTo>
                      <a:pt x="90" y="24"/>
                    </a:lnTo>
                    <a:lnTo>
                      <a:pt x="90" y="36"/>
                    </a:lnTo>
                    <a:lnTo>
                      <a:pt x="86" y="40"/>
                    </a:lnTo>
                    <a:lnTo>
                      <a:pt x="86" y="42"/>
                    </a:lnTo>
                    <a:lnTo>
                      <a:pt x="84" y="42"/>
                    </a:lnTo>
                    <a:lnTo>
                      <a:pt x="88" y="44"/>
                    </a:lnTo>
                    <a:lnTo>
                      <a:pt x="90" y="44"/>
                    </a:lnTo>
                    <a:lnTo>
                      <a:pt x="88" y="44"/>
                    </a:lnTo>
                    <a:lnTo>
                      <a:pt x="86" y="46"/>
                    </a:lnTo>
                    <a:lnTo>
                      <a:pt x="84" y="46"/>
                    </a:lnTo>
                    <a:lnTo>
                      <a:pt x="86" y="48"/>
                    </a:lnTo>
                    <a:lnTo>
                      <a:pt x="86" y="50"/>
                    </a:lnTo>
                    <a:lnTo>
                      <a:pt x="84" y="52"/>
                    </a:lnTo>
                    <a:lnTo>
                      <a:pt x="82" y="54"/>
                    </a:lnTo>
                    <a:lnTo>
                      <a:pt x="82" y="56"/>
                    </a:lnTo>
                    <a:lnTo>
                      <a:pt x="84" y="56"/>
                    </a:lnTo>
                    <a:lnTo>
                      <a:pt x="86" y="56"/>
                    </a:lnTo>
                    <a:lnTo>
                      <a:pt x="86" y="58"/>
                    </a:lnTo>
                    <a:lnTo>
                      <a:pt x="88" y="58"/>
                    </a:lnTo>
                    <a:lnTo>
                      <a:pt x="90" y="60"/>
                    </a:lnTo>
                    <a:lnTo>
                      <a:pt x="80" y="60"/>
                    </a:lnTo>
                    <a:lnTo>
                      <a:pt x="80" y="58"/>
                    </a:lnTo>
                    <a:lnTo>
                      <a:pt x="78" y="58"/>
                    </a:lnTo>
                    <a:lnTo>
                      <a:pt x="78" y="60"/>
                    </a:lnTo>
                    <a:lnTo>
                      <a:pt x="76" y="60"/>
                    </a:lnTo>
                    <a:lnTo>
                      <a:pt x="76" y="62"/>
                    </a:lnTo>
                    <a:lnTo>
                      <a:pt x="74" y="64"/>
                    </a:lnTo>
                    <a:lnTo>
                      <a:pt x="74" y="66"/>
                    </a:lnTo>
                    <a:lnTo>
                      <a:pt x="70" y="70"/>
                    </a:lnTo>
                    <a:lnTo>
                      <a:pt x="68" y="74"/>
                    </a:lnTo>
                    <a:lnTo>
                      <a:pt x="64" y="78"/>
                    </a:lnTo>
                    <a:lnTo>
                      <a:pt x="62" y="80"/>
                    </a:lnTo>
                    <a:lnTo>
                      <a:pt x="62" y="82"/>
                    </a:lnTo>
                    <a:lnTo>
                      <a:pt x="60" y="84"/>
                    </a:lnTo>
                    <a:lnTo>
                      <a:pt x="58" y="86"/>
                    </a:lnTo>
                    <a:lnTo>
                      <a:pt x="56" y="88"/>
                    </a:lnTo>
                    <a:lnTo>
                      <a:pt x="56" y="90"/>
                    </a:lnTo>
                    <a:lnTo>
                      <a:pt x="52" y="94"/>
                    </a:lnTo>
                    <a:lnTo>
                      <a:pt x="48" y="98"/>
                    </a:lnTo>
                    <a:lnTo>
                      <a:pt x="46" y="102"/>
                    </a:lnTo>
                    <a:lnTo>
                      <a:pt x="44" y="104"/>
                    </a:lnTo>
                    <a:lnTo>
                      <a:pt x="42" y="106"/>
                    </a:lnTo>
                    <a:lnTo>
                      <a:pt x="40" y="108"/>
                    </a:lnTo>
                    <a:lnTo>
                      <a:pt x="40" y="110"/>
                    </a:lnTo>
                    <a:lnTo>
                      <a:pt x="40" y="112"/>
                    </a:lnTo>
                    <a:lnTo>
                      <a:pt x="40" y="114"/>
                    </a:lnTo>
                    <a:lnTo>
                      <a:pt x="38" y="114"/>
                    </a:lnTo>
                    <a:lnTo>
                      <a:pt x="38" y="116"/>
                    </a:lnTo>
                    <a:lnTo>
                      <a:pt x="36" y="116"/>
                    </a:lnTo>
                    <a:lnTo>
                      <a:pt x="34" y="116"/>
                    </a:lnTo>
                    <a:lnTo>
                      <a:pt x="32" y="118"/>
                    </a:lnTo>
                    <a:lnTo>
                      <a:pt x="32" y="120"/>
                    </a:lnTo>
                    <a:lnTo>
                      <a:pt x="32" y="122"/>
                    </a:lnTo>
                    <a:lnTo>
                      <a:pt x="30" y="122"/>
                    </a:lnTo>
                    <a:lnTo>
                      <a:pt x="30" y="124"/>
                    </a:lnTo>
                    <a:lnTo>
                      <a:pt x="28" y="126"/>
                    </a:lnTo>
                    <a:lnTo>
                      <a:pt x="28" y="130"/>
                    </a:lnTo>
                    <a:lnTo>
                      <a:pt x="26" y="132"/>
                    </a:lnTo>
                    <a:lnTo>
                      <a:pt x="24" y="134"/>
                    </a:lnTo>
                    <a:lnTo>
                      <a:pt x="24" y="138"/>
                    </a:lnTo>
                    <a:lnTo>
                      <a:pt x="22" y="140"/>
                    </a:lnTo>
                    <a:lnTo>
                      <a:pt x="22" y="146"/>
                    </a:lnTo>
                    <a:lnTo>
                      <a:pt x="20" y="148"/>
                    </a:lnTo>
                    <a:lnTo>
                      <a:pt x="20" y="150"/>
                    </a:lnTo>
                    <a:lnTo>
                      <a:pt x="16" y="154"/>
                    </a:lnTo>
                    <a:lnTo>
                      <a:pt x="14" y="158"/>
                    </a:lnTo>
                    <a:lnTo>
                      <a:pt x="12" y="160"/>
                    </a:lnTo>
                    <a:lnTo>
                      <a:pt x="10" y="162"/>
                    </a:lnTo>
                    <a:lnTo>
                      <a:pt x="8" y="162"/>
                    </a:lnTo>
                    <a:lnTo>
                      <a:pt x="6" y="166"/>
                    </a:lnTo>
                    <a:lnTo>
                      <a:pt x="4" y="166"/>
                    </a:lnTo>
                    <a:lnTo>
                      <a:pt x="4" y="168"/>
                    </a:lnTo>
                    <a:lnTo>
                      <a:pt x="2" y="170"/>
                    </a:lnTo>
                    <a:lnTo>
                      <a:pt x="4" y="172"/>
                    </a:lnTo>
                    <a:lnTo>
                      <a:pt x="6" y="176"/>
                    </a:lnTo>
                    <a:lnTo>
                      <a:pt x="8" y="176"/>
                    </a:lnTo>
                    <a:lnTo>
                      <a:pt x="8" y="178"/>
                    </a:lnTo>
                    <a:lnTo>
                      <a:pt x="8" y="180"/>
                    </a:lnTo>
                    <a:lnTo>
                      <a:pt x="8" y="182"/>
                    </a:lnTo>
                    <a:lnTo>
                      <a:pt x="6" y="184"/>
                    </a:lnTo>
                    <a:lnTo>
                      <a:pt x="6" y="186"/>
                    </a:lnTo>
                    <a:lnTo>
                      <a:pt x="4" y="188"/>
                    </a:lnTo>
                    <a:lnTo>
                      <a:pt x="2" y="192"/>
                    </a:lnTo>
                    <a:lnTo>
                      <a:pt x="2" y="194"/>
                    </a:lnTo>
                    <a:lnTo>
                      <a:pt x="0" y="196"/>
                    </a:lnTo>
                    <a:lnTo>
                      <a:pt x="0" y="198"/>
                    </a:lnTo>
                    <a:lnTo>
                      <a:pt x="0" y="202"/>
                    </a:lnTo>
                    <a:lnTo>
                      <a:pt x="2" y="204"/>
                    </a:lnTo>
                    <a:lnTo>
                      <a:pt x="2" y="208"/>
                    </a:lnTo>
                    <a:lnTo>
                      <a:pt x="4" y="212"/>
                    </a:lnTo>
                    <a:lnTo>
                      <a:pt x="4" y="214"/>
                    </a:lnTo>
                    <a:lnTo>
                      <a:pt x="4" y="216"/>
                    </a:lnTo>
                    <a:lnTo>
                      <a:pt x="6" y="216"/>
                    </a:lnTo>
                    <a:lnTo>
                      <a:pt x="8" y="214"/>
                    </a:lnTo>
                    <a:lnTo>
                      <a:pt x="10" y="212"/>
                    </a:lnTo>
                    <a:lnTo>
                      <a:pt x="12" y="214"/>
                    </a:lnTo>
                    <a:lnTo>
                      <a:pt x="22" y="214"/>
                    </a:lnTo>
                    <a:lnTo>
                      <a:pt x="24" y="214"/>
                    </a:lnTo>
                    <a:lnTo>
                      <a:pt x="16" y="214"/>
                    </a:lnTo>
                    <a:lnTo>
                      <a:pt x="14" y="216"/>
                    </a:lnTo>
                    <a:lnTo>
                      <a:pt x="12" y="216"/>
                    </a:lnTo>
                    <a:lnTo>
                      <a:pt x="10" y="218"/>
                    </a:lnTo>
                    <a:lnTo>
                      <a:pt x="10" y="222"/>
                    </a:lnTo>
                    <a:lnTo>
                      <a:pt x="8" y="220"/>
                    </a:lnTo>
                    <a:lnTo>
                      <a:pt x="6" y="220"/>
                    </a:lnTo>
                    <a:lnTo>
                      <a:pt x="4" y="222"/>
                    </a:lnTo>
                    <a:lnTo>
                      <a:pt x="2" y="226"/>
                    </a:lnTo>
                    <a:lnTo>
                      <a:pt x="2" y="232"/>
                    </a:lnTo>
                    <a:lnTo>
                      <a:pt x="4" y="232"/>
                    </a:lnTo>
                    <a:lnTo>
                      <a:pt x="4" y="234"/>
                    </a:lnTo>
                    <a:lnTo>
                      <a:pt x="6" y="234"/>
                    </a:lnTo>
                    <a:lnTo>
                      <a:pt x="8" y="234"/>
                    </a:lnTo>
                    <a:lnTo>
                      <a:pt x="8" y="236"/>
                    </a:lnTo>
                    <a:lnTo>
                      <a:pt x="8" y="238"/>
                    </a:lnTo>
                    <a:lnTo>
                      <a:pt x="8" y="242"/>
                    </a:lnTo>
                    <a:lnTo>
                      <a:pt x="6" y="242"/>
                    </a:lnTo>
                    <a:lnTo>
                      <a:pt x="6" y="244"/>
                    </a:lnTo>
                    <a:lnTo>
                      <a:pt x="4" y="244"/>
                    </a:lnTo>
                    <a:lnTo>
                      <a:pt x="4" y="246"/>
                    </a:lnTo>
                    <a:lnTo>
                      <a:pt x="2" y="248"/>
                    </a:lnTo>
                    <a:lnTo>
                      <a:pt x="2" y="250"/>
                    </a:lnTo>
                    <a:lnTo>
                      <a:pt x="4" y="252"/>
                    </a:lnTo>
                    <a:lnTo>
                      <a:pt x="4" y="256"/>
                    </a:lnTo>
                    <a:lnTo>
                      <a:pt x="8" y="258"/>
                    </a:lnTo>
                    <a:lnTo>
                      <a:pt x="8" y="260"/>
                    </a:lnTo>
                    <a:lnTo>
                      <a:pt x="8" y="262"/>
                    </a:lnTo>
                    <a:lnTo>
                      <a:pt x="10" y="264"/>
                    </a:lnTo>
                    <a:lnTo>
                      <a:pt x="12" y="266"/>
                    </a:lnTo>
                    <a:lnTo>
                      <a:pt x="12" y="268"/>
                    </a:lnTo>
                    <a:lnTo>
                      <a:pt x="14" y="270"/>
                    </a:lnTo>
                    <a:lnTo>
                      <a:pt x="14" y="272"/>
                    </a:lnTo>
                    <a:lnTo>
                      <a:pt x="12" y="272"/>
                    </a:lnTo>
                    <a:lnTo>
                      <a:pt x="12" y="274"/>
                    </a:lnTo>
                    <a:lnTo>
                      <a:pt x="10" y="276"/>
                    </a:lnTo>
                    <a:lnTo>
                      <a:pt x="10" y="278"/>
                    </a:lnTo>
                    <a:lnTo>
                      <a:pt x="8" y="280"/>
                    </a:lnTo>
                    <a:lnTo>
                      <a:pt x="8" y="282"/>
                    </a:lnTo>
                    <a:lnTo>
                      <a:pt x="8" y="284"/>
                    </a:lnTo>
                    <a:lnTo>
                      <a:pt x="10" y="284"/>
                    </a:lnTo>
                    <a:lnTo>
                      <a:pt x="12" y="284"/>
                    </a:lnTo>
                    <a:lnTo>
                      <a:pt x="18" y="284"/>
                    </a:lnTo>
                    <a:lnTo>
                      <a:pt x="20" y="286"/>
                    </a:lnTo>
                    <a:lnTo>
                      <a:pt x="24" y="286"/>
                    </a:lnTo>
                    <a:lnTo>
                      <a:pt x="24" y="288"/>
                    </a:lnTo>
                    <a:lnTo>
                      <a:pt x="24" y="290"/>
                    </a:lnTo>
                    <a:lnTo>
                      <a:pt x="26" y="290"/>
                    </a:lnTo>
                    <a:lnTo>
                      <a:pt x="26" y="292"/>
                    </a:lnTo>
                    <a:lnTo>
                      <a:pt x="32" y="292"/>
                    </a:lnTo>
                    <a:lnTo>
                      <a:pt x="34" y="290"/>
                    </a:lnTo>
                    <a:lnTo>
                      <a:pt x="36" y="290"/>
                    </a:lnTo>
                    <a:lnTo>
                      <a:pt x="38" y="290"/>
                    </a:lnTo>
                    <a:lnTo>
                      <a:pt x="38" y="296"/>
                    </a:lnTo>
                    <a:lnTo>
                      <a:pt x="40" y="296"/>
                    </a:lnTo>
                    <a:lnTo>
                      <a:pt x="42" y="298"/>
                    </a:lnTo>
                    <a:lnTo>
                      <a:pt x="46" y="300"/>
                    </a:lnTo>
                    <a:lnTo>
                      <a:pt x="48" y="300"/>
                    </a:lnTo>
                    <a:lnTo>
                      <a:pt x="50" y="302"/>
                    </a:lnTo>
                    <a:lnTo>
                      <a:pt x="50" y="304"/>
                    </a:lnTo>
                    <a:lnTo>
                      <a:pt x="52" y="306"/>
                    </a:lnTo>
                    <a:lnTo>
                      <a:pt x="50" y="310"/>
                    </a:lnTo>
                    <a:lnTo>
                      <a:pt x="50" y="312"/>
                    </a:lnTo>
                    <a:lnTo>
                      <a:pt x="50" y="314"/>
                    </a:lnTo>
                    <a:lnTo>
                      <a:pt x="50" y="318"/>
                    </a:lnTo>
                    <a:lnTo>
                      <a:pt x="70" y="318"/>
                    </a:lnTo>
                    <a:lnTo>
                      <a:pt x="74" y="318"/>
                    </a:lnTo>
                    <a:lnTo>
                      <a:pt x="86" y="318"/>
                    </a:lnTo>
                    <a:lnTo>
                      <a:pt x="84" y="320"/>
                    </a:lnTo>
                    <a:lnTo>
                      <a:pt x="84" y="322"/>
                    </a:lnTo>
                    <a:lnTo>
                      <a:pt x="86" y="322"/>
                    </a:lnTo>
                    <a:lnTo>
                      <a:pt x="90" y="324"/>
                    </a:lnTo>
                    <a:lnTo>
                      <a:pt x="98" y="328"/>
                    </a:lnTo>
                    <a:lnTo>
                      <a:pt x="102" y="328"/>
                    </a:lnTo>
                    <a:lnTo>
                      <a:pt x="106" y="330"/>
                    </a:lnTo>
                    <a:lnTo>
                      <a:pt x="108" y="332"/>
                    </a:lnTo>
                    <a:lnTo>
                      <a:pt x="114" y="334"/>
                    </a:lnTo>
                    <a:lnTo>
                      <a:pt x="120" y="336"/>
                    </a:lnTo>
                    <a:lnTo>
                      <a:pt x="124" y="338"/>
                    </a:lnTo>
                    <a:lnTo>
                      <a:pt x="128" y="340"/>
                    </a:lnTo>
                    <a:lnTo>
                      <a:pt x="132" y="342"/>
                    </a:lnTo>
                    <a:lnTo>
                      <a:pt x="134" y="344"/>
                    </a:lnTo>
                    <a:lnTo>
                      <a:pt x="182" y="344"/>
                    </a:lnTo>
                    <a:lnTo>
                      <a:pt x="184" y="342"/>
                    </a:lnTo>
                    <a:lnTo>
                      <a:pt x="184" y="336"/>
                    </a:lnTo>
                    <a:lnTo>
                      <a:pt x="186" y="336"/>
                    </a:lnTo>
                    <a:lnTo>
                      <a:pt x="186" y="334"/>
                    </a:lnTo>
                    <a:lnTo>
                      <a:pt x="214" y="334"/>
                    </a:lnTo>
                    <a:lnTo>
                      <a:pt x="216" y="336"/>
                    </a:lnTo>
                    <a:lnTo>
                      <a:pt x="216" y="338"/>
                    </a:lnTo>
                    <a:lnTo>
                      <a:pt x="218" y="340"/>
                    </a:lnTo>
                    <a:lnTo>
                      <a:pt x="218" y="342"/>
                    </a:lnTo>
                    <a:lnTo>
                      <a:pt x="220" y="342"/>
                    </a:lnTo>
                    <a:lnTo>
                      <a:pt x="220" y="344"/>
                    </a:lnTo>
                    <a:lnTo>
                      <a:pt x="222" y="344"/>
                    </a:lnTo>
                    <a:lnTo>
                      <a:pt x="224" y="348"/>
                    </a:lnTo>
                    <a:lnTo>
                      <a:pt x="224" y="350"/>
                    </a:lnTo>
                    <a:lnTo>
                      <a:pt x="224" y="352"/>
                    </a:lnTo>
                    <a:lnTo>
                      <a:pt x="226" y="352"/>
                    </a:lnTo>
                    <a:lnTo>
                      <a:pt x="228" y="354"/>
                    </a:lnTo>
                    <a:lnTo>
                      <a:pt x="230" y="354"/>
                    </a:lnTo>
                    <a:lnTo>
                      <a:pt x="234" y="358"/>
                    </a:lnTo>
                    <a:lnTo>
                      <a:pt x="234" y="370"/>
                    </a:lnTo>
                    <a:lnTo>
                      <a:pt x="234" y="372"/>
                    </a:lnTo>
                    <a:lnTo>
                      <a:pt x="234" y="376"/>
                    </a:lnTo>
                    <a:lnTo>
                      <a:pt x="236" y="378"/>
                    </a:lnTo>
                    <a:lnTo>
                      <a:pt x="238" y="380"/>
                    </a:lnTo>
                    <a:lnTo>
                      <a:pt x="240" y="382"/>
                    </a:lnTo>
                    <a:lnTo>
                      <a:pt x="242" y="384"/>
                    </a:lnTo>
                    <a:lnTo>
                      <a:pt x="246" y="386"/>
                    </a:lnTo>
                    <a:lnTo>
                      <a:pt x="248" y="386"/>
                    </a:lnTo>
                    <a:lnTo>
                      <a:pt x="250" y="386"/>
                    </a:lnTo>
                    <a:lnTo>
                      <a:pt x="250" y="388"/>
                    </a:lnTo>
                    <a:lnTo>
                      <a:pt x="252" y="386"/>
                    </a:lnTo>
                    <a:lnTo>
                      <a:pt x="254" y="386"/>
                    </a:lnTo>
                    <a:lnTo>
                      <a:pt x="256" y="386"/>
                    </a:lnTo>
                    <a:lnTo>
                      <a:pt x="258" y="384"/>
                    </a:lnTo>
                    <a:lnTo>
                      <a:pt x="260" y="382"/>
                    </a:lnTo>
                    <a:lnTo>
                      <a:pt x="262" y="380"/>
                    </a:lnTo>
                    <a:lnTo>
                      <a:pt x="262" y="376"/>
                    </a:lnTo>
                    <a:lnTo>
                      <a:pt x="264" y="374"/>
                    </a:lnTo>
                    <a:lnTo>
                      <a:pt x="266" y="374"/>
                    </a:lnTo>
                    <a:lnTo>
                      <a:pt x="268" y="372"/>
                    </a:lnTo>
                    <a:lnTo>
                      <a:pt x="270" y="372"/>
                    </a:lnTo>
                    <a:lnTo>
                      <a:pt x="270" y="370"/>
                    </a:lnTo>
                    <a:lnTo>
                      <a:pt x="270" y="372"/>
                    </a:lnTo>
                    <a:lnTo>
                      <a:pt x="272" y="372"/>
                    </a:lnTo>
                    <a:lnTo>
                      <a:pt x="284" y="372"/>
                    </a:lnTo>
                    <a:lnTo>
                      <a:pt x="284" y="374"/>
                    </a:lnTo>
                    <a:lnTo>
                      <a:pt x="286" y="374"/>
                    </a:lnTo>
                    <a:lnTo>
                      <a:pt x="286" y="376"/>
                    </a:lnTo>
                    <a:lnTo>
                      <a:pt x="288" y="378"/>
                    </a:lnTo>
                    <a:lnTo>
                      <a:pt x="290" y="382"/>
                    </a:lnTo>
                    <a:lnTo>
                      <a:pt x="292" y="384"/>
                    </a:lnTo>
                    <a:lnTo>
                      <a:pt x="294" y="384"/>
                    </a:lnTo>
                    <a:lnTo>
                      <a:pt x="294" y="386"/>
                    </a:lnTo>
                    <a:lnTo>
                      <a:pt x="294" y="388"/>
                    </a:lnTo>
                    <a:lnTo>
                      <a:pt x="294" y="392"/>
                    </a:lnTo>
                    <a:lnTo>
                      <a:pt x="294" y="396"/>
                    </a:lnTo>
                    <a:lnTo>
                      <a:pt x="294" y="400"/>
                    </a:lnTo>
                    <a:lnTo>
                      <a:pt x="296" y="402"/>
                    </a:lnTo>
                    <a:lnTo>
                      <a:pt x="298" y="404"/>
                    </a:lnTo>
                    <a:lnTo>
                      <a:pt x="298" y="408"/>
                    </a:lnTo>
                    <a:lnTo>
                      <a:pt x="298" y="410"/>
                    </a:lnTo>
                    <a:lnTo>
                      <a:pt x="300" y="412"/>
                    </a:lnTo>
                    <a:lnTo>
                      <a:pt x="302" y="412"/>
                    </a:lnTo>
                    <a:lnTo>
                      <a:pt x="304" y="414"/>
                    </a:lnTo>
                    <a:lnTo>
                      <a:pt x="304" y="416"/>
                    </a:lnTo>
                    <a:lnTo>
                      <a:pt x="304" y="418"/>
                    </a:lnTo>
                    <a:lnTo>
                      <a:pt x="302" y="418"/>
                    </a:lnTo>
                    <a:lnTo>
                      <a:pt x="302" y="428"/>
                    </a:lnTo>
                    <a:lnTo>
                      <a:pt x="304" y="428"/>
                    </a:lnTo>
                    <a:lnTo>
                      <a:pt x="304" y="430"/>
                    </a:lnTo>
                    <a:lnTo>
                      <a:pt x="306" y="430"/>
                    </a:lnTo>
                    <a:lnTo>
                      <a:pt x="306" y="438"/>
                    </a:lnTo>
                    <a:lnTo>
                      <a:pt x="308" y="440"/>
                    </a:lnTo>
                    <a:lnTo>
                      <a:pt x="310" y="440"/>
                    </a:lnTo>
                    <a:lnTo>
                      <a:pt x="312" y="440"/>
                    </a:lnTo>
                    <a:lnTo>
                      <a:pt x="316" y="440"/>
                    </a:lnTo>
                    <a:lnTo>
                      <a:pt x="318" y="442"/>
                    </a:lnTo>
                    <a:lnTo>
                      <a:pt x="318" y="444"/>
                    </a:lnTo>
                    <a:lnTo>
                      <a:pt x="328" y="444"/>
                    </a:lnTo>
                    <a:lnTo>
                      <a:pt x="328" y="446"/>
                    </a:lnTo>
                    <a:lnTo>
                      <a:pt x="328" y="448"/>
                    </a:lnTo>
                    <a:lnTo>
                      <a:pt x="330" y="448"/>
                    </a:lnTo>
                    <a:lnTo>
                      <a:pt x="334" y="448"/>
                    </a:lnTo>
                    <a:lnTo>
                      <a:pt x="336" y="448"/>
                    </a:lnTo>
                    <a:lnTo>
                      <a:pt x="336" y="444"/>
                    </a:lnTo>
                    <a:lnTo>
                      <a:pt x="334" y="442"/>
                    </a:lnTo>
                    <a:lnTo>
                      <a:pt x="334" y="440"/>
                    </a:lnTo>
                    <a:lnTo>
                      <a:pt x="334" y="438"/>
                    </a:lnTo>
                    <a:lnTo>
                      <a:pt x="334" y="432"/>
                    </a:lnTo>
                    <a:lnTo>
                      <a:pt x="332" y="432"/>
                    </a:lnTo>
                    <a:lnTo>
                      <a:pt x="332" y="430"/>
                    </a:lnTo>
                    <a:lnTo>
                      <a:pt x="334" y="430"/>
                    </a:lnTo>
                    <a:lnTo>
                      <a:pt x="334" y="428"/>
                    </a:lnTo>
                    <a:lnTo>
                      <a:pt x="336" y="428"/>
                    </a:lnTo>
                    <a:lnTo>
                      <a:pt x="336" y="426"/>
                    </a:lnTo>
                    <a:lnTo>
                      <a:pt x="334" y="424"/>
                    </a:lnTo>
                    <a:lnTo>
                      <a:pt x="332" y="424"/>
                    </a:lnTo>
                    <a:lnTo>
                      <a:pt x="332" y="418"/>
                    </a:lnTo>
                    <a:lnTo>
                      <a:pt x="334" y="418"/>
                    </a:lnTo>
                    <a:lnTo>
                      <a:pt x="334" y="420"/>
                    </a:lnTo>
                    <a:lnTo>
                      <a:pt x="336" y="420"/>
                    </a:lnTo>
                    <a:lnTo>
                      <a:pt x="338" y="420"/>
                    </a:lnTo>
                    <a:lnTo>
                      <a:pt x="340" y="420"/>
                    </a:lnTo>
                    <a:lnTo>
                      <a:pt x="340" y="418"/>
                    </a:lnTo>
                    <a:lnTo>
                      <a:pt x="340" y="416"/>
                    </a:lnTo>
                    <a:lnTo>
                      <a:pt x="340" y="410"/>
                    </a:lnTo>
                    <a:lnTo>
                      <a:pt x="342" y="410"/>
                    </a:lnTo>
                    <a:lnTo>
                      <a:pt x="344" y="410"/>
                    </a:lnTo>
                    <a:lnTo>
                      <a:pt x="346" y="408"/>
                    </a:lnTo>
                    <a:lnTo>
                      <a:pt x="346" y="406"/>
                    </a:lnTo>
                    <a:lnTo>
                      <a:pt x="346" y="404"/>
                    </a:lnTo>
                    <a:lnTo>
                      <a:pt x="348" y="404"/>
                    </a:lnTo>
                    <a:lnTo>
                      <a:pt x="350" y="406"/>
                    </a:lnTo>
                    <a:lnTo>
                      <a:pt x="352" y="404"/>
                    </a:lnTo>
                    <a:lnTo>
                      <a:pt x="354" y="404"/>
                    </a:lnTo>
                    <a:lnTo>
                      <a:pt x="356" y="404"/>
                    </a:lnTo>
                    <a:lnTo>
                      <a:pt x="354" y="402"/>
                    </a:lnTo>
                    <a:lnTo>
                      <a:pt x="354" y="400"/>
                    </a:lnTo>
                    <a:lnTo>
                      <a:pt x="354" y="398"/>
                    </a:lnTo>
                    <a:lnTo>
                      <a:pt x="356" y="398"/>
                    </a:lnTo>
                    <a:lnTo>
                      <a:pt x="356" y="400"/>
                    </a:lnTo>
                    <a:lnTo>
                      <a:pt x="358" y="400"/>
                    </a:lnTo>
                    <a:lnTo>
                      <a:pt x="358" y="398"/>
                    </a:lnTo>
                    <a:lnTo>
                      <a:pt x="358" y="396"/>
                    </a:lnTo>
                    <a:lnTo>
                      <a:pt x="358" y="394"/>
                    </a:lnTo>
                    <a:lnTo>
                      <a:pt x="360" y="394"/>
                    </a:lnTo>
                    <a:lnTo>
                      <a:pt x="360" y="392"/>
                    </a:lnTo>
                    <a:lnTo>
                      <a:pt x="360" y="394"/>
                    </a:lnTo>
                    <a:lnTo>
                      <a:pt x="362" y="394"/>
                    </a:lnTo>
                    <a:lnTo>
                      <a:pt x="364" y="396"/>
                    </a:lnTo>
                    <a:lnTo>
                      <a:pt x="364" y="398"/>
                    </a:lnTo>
                    <a:lnTo>
                      <a:pt x="366" y="398"/>
                    </a:lnTo>
                    <a:lnTo>
                      <a:pt x="368" y="396"/>
                    </a:lnTo>
                    <a:lnTo>
                      <a:pt x="370" y="396"/>
                    </a:lnTo>
                    <a:lnTo>
                      <a:pt x="372" y="394"/>
                    </a:lnTo>
                    <a:lnTo>
                      <a:pt x="374" y="394"/>
                    </a:lnTo>
                    <a:lnTo>
                      <a:pt x="376" y="392"/>
                    </a:lnTo>
                    <a:lnTo>
                      <a:pt x="378" y="392"/>
                    </a:lnTo>
                    <a:lnTo>
                      <a:pt x="380" y="390"/>
                    </a:lnTo>
                    <a:lnTo>
                      <a:pt x="382" y="390"/>
                    </a:lnTo>
                    <a:lnTo>
                      <a:pt x="382" y="388"/>
                    </a:lnTo>
                    <a:lnTo>
                      <a:pt x="386" y="384"/>
                    </a:lnTo>
                    <a:lnTo>
                      <a:pt x="388" y="382"/>
                    </a:lnTo>
                    <a:lnTo>
                      <a:pt x="388" y="380"/>
                    </a:lnTo>
                    <a:lnTo>
                      <a:pt x="388" y="378"/>
                    </a:lnTo>
                    <a:lnTo>
                      <a:pt x="388" y="374"/>
                    </a:lnTo>
                    <a:lnTo>
                      <a:pt x="388" y="372"/>
                    </a:lnTo>
                    <a:lnTo>
                      <a:pt x="390" y="372"/>
                    </a:lnTo>
                    <a:lnTo>
                      <a:pt x="392" y="374"/>
                    </a:lnTo>
                    <a:lnTo>
                      <a:pt x="394" y="376"/>
                    </a:lnTo>
                    <a:lnTo>
                      <a:pt x="396" y="378"/>
                    </a:lnTo>
                    <a:lnTo>
                      <a:pt x="398" y="378"/>
                    </a:lnTo>
                    <a:lnTo>
                      <a:pt x="400" y="378"/>
                    </a:lnTo>
                    <a:lnTo>
                      <a:pt x="402" y="378"/>
                    </a:lnTo>
                    <a:lnTo>
                      <a:pt x="404" y="376"/>
                    </a:lnTo>
                    <a:lnTo>
                      <a:pt x="406" y="372"/>
                    </a:lnTo>
                    <a:lnTo>
                      <a:pt x="406" y="370"/>
                    </a:lnTo>
                    <a:lnTo>
                      <a:pt x="408" y="368"/>
                    </a:lnTo>
                    <a:lnTo>
                      <a:pt x="410" y="370"/>
                    </a:lnTo>
                    <a:lnTo>
                      <a:pt x="412" y="372"/>
                    </a:lnTo>
                    <a:lnTo>
                      <a:pt x="414" y="372"/>
                    </a:lnTo>
                    <a:lnTo>
                      <a:pt x="416" y="370"/>
                    </a:lnTo>
                    <a:lnTo>
                      <a:pt x="418" y="368"/>
                    </a:lnTo>
                    <a:lnTo>
                      <a:pt x="418" y="366"/>
                    </a:lnTo>
                    <a:lnTo>
                      <a:pt x="420" y="366"/>
                    </a:lnTo>
                    <a:lnTo>
                      <a:pt x="420" y="368"/>
                    </a:lnTo>
                    <a:lnTo>
                      <a:pt x="422" y="370"/>
                    </a:lnTo>
                    <a:lnTo>
                      <a:pt x="424" y="372"/>
                    </a:lnTo>
                    <a:lnTo>
                      <a:pt x="426" y="374"/>
                    </a:lnTo>
                    <a:lnTo>
                      <a:pt x="428" y="376"/>
                    </a:lnTo>
                    <a:lnTo>
                      <a:pt x="430" y="378"/>
                    </a:lnTo>
                    <a:lnTo>
                      <a:pt x="432" y="378"/>
                    </a:lnTo>
                    <a:lnTo>
                      <a:pt x="434" y="376"/>
                    </a:lnTo>
                    <a:lnTo>
                      <a:pt x="436" y="374"/>
                    </a:lnTo>
                    <a:lnTo>
                      <a:pt x="436" y="372"/>
                    </a:lnTo>
                    <a:lnTo>
                      <a:pt x="438" y="370"/>
                    </a:lnTo>
                    <a:lnTo>
                      <a:pt x="440" y="370"/>
                    </a:lnTo>
                    <a:lnTo>
                      <a:pt x="442" y="370"/>
                    </a:lnTo>
                    <a:lnTo>
                      <a:pt x="444" y="374"/>
                    </a:lnTo>
                    <a:lnTo>
                      <a:pt x="446" y="376"/>
                    </a:lnTo>
                    <a:lnTo>
                      <a:pt x="446" y="378"/>
                    </a:lnTo>
                    <a:lnTo>
                      <a:pt x="446" y="380"/>
                    </a:lnTo>
                    <a:lnTo>
                      <a:pt x="446" y="382"/>
                    </a:lnTo>
                    <a:lnTo>
                      <a:pt x="448" y="382"/>
                    </a:lnTo>
                    <a:lnTo>
                      <a:pt x="448" y="384"/>
                    </a:lnTo>
                    <a:lnTo>
                      <a:pt x="452" y="384"/>
                    </a:lnTo>
                    <a:lnTo>
                      <a:pt x="456" y="384"/>
                    </a:lnTo>
                    <a:lnTo>
                      <a:pt x="458" y="386"/>
                    </a:lnTo>
                    <a:lnTo>
                      <a:pt x="458" y="382"/>
                    </a:lnTo>
                    <a:lnTo>
                      <a:pt x="460" y="382"/>
                    </a:lnTo>
                    <a:lnTo>
                      <a:pt x="462" y="384"/>
                    </a:lnTo>
                    <a:lnTo>
                      <a:pt x="464" y="386"/>
                    </a:lnTo>
                    <a:lnTo>
                      <a:pt x="466" y="388"/>
                    </a:lnTo>
                    <a:lnTo>
                      <a:pt x="466" y="386"/>
                    </a:lnTo>
                    <a:lnTo>
                      <a:pt x="468" y="386"/>
                    </a:lnTo>
                    <a:lnTo>
                      <a:pt x="468" y="378"/>
                    </a:lnTo>
                    <a:lnTo>
                      <a:pt x="466" y="378"/>
                    </a:lnTo>
                    <a:lnTo>
                      <a:pt x="466" y="376"/>
                    </a:lnTo>
                    <a:lnTo>
                      <a:pt x="468" y="378"/>
                    </a:lnTo>
                    <a:lnTo>
                      <a:pt x="470" y="378"/>
                    </a:lnTo>
                    <a:lnTo>
                      <a:pt x="472" y="378"/>
                    </a:lnTo>
                    <a:lnTo>
                      <a:pt x="472" y="380"/>
                    </a:lnTo>
                    <a:lnTo>
                      <a:pt x="472" y="382"/>
                    </a:lnTo>
                    <a:lnTo>
                      <a:pt x="474" y="382"/>
                    </a:lnTo>
                    <a:lnTo>
                      <a:pt x="474" y="384"/>
                    </a:lnTo>
                    <a:lnTo>
                      <a:pt x="478" y="384"/>
                    </a:lnTo>
                    <a:lnTo>
                      <a:pt x="478" y="386"/>
                    </a:lnTo>
                    <a:lnTo>
                      <a:pt x="480" y="386"/>
                    </a:lnTo>
                    <a:lnTo>
                      <a:pt x="482" y="388"/>
                    </a:lnTo>
                    <a:lnTo>
                      <a:pt x="484" y="388"/>
                    </a:lnTo>
                    <a:lnTo>
                      <a:pt x="484" y="386"/>
                    </a:lnTo>
                    <a:lnTo>
                      <a:pt x="484" y="384"/>
                    </a:lnTo>
                    <a:lnTo>
                      <a:pt x="480" y="380"/>
                    </a:lnTo>
                    <a:lnTo>
                      <a:pt x="478" y="380"/>
                    </a:lnTo>
                    <a:lnTo>
                      <a:pt x="476" y="378"/>
                    </a:lnTo>
                    <a:lnTo>
                      <a:pt x="476" y="376"/>
                    </a:lnTo>
                    <a:lnTo>
                      <a:pt x="478" y="374"/>
                    </a:lnTo>
                    <a:lnTo>
                      <a:pt x="480" y="374"/>
                    </a:lnTo>
                    <a:lnTo>
                      <a:pt x="482" y="374"/>
                    </a:lnTo>
                    <a:lnTo>
                      <a:pt x="482" y="370"/>
                    </a:lnTo>
                    <a:lnTo>
                      <a:pt x="480" y="368"/>
                    </a:lnTo>
                    <a:lnTo>
                      <a:pt x="476" y="368"/>
                    </a:lnTo>
                    <a:lnTo>
                      <a:pt x="470" y="368"/>
                    </a:lnTo>
                    <a:lnTo>
                      <a:pt x="468" y="368"/>
                    </a:lnTo>
                    <a:lnTo>
                      <a:pt x="466" y="368"/>
                    </a:lnTo>
                    <a:lnTo>
                      <a:pt x="466" y="364"/>
                    </a:lnTo>
                    <a:lnTo>
                      <a:pt x="470" y="362"/>
                    </a:lnTo>
                    <a:lnTo>
                      <a:pt x="472" y="362"/>
                    </a:lnTo>
                    <a:lnTo>
                      <a:pt x="474" y="364"/>
                    </a:lnTo>
                    <a:lnTo>
                      <a:pt x="476" y="364"/>
                    </a:lnTo>
                    <a:lnTo>
                      <a:pt x="478" y="364"/>
                    </a:lnTo>
                    <a:lnTo>
                      <a:pt x="484" y="364"/>
                    </a:lnTo>
                    <a:lnTo>
                      <a:pt x="486" y="364"/>
                    </a:lnTo>
                    <a:lnTo>
                      <a:pt x="488" y="362"/>
                    </a:lnTo>
                    <a:lnTo>
                      <a:pt x="490" y="360"/>
                    </a:lnTo>
                    <a:lnTo>
                      <a:pt x="492" y="360"/>
                    </a:lnTo>
                    <a:lnTo>
                      <a:pt x="496" y="360"/>
                    </a:lnTo>
                    <a:lnTo>
                      <a:pt x="504" y="360"/>
                    </a:lnTo>
                    <a:lnTo>
                      <a:pt x="506" y="360"/>
                    </a:lnTo>
                    <a:lnTo>
                      <a:pt x="506" y="358"/>
                    </a:lnTo>
                    <a:lnTo>
                      <a:pt x="508" y="356"/>
                    </a:lnTo>
                    <a:lnTo>
                      <a:pt x="508" y="354"/>
                    </a:lnTo>
                    <a:lnTo>
                      <a:pt x="510" y="352"/>
                    </a:lnTo>
                    <a:lnTo>
                      <a:pt x="510" y="356"/>
                    </a:lnTo>
                    <a:lnTo>
                      <a:pt x="510" y="362"/>
                    </a:lnTo>
                    <a:lnTo>
                      <a:pt x="512" y="362"/>
                    </a:lnTo>
                    <a:lnTo>
                      <a:pt x="514" y="360"/>
                    </a:lnTo>
                    <a:lnTo>
                      <a:pt x="516" y="360"/>
                    </a:lnTo>
                    <a:lnTo>
                      <a:pt x="520" y="360"/>
                    </a:lnTo>
                    <a:lnTo>
                      <a:pt x="522" y="360"/>
                    </a:lnTo>
                    <a:lnTo>
                      <a:pt x="524" y="358"/>
                    </a:lnTo>
                    <a:lnTo>
                      <a:pt x="526" y="358"/>
                    </a:lnTo>
                    <a:lnTo>
                      <a:pt x="528" y="360"/>
                    </a:lnTo>
                    <a:lnTo>
                      <a:pt x="532" y="362"/>
                    </a:lnTo>
                    <a:lnTo>
                      <a:pt x="532" y="360"/>
                    </a:lnTo>
                    <a:lnTo>
                      <a:pt x="532" y="358"/>
                    </a:lnTo>
                    <a:lnTo>
                      <a:pt x="534" y="358"/>
                    </a:lnTo>
                    <a:lnTo>
                      <a:pt x="536" y="360"/>
                    </a:lnTo>
                    <a:lnTo>
                      <a:pt x="536" y="362"/>
                    </a:lnTo>
                    <a:lnTo>
                      <a:pt x="538" y="362"/>
                    </a:lnTo>
                    <a:lnTo>
                      <a:pt x="538" y="364"/>
                    </a:lnTo>
                    <a:lnTo>
                      <a:pt x="540" y="364"/>
                    </a:lnTo>
                    <a:lnTo>
                      <a:pt x="542" y="364"/>
                    </a:lnTo>
                    <a:lnTo>
                      <a:pt x="542" y="362"/>
                    </a:lnTo>
                    <a:lnTo>
                      <a:pt x="544" y="362"/>
                    </a:lnTo>
                    <a:lnTo>
                      <a:pt x="544" y="364"/>
                    </a:lnTo>
                    <a:lnTo>
                      <a:pt x="544" y="370"/>
                    </a:lnTo>
                    <a:lnTo>
                      <a:pt x="544" y="372"/>
                    </a:lnTo>
                    <a:lnTo>
                      <a:pt x="546" y="374"/>
                    </a:lnTo>
                    <a:lnTo>
                      <a:pt x="548" y="376"/>
                    </a:lnTo>
                    <a:lnTo>
                      <a:pt x="550" y="376"/>
                    </a:lnTo>
                    <a:lnTo>
                      <a:pt x="552" y="374"/>
                    </a:lnTo>
                    <a:lnTo>
                      <a:pt x="556" y="374"/>
                    </a:lnTo>
                    <a:lnTo>
                      <a:pt x="558" y="372"/>
                    </a:lnTo>
                    <a:lnTo>
                      <a:pt x="558" y="370"/>
                    </a:lnTo>
                    <a:lnTo>
                      <a:pt x="560" y="368"/>
                    </a:lnTo>
                    <a:lnTo>
                      <a:pt x="562" y="366"/>
                    </a:lnTo>
                    <a:lnTo>
                      <a:pt x="566" y="366"/>
                    </a:lnTo>
                    <a:lnTo>
                      <a:pt x="568" y="366"/>
                    </a:lnTo>
                    <a:lnTo>
                      <a:pt x="570" y="368"/>
                    </a:lnTo>
                    <a:lnTo>
                      <a:pt x="572" y="368"/>
                    </a:lnTo>
                    <a:lnTo>
                      <a:pt x="574" y="372"/>
                    </a:lnTo>
                    <a:lnTo>
                      <a:pt x="574" y="374"/>
                    </a:lnTo>
                    <a:lnTo>
                      <a:pt x="576" y="376"/>
                    </a:lnTo>
                    <a:lnTo>
                      <a:pt x="576" y="380"/>
                    </a:lnTo>
                    <a:lnTo>
                      <a:pt x="576" y="382"/>
                    </a:lnTo>
                    <a:lnTo>
                      <a:pt x="578" y="382"/>
                    </a:lnTo>
                    <a:lnTo>
                      <a:pt x="580" y="384"/>
                    </a:lnTo>
                    <a:lnTo>
                      <a:pt x="582" y="384"/>
                    </a:lnTo>
                    <a:lnTo>
                      <a:pt x="584" y="384"/>
                    </a:lnTo>
                    <a:lnTo>
                      <a:pt x="588" y="384"/>
                    </a:lnTo>
                    <a:lnTo>
                      <a:pt x="586" y="386"/>
                    </a:lnTo>
                    <a:lnTo>
                      <a:pt x="586" y="394"/>
                    </a:lnTo>
                    <a:lnTo>
                      <a:pt x="584" y="396"/>
                    </a:lnTo>
                    <a:lnTo>
                      <a:pt x="582" y="400"/>
                    </a:lnTo>
                    <a:lnTo>
                      <a:pt x="582" y="402"/>
                    </a:lnTo>
                    <a:lnTo>
                      <a:pt x="580" y="406"/>
                    </a:lnTo>
                    <a:lnTo>
                      <a:pt x="582" y="408"/>
                    </a:lnTo>
                    <a:lnTo>
                      <a:pt x="584" y="410"/>
                    </a:lnTo>
                    <a:lnTo>
                      <a:pt x="586" y="412"/>
                    </a:lnTo>
                    <a:lnTo>
                      <a:pt x="584" y="414"/>
                    </a:lnTo>
                    <a:lnTo>
                      <a:pt x="582" y="416"/>
                    </a:lnTo>
                    <a:lnTo>
                      <a:pt x="580" y="418"/>
                    </a:lnTo>
                    <a:lnTo>
                      <a:pt x="580" y="420"/>
                    </a:lnTo>
                    <a:lnTo>
                      <a:pt x="582" y="422"/>
                    </a:lnTo>
                    <a:lnTo>
                      <a:pt x="582" y="424"/>
                    </a:lnTo>
                    <a:lnTo>
                      <a:pt x="582" y="428"/>
                    </a:lnTo>
                    <a:lnTo>
                      <a:pt x="584" y="428"/>
                    </a:lnTo>
                    <a:lnTo>
                      <a:pt x="584" y="430"/>
                    </a:lnTo>
                    <a:lnTo>
                      <a:pt x="584" y="428"/>
                    </a:lnTo>
                    <a:lnTo>
                      <a:pt x="586" y="428"/>
                    </a:lnTo>
                    <a:lnTo>
                      <a:pt x="586" y="426"/>
                    </a:lnTo>
                    <a:lnTo>
                      <a:pt x="588" y="426"/>
                    </a:lnTo>
                    <a:lnTo>
                      <a:pt x="590" y="424"/>
                    </a:lnTo>
                    <a:lnTo>
                      <a:pt x="590" y="428"/>
                    </a:lnTo>
                    <a:lnTo>
                      <a:pt x="588" y="432"/>
                    </a:lnTo>
                    <a:lnTo>
                      <a:pt x="586" y="434"/>
                    </a:lnTo>
                    <a:lnTo>
                      <a:pt x="586" y="436"/>
                    </a:lnTo>
                    <a:lnTo>
                      <a:pt x="588" y="436"/>
                    </a:lnTo>
                    <a:lnTo>
                      <a:pt x="588" y="434"/>
                    </a:lnTo>
                    <a:lnTo>
                      <a:pt x="590" y="434"/>
                    </a:lnTo>
                    <a:lnTo>
                      <a:pt x="590" y="438"/>
                    </a:lnTo>
                    <a:lnTo>
                      <a:pt x="590" y="442"/>
                    </a:lnTo>
                    <a:lnTo>
                      <a:pt x="590" y="446"/>
                    </a:lnTo>
                    <a:lnTo>
                      <a:pt x="594" y="446"/>
                    </a:lnTo>
                    <a:lnTo>
                      <a:pt x="594" y="448"/>
                    </a:lnTo>
                    <a:lnTo>
                      <a:pt x="596" y="448"/>
                    </a:lnTo>
                    <a:lnTo>
                      <a:pt x="596" y="456"/>
                    </a:lnTo>
                    <a:lnTo>
                      <a:pt x="598" y="458"/>
                    </a:lnTo>
                    <a:lnTo>
                      <a:pt x="598" y="460"/>
                    </a:lnTo>
                    <a:lnTo>
                      <a:pt x="600" y="460"/>
                    </a:lnTo>
                    <a:lnTo>
                      <a:pt x="600" y="462"/>
                    </a:lnTo>
                    <a:lnTo>
                      <a:pt x="602" y="462"/>
                    </a:lnTo>
                    <a:lnTo>
                      <a:pt x="604" y="462"/>
                    </a:lnTo>
                    <a:lnTo>
                      <a:pt x="606" y="460"/>
                    </a:lnTo>
                    <a:lnTo>
                      <a:pt x="608" y="460"/>
                    </a:lnTo>
                    <a:lnTo>
                      <a:pt x="610" y="458"/>
                    </a:lnTo>
                    <a:lnTo>
                      <a:pt x="610" y="456"/>
                    </a:lnTo>
                    <a:lnTo>
                      <a:pt x="612" y="454"/>
                    </a:lnTo>
                    <a:lnTo>
                      <a:pt x="612" y="452"/>
                    </a:lnTo>
                    <a:lnTo>
                      <a:pt x="616" y="452"/>
                    </a:lnTo>
                    <a:lnTo>
                      <a:pt x="616" y="448"/>
                    </a:lnTo>
                    <a:lnTo>
                      <a:pt x="616" y="446"/>
                    </a:lnTo>
                    <a:lnTo>
                      <a:pt x="616" y="442"/>
                    </a:lnTo>
                    <a:lnTo>
                      <a:pt x="618" y="442"/>
                    </a:lnTo>
                    <a:lnTo>
                      <a:pt x="618" y="440"/>
                    </a:lnTo>
                    <a:lnTo>
                      <a:pt x="620" y="436"/>
                    </a:lnTo>
                    <a:lnTo>
                      <a:pt x="622" y="432"/>
                    </a:lnTo>
                    <a:lnTo>
                      <a:pt x="622" y="426"/>
                    </a:lnTo>
                    <a:lnTo>
                      <a:pt x="620" y="424"/>
                    </a:lnTo>
                    <a:lnTo>
                      <a:pt x="620" y="422"/>
                    </a:lnTo>
                    <a:lnTo>
                      <a:pt x="620" y="420"/>
                    </a:lnTo>
                    <a:lnTo>
                      <a:pt x="618" y="414"/>
                    </a:lnTo>
                    <a:lnTo>
                      <a:pt x="616" y="412"/>
                    </a:lnTo>
                    <a:lnTo>
                      <a:pt x="616" y="406"/>
                    </a:lnTo>
                    <a:lnTo>
                      <a:pt x="618" y="402"/>
                    </a:lnTo>
                    <a:lnTo>
                      <a:pt x="618" y="398"/>
                    </a:lnTo>
                    <a:lnTo>
                      <a:pt x="618" y="392"/>
                    </a:lnTo>
                    <a:lnTo>
                      <a:pt x="618" y="388"/>
                    </a:lnTo>
                    <a:lnTo>
                      <a:pt x="616" y="386"/>
                    </a:lnTo>
                    <a:lnTo>
                      <a:pt x="616" y="384"/>
                    </a:lnTo>
                    <a:lnTo>
                      <a:pt x="614" y="382"/>
                    </a:lnTo>
                    <a:lnTo>
                      <a:pt x="612" y="378"/>
                    </a:lnTo>
                    <a:lnTo>
                      <a:pt x="612" y="372"/>
                    </a:lnTo>
                    <a:lnTo>
                      <a:pt x="614" y="368"/>
                    </a:lnTo>
                    <a:lnTo>
                      <a:pt x="614" y="364"/>
                    </a:lnTo>
                    <a:lnTo>
                      <a:pt x="612" y="362"/>
                    </a:lnTo>
                    <a:lnTo>
                      <a:pt x="614" y="358"/>
                    </a:lnTo>
                    <a:lnTo>
                      <a:pt x="614" y="354"/>
                    </a:lnTo>
                    <a:lnTo>
                      <a:pt x="614" y="352"/>
                    </a:lnTo>
                    <a:lnTo>
                      <a:pt x="616" y="350"/>
                    </a:lnTo>
                    <a:lnTo>
                      <a:pt x="618" y="346"/>
                    </a:lnTo>
                    <a:lnTo>
                      <a:pt x="618" y="344"/>
                    </a:lnTo>
                    <a:lnTo>
                      <a:pt x="620" y="342"/>
                    </a:lnTo>
                    <a:lnTo>
                      <a:pt x="620" y="340"/>
                    </a:lnTo>
                    <a:lnTo>
                      <a:pt x="622" y="338"/>
                    </a:lnTo>
                    <a:lnTo>
                      <a:pt x="622" y="336"/>
                    </a:lnTo>
                    <a:lnTo>
                      <a:pt x="624" y="336"/>
                    </a:lnTo>
                    <a:lnTo>
                      <a:pt x="624" y="334"/>
                    </a:lnTo>
                    <a:lnTo>
                      <a:pt x="626" y="334"/>
                    </a:lnTo>
                    <a:lnTo>
                      <a:pt x="630" y="330"/>
                    </a:lnTo>
                    <a:lnTo>
                      <a:pt x="630" y="328"/>
                    </a:lnTo>
                    <a:lnTo>
                      <a:pt x="632" y="326"/>
                    </a:lnTo>
                    <a:lnTo>
                      <a:pt x="632" y="324"/>
                    </a:lnTo>
                    <a:lnTo>
                      <a:pt x="632" y="322"/>
                    </a:lnTo>
                    <a:lnTo>
                      <a:pt x="634" y="324"/>
                    </a:lnTo>
                    <a:lnTo>
                      <a:pt x="636" y="324"/>
                    </a:lnTo>
                    <a:lnTo>
                      <a:pt x="636" y="322"/>
                    </a:lnTo>
                    <a:lnTo>
                      <a:pt x="638" y="320"/>
                    </a:lnTo>
                    <a:lnTo>
                      <a:pt x="640" y="320"/>
                    </a:lnTo>
                    <a:lnTo>
                      <a:pt x="644" y="320"/>
                    </a:lnTo>
                    <a:lnTo>
                      <a:pt x="646" y="320"/>
                    </a:lnTo>
                    <a:lnTo>
                      <a:pt x="648" y="320"/>
                    </a:lnTo>
                    <a:lnTo>
                      <a:pt x="650" y="320"/>
                    </a:lnTo>
                    <a:lnTo>
                      <a:pt x="650" y="318"/>
                    </a:lnTo>
                    <a:lnTo>
                      <a:pt x="652" y="316"/>
                    </a:lnTo>
                    <a:lnTo>
                      <a:pt x="652" y="314"/>
                    </a:lnTo>
                    <a:lnTo>
                      <a:pt x="650" y="314"/>
                    </a:lnTo>
                    <a:lnTo>
                      <a:pt x="650" y="312"/>
                    </a:lnTo>
                    <a:lnTo>
                      <a:pt x="654" y="312"/>
                    </a:lnTo>
                    <a:lnTo>
                      <a:pt x="656" y="312"/>
                    </a:lnTo>
                    <a:lnTo>
                      <a:pt x="660" y="312"/>
                    </a:lnTo>
                    <a:lnTo>
                      <a:pt x="662" y="308"/>
                    </a:lnTo>
                    <a:lnTo>
                      <a:pt x="664" y="306"/>
                    </a:lnTo>
                    <a:lnTo>
                      <a:pt x="666" y="304"/>
                    </a:lnTo>
                    <a:lnTo>
                      <a:pt x="666" y="302"/>
                    </a:lnTo>
                    <a:lnTo>
                      <a:pt x="668" y="302"/>
                    </a:lnTo>
                    <a:lnTo>
                      <a:pt x="668" y="300"/>
                    </a:lnTo>
                    <a:lnTo>
                      <a:pt x="670" y="298"/>
                    </a:lnTo>
                    <a:lnTo>
                      <a:pt x="670" y="296"/>
                    </a:lnTo>
                    <a:lnTo>
                      <a:pt x="672" y="296"/>
                    </a:lnTo>
                    <a:lnTo>
                      <a:pt x="676" y="294"/>
                    </a:lnTo>
                    <a:lnTo>
                      <a:pt x="678" y="294"/>
                    </a:lnTo>
                    <a:lnTo>
                      <a:pt x="682" y="294"/>
                    </a:lnTo>
                    <a:lnTo>
                      <a:pt x="686" y="294"/>
                    </a:lnTo>
                    <a:lnTo>
                      <a:pt x="688" y="294"/>
                    </a:lnTo>
                    <a:lnTo>
                      <a:pt x="690" y="292"/>
                    </a:lnTo>
                    <a:lnTo>
                      <a:pt x="690" y="290"/>
                    </a:lnTo>
                    <a:lnTo>
                      <a:pt x="692" y="288"/>
                    </a:lnTo>
                    <a:lnTo>
                      <a:pt x="694" y="286"/>
                    </a:lnTo>
                    <a:lnTo>
                      <a:pt x="694" y="284"/>
                    </a:lnTo>
                    <a:lnTo>
                      <a:pt x="698" y="284"/>
                    </a:lnTo>
                    <a:lnTo>
                      <a:pt x="698" y="286"/>
                    </a:lnTo>
                    <a:lnTo>
                      <a:pt x="698" y="284"/>
                    </a:lnTo>
                    <a:lnTo>
                      <a:pt x="698" y="282"/>
                    </a:lnTo>
                    <a:lnTo>
                      <a:pt x="700" y="280"/>
                    </a:lnTo>
                    <a:lnTo>
                      <a:pt x="706" y="280"/>
                    </a:lnTo>
                    <a:lnTo>
                      <a:pt x="708" y="278"/>
                    </a:lnTo>
                    <a:lnTo>
                      <a:pt x="718" y="278"/>
                    </a:lnTo>
                    <a:lnTo>
                      <a:pt x="720" y="276"/>
                    </a:lnTo>
                    <a:lnTo>
                      <a:pt x="720" y="272"/>
                    </a:lnTo>
                    <a:lnTo>
                      <a:pt x="712" y="272"/>
                    </a:lnTo>
                    <a:lnTo>
                      <a:pt x="712" y="274"/>
                    </a:lnTo>
                    <a:lnTo>
                      <a:pt x="710" y="274"/>
                    </a:lnTo>
                    <a:lnTo>
                      <a:pt x="712" y="272"/>
                    </a:lnTo>
                    <a:lnTo>
                      <a:pt x="714" y="272"/>
                    </a:lnTo>
                    <a:lnTo>
                      <a:pt x="714" y="270"/>
                    </a:lnTo>
                    <a:lnTo>
                      <a:pt x="716" y="270"/>
                    </a:lnTo>
                    <a:lnTo>
                      <a:pt x="716" y="268"/>
                    </a:lnTo>
                    <a:lnTo>
                      <a:pt x="714" y="266"/>
                    </a:lnTo>
                    <a:lnTo>
                      <a:pt x="712" y="264"/>
                    </a:lnTo>
                    <a:lnTo>
                      <a:pt x="714" y="264"/>
                    </a:lnTo>
                    <a:lnTo>
                      <a:pt x="720" y="264"/>
                    </a:lnTo>
                    <a:lnTo>
                      <a:pt x="720" y="262"/>
                    </a:lnTo>
                    <a:lnTo>
                      <a:pt x="722" y="264"/>
                    </a:lnTo>
                    <a:lnTo>
                      <a:pt x="724" y="264"/>
                    </a:lnTo>
                    <a:lnTo>
                      <a:pt x="726" y="264"/>
                    </a:lnTo>
                    <a:lnTo>
                      <a:pt x="726" y="266"/>
                    </a:lnTo>
                    <a:lnTo>
                      <a:pt x="728" y="262"/>
                    </a:lnTo>
                    <a:lnTo>
                      <a:pt x="730" y="260"/>
                    </a:lnTo>
                    <a:lnTo>
                      <a:pt x="732" y="258"/>
                    </a:lnTo>
                    <a:lnTo>
                      <a:pt x="734" y="256"/>
                    </a:lnTo>
                    <a:lnTo>
                      <a:pt x="726" y="256"/>
                    </a:lnTo>
                    <a:lnTo>
                      <a:pt x="724" y="256"/>
                    </a:lnTo>
                    <a:lnTo>
                      <a:pt x="720" y="256"/>
                    </a:lnTo>
                    <a:lnTo>
                      <a:pt x="720" y="250"/>
                    </a:lnTo>
                    <a:lnTo>
                      <a:pt x="722" y="250"/>
                    </a:lnTo>
                    <a:lnTo>
                      <a:pt x="722" y="252"/>
                    </a:lnTo>
                    <a:lnTo>
                      <a:pt x="726" y="252"/>
                    </a:lnTo>
                    <a:lnTo>
                      <a:pt x="728" y="250"/>
                    </a:lnTo>
                    <a:lnTo>
                      <a:pt x="730" y="250"/>
                    </a:lnTo>
                    <a:lnTo>
                      <a:pt x="732" y="250"/>
                    </a:lnTo>
                    <a:lnTo>
                      <a:pt x="734" y="248"/>
                    </a:lnTo>
                    <a:lnTo>
                      <a:pt x="734" y="244"/>
                    </a:lnTo>
                    <a:lnTo>
                      <a:pt x="734" y="242"/>
                    </a:lnTo>
                    <a:lnTo>
                      <a:pt x="734" y="236"/>
                    </a:lnTo>
                    <a:lnTo>
                      <a:pt x="732" y="236"/>
                    </a:lnTo>
                    <a:lnTo>
                      <a:pt x="730" y="236"/>
                    </a:lnTo>
                    <a:lnTo>
                      <a:pt x="730" y="238"/>
                    </a:lnTo>
                    <a:lnTo>
                      <a:pt x="728" y="238"/>
                    </a:lnTo>
                    <a:lnTo>
                      <a:pt x="728" y="236"/>
                    </a:lnTo>
                    <a:lnTo>
                      <a:pt x="726" y="234"/>
                    </a:lnTo>
                    <a:lnTo>
                      <a:pt x="726" y="232"/>
                    </a:lnTo>
                    <a:lnTo>
                      <a:pt x="726" y="230"/>
                    </a:lnTo>
                    <a:lnTo>
                      <a:pt x="724" y="230"/>
                    </a:lnTo>
                    <a:lnTo>
                      <a:pt x="722" y="228"/>
                    </a:lnTo>
                    <a:lnTo>
                      <a:pt x="724" y="228"/>
                    </a:lnTo>
                    <a:lnTo>
                      <a:pt x="724" y="230"/>
                    </a:lnTo>
                    <a:lnTo>
                      <a:pt x="726" y="230"/>
                    </a:lnTo>
                    <a:lnTo>
                      <a:pt x="728" y="232"/>
                    </a:lnTo>
                    <a:lnTo>
                      <a:pt x="730" y="232"/>
                    </a:lnTo>
                    <a:lnTo>
                      <a:pt x="730" y="234"/>
                    </a:lnTo>
                    <a:lnTo>
                      <a:pt x="732" y="232"/>
                    </a:lnTo>
                    <a:lnTo>
                      <a:pt x="734" y="232"/>
                    </a:lnTo>
                    <a:lnTo>
                      <a:pt x="734" y="230"/>
                    </a:lnTo>
                    <a:lnTo>
                      <a:pt x="732" y="230"/>
                    </a:lnTo>
                    <a:lnTo>
                      <a:pt x="730" y="228"/>
                    </a:lnTo>
                    <a:lnTo>
                      <a:pt x="736" y="228"/>
                    </a:lnTo>
                    <a:lnTo>
                      <a:pt x="736" y="226"/>
                    </a:lnTo>
                    <a:lnTo>
                      <a:pt x="734" y="226"/>
                    </a:lnTo>
                    <a:lnTo>
                      <a:pt x="732" y="224"/>
                    </a:lnTo>
                    <a:lnTo>
                      <a:pt x="732" y="222"/>
                    </a:lnTo>
                    <a:lnTo>
                      <a:pt x="730" y="220"/>
                    </a:lnTo>
                    <a:lnTo>
                      <a:pt x="728" y="218"/>
                    </a:lnTo>
                    <a:lnTo>
                      <a:pt x="728" y="216"/>
                    </a:lnTo>
                    <a:lnTo>
                      <a:pt x="728" y="212"/>
                    </a:lnTo>
                    <a:lnTo>
                      <a:pt x="730" y="210"/>
                    </a:lnTo>
                    <a:lnTo>
                      <a:pt x="728" y="210"/>
                    </a:lnTo>
                    <a:lnTo>
                      <a:pt x="726" y="208"/>
                    </a:lnTo>
                    <a:lnTo>
                      <a:pt x="724" y="206"/>
                    </a:lnTo>
                    <a:lnTo>
                      <a:pt x="726" y="206"/>
                    </a:lnTo>
                    <a:lnTo>
                      <a:pt x="728" y="202"/>
                    </a:lnTo>
                    <a:lnTo>
                      <a:pt x="730" y="202"/>
                    </a:lnTo>
                    <a:lnTo>
                      <a:pt x="730" y="200"/>
                    </a:lnTo>
                    <a:lnTo>
                      <a:pt x="732" y="200"/>
                    </a:lnTo>
                    <a:lnTo>
                      <a:pt x="730" y="202"/>
                    </a:lnTo>
                    <a:lnTo>
                      <a:pt x="730" y="204"/>
                    </a:lnTo>
                    <a:lnTo>
                      <a:pt x="730" y="206"/>
                    </a:lnTo>
                    <a:lnTo>
                      <a:pt x="732" y="208"/>
                    </a:lnTo>
                    <a:lnTo>
                      <a:pt x="734" y="210"/>
                    </a:lnTo>
                    <a:lnTo>
                      <a:pt x="736" y="212"/>
                    </a:lnTo>
                    <a:lnTo>
                      <a:pt x="738" y="214"/>
                    </a:lnTo>
                    <a:lnTo>
                      <a:pt x="738" y="212"/>
                    </a:lnTo>
                    <a:lnTo>
                      <a:pt x="738" y="210"/>
                    </a:lnTo>
                    <a:lnTo>
                      <a:pt x="738" y="208"/>
                    </a:lnTo>
                    <a:lnTo>
                      <a:pt x="740" y="204"/>
                    </a:lnTo>
                    <a:lnTo>
                      <a:pt x="740" y="202"/>
                    </a:lnTo>
                    <a:lnTo>
                      <a:pt x="740" y="198"/>
                    </a:lnTo>
                    <a:lnTo>
                      <a:pt x="742" y="194"/>
                    </a:lnTo>
                    <a:lnTo>
                      <a:pt x="748" y="188"/>
                    </a:lnTo>
                    <a:lnTo>
                      <a:pt x="752" y="188"/>
                    </a:lnTo>
                    <a:lnTo>
                      <a:pt x="752" y="186"/>
                    </a:lnTo>
                    <a:lnTo>
                      <a:pt x="754" y="186"/>
                    </a:lnTo>
                    <a:lnTo>
                      <a:pt x="752" y="188"/>
                    </a:lnTo>
                    <a:lnTo>
                      <a:pt x="752" y="190"/>
                    </a:lnTo>
                    <a:lnTo>
                      <a:pt x="750" y="194"/>
                    </a:lnTo>
                    <a:lnTo>
                      <a:pt x="748" y="194"/>
                    </a:lnTo>
                    <a:lnTo>
                      <a:pt x="748" y="198"/>
                    </a:lnTo>
                    <a:lnTo>
                      <a:pt x="746" y="200"/>
                    </a:lnTo>
                    <a:lnTo>
                      <a:pt x="746" y="202"/>
                    </a:lnTo>
                    <a:lnTo>
                      <a:pt x="744" y="206"/>
                    </a:lnTo>
                    <a:lnTo>
                      <a:pt x="744" y="208"/>
                    </a:lnTo>
                    <a:lnTo>
                      <a:pt x="742" y="210"/>
                    </a:lnTo>
                    <a:lnTo>
                      <a:pt x="748" y="210"/>
                    </a:lnTo>
                    <a:lnTo>
                      <a:pt x="748" y="212"/>
                    </a:lnTo>
                    <a:lnTo>
                      <a:pt x="746" y="214"/>
                    </a:lnTo>
                    <a:lnTo>
                      <a:pt x="746" y="216"/>
                    </a:lnTo>
                    <a:lnTo>
                      <a:pt x="746" y="218"/>
                    </a:lnTo>
                    <a:lnTo>
                      <a:pt x="744" y="218"/>
                    </a:lnTo>
                    <a:lnTo>
                      <a:pt x="744" y="220"/>
                    </a:lnTo>
                    <a:lnTo>
                      <a:pt x="742" y="222"/>
                    </a:lnTo>
                    <a:lnTo>
                      <a:pt x="742" y="224"/>
                    </a:lnTo>
                    <a:lnTo>
                      <a:pt x="740" y="226"/>
                    </a:lnTo>
                    <a:lnTo>
                      <a:pt x="740" y="228"/>
                    </a:lnTo>
                    <a:lnTo>
                      <a:pt x="738" y="230"/>
                    </a:lnTo>
                    <a:lnTo>
                      <a:pt x="738" y="232"/>
                    </a:lnTo>
                    <a:lnTo>
                      <a:pt x="740" y="232"/>
                    </a:lnTo>
                    <a:lnTo>
                      <a:pt x="742" y="230"/>
                    </a:lnTo>
                    <a:lnTo>
                      <a:pt x="744" y="228"/>
                    </a:lnTo>
                    <a:lnTo>
                      <a:pt x="744" y="226"/>
                    </a:lnTo>
                    <a:lnTo>
                      <a:pt x="746" y="224"/>
                    </a:lnTo>
                    <a:lnTo>
                      <a:pt x="746" y="222"/>
                    </a:lnTo>
                    <a:lnTo>
                      <a:pt x="748" y="220"/>
                    </a:lnTo>
                    <a:lnTo>
                      <a:pt x="750" y="220"/>
                    </a:lnTo>
                    <a:lnTo>
                      <a:pt x="752" y="218"/>
                    </a:lnTo>
                    <a:lnTo>
                      <a:pt x="754" y="218"/>
                    </a:lnTo>
                    <a:lnTo>
                      <a:pt x="756" y="216"/>
                    </a:lnTo>
                    <a:lnTo>
                      <a:pt x="758" y="214"/>
                    </a:lnTo>
                    <a:lnTo>
                      <a:pt x="760" y="212"/>
                    </a:lnTo>
                    <a:lnTo>
                      <a:pt x="760" y="210"/>
                    </a:lnTo>
                    <a:lnTo>
                      <a:pt x="760" y="202"/>
                    </a:lnTo>
                    <a:lnTo>
                      <a:pt x="760" y="198"/>
                    </a:lnTo>
                    <a:lnTo>
                      <a:pt x="760" y="192"/>
                    </a:lnTo>
                    <a:lnTo>
                      <a:pt x="760" y="190"/>
                    </a:lnTo>
                    <a:lnTo>
                      <a:pt x="760" y="186"/>
                    </a:lnTo>
                    <a:lnTo>
                      <a:pt x="762" y="182"/>
                    </a:lnTo>
                    <a:lnTo>
                      <a:pt x="762" y="180"/>
                    </a:lnTo>
                    <a:lnTo>
                      <a:pt x="764" y="180"/>
                    </a:lnTo>
                    <a:lnTo>
                      <a:pt x="766" y="180"/>
                    </a:lnTo>
                    <a:lnTo>
                      <a:pt x="764" y="180"/>
                    </a:lnTo>
                    <a:lnTo>
                      <a:pt x="764" y="182"/>
                    </a:lnTo>
                    <a:lnTo>
                      <a:pt x="764" y="184"/>
                    </a:lnTo>
                    <a:lnTo>
                      <a:pt x="764" y="188"/>
                    </a:lnTo>
                    <a:lnTo>
                      <a:pt x="764" y="190"/>
                    </a:lnTo>
                    <a:lnTo>
                      <a:pt x="766" y="192"/>
                    </a:lnTo>
                    <a:lnTo>
                      <a:pt x="766" y="194"/>
                    </a:lnTo>
                    <a:lnTo>
                      <a:pt x="766" y="196"/>
                    </a:lnTo>
                    <a:lnTo>
                      <a:pt x="766" y="200"/>
                    </a:lnTo>
                    <a:lnTo>
                      <a:pt x="768" y="198"/>
                    </a:lnTo>
                    <a:lnTo>
                      <a:pt x="770" y="194"/>
                    </a:lnTo>
                    <a:lnTo>
                      <a:pt x="772" y="194"/>
                    </a:lnTo>
                    <a:lnTo>
                      <a:pt x="774" y="190"/>
                    </a:lnTo>
                    <a:lnTo>
                      <a:pt x="778" y="186"/>
                    </a:lnTo>
                    <a:lnTo>
                      <a:pt x="780" y="184"/>
                    </a:lnTo>
                    <a:lnTo>
                      <a:pt x="782" y="182"/>
                    </a:lnTo>
                    <a:lnTo>
                      <a:pt x="782" y="180"/>
                    </a:lnTo>
                    <a:lnTo>
                      <a:pt x="784" y="180"/>
                    </a:lnTo>
                    <a:lnTo>
                      <a:pt x="788" y="176"/>
                    </a:lnTo>
                    <a:lnTo>
                      <a:pt x="790" y="174"/>
                    </a:lnTo>
                    <a:lnTo>
                      <a:pt x="792" y="174"/>
                    </a:lnTo>
                    <a:lnTo>
                      <a:pt x="792" y="172"/>
                    </a:lnTo>
                    <a:lnTo>
                      <a:pt x="790" y="170"/>
                    </a:lnTo>
                    <a:lnTo>
                      <a:pt x="788" y="170"/>
                    </a:lnTo>
                    <a:lnTo>
                      <a:pt x="788" y="168"/>
                    </a:lnTo>
                    <a:lnTo>
                      <a:pt x="788" y="166"/>
                    </a:lnTo>
                    <a:lnTo>
                      <a:pt x="790" y="166"/>
                    </a:lnTo>
                    <a:lnTo>
                      <a:pt x="794" y="166"/>
                    </a:lnTo>
                    <a:lnTo>
                      <a:pt x="796" y="166"/>
                    </a:lnTo>
                    <a:lnTo>
                      <a:pt x="800" y="166"/>
                    </a:lnTo>
                    <a:lnTo>
                      <a:pt x="804" y="166"/>
                    </a:lnTo>
                    <a:lnTo>
                      <a:pt x="808" y="166"/>
                    </a:lnTo>
                    <a:lnTo>
                      <a:pt x="812" y="164"/>
                    </a:lnTo>
                    <a:lnTo>
                      <a:pt x="816" y="162"/>
                    </a:lnTo>
                    <a:lnTo>
                      <a:pt x="820" y="160"/>
                    </a:lnTo>
                    <a:lnTo>
                      <a:pt x="822" y="160"/>
                    </a:lnTo>
                    <a:lnTo>
                      <a:pt x="822" y="158"/>
                    </a:lnTo>
                    <a:lnTo>
                      <a:pt x="824" y="158"/>
                    </a:lnTo>
                    <a:lnTo>
                      <a:pt x="822" y="158"/>
                    </a:lnTo>
                    <a:lnTo>
                      <a:pt x="822" y="156"/>
                    </a:lnTo>
                    <a:lnTo>
                      <a:pt x="820" y="156"/>
                    </a:lnTo>
                    <a:lnTo>
                      <a:pt x="818" y="156"/>
                    </a:lnTo>
                    <a:lnTo>
                      <a:pt x="818" y="158"/>
                    </a:lnTo>
                    <a:lnTo>
                      <a:pt x="816" y="158"/>
                    </a:lnTo>
                    <a:lnTo>
                      <a:pt x="810" y="160"/>
                    </a:lnTo>
                    <a:lnTo>
                      <a:pt x="808" y="160"/>
                    </a:lnTo>
                    <a:lnTo>
                      <a:pt x="804" y="160"/>
                    </a:lnTo>
                    <a:lnTo>
                      <a:pt x="802" y="162"/>
                    </a:lnTo>
                    <a:lnTo>
                      <a:pt x="796" y="162"/>
                    </a:lnTo>
                    <a:lnTo>
                      <a:pt x="796" y="158"/>
                    </a:lnTo>
                    <a:lnTo>
                      <a:pt x="798" y="158"/>
                    </a:lnTo>
                    <a:lnTo>
                      <a:pt x="798" y="156"/>
                    </a:lnTo>
                    <a:lnTo>
                      <a:pt x="802" y="154"/>
                    </a:lnTo>
                    <a:lnTo>
                      <a:pt x="804" y="154"/>
                    </a:lnTo>
                    <a:lnTo>
                      <a:pt x="806" y="154"/>
                    </a:lnTo>
                    <a:lnTo>
                      <a:pt x="808" y="154"/>
                    </a:lnTo>
                    <a:lnTo>
                      <a:pt x="810" y="152"/>
                    </a:lnTo>
                    <a:lnTo>
                      <a:pt x="832" y="152"/>
                    </a:lnTo>
                    <a:lnTo>
                      <a:pt x="834" y="150"/>
                    </a:lnTo>
                    <a:lnTo>
                      <a:pt x="836" y="150"/>
                    </a:lnTo>
                    <a:lnTo>
                      <a:pt x="838" y="146"/>
                    </a:lnTo>
                    <a:lnTo>
                      <a:pt x="840" y="146"/>
                    </a:lnTo>
                    <a:lnTo>
                      <a:pt x="842" y="144"/>
                    </a:lnTo>
                    <a:lnTo>
                      <a:pt x="844" y="144"/>
                    </a:lnTo>
                    <a:lnTo>
                      <a:pt x="844" y="146"/>
                    </a:lnTo>
                    <a:lnTo>
                      <a:pt x="846" y="146"/>
                    </a:lnTo>
                    <a:lnTo>
                      <a:pt x="848" y="146"/>
                    </a:lnTo>
                    <a:lnTo>
                      <a:pt x="848" y="144"/>
                    </a:lnTo>
                    <a:lnTo>
                      <a:pt x="850" y="144"/>
                    </a:lnTo>
                    <a:lnTo>
                      <a:pt x="850" y="146"/>
                    </a:lnTo>
                    <a:lnTo>
                      <a:pt x="850" y="148"/>
                    </a:lnTo>
                    <a:lnTo>
                      <a:pt x="850" y="152"/>
                    </a:lnTo>
                    <a:lnTo>
                      <a:pt x="852" y="150"/>
                    </a:lnTo>
                    <a:lnTo>
                      <a:pt x="854" y="148"/>
                    </a:lnTo>
                    <a:lnTo>
                      <a:pt x="856" y="148"/>
                    </a:lnTo>
                    <a:lnTo>
                      <a:pt x="856" y="146"/>
                    </a:lnTo>
                    <a:lnTo>
                      <a:pt x="860" y="146"/>
                    </a:lnTo>
                    <a:lnTo>
                      <a:pt x="864" y="146"/>
                    </a:lnTo>
                    <a:lnTo>
                      <a:pt x="864" y="144"/>
                    </a:lnTo>
                    <a:lnTo>
                      <a:pt x="864" y="142"/>
                    </a:lnTo>
                    <a:lnTo>
                      <a:pt x="864" y="138"/>
                    </a:lnTo>
                    <a:lnTo>
                      <a:pt x="864" y="136"/>
                    </a:lnTo>
                    <a:lnTo>
                      <a:pt x="862" y="136"/>
                    </a:lnTo>
                    <a:lnTo>
                      <a:pt x="862" y="134"/>
                    </a:lnTo>
                    <a:lnTo>
                      <a:pt x="862" y="140"/>
                    </a:lnTo>
                    <a:lnTo>
                      <a:pt x="860" y="142"/>
                    </a:lnTo>
                    <a:lnTo>
                      <a:pt x="858" y="142"/>
                    </a:lnTo>
                    <a:lnTo>
                      <a:pt x="856" y="142"/>
                    </a:lnTo>
                    <a:lnTo>
                      <a:pt x="856" y="144"/>
                    </a:lnTo>
                    <a:lnTo>
                      <a:pt x="854" y="144"/>
                    </a:lnTo>
                    <a:lnTo>
                      <a:pt x="854" y="136"/>
                    </a:lnTo>
                    <a:lnTo>
                      <a:pt x="854" y="134"/>
                    </a:lnTo>
                    <a:lnTo>
                      <a:pt x="852" y="132"/>
                    </a:lnTo>
                    <a:lnTo>
                      <a:pt x="850" y="132"/>
                    </a:lnTo>
                    <a:lnTo>
                      <a:pt x="850" y="130"/>
                    </a:lnTo>
                    <a:lnTo>
                      <a:pt x="852" y="130"/>
                    </a:lnTo>
                    <a:lnTo>
                      <a:pt x="854" y="130"/>
                    </a:lnTo>
                    <a:lnTo>
                      <a:pt x="854" y="128"/>
                    </a:lnTo>
                    <a:lnTo>
                      <a:pt x="856" y="128"/>
                    </a:lnTo>
                    <a:lnTo>
                      <a:pt x="856" y="122"/>
                    </a:lnTo>
                    <a:lnTo>
                      <a:pt x="858" y="122"/>
                    </a:lnTo>
                    <a:lnTo>
                      <a:pt x="858" y="120"/>
                    </a:lnTo>
                    <a:lnTo>
                      <a:pt x="860" y="118"/>
                    </a:lnTo>
                    <a:lnTo>
                      <a:pt x="860" y="116"/>
                    </a:lnTo>
                    <a:lnTo>
                      <a:pt x="864" y="114"/>
                    </a:lnTo>
                    <a:lnTo>
                      <a:pt x="866" y="112"/>
                    </a:lnTo>
                    <a:lnTo>
                      <a:pt x="868" y="112"/>
                    </a:lnTo>
                    <a:lnTo>
                      <a:pt x="868" y="110"/>
                    </a:lnTo>
                    <a:lnTo>
                      <a:pt x="870" y="108"/>
                    </a:lnTo>
                    <a:lnTo>
                      <a:pt x="870" y="106"/>
                    </a:lnTo>
                    <a:lnTo>
                      <a:pt x="872" y="104"/>
                    </a:lnTo>
                    <a:lnTo>
                      <a:pt x="874" y="104"/>
                    </a:lnTo>
                    <a:lnTo>
                      <a:pt x="876" y="104"/>
                    </a:lnTo>
                    <a:lnTo>
                      <a:pt x="878" y="106"/>
                    </a:lnTo>
                    <a:lnTo>
                      <a:pt x="880" y="104"/>
                    </a:lnTo>
                    <a:lnTo>
                      <a:pt x="882" y="102"/>
                    </a:lnTo>
                    <a:lnTo>
                      <a:pt x="882" y="100"/>
                    </a:lnTo>
                    <a:lnTo>
                      <a:pt x="884" y="102"/>
                    </a:lnTo>
                    <a:lnTo>
                      <a:pt x="886" y="102"/>
                    </a:lnTo>
                    <a:lnTo>
                      <a:pt x="888" y="100"/>
                    </a:lnTo>
                    <a:lnTo>
                      <a:pt x="890" y="98"/>
                    </a:lnTo>
                    <a:lnTo>
                      <a:pt x="892" y="98"/>
                    </a:lnTo>
                    <a:lnTo>
                      <a:pt x="894" y="96"/>
                    </a:lnTo>
                    <a:lnTo>
                      <a:pt x="896" y="94"/>
                    </a:lnTo>
                    <a:lnTo>
                      <a:pt x="898" y="92"/>
                    </a:lnTo>
                    <a:lnTo>
                      <a:pt x="900" y="92"/>
                    </a:lnTo>
                    <a:lnTo>
                      <a:pt x="900" y="98"/>
                    </a:lnTo>
                    <a:lnTo>
                      <a:pt x="902" y="96"/>
                    </a:lnTo>
                    <a:lnTo>
                      <a:pt x="904" y="96"/>
                    </a:lnTo>
                    <a:lnTo>
                      <a:pt x="906" y="94"/>
                    </a:lnTo>
                    <a:lnTo>
                      <a:pt x="908" y="92"/>
                    </a:lnTo>
                    <a:lnTo>
                      <a:pt x="910" y="92"/>
                    </a:lnTo>
                    <a:lnTo>
                      <a:pt x="912" y="90"/>
                    </a:lnTo>
                    <a:lnTo>
                      <a:pt x="914" y="90"/>
                    </a:lnTo>
                    <a:lnTo>
                      <a:pt x="916" y="88"/>
                    </a:lnTo>
                    <a:lnTo>
                      <a:pt x="918" y="88"/>
                    </a:lnTo>
                    <a:lnTo>
                      <a:pt x="920" y="88"/>
                    </a:lnTo>
                    <a:lnTo>
                      <a:pt x="924" y="88"/>
                    </a:lnTo>
                    <a:lnTo>
                      <a:pt x="926" y="86"/>
                    </a:lnTo>
                    <a:lnTo>
                      <a:pt x="928" y="86"/>
                    </a:lnTo>
                    <a:lnTo>
                      <a:pt x="928" y="78"/>
                    </a:lnTo>
                    <a:lnTo>
                      <a:pt x="924" y="78"/>
                    </a:lnTo>
                    <a:lnTo>
                      <a:pt x="924" y="76"/>
                    </a:lnTo>
                    <a:lnTo>
                      <a:pt x="924" y="74"/>
                    </a:lnTo>
                    <a:lnTo>
                      <a:pt x="926" y="72"/>
                    </a:lnTo>
                    <a:lnTo>
                      <a:pt x="928" y="72"/>
                    </a:lnTo>
                    <a:lnTo>
                      <a:pt x="926" y="70"/>
                    </a:lnTo>
                    <a:lnTo>
                      <a:pt x="924" y="70"/>
                    </a:lnTo>
                    <a:lnTo>
                      <a:pt x="924" y="68"/>
                    </a:lnTo>
                    <a:lnTo>
                      <a:pt x="924" y="66"/>
                    </a:lnTo>
                    <a:lnTo>
                      <a:pt x="924" y="64"/>
                    </a:lnTo>
                    <a:lnTo>
                      <a:pt x="924" y="62"/>
                    </a:lnTo>
                    <a:lnTo>
                      <a:pt x="928" y="56"/>
                    </a:lnTo>
                    <a:lnTo>
                      <a:pt x="930" y="52"/>
                    </a:lnTo>
                    <a:lnTo>
                      <a:pt x="932" y="48"/>
                    </a:lnTo>
                    <a:lnTo>
                      <a:pt x="932" y="44"/>
                    </a:lnTo>
                    <a:lnTo>
                      <a:pt x="934" y="42"/>
                    </a:lnTo>
                    <a:lnTo>
                      <a:pt x="934" y="40"/>
                    </a:lnTo>
                    <a:lnTo>
                      <a:pt x="932" y="38"/>
                    </a:lnTo>
                    <a:close/>
                    <a:moveTo>
                      <a:pt x="650" y="86"/>
                    </a:moveTo>
                    <a:lnTo>
                      <a:pt x="648" y="86"/>
                    </a:lnTo>
                    <a:lnTo>
                      <a:pt x="646" y="86"/>
                    </a:lnTo>
                    <a:lnTo>
                      <a:pt x="646" y="84"/>
                    </a:lnTo>
                    <a:lnTo>
                      <a:pt x="646" y="82"/>
                    </a:lnTo>
                    <a:lnTo>
                      <a:pt x="648" y="82"/>
                    </a:lnTo>
                    <a:lnTo>
                      <a:pt x="648" y="78"/>
                    </a:lnTo>
                    <a:lnTo>
                      <a:pt x="646" y="78"/>
                    </a:lnTo>
                    <a:lnTo>
                      <a:pt x="644" y="80"/>
                    </a:lnTo>
                    <a:lnTo>
                      <a:pt x="642" y="82"/>
                    </a:lnTo>
                    <a:lnTo>
                      <a:pt x="640" y="82"/>
                    </a:lnTo>
                    <a:lnTo>
                      <a:pt x="640" y="84"/>
                    </a:lnTo>
                    <a:lnTo>
                      <a:pt x="638" y="84"/>
                    </a:lnTo>
                    <a:lnTo>
                      <a:pt x="638" y="86"/>
                    </a:lnTo>
                    <a:lnTo>
                      <a:pt x="638" y="88"/>
                    </a:lnTo>
                    <a:lnTo>
                      <a:pt x="636" y="86"/>
                    </a:lnTo>
                    <a:lnTo>
                      <a:pt x="634" y="86"/>
                    </a:lnTo>
                    <a:lnTo>
                      <a:pt x="634" y="90"/>
                    </a:lnTo>
                    <a:lnTo>
                      <a:pt x="632" y="92"/>
                    </a:lnTo>
                    <a:lnTo>
                      <a:pt x="632" y="94"/>
                    </a:lnTo>
                    <a:lnTo>
                      <a:pt x="630" y="96"/>
                    </a:lnTo>
                    <a:lnTo>
                      <a:pt x="628" y="96"/>
                    </a:lnTo>
                    <a:lnTo>
                      <a:pt x="626" y="98"/>
                    </a:lnTo>
                    <a:lnTo>
                      <a:pt x="626" y="102"/>
                    </a:lnTo>
                    <a:lnTo>
                      <a:pt x="628" y="102"/>
                    </a:lnTo>
                    <a:lnTo>
                      <a:pt x="626" y="102"/>
                    </a:lnTo>
                    <a:lnTo>
                      <a:pt x="624" y="104"/>
                    </a:lnTo>
                    <a:lnTo>
                      <a:pt x="620" y="108"/>
                    </a:lnTo>
                    <a:lnTo>
                      <a:pt x="620" y="112"/>
                    </a:lnTo>
                    <a:lnTo>
                      <a:pt x="622" y="114"/>
                    </a:lnTo>
                    <a:lnTo>
                      <a:pt x="622" y="118"/>
                    </a:lnTo>
                    <a:lnTo>
                      <a:pt x="620" y="118"/>
                    </a:lnTo>
                    <a:lnTo>
                      <a:pt x="620" y="120"/>
                    </a:lnTo>
                    <a:lnTo>
                      <a:pt x="620" y="122"/>
                    </a:lnTo>
                    <a:lnTo>
                      <a:pt x="618" y="128"/>
                    </a:lnTo>
                    <a:lnTo>
                      <a:pt x="616" y="130"/>
                    </a:lnTo>
                    <a:lnTo>
                      <a:pt x="614" y="132"/>
                    </a:lnTo>
                    <a:lnTo>
                      <a:pt x="610" y="136"/>
                    </a:lnTo>
                    <a:lnTo>
                      <a:pt x="606" y="138"/>
                    </a:lnTo>
                    <a:lnTo>
                      <a:pt x="604" y="142"/>
                    </a:lnTo>
                    <a:lnTo>
                      <a:pt x="596" y="146"/>
                    </a:lnTo>
                    <a:lnTo>
                      <a:pt x="592" y="146"/>
                    </a:lnTo>
                    <a:lnTo>
                      <a:pt x="590" y="146"/>
                    </a:lnTo>
                    <a:lnTo>
                      <a:pt x="590" y="142"/>
                    </a:lnTo>
                    <a:lnTo>
                      <a:pt x="592" y="140"/>
                    </a:lnTo>
                    <a:lnTo>
                      <a:pt x="590" y="138"/>
                    </a:lnTo>
                    <a:lnTo>
                      <a:pt x="590" y="136"/>
                    </a:lnTo>
                    <a:lnTo>
                      <a:pt x="590" y="134"/>
                    </a:lnTo>
                    <a:lnTo>
                      <a:pt x="590" y="132"/>
                    </a:lnTo>
                    <a:lnTo>
                      <a:pt x="592" y="130"/>
                    </a:lnTo>
                    <a:lnTo>
                      <a:pt x="594" y="126"/>
                    </a:lnTo>
                    <a:lnTo>
                      <a:pt x="594" y="124"/>
                    </a:lnTo>
                    <a:lnTo>
                      <a:pt x="596" y="124"/>
                    </a:lnTo>
                    <a:lnTo>
                      <a:pt x="596" y="122"/>
                    </a:lnTo>
                    <a:lnTo>
                      <a:pt x="594" y="122"/>
                    </a:lnTo>
                    <a:lnTo>
                      <a:pt x="594" y="118"/>
                    </a:lnTo>
                    <a:lnTo>
                      <a:pt x="596" y="116"/>
                    </a:lnTo>
                    <a:lnTo>
                      <a:pt x="596" y="114"/>
                    </a:lnTo>
                    <a:lnTo>
                      <a:pt x="598" y="112"/>
                    </a:lnTo>
                    <a:lnTo>
                      <a:pt x="600" y="110"/>
                    </a:lnTo>
                    <a:lnTo>
                      <a:pt x="600" y="108"/>
                    </a:lnTo>
                    <a:lnTo>
                      <a:pt x="602" y="106"/>
                    </a:lnTo>
                    <a:lnTo>
                      <a:pt x="604" y="106"/>
                    </a:lnTo>
                    <a:lnTo>
                      <a:pt x="604" y="102"/>
                    </a:lnTo>
                    <a:lnTo>
                      <a:pt x="606" y="100"/>
                    </a:lnTo>
                    <a:lnTo>
                      <a:pt x="610" y="98"/>
                    </a:lnTo>
                    <a:lnTo>
                      <a:pt x="610" y="96"/>
                    </a:lnTo>
                    <a:lnTo>
                      <a:pt x="612" y="96"/>
                    </a:lnTo>
                    <a:lnTo>
                      <a:pt x="612" y="94"/>
                    </a:lnTo>
                    <a:lnTo>
                      <a:pt x="614" y="92"/>
                    </a:lnTo>
                    <a:lnTo>
                      <a:pt x="616" y="90"/>
                    </a:lnTo>
                    <a:lnTo>
                      <a:pt x="618" y="88"/>
                    </a:lnTo>
                    <a:lnTo>
                      <a:pt x="620" y="86"/>
                    </a:lnTo>
                    <a:lnTo>
                      <a:pt x="622" y="84"/>
                    </a:lnTo>
                    <a:lnTo>
                      <a:pt x="624" y="82"/>
                    </a:lnTo>
                    <a:lnTo>
                      <a:pt x="622" y="82"/>
                    </a:lnTo>
                    <a:lnTo>
                      <a:pt x="620" y="84"/>
                    </a:lnTo>
                    <a:lnTo>
                      <a:pt x="616" y="84"/>
                    </a:lnTo>
                    <a:lnTo>
                      <a:pt x="616" y="86"/>
                    </a:lnTo>
                    <a:lnTo>
                      <a:pt x="614" y="86"/>
                    </a:lnTo>
                    <a:lnTo>
                      <a:pt x="612" y="88"/>
                    </a:lnTo>
                    <a:lnTo>
                      <a:pt x="610" y="88"/>
                    </a:lnTo>
                    <a:lnTo>
                      <a:pt x="608" y="90"/>
                    </a:lnTo>
                    <a:lnTo>
                      <a:pt x="606" y="90"/>
                    </a:lnTo>
                    <a:lnTo>
                      <a:pt x="606" y="88"/>
                    </a:lnTo>
                    <a:lnTo>
                      <a:pt x="608" y="88"/>
                    </a:lnTo>
                    <a:lnTo>
                      <a:pt x="608" y="86"/>
                    </a:lnTo>
                    <a:lnTo>
                      <a:pt x="610" y="84"/>
                    </a:lnTo>
                    <a:lnTo>
                      <a:pt x="614" y="82"/>
                    </a:lnTo>
                    <a:lnTo>
                      <a:pt x="616" y="80"/>
                    </a:lnTo>
                    <a:lnTo>
                      <a:pt x="618" y="78"/>
                    </a:lnTo>
                    <a:lnTo>
                      <a:pt x="620" y="76"/>
                    </a:lnTo>
                    <a:lnTo>
                      <a:pt x="622" y="76"/>
                    </a:lnTo>
                    <a:lnTo>
                      <a:pt x="628" y="70"/>
                    </a:lnTo>
                    <a:lnTo>
                      <a:pt x="630" y="68"/>
                    </a:lnTo>
                    <a:lnTo>
                      <a:pt x="632" y="66"/>
                    </a:lnTo>
                    <a:lnTo>
                      <a:pt x="634" y="66"/>
                    </a:lnTo>
                    <a:lnTo>
                      <a:pt x="634" y="68"/>
                    </a:lnTo>
                    <a:lnTo>
                      <a:pt x="636" y="68"/>
                    </a:lnTo>
                    <a:lnTo>
                      <a:pt x="638" y="66"/>
                    </a:lnTo>
                    <a:lnTo>
                      <a:pt x="638" y="68"/>
                    </a:lnTo>
                    <a:lnTo>
                      <a:pt x="642" y="68"/>
                    </a:lnTo>
                    <a:lnTo>
                      <a:pt x="644" y="66"/>
                    </a:lnTo>
                    <a:lnTo>
                      <a:pt x="644" y="62"/>
                    </a:lnTo>
                    <a:lnTo>
                      <a:pt x="646" y="64"/>
                    </a:lnTo>
                    <a:lnTo>
                      <a:pt x="650" y="64"/>
                    </a:lnTo>
                    <a:lnTo>
                      <a:pt x="652" y="64"/>
                    </a:lnTo>
                    <a:lnTo>
                      <a:pt x="654" y="62"/>
                    </a:lnTo>
                    <a:lnTo>
                      <a:pt x="656" y="62"/>
                    </a:lnTo>
                    <a:lnTo>
                      <a:pt x="660" y="62"/>
                    </a:lnTo>
                    <a:lnTo>
                      <a:pt x="664" y="66"/>
                    </a:lnTo>
                    <a:lnTo>
                      <a:pt x="666" y="66"/>
                    </a:lnTo>
                    <a:lnTo>
                      <a:pt x="666" y="68"/>
                    </a:lnTo>
                    <a:lnTo>
                      <a:pt x="664" y="68"/>
                    </a:lnTo>
                    <a:lnTo>
                      <a:pt x="662" y="68"/>
                    </a:lnTo>
                    <a:lnTo>
                      <a:pt x="660" y="70"/>
                    </a:lnTo>
                    <a:lnTo>
                      <a:pt x="660" y="74"/>
                    </a:lnTo>
                    <a:lnTo>
                      <a:pt x="660" y="76"/>
                    </a:lnTo>
                    <a:lnTo>
                      <a:pt x="654" y="76"/>
                    </a:lnTo>
                    <a:lnTo>
                      <a:pt x="652" y="76"/>
                    </a:lnTo>
                    <a:lnTo>
                      <a:pt x="652" y="84"/>
                    </a:lnTo>
                    <a:lnTo>
                      <a:pt x="650" y="86"/>
                    </a:lnTo>
                    <a:close/>
                    <a:moveTo>
                      <a:pt x="588" y="44"/>
                    </a:moveTo>
                    <a:lnTo>
                      <a:pt x="588" y="46"/>
                    </a:lnTo>
                    <a:lnTo>
                      <a:pt x="588" y="44"/>
                    </a:lnTo>
                    <a:close/>
                  </a:path>
                </a:pathLst>
              </a:custGeom>
              <a:grpFill/>
              <a:ln w="3175">
                <a:noFill/>
                <a:round/>
                <a:headEnd/>
                <a:tailEnd/>
              </a:ln>
            </p:spPr>
            <p:txBody>
              <a:bodyPr/>
              <a:lstStyle/>
              <a:p>
                <a:pPr defTabSz="914400">
                  <a:tabLst>
                    <a:tab pos="194331" algn="l"/>
                  </a:tabLst>
                  <a:defRPr/>
                </a:pPr>
                <a:endParaRPr lang="en-US" sz="1950" kern="0">
                  <a:solidFill>
                    <a:srgbClr val="000000"/>
                  </a:solidFill>
                  <a:latin typeface="Arial"/>
                </a:endParaRPr>
              </a:p>
            </p:txBody>
          </p:sp>
          <p:sp>
            <p:nvSpPr>
              <p:cNvPr id="120" name="Freeform 105">
                <a:extLst>
                  <a:ext uri="{FF2B5EF4-FFF2-40B4-BE49-F238E27FC236}">
                    <a16:creationId xmlns:a16="http://schemas.microsoft.com/office/drawing/2014/main" id="{EC486444-454D-47AC-B7FF-6DFB5C2FE6DB}"/>
                  </a:ext>
                </a:extLst>
              </p:cNvPr>
              <p:cNvSpPr>
                <a:spLocks noChangeAspect="1" noEditPoints="1"/>
              </p:cNvSpPr>
              <p:nvPr/>
            </p:nvSpPr>
            <p:spPr bwMode="auto">
              <a:xfrm>
                <a:off x="4607749" y="2679603"/>
                <a:ext cx="299274" cy="347049"/>
              </a:xfrm>
              <a:custGeom>
                <a:avLst/>
                <a:gdLst/>
                <a:ahLst/>
                <a:cxnLst>
                  <a:cxn ang="0">
                    <a:pos x="124" y="170"/>
                  </a:cxn>
                  <a:cxn ang="0">
                    <a:pos x="106" y="170"/>
                  </a:cxn>
                  <a:cxn ang="0">
                    <a:pos x="98" y="174"/>
                  </a:cxn>
                  <a:cxn ang="0">
                    <a:pos x="90" y="172"/>
                  </a:cxn>
                  <a:cxn ang="0">
                    <a:pos x="100" y="180"/>
                  </a:cxn>
                  <a:cxn ang="0">
                    <a:pos x="110" y="190"/>
                  </a:cxn>
                  <a:cxn ang="0">
                    <a:pos x="118" y="190"/>
                  </a:cxn>
                  <a:cxn ang="0">
                    <a:pos x="132" y="196"/>
                  </a:cxn>
                  <a:cxn ang="0">
                    <a:pos x="132" y="180"/>
                  </a:cxn>
                  <a:cxn ang="0">
                    <a:pos x="134" y="172"/>
                  </a:cxn>
                  <a:cxn ang="0">
                    <a:pos x="170" y="120"/>
                  </a:cxn>
                  <a:cxn ang="0">
                    <a:pos x="160" y="114"/>
                  </a:cxn>
                  <a:cxn ang="0">
                    <a:pos x="146" y="110"/>
                  </a:cxn>
                  <a:cxn ang="0">
                    <a:pos x="144" y="104"/>
                  </a:cxn>
                  <a:cxn ang="0">
                    <a:pos x="134" y="98"/>
                  </a:cxn>
                  <a:cxn ang="0">
                    <a:pos x="120" y="90"/>
                  </a:cxn>
                  <a:cxn ang="0">
                    <a:pos x="110" y="78"/>
                  </a:cxn>
                  <a:cxn ang="0">
                    <a:pos x="106" y="68"/>
                  </a:cxn>
                  <a:cxn ang="0">
                    <a:pos x="88" y="54"/>
                  </a:cxn>
                  <a:cxn ang="0">
                    <a:pos x="84" y="44"/>
                  </a:cxn>
                  <a:cxn ang="0">
                    <a:pos x="86" y="36"/>
                  </a:cxn>
                  <a:cxn ang="0">
                    <a:pos x="92" y="30"/>
                  </a:cxn>
                  <a:cxn ang="0">
                    <a:pos x="102" y="26"/>
                  </a:cxn>
                  <a:cxn ang="0">
                    <a:pos x="102" y="14"/>
                  </a:cxn>
                  <a:cxn ang="0">
                    <a:pos x="88" y="8"/>
                  </a:cxn>
                  <a:cxn ang="0">
                    <a:pos x="84" y="0"/>
                  </a:cxn>
                  <a:cxn ang="0">
                    <a:pos x="66" y="4"/>
                  </a:cxn>
                  <a:cxn ang="0">
                    <a:pos x="58" y="10"/>
                  </a:cxn>
                  <a:cxn ang="0">
                    <a:pos x="54" y="14"/>
                  </a:cxn>
                  <a:cxn ang="0">
                    <a:pos x="44" y="16"/>
                  </a:cxn>
                  <a:cxn ang="0">
                    <a:pos x="40" y="16"/>
                  </a:cxn>
                  <a:cxn ang="0">
                    <a:pos x="36" y="22"/>
                  </a:cxn>
                  <a:cxn ang="0">
                    <a:pos x="28" y="14"/>
                  </a:cxn>
                  <a:cxn ang="0">
                    <a:pos x="20" y="22"/>
                  </a:cxn>
                  <a:cxn ang="0">
                    <a:pos x="6" y="24"/>
                  </a:cxn>
                  <a:cxn ang="0">
                    <a:pos x="8" y="30"/>
                  </a:cxn>
                  <a:cxn ang="0">
                    <a:pos x="4" y="36"/>
                  </a:cxn>
                  <a:cxn ang="0">
                    <a:pos x="6" y="42"/>
                  </a:cxn>
                  <a:cxn ang="0">
                    <a:pos x="6" y="54"/>
                  </a:cxn>
                  <a:cxn ang="0">
                    <a:pos x="16" y="58"/>
                  </a:cxn>
                  <a:cxn ang="0">
                    <a:pos x="16" y="62"/>
                  </a:cxn>
                  <a:cxn ang="0">
                    <a:pos x="30" y="54"/>
                  </a:cxn>
                  <a:cxn ang="0">
                    <a:pos x="44" y="54"/>
                  </a:cxn>
                  <a:cxn ang="0">
                    <a:pos x="56" y="66"/>
                  </a:cxn>
                  <a:cxn ang="0">
                    <a:pos x="58" y="78"/>
                  </a:cxn>
                  <a:cxn ang="0">
                    <a:pos x="68" y="84"/>
                  </a:cxn>
                  <a:cxn ang="0">
                    <a:pos x="78" y="90"/>
                  </a:cxn>
                  <a:cxn ang="0">
                    <a:pos x="98" y="112"/>
                  </a:cxn>
                  <a:cxn ang="0">
                    <a:pos x="112" y="118"/>
                  </a:cxn>
                  <a:cxn ang="0">
                    <a:pos x="130" y="128"/>
                  </a:cxn>
                  <a:cxn ang="0">
                    <a:pos x="140" y="136"/>
                  </a:cxn>
                  <a:cxn ang="0">
                    <a:pos x="146" y="152"/>
                  </a:cxn>
                  <a:cxn ang="0">
                    <a:pos x="138" y="172"/>
                  </a:cxn>
                  <a:cxn ang="0">
                    <a:pos x="148" y="170"/>
                  </a:cxn>
                  <a:cxn ang="0">
                    <a:pos x="154" y="158"/>
                  </a:cxn>
                  <a:cxn ang="0">
                    <a:pos x="162" y="154"/>
                  </a:cxn>
                  <a:cxn ang="0">
                    <a:pos x="158" y="146"/>
                  </a:cxn>
                  <a:cxn ang="0">
                    <a:pos x="154" y="136"/>
                  </a:cxn>
                  <a:cxn ang="0">
                    <a:pos x="160" y="126"/>
                  </a:cxn>
                  <a:cxn ang="0">
                    <a:pos x="174" y="134"/>
                  </a:cxn>
                  <a:cxn ang="0">
                    <a:pos x="182" y="130"/>
                  </a:cxn>
                </a:cxnLst>
                <a:rect l="0" t="0" r="r" b="b"/>
                <a:pathLst>
                  <a:path w="182" h="198">
                    <a:moveTo>
                      <a:pt x="134" y="172"/>
                    </a:moveTo>
                    <a:lnTo>
                      <a:pt x="134" y="172"/>
                    </a:lnTo>
                    <a:lnTo>
                      <a:pt x="134" y="170"/>
                    </a:lnTo>
                    <a:lnTo>
                      <a:pt x="132" y="170"/>
                    </a:lnTo>
                    <a:lnTo>
                      <a:pt x="126" y="170"/>
                    </a:lnTo>
                    <a:lnTo>
                      <a:pt x="124" y="170"/>
                    </a:lnTo>
                    <a:lnTo>
                      <a:pt x="122" y="172"/>
                    </a:lnTo>
                    <a:lnTo>
                      <a:pt x="120" y="172"/>
                    </a:lnTo>
                    <a:lnTo>
                      <a:pt x="118" y="174"/>
                    </a:lnTo>
                    <a:lnTo>
                      <a:pt x="110" y="174"/>
                    </a:lnTo>
                    <a:lnTo>
                      <a:pt x="108" y="172"/>
                    </a:lnTo>
                    <a:lnTo>
                      <a:pt x="106" y="170"/>
                    </a:lnTo>
                    <a:lnTo>
                      <a:pt x="104" y="170"/>
                    </a:lnTo>
                    <a:lnTo>
                      <a:pt x="102" y="168"/>
                    </a:lnTo>
                    <a:lnTo>
                      <a:pt x="102" y="170"/>
                    </a:lnTo>
                    <a:lnTo>
                      <a:pt x="100" y="172"/>
                    </a:lnTo>
                    <a:lnTo>
                      <a:pt x="98" y="172"/>
                    </a:lnTo>
                    <a:lnTo>
                      <a:pt x="98" y="174"/>
                    </a:lnTo>
                    <a:lnTo>
                      <a:pt x="96" y="172"/>
                    </a:lnTo>
                    <a:lnTo>
                      <a:pt x="94" y="172"/>
                    </a:lnTo>
                    <a:lnTo>
                      <a:pt x="94" y="170"/>
                    </a:lnTo>
                    <a:lnTo>
                      <a:pt x="92" y="170"/>
                    </a:lnTo>
                    <a:lnTo>
                      <a:pt x="92" y="172"/>
                    </a:lnTo>
                    <a:lnTo>
                      <a:pt x="90" y="172"/>
                    </a:lnTo>
                    <a:lnTo>
                      <a:pt x="88" y="174"/>
                    </a:lnTo>
                    <a:lnTo>
                      <a:pt x="88" y="176"/>
                    </a:lnTo>
                    <a:lnTo>
                      <a:pt x="92" y="178"/>
                    </a:lnTo>
                    <a:lnTo>
                      <a:pt x="94" y="180"/>
                    </a:lnTo>
                    <a:lnTo>
                      <a:pt x="100" y="180"/>
                    </a:lnTo>
                    <a:lnTo>
                      <a:pt x="100" y="182"/>
                    </a:lnTo>
                    <a:lnTo>
                      <a:pt x="102" y="182"/>
                    </a:lnTo>
                    <a:lnTo>
                      <a:pt x="102" y="184"/>
                    </a:lnTo>
                    <a:lnTo>
                      <a:pt x="106" y="188"/>
                    </a:lnTo>
                    <a:lnTo>
                      <a:pt x="108" y="188"/>
                    </a:lnTo>
                    <a:lnTo>
                      <a:pt x="110" y="190"/>
                    </a:lnTo>
                    <a:lnTo>
                      <a:pt x="112" y="190"/>
                    </a:lnTo>
                    <a:lnTo>
                      <a:pt x="112" y="192"/>
                    </a:lnTo>
                    <a:lnTo>
                      <a:pt x="114" y="190"/>
                    </a:lnTo>
                    <a:lnTo>
                      <a:pt x="116" y="190"/>
                    </a:lnTo>
                    <a:lnTo>
                      <a:pt x="118" y="190"/>
                    </a:lnTo>
                    <a:lnTo>
                      <a:pt x="118" y="192"/>
                    </a:lnTo>
                    <a:lnTo>
                      <a:pt x="120" y="194"/>
                    </a:lnTo>
                    <a:lnTo>
                      <a:pt x="122" y="194"/>
                    </a:lnTo>
                    <a:lnTo>
                      <a:pt x="124" y="196"/>
                    </a:lnTo>
                    <a:lnTo>
                      <a:pt x="126" y="198"/>
                    </a:lnTo>
                    <a:lnTo>
                      <a:pt x="130" y="198"/>
                    </a:lnTo>
                    <a:lnTo>
                      <a:pt x="132" y="196"/>
                    </a:lnTo>
                    <a:lnTo>
                      <a:pt x="134" y="196"/>
                    </a:lnTo>
                    <a:lnTo>
                      <a:pt x="134" y="190"/>
                    </a:lnTo>
                    <a:lnTo>
                      <a:pt x="132" y="188"/>
                    </a:lnTo>
                    <a:lnTo>
                      <a:pt x="132" y="186"/>
                    </a:lnTo>
                    <a:lnTo>
                      <a:pt x="132" y="184"/>
                    </a:lnTo>
                    <a:lnTo>
                      <a:pt x="132" y="182"/>
                    </a:lnTo>
                    <a:lnTo>
                      <a:pt x="132" y="180"/>
                    </a:lnTo>
                    <a:lnTo>
                      <a:pt x="132" y="178"/>
                    </a:lnTo>
                    <a:lnTo>
                      <a:pt x="134" y="176"/>
                    </a:lnTo>
                    <a:lnTo>
                      <a:pt x="136" y="174"/>
                    </a:lnTo>
                    <a:lnTo>
                      <a:pt x="136" y="168"/>
                    </a:lnTo>
                    <a:lnTo>
                      <a:pt x="134" y="168"/>
                    </a:lnTo>
                    <a:lnTo>
                      <a:pt x="134" y="172"/>
                    </a:lnTo>
                    <a:close/>
                    <a:moveTo>
                      <a:pt x="182" y="130"/>
                    </a:moveTo>
                    <a:lnTo>
                      <a:pt x="182" y="128"/>
                    </a:lnTo>
                    <a:lnTo>
                      <a:pt x="180" y="128"/>
                    </a:lnTo>
                    <a:lnTo>
                      <a:pt x="176" y="124"/>
                    </a:lnTo>
                    <a:lnTo>
                      <a:pt x="174" y="122"/>
                    </a:lnTo>
                    <a:lnTo>
                      <a:pt x="172" y="122"/>
                    </a:lnTo>
                    <a:lnTo>
                      <a:pt x="170" y="120"/>
                    </a:lnTo>
                    <a:lnTo>
                      <a:pt x="168" y="120"/>
                    </a:lnTo>
                    <a:lnTo>
                      <a:pt x="166" y="118"/>
                    </a:lnTo>
                    <a:lnTo>
                      <a:pt x="164" y="116"/>
                    </a:lnTo>
                    <a:lnTo>
                      <a:pt x="162" y="116"/>
                    </a:lnTo>
                    <a:lnTo>
                      <a:pt x="160" y="116"/>
                    </a:lnTo>
                    <a:lnTo>
                      <a:pt x="160" y="114"/>
                    </a:lnTo>
                    <a:lnTo>
                      <a:pt x="158" y="114"/>
                    </a:lnTo>
                    <a:lnTo>
                      <a:pt x="156" y="114"/>
                    </a:lnTo>
                    <a:lnTo>
                      <a:pt x="154" y="112"/>
                    </a:lnTo>
                    <a:lnTo>
                      <a:pt x="150" y="112"/>
                    </a:lnTo>
                    <a:lnTo>
                      <a:pt x="146" y="110"/>
                    </a:lnTo>
                    <a:lnTo>
                      <a:pt x="144" y="108"/>
                    </a:lnTo>
                    <a:lnTo>
                      <a:pt x="142" y="108"/>
                    </a:lnTo>
                    <a:lnTo>
                      <a:pt x="142" y="106"/>
                    </a:lnTo>
                    <a:lnTo>
                      <a:pt x="144" y="104"/>
                    </a:lnTo>
                    <a:lnTo>
                      <a:pt x="146" y="102"/>
                    </a:lnTo>
                    <a:lnTo>
                      <a:pt x="146" y="100"/>
                    </a:lnTo>
                    <a:lnTo>
                      <a:pt x="144" y="98"/>
                    </a:lnTo>
                    <a:lnTo>
                      <a:pt x="140" y="98"/>
                    </a:lnTo>
                    <a:lnTo>
                      <a:pt x="134" y="98"/>
                    </a:lnTo>
                    <a:lnTo>
                      <a:pt x="132" y="96"/>
                    </a:lnTo>
                    <a:lnTo>
                      <a:pt x="128" y="96"/>
                    </a:lnTo>
                    <a:lnTo>
                      <a:pt x="126" y="96"/>
                    </a:lnTo>
                    <a:lnTo>
                      <a:pt x="124" y="94"/>
                    </a:lnTo>
                    <a:lnTo>
                      <a:pt x="122" y="92"/>
                    </a:lnTo>
                    <a:lnTo>
                      <a:pt x="120" y="90"/>
                    </a:lnTo>
                    <a:lnTo>
                      <a:pt x="118" y="88"/>
                    </a:lnTo>
                    <a:lnTo>
                      <a:pt x="116" y="86"/>
                    </a:lnTo>
                    <a:lnTo>
                      <a:pt x="114" y="84"/>
                    </a:lnTo>
                    <a:lnTo>
                      <a:pt x="112" y="82"/>
                    </a:lnTo>
                    <a:lnTo>
                      <a:pt x="112" y="80"/>
                    </a:lnTo>
                    <a:lnTo>
                      <a:pt x="110" y="80"/>
                    </a:lnTo>
                    <a:lnTo>
                      <a:pt x="110" y="78"/>
                    </a:lnTo>
                    <a:lnTo>
                      <a:pt x="110" y="76"/>
                    </a:lnTo>
                    <a:lnTo>
                      <a:pt x="110" y="74"/>
                    </a:lnTo>
                    <a:lnTo>
                      <a:pt x="108" y="72"/>
                    </a:lnTo>
                    <a:lnTo>
                      <a:pt x="108" y="70"/>
                    </a:lnTo>
                    <a:lnTo>
                      <a:pt x="108" y="68"/>
                    </a:lnTo>
                    <a:lnTo>
                      <a:pt x="106" y="68"/>
                    </a:lnTo>
                    <a:lnTo>
                      <a:pt x="104" y="66"/>
                    </a:lnTo>
                    <a:lnTo>
                      <a:pt x="102" y="64"/>
                    </a:lnTo>
                    <a:lnTo>
                      <a:pt x="100" y="62"/>
                    </a:lnTo>
                    <a:lnTo>
                      <a:pt x="98" y="62"/>
                    </a:lnTo>
                    <a:lnTo>
                      <a:pt x="98" y="60"/>
                    </a:lnTo>
                    <a:lnTo>
                      <a:pt x="94" y="58"/>
                    </a:lnTo>
                    <a:lnTo>
                      <a:pt x="88" y="54"/>
                    </a:lnTo>
                    <a:lnTo>
                      <a:pt x="88" y="52"/>
                    </a:lnTo>
                    <a:lnTo>
                      <a:pt x="86" y="50"/>
                    </a:lnTo>
                    <a:lnTo>
                      <a:pt x="86" y="48"/>
                    </a:lnTo>
                    <a:lnTo>
                      <a:pt x="84" y="46"/>
                    </a:lnTo>
                    <a:lnTo>
                      <a:pt x="84" y="44"/>
                    </a:lnTo>
                    <a:lnTo>
                      <a:pt x="86" y="44"/>
                    </a:lnTo>
                    <a:lnTo>
                      <a:pt x="88" y="42"/>
                    </a:lnTo>
                    <a:lnTo>
                      <a:pt x="88" y="40"/>
                    </a:lnTo>
                    <a:lnTo>
                      <a:pt x="88" y="38"/>
                    </a:lnTo>
                    <a:lnTo>
                      <a:pt x="86" y="36"/>
                    </a:lnTo>
                    <a:lnTo>
                      <a:pt x="86" y="34"/>
                    </a:lnTo>
                    <a:lnTo>
                      <a:pt x="86" y="32"/>
                    </a:lnTo>
                    <a:lnTo>
                      <a:pt x="88" y="30"/>
                    </a:lnTo>
                    <a:lnTo>
                      <a:pt x="92" y="30"/>
                    </a:lnTo>
                    <a:lnTo>
                      <a:pt x="94" y="28"/>
                    </a:lnTo>
                    <a:lnTo>
                      <a:pt x="96" y="28"/>
                    </a:lnTo>
                    <a:lnTo>
                      <a:pt x="98" y="28"/>
                    </a:lnTo>
                    <a:lnTo>
                      <a:pt x="98" y="26"/>
                    </a:lnTo>
                    <a:lnTo>
                      <a:pt x="100" y="26"/>
                    </a:lnTo>
                    <a:lnTo>
                      <a:pt x="102" y="26"/>
                    </a:lnTo>
                    <a:lnTo>
                      <a:pt x="102" y="22"/>
                    </a:lnTo>
                    <a:lnTo>
                      <a:pt x="104" y="20"/>
                    </a:lnTo>
                    <a:lnTo>
                      <a:pt x="104" y="16"/>
                    </a:lnTo>
                    <a:lnTo>
                      <a:pt x="102" y="16"/>
                    </a:lnTo>
                    <a:lnTo>
                      <a:pt x="102" y="14"/>
                    </a:lnTo>
                    <a:lnTo>
                      <a:pt x="104" y="12"/>
                    </a:lnTo>
                    <a:lnTo>
                      <a:pt x="104" y="10"/>
                    </a:lnTo>
                    <a:lnTo>
                      <a:pt x="102" y="10"/>
                    </a:lnTo>
                    <a:lnTo>
                      <a:pt x="88" y="10"/>
                    </a:lnTo>
                    <a:lnTo>
                      <a:pt x="88" y="8"/>
                    </a:lnTo>
                    <a:lnTo>
                      <a:pt x="88" y="6"/>
                    </a:lnTo>
                    <a:lnTo>
                      <a:pt x="86" y="6"/>
                    </a:lnTo>
                    <a:lnTo>
                      <a:pt x="86" y="4"/>
                    </a:lnTo>
                    <a:lnTo>
                      <a:pt x="84" y="2"/>
                    </a:lnTo>
                    <a:lnTo>
                      <a:pt x="84" y="0"/>
                    </a:lnTo>
                    <a:lnTo>
                      <a:pt x="80" y="0"/>
                    </a:lnTo>
                    <a:lnTo>
                      <a:pt x="78" y="2"/>
                    </a:lnTo>
                    <a:lnTo>
                      <a:pt x="78" y="4"/>
                    </a:lnTo>
                    <a:lnTo>
                      <a:pt x="74" y="2"/>
                    </a:lnTo>
                    <a:lnTo>
                      <a:pt x="68" y="2"/>
                    </a:lnTo>
                    <a:lnTo>
                      <a:pt x="68" y="4"/>
                    </a:lnTo>
                    <a:lnTo>
                      <a:pt x="66" y="4"/>
                    </a:lnTo>
                    <a:lnTo>
                      <a:pt x="66" y="6"/>
                    </a:lnTo>
                    <a:lnTo>
                      <a:pt x="64" y="6"/>
                    </a:lnTo>
                    <a:lnTo>
                      <a:pt x="62" y="6"/>
                    </a:lnTo>
                    <a:lnTo>
                      <a:pt x="58" y="6"/>
                    </a:lnTo>
                    <a:lnTo>
                      <a:pt x="58" y="8"/>
                    </a:lnTo>
                    <a:lnTo>
                      <a:pt x="58" y="10"/>
                    </a:lnTo>
                    <a:lnTo>
                      <a:pt x="56" y="10"/>
                    </a:lnTo>
                    <a:lnTo>
                      <a:pt x="54" y="10"/>
                    </a:lnTo>
                    <a:lnTo>
                      <a:pt x="52" y="10"/>
                    </a:lnTo>
                    <a:lnTo>
                      <a:pt x="52" y="12"/>
                    </a:lnTo>
                    <a:lnTo>
                      <a:pt x="54" y="14"/>
                    </a:lnTo>
                    <a:lnTo>
                      <a:pt x="52" y="16"/>
                    </a:lnTo>
                    <a:lnTo>
                      <a:pt x="50" y="14"/>
                    </a:lnTo>
                    <a:lnTo>
                      <a:pt x="44" y="14"/>
                    </a:lnTo>
                    <a:lnTo>
                      <a:pt x="44" y="16"/>
                    </a:lnTo>
                    <a:lnTo>
                      <a:pt x="42" y="14"/>
                    </a:lnTo>
                    <a:lnTo>
                      <a:pt x="42" y="12"/>
                    </a:lnTo>
                    <a:lnTo>
                      <a:pt x="42" y="10"/>
                    </a:lnTo>
                    <a:lnTo>
                      <a:pt x="40" y="12"/>
                    </a:lnTo>
                    <a:lnTo>
                      <a:pt x="40" y="14"/>
                    </a:lnTo>
                    <a:lnTo>
                      <a:pt x="40" y="16"/>
                    </a:lnTo>
                    <a:lnTo>
                      <a:pt x="38" y="18"/>
                    </a:lnTo>
                    <a:lnTo>
                      <a:pt x="38" y="20"/>
                    </a:lnTo>
                    <a:lnTo>
                      <a:pt x="38" y="22"/>
                    </a:lnTo>
                    <a:lnTo>
                      <a:pt x="38" y="24"/>
                    </a:lnTo>
                    <a:lnTo>
                      <a:pt x="36" y="22"/>
                    </a:lnTo>
                    <a:lnTo>
                      <a:pt x="34" y="20"/>
                    </a:lnTo>
                    <a:lnTo>
                      <a:pt x="32" y="18"/>
                    </a:lnTo>
                    <a:lnTo>
                      <a:pt x="30" y="18"/>
                    </a:lnTo>
                    <a:lnTo>
                      <a:pt x="30" y="16"/>
                    </a:lnTo>
                    <a:lnTo>
                      <a:pt x="28" y="14"/>
                    </a:lnTo>
                    <a:lnTo>
                      <a:pt x="28" y="12"/>
                    </a:lnTo>
                    <a:lnTo>
                      <a:pt x="26" y="12"/>
                    </a:lnTo>
                    <a:lnTo>
                      <a:pt x="24" y="14"/>
                    </a:lnTo>
                    <a:lnTo>
                      <a:pt x="24" y="18"/>
                    </a:lnTo>
                    <a:lnTo>
                      <a:pt x="20" y="22"/>
                    </a:lnTo>
                    <a:lnTo>
                      <a:pt x="16" y="22"/>
                    </a:lnTo>
                    <a:lnTo>
                      <a:pt x="14" y="20"/>
                    </a:lnTo>
                    <a:lnTo>
                      <a:pt x="12" y="20"/>
                    </a:lnTo>
                    <a:lnTo>
                      <a:pt x="12" y="22"/>
                    </a:lnTo>
                    <a:lnTo>
                      <a:pt x="10" y="22"/>
                    </a:lnTo>
                    <a:lnTo>
                      <a:pt x="6" y="22"/>
                    </a:lnTo>
                    <a:lnTo>
                      <a:pt x="6" y="24"/>
                    </a:lnTo>
                    <a:lnTo>
                      <a:pt x="4" y="24"/>
                    </a:lnTo>
                    <a:lnTo>
                      <a:pt x="4" y="26"/>
                    </a:lnTo>
                    <a:lnTo>
                      <a:pt x="4" y="28"/>
                    </a:lnTo>
                    <a:lnTo>
                      <a:pt x="6" y="28"/>
                    </a:lnTo>
                    <a:lnTo>
                      <a:pt x="8" y="30"/>
                    </a:lnTo>
                    <a:lnTo>
                      <a:pt x="10" y="32"/>
                    </a:lnTo>
                    <a:lnTo>
                      <a:pt x="10" y="34"/>
                    </a:lnTo>
                    <a:lnTo>
                      <a:pt x="8" y="34"/>
                    </a:lnTo>
                    <a:lnTo>
                      <a:pt x="8" y="36"/>
                    </a:lnTo>
                    <a:lnTo>
                      <a:pt x="6" y="36"/>
                    </a:lnTo>
                    <a:lnTo>
                      <a:pt x="4" y="36"/>
                    </a:lnTo>
                    <a:lnTo>
                      <a:pt x="0" y="36"/>
                    </a:lnTo>
                    <a:lnTo>
                      <a:pt x="0" y="38"/>
                    </a:lnTo>
                    <a:lnTo>
                      <a:pt x="0" y="40"/>
                    </a:lnTo>
                    <a:lnTo>
                      <a:pt x="2" y="40"/>
                    </a:lnTo>
                    <a:lnTo>
                      <a:pt x="2" y="42"/>
                    </a:lnTo>
                    <a:lnTo>
                      <a:pt x="4" y="42"/>
                    </a:lnTo>
                    <a:lnTo>
                      <a:pt x="6" y="42"/>
                    </a:lnTo>
                    <a:lnTo>
                      <a:pt x="6" y="44"/>
                    </a:lnTo>
                    <a:lnTo>
                      <a:pt x="6" y="46"/>
                    </a:lnTo>
                    <a:lnTo>
                      <a:pt x="4" y="48"/>
                    </a:lnTo>
                    <a:lnTo>
                      <a:pt x="4" y="52"/>
                    </a:lnTo>
                    <a:lnTo>
                      <a:pt x="6" y="54"/>
                    </a:lnTo>
                    <a:lnTo>
                      <a:pt x="8" y="54"/>
                    </a:lnTo>
                    <a:lnTo>
                      <a:pt x="10" y="56"/>
                    </a:lnTo>
                    <a:lnTo>
                      <a:pt x="14" y="56"/>
                    </a:lnTo>
                    <a:lnTo>
                      <a:pt x="16" y="56"/>
                    </a:lnTo>
                    <a:lnTo>
                      <a:pt x="16" y="58"/>
                    </a:lnTo>
                    <a:lnTo>
                      <a:pt x="14" y="60"/>
                    </a:lnTo>
                    <a:lnTo>
                      <a:pt x="14" y="62"/>
                    </a:lnTo>
                    <a:lnTo>
                      <a:pt x="12" y="62"/>
                    </a:lnTo>
                    <a:lnTo>
                      <a:pt x="12" y="64"/>
                    </a:lnTo>
                    <a:lnTo>
                      <a:pt x="14" y="64"/>
                    </a:lnTo>
                    <a:lnTo>
                      <a:pt x="16" y="62"/>
                    </a:lnTo>
                    <a:lnTo>
                      <a:pt x="18" y="62"/>
                    </a:lnTo>
                    <a:lnTo>
                      <a:pt x="20" y="62"/>
                    </a:lnTo>
                    <a:lnTo>
                      <a:pt x="22" y="60"/>
                    </a:lnTo>
                    <a:lnTo>
                      <a:pt x="22" y="58"/>
                    </a:lnTo>
                    <a:lnTo>
                      <a:pt x="26" y="56"/>
                    </a:lnTo>
                    <a:lnTo>
                      <a:pt x="28" y="54"/>
                    </a:lnTo>
                    <a:lnTo>
                      <a:pt x="30" y="54"/>
                    </a:lnTo>
                    <a:lnTo>
                      <a:pt x="32" y="52"/>
                    </a:lnTo>
                    <a:lnTo>
                      <a:pt x="34" y="52"/>
                    </a:lnTo>
                    <a:lnTo>
                      <a:pt x="36" y="52"/>
                    </a:lnTo>
                    <a:lnTo>
                      <a:pt x="38" y="52"/>
                    </a:lnTo>
                    <a:lnTo>
                      <a:pt x="42" y="54"/>
                    </a:lnTo>
                    <a:lnTo>
                      <a:pt x="44" y="54"/>
                    </a:lnTo>
                    <a:lnTo>
                      <a:pt x="46" y="56"/>
                    </a:lnTo>
                    <a:lnTo>
                      <a:pt x="48" y="56"/>
                    </a:lnTo>
                    <a:lnTo>
                      <a:pt x="50" y="58"/>
                    </a:lnTo>
                    <a:lnTo>
                      <a:pt x="52" y="58"/>
                    </a:lnTo>
                    <a:lnTo>
                      <a:pt x="54" y="60"/>
                    </a:lnTo>
                    <a:lnTo>
                      <a:pt x="56" y="64"/>
                    </a:lnTo>
                    <a:lnTo>
                      <a:pt x="56" y="66"/>
                    </a:lnTo>
                    <a:lnTo>
                      <a:pt x="56" y="68"/>
                    </a:lnTo>
                    <a:lnTo>
                      <a:pt x="58" y="70"/>
                    </a:lnTo>
                    <a:lnTo>
                      <a:pt x="60" y="70"/>
                    </a:lnTo>
                    <a:lnTo>
                      <a:pt x="60" y="72"/>
                    </a:lnTo>
                    <a:lnTo>
                      <a:pt x="58" y="74"/>
                    </a:lnTo>
                    <a:lnTo>
                      <a:pt x="58" y="78"/>
                    </a:lnTo>
                    <a:lnTo>
                      <a:pt x="60" y="80"/>
                    </a:lnTo>
                    <a:lnTo>
                      <a:pt x="62" y="82"/>
                    </a:lnTo>
                    <a:lnTo>
                      <a:pt x="64" y="82"/>
                    </a:lnTo>
                    <a:lnTo>
                      <a:pt x="66" y="82"/>
                    </a:lnTo>
                    <a:lnTo>
                      <a:pt x="66" y="84"/>
                    </a:lnTo>
                    <a:lnTo>
                      <a:pt x="68" y="84"/>
                    </a:lnTo>
                    <a:lnTo>
                      <a:pt x="68" y="86"/>
                    </a:lnTo>
                    <a:lnTo>
                      <a:pt x="68" y="88"/>
                    </a:lnTo>
                    <a:lnTo>
                      <a:pt x="70" y="88"/>
                    </a:lnTo>
                    <a:lnTo>
                      <a:pt x="76" y="88"/>
                    </a:lnTo>
                    <a:lnTo>
                      <a:pt x="76" y="90"/>
                    </a:lnTo>
                    <a:lnTo>
                      <a:pt x="78" y="90"/>
                    </a:lnTo>
                    <a:lnTo>
                      <a:pt x="80" y="94"/>
                    </a:lnTo>
                    <a:lnTo>
                      <a:pt x="84" y="96"/>
                    </a:lnTo>
                    <a:lnTo>
                      <a:pt x="86" y="98"/>
                    </a:lnTo>
                    <a:lnTo>
                      <a:pt x="94" y="106"/>
                    </a:lnTo>
                    <a:lnTo>
                      <a:pt x="96" y="110"/>
                    </a:lnTo>
                    <a:lnTo>
                      <a:pt x="98" y="112"/>
                    </a:lnTo>
                    <a:lnTo>
                      <a:pt x="108" y="112"/>
                    </a:lnTo>
                    <a:lnTo>
                      <a:pt x="108" y="114"/>
                    </a:lnTo>
                    <a:lnTo>
                      <a:pt x="110" y="114"/>
                    </a:lnTo>
                    <a:lnTo>
                      <a:pt x="110" y="116"/>
                    </a:lnTo>
                    <a:lnTo>
                      <a:pt x="110" y="118"/>
                    </a:lnTo>
                    <a:lnTo>
                      <a:pt x="112" y="118"/>
                    </a:lnTo>
                    <a:lnTo>
                      <a:pt x="114" y="120"/>
                    </a:lnTo>
                    <a:lnTo>
                      <a:pt x="116" y="120"/>
                    </a:lnTo>
                    <a:lnTo>
                      <a:pt x="118" y="120"/>
                    </a:lnTo>
                    <a:lnTo>
                      <a:pt x="126" y="120"/>
                    </a:lnTo>
                    <a:lnTo>
                      <a:pt x="128" y="122"/>
                    </a:lnTo>
                    <a:lnTo>
                      <a:pt x="128" y="126"/>
                    </a:lnTo>
                    <a:lnTo>
                      <a:pt x="130" y="128"/>
                    </a:lnTo>
                    <a:lnTo>
                      <a:pt x="132" y="132"/>
                    </a:lnTo>
                    <a:lnTo>
                      <a:pt x="134" y="134"/>
                    </a:lnTo>
                    <a:lnTo>
                      <a:pt x="138" y="134"/>
                    </a:lnTo>
                    <a:lnTo>
                      <a:pt x="140" y="132"/>
                    </a:lnTo>
                    <a:lnTo>
                      <a:pt x="140" y="136"/>
                    </a:lnTo>
                    <a:lnTo>
                      <a:pt x="142" y="140"/>
                    </a:lnTo>
                    <a:lnTo>
                      <a:pt x="142" y="146"/>
                    </a:lnTo>
                    <a:lnTo>
                      <a:pt x="142" y="148"/>
                    </a:lnTo>
                    <a:lnTo>
                      <a:pt x="144" y="148"/>
                    </a:lnTo>
                    <a:lnTo>
                      <a:pt x="144" y="150"/>
                    </a:lnTo>
                    <a:lnTo>
                      <a:pt x="146" y="152"/>
                    </a:lnTo>
                    <a:lnTo>
                      <a:pt x="148" y="152"/>
                    </a:lnTo>
                    <a:lnTo>
                      <a:pt x="148" y="158"/>
                    </a:lnTo>
                    <a:lnTo>
                      <a:pt x="142" y="158"/>
                    </a:lnTo>
                    <a:lnTo>
                      <a:pt x="142" y="164"/>
                    </a:lnTo>
                    <a:lnTo>
                      <a:pt x="142" y="166"/>
                    </a:lnTo>
                    <a:lnTo>
                      <a:pt x="140" y="170"/>
                    </a:lnTo>
                    <a:lnTo>
                      <a:pt x="138" y="172"/>
                    </a:lnTo>
                    <a:lnTo>
                      <a:pt x="138" y="174"/>
                    </a:lnTo>
                    <a:lnTo>
                      <a:pt x="142" y="174"/>
                    </a:lnTo>
                    <a:lnTo>
                      <a:pt x="144" y="174"/>
                    </a:lnTo>
                    <a:lnTo>
                      <a:pt x="146" y="172"/>
                    </a:lnTo>
                    <a:lnTo>
                      <a:pt x="148" y="170"/>
                    </a:lnTo>
                    <a:lnTo>
                      <a:pt x="148" y="168"/>
                    </a:lnTo>
                    <a:lnTo>
                      <a:pt x="150" y="168"/>
                    </a:lnTo>
                    <a:lnTo>
                      <a:pt x="150" y="166"/>
                    </a:lnTo>
                    <a:lnTo>
                      <a:pt x="154" y="166"/>
                    </a:lnTo>
                    <a:lnTo>
                      <a:pt x="154" y="158"/>
                    </a:lnTo>
                    <a:lnTo>
                      <a:pt x="156" y="156"/>
                    </a:lnTo>
                    <a:lnTo>
                      <a:pt x="158" y="156"/>
                    </a:lnTo>
                    <a:lnTo>
                      <a:pt x="158" y="154"/>
                    </a:lnTo>
                    <a:lnTo>
                      <a:pt x="162" y="154"/>
                    </a:lnTo>
                    <a:lnTo>
                      <a:pt x="162" y="152"/>
                    </a:lnTo>
                    <a:lnTo>
                      <a:pt x="162" y="150"/>
                    </a:lnTo>
                    <a:lnTo>
                      <a:pt x="160" y="148"/>
                    </a:lnTo>
                    <a:lnTo>
                      <a:pt x="160" y="146"/>
                    </a:lnTo>
                    <a:lnTo>
                      <a:pt x="158" y="146"/>
                    </a:lnTo>
                    <a:lnTo>
                      <a:pt x="158" y="144"/>
                    </a:lnTo>
                    <a:lnTo>
                      <a:pt x="156" y="144"/>
                    </a:lnTo>
                    <a:lnTo>
                      <a:pt x="154" y="142"/>
                    </a:lnTo>
                    <a:lnTo>
                      <a:pt x="152" y="140"/>
                    </a:lnTo>
                    <a:lnTo>
                      <a:pt x="152" y="138"/>
                    </a:lnTo>
                    <a:lnTo>
                      <a:pt x="154" y="136"/>
                    </a:lnTo>
                    <a:lnTo>
                      <a:pt x="154" y="134"/>
                    </a:lnTo>
                    <a:lnTo>
                      <a:pt x="156" y="132"/>
                    </a:lnTo>
                    <a:lnTo>
                      <a:pt x="156" y="128"/>
                    </a:lnTo>
                    <a:lnTo>
                      <a:pt x="158" y="128"/>
                    </a:lnTo>
                    <a:lnTo>
                      <a:pt x="158" y="126"/>
                    </a:lnTo>
                    <a:lnTo>
                      <a:pt x="160" y="126"/>
                    </a:lnTo>
                    <a:lnTo>
                      <a:pt x="164" y="128"/>
                    </a:lnTo>
                    <a:lnTo>
                      <a:pt x="172" y="128"/>
                    </a:lnTo>
                    <a:lnTo>
                      <a:pt x="172" y="130"/>
                    </a:lnTo>
                    <a:lnTo>
                      <a:pt x="174" y="130"/>
                    </a:lnTo>
                    <a:lnTo>
                      <a:pt x="174" y="132"/>
                    </a:lnTo>
                    <a:lnTo>
                      <a:pt x="174" y="134"/>
                    </a:lnTo>
                    <a:lnTo>
                      <a:pt x="176" y="136"/>
                    </a:lnTo>
                    <a:lnTo>
                      <a:pt x="178" y="136"/>
                    </a:lnTo>
                    <a:lnTo>
                      <a:pt x="178" y="138"/>
                    </a:lnTo>
                    <a:lnTo>
                      <a:pt x="180" y="138"/>
                    </a:lnTo>
                    <a:lnTo>
                      <a:pt x="182" y="136"/>
                    </a:lnTo>
                    <a:lnTo>
                      <a:pt x="182" y="134"/>
                    </a:lnTo>
                    <a:lnTo>
                      <a:pt x="182" y="130"/>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1" name="Freeform 107">
                <a:extLst>
                  <a:ext uri="{FF2B5EF4-FFF2-40B4-BE49-F238E27FC236}">
                    <a16:creationId xmlns:a16="http://schemas.microsoft.com/office/drawing/2014/main" id="{17CF7898-8EE6-49BF-81E8-2EB2839D799E}"/>
                  </a:ext>
                </a:extLst>
              </p:cNvPr>
              <p:cNvSpPr>
                <a:spLocks noChangeAspect="1"/>
              </p:cNvSpPr>
              <p:nvPr/>
            </p:nvSpPr>
            <p:spPr bwMode="auto">
              <a:xfrm>
                <a:off x="4594594" y="2428472"/>
                <a:ext cx="220344" cy="244155"/>
              </a:xfrm>
              <a:custGeom>
                <a:avLst/>
                <a:gdLst/>
                <a:ahLst/>
                <a:cxnLst>
                  <a:cxn ang="0">
                    <a:pos x="12" y="106"/>
                  </a:cxn>
                  <a:cxn ang="0">
                    <a:pos x="22" y="106"/>
                  </a:cxn>
                  <a:cxn ang="0">
                    <a:pos x="28" y="106"/>
                  </a:cxn>
                  <a:cxn ang="0">
                    <a:pos x="28" y="114"/>
                  </a:cxn>
                  <a:cxn ang="0">
                    <a:pos x="22" y="126"/>
                  </a:cxn>
                  <a:cxn ang="0">
                    <a:pos x="28" y="136"/>
                  </a:cxn>
                  <a:cxn ang="0">
                    <a:pos x="36" y="134"/>
                  </a:cxn>
                  <a:cxn ang="0">
                    <a:pos x="42" y="132"/>
                  </a:cxn>
                  <a:cxn ang="0">
                    <a:pos x="50" y="134"/>
                  </a:cxn>
                  <a:cxn ang="0">
                    <a:pos x="54" y="138"/>
                  </a:cxn>
                  <a:cxn ang="0">
                    <a:pos x="66" y="138"/>
                  </a:cxn>
                  <a:cxn ang="0">
                    <a:pos x="70" y="136"/>
                  </a:cxn>
                  <a:cxn ang="0">
                    <a:pos x="84" y="136"/>
                  </a:cxn>
                  <a:cxn ang="0">
                    <a:pos x="94" y="134"/>
                  </a:cxn>
                  <a:cxn ang="0">
                    <a:pos x="102" y="138"/>
                  </a:cxn>
                  <a:cxn ang="0">
                    <a:pos x="104" y="130"/>
                  </a:cxn>
                  <a:cxn ang="0">
                    <a:pos x="106" y="124"/>
                  </a:cxn>
                  <a:cxn ang="0">
                    <a:pos x="110" y="118"/>
                  </a:cxn>
                  <a:cxn ang="0">
                    <a:pos x="116" y="114"/>
                  </a:cxn>
                  <a:cxn ang="0">
                    <a:pos x="108" y="106"/>
                  </a:cxn>
                  <a:cxn ang="0">
                    <a:pos x="104" y="102"/>
                  </a:cxn>
                  <a:cxn ang="0">
                    <a:pos x="98" y="98"/>
                  </a:cxn>
                  <a:cxn ang="0">
                    <a:pos x="96" y="92"/>
                  </a:cxn>
                  <a:cxn ang="0">
                    <a:pos x="92" y="86"/>
                  </a:cxn>
                  <a:cxn ang="0">
                    <a:pos x="96" y="82"/>
                  </a:cxn>
                  <a:cxn ang="0">
                    <a:pos x="104" y="82"/>
                  </a:cxn>
                  <a:cxn ang="0">
                    <a:pos x="110" y="80"/>
                  </a:cxn>
                  <a:cxn ang="0">
                    <a:pos x="118" y="76"/>
                  </a:cxn>
                  <a:cxn ang="0">
                    <a:pos x="126" y="72"/>
                  </a:cxn>
                  <a:cxn ang="0">
                    <a:pos x="132" y="66"/>
                  </a:cxn>
                  <a:cxn ang="0">
                    <a:pos x="130" y="62"/>
                  </a:cxn>
                  <a:cxn ang="0">
                    <a:pos x="126" y="56"/>
                  </a:cxn>
                  <a:cxn ang="0">
                    <a:pos x="126" y="48"/>
                  </a:cxn>
                  <a:cxn ang="0">
                    <a:pos x="124" y="40"/>
                  </a:cxn>
                  <a:cxn ang="0">
                    <a:pos x="120" y="36"/>
                  </a:cxn>
                  <a:cxn ang="0">
                    <a:pos x="122" y="26"/>
                  </a:cxn>
                  <a:cxn ang="0">
                    <a:pos x="116" y="20"/>
                  </a:cxn>
                  <a:cxn ang="0">
                    <a:pos x="108" y="14"/>
                  </a:cxn>
                  <a:cxn ang="0">
                    <a:pos x="94" y="10"/>
                  </a:cxn>
                  <a:cxn ang="0">
                    <a:pos x="80" y="14"/>
                  </a:cxn>
                  <a:cxn ang="0">
                    <a:pos x="72" y="16"/>
                  </a:cxn>
                  <a:cxn ang="0">
                    <a:pos x="70" y="10"/>
                  </a:cxn>
                  <a:cxn ang="0">
                    <a:pos x="58" y="4"/>
                  </a:cxn>
                  <a:cxn ang="0">
                    <a:pos x="48" y="2"/>
                  </a:cxn>
                  <a:cxn ang="0">
                    <a:pos x="46" y="8"/>
                  </a:cxn>
                  <a:cxn ang="0">
                    <a:pos x="46" y="18"/>
                  </a:cxn>
                  <a:cxn ang="0">
                    <a:pos x="44" y="18"/>
                  </a:cxn>
                  <a:cxn ang="0">
                    <a:pos x="38" y="26"/>
                  </a:cxn>
                  <a:cxn ang="0">
                    <a:pos x="28" y="22"/>
                  </a:cxn>
                  <a:cxn ang="0">
                    <a:pos x="20" y="30"/>
                  </a:cxn>
                  <a:cxn ang="0">
                    <a:pos x="22" y="34"/>
                  </a:cxn>
                  <a:cxn ang="0">
                    <a:pos x="16" y="40"/>
                  </a:cxn>
                  <a:cxn ang="0">
                    <a:pos x="14" y="46"/>
                  </a:cxn>
                  <a:cxn ang="0">
                    <a:pos x="12" y="54"/>
                  </a:cxn>
                  <a:cxn ang="0">
                    <a:pos x="6" y="58"/>
                  </a:cxn>
                  <a:cxn ang="0">
                    <a:pos x="2" y="60"/>
                  </a:cxn>
                  <a:cxn ang="0">
                    <a:pos x="0" y="70"/>
                  </a:cxn>
                  <a:cxn ang="0">
                    <a:pos x="2" y="78"/>
                  </a:cxn>
                  <a:cxn ang="0">
                    <a:pos x="2" y="86"/>
                  </a:cxn>
                  <a:cxn ang="0">
                    <a:pos x="8" y="96"/>
                  </a:cxn>
                </a:cxnLst>
                <a:rect l="0" t="0" r="r" b="b"/>
                <a:pathLst>
                  <a:path w="134" h="140">
                    <a:moveTo>
                      <a:pt x="6" y="98"/>
                    </a:moveTo>
                    <a:lnTo>
                      <a:pt x="6" y="98"/>
                    </a:lnTo>
                    <a:lnTo>
                      <a:pt x="6" y="100"/>
                    </a:lnTo>
                    <a:lnTo>
                      <a:pt x="8" y="100"/>
                    </a:lnTo>
                    <a:lnTo>
                      <a:pt x="8" y="102"/>
                    </a:lnTo>
                    <a:lnTo>
                      <a:pt x="8" y="104"/>
                    </a:lnTo>
                    <a:lnTo>
                      <a:pt x="8" y="106"/>
                    </a:lnTo>
                    <a:lnTo>
                      <a:pt x="10" y="106"/>
                    </a:lnTo>
                    <a:lnTo>
                      <a:pt x="12" y="106"/>
                    </a:lnTo>
                    <a:lnTo>
                      <a:pt x="14" y="106"/>
                    </a:lnTo>
                    <a:lnTo>
                      <a:pt x="16" y="106"/>
                    </a:lnTo>
                    <a:lnTo>
                      <a:pt x="18" y="106"/>
                    </a:lnTo>
                    <a:lnTo>
                      <a:pt x="20" y="106"/>
                    </a:lnTo>
                    <a:lnTo>
                      <a:pt x="22" y="106"/>
                    </a:lnTo>
                    <a:lnTo>
                      <a:pt x="22" y="108"/>
                    </a:lnTo>
                    <a:lnTo>
                      <a:pt x="24" y="108"/>
                    </a:lnTo>
                    <a:lnTo>
                      <a:pt x="26" y="108"/>
                    </a:lnTo>
                    <a:lnTo>
                      <a:pt x="26" y="106"/>
                    </a:lnTo>
                    <a:lnTo>
                      <a:pt x="28" y="106"/>
                    </a:lnTo>
                    <a:lnTo>
                      <a:pt x="30" y="108"/>
                    </a:lnTo>
                    <a:lnTo>
                      <a:pt x="32" y="108"/>
                    </a:lnTo>
                    <a:lnTo>
                      <a:pt x="32" y="110"/>
                    </a:lnTo>
                    <a:lnTo>
                      <a:pt x="32" y="112"/>
                    </a:lnTo>
                    <a:lnTo>
                      <a:pt x="30" y="112"/>
                    </a:lnTo>
                    <a:lnTo>
                      <a:pt x="28" y="114"/>
                    </a:lnTo>
                    <a:lnTo>
                      <a:pt x="26" y="114"/>
                    </a:lnTo>
                    <a:lnTo>
                      <a:pt x="26" y="116"/>
                    </a:lnTo>
                    <a:lnTo>
                      <a:pt x="26" y="118"/>
                    </a:lnTo>
                    <a:lnTo>
                      <a:pt x="26" y="120"/>
                    </a:lnTo>
                    <a:lnTo>
                      <a:pt x="24" y="120"/>
                    </a:lnTo>
                    <a:lnTo>
                      <a:pt x="24" y="122"/>
                    </a:lnTo>
                    <a:lnTo>
                      <a:pt x="22" y="126"/>
                    </a:lnTo>
                    <a:lnTo>
                      <a:pt x="22" y="128"/>
                    </a:lnTo>
                    <a:lnTo>
                      <a:pt x="22" y="130"/>
                    </a:lnTo>
                    <a:lnTo>
                      <a:pt x="22" y="132"/>
                    </a:lnTo>
                    <a:lnTo>
                      <a:pt x="22" y="134"/>
                    </a:lnTo>
                    <a:lnTo>
                      <a:pt x="22" y="136"/>
                    </a:lnTo>
                    <a:lnTo>
                      <a:pt x="24" y="136"/>
                    </a:lnTo>
                    <a:lnTo>
                      <a:pt x="26" y="136"/>
                    </a:lnTo>
                    <a:lnTo>
                      <a:pt x="28" y="136"/>
                    </a:lnTo>
                    <a:lnTo>
                      <a:pt x="30" y="136"/>
                    </a:lnTo>
                    <a:lnTo>
                      <a:pt x="32" y="136"/>
                    </a:lnTo>
                    <a:lnTo>
                      <a:pt x="34" y="134"/>
                    </a:lnTo>
                    <a:lnTo>
                      <a:pt x="36" y="134"/>
                    </a:lnTo>
                    <a:lnTo>
                      <a:pt x="36" y="136"/>
                    </a:lnTo>
                    <a:lnTo>
                      <a:pt x="36" y="134"/>
                    </a:lnTo>
                    <a:lnTo>
                      <a:pt x="36" y="132"/>
                    </a:lnTo>
                    <a:lnTo>
                      <a:pt x="36" y="130"/>
                    </a:lnTo>
                    <a:lnTo>
                      <a:pt x="38" y="130"/>
                    </a:lnTo>
                    <a:lnTo>
                      <a:pt x="40" y="132"/>
                    </a:lnTo>
                    <a:lnTo>
                      <a:pt x="42" y="132"/>
                    </a:lnTo>
                    <a:lnTo>
                      <a:pt x="44" y="132"/>
                    </a:lnTo>
                    <a:lnTo>
                      <a:pt x="46" y="132"/>
                    </a:lnTo>
                    <a:lnTo>
                      <a:pt x="46" y="134"/>
                    </a:lnTo>
                    <a:lnTo>
                      <a:pt x="48" y="134"/>
                    </a:lnTo>
                    <a:lnTo>
                      <a:pt x="50" y="134"/>
                    </a:lnTo>
                    <a:lnTo>
                      <a:pt x="50" y="136"/>
                    </a:lnTo>
                    <a:lnTo>
                      <a:pt x="52" y="136"/>
                    </a:lnTo>
                    <a:lnTo>
                      <a:pt x="52" y="138"/>
                    </a:lnTo>
                    <a:lnTo>
                      <a:pt x="54" y="138"/>
                    </a:lnTo>
                    <a:lnTo>
                      <a:pt x="54" y="136"/>
                    </a:lnTo>
                    <a:lnTo>
                      <a:pt x="56" y="136"/>
                    </a:lnTo>
                    <a:lnTo>
                      <a:pt x="58" y="136"/>
                    </a:lnTo>
                    <a:lnTo>
                      <a:pt x="60" y="138"/>
                    </a:lnTo>
                    <a:lnTo>
                      <a:pt x="62" y="140"/>
                    </a:lnTo>
                    <a:lnTo>
                      <a:pt x="64" y="140"/>
                    </a:lnTo>
                    <a:lnTo>
                      <a:pt x="66" y="138"/>
                    </a:lnTo>
                    <a:lnTo>
                      <a:pt x="66" y="136"/>
                    </a:lnTo>
                    <a:lnTo>
                      <a:pt x="66" y="134"/>
                    </a:lnTo>
                    <a:lnTo>
                      <a:pt x="68" y="134"/>
                    </a:lnTo>
                    <a:lnTo>
                      <a:pt x="70" y="136"/>
                    </a:lnTo>
                    <a:lnTo>
                      <a:pt x="72" y="138"/>
                    </a:lnTo>
                    <a:lnTo>
                      <a:pt x="74" y="138"/>
                    </a:lnTo>
                    <a:lnTo>
                      <a:pt x="74" y="140"/>
                    </a:lnTo>
                    <a:lnTo>
                      <a:pt x="76" y="140"/>
                    </a:lnTo>
                    <a:lnTo>
                      <a:pt x="78" y="140"/>
                    </a:lnTo>
                    <a:lnTo>
                      <a:pt x="78" y="138"/>
                    </a:lnTo>
                    <a:lnTo>
                      <a:pt x="80" y="138"/>
                    </a:lnTo>
                    <a:lnTo>
                      <a:pt x="82" y="138"/>
                    </a:lnTo>
                    <a:lnTo>
                      <a:pt x="82" y="136"/>
                    </a:lnTo>
                    <a:lnTo>
                      <a:pt x="84" y="136"/>
                    </a:lnTo>
                    <a:lnTo>
                      <a:pt x="86" y="136"/>
                    </a:lnTo>
                    <a:lnTo>
                      <a:pt x="88" y="136"/>
                    </a:lnTo>
                    <a:lnTo>
                      <a:pt x="90" y="134"/>
                    </a:lnTo>
                    <a:lnTo>
                      <a:pt x="92" y="134"/>
                    </a:lnTo>
                    <a:lnTo>
                      <a:pt x="92" y="132"/>
                    </a:lnTo>
                    <a:lnTo>
                      <a:pt x="94" y="134"/>
                    </a:lnTo>
                    <a:lnTo>
                      <a:pt x="96" y="134"/>
                    </a:lnTo>
                    <a:lnTo>
                      <a:pt x="98" y="134"/>
                    </a:lnTo>
                    <a:lnTo>
                      <a:pt x="100" y="134"/>
                    </a:lnTo>
                    <a:lnTo>
                      <a:pt x="100" y="136"/>
                    </a:lnTo>
                    <a:lnTo>
                      <a:pt x="102" y="138"/>
                    </a:lnTo>
                    <a:lnTo>
                      <a:pt x="104" y="138"/>
                    </a:lnTo>
                    <a:lnTo>
                      <a:pt x="104" y="136"/>
                    </a:lnTo>
                    <a:lnTo>
                      <a:pt x="104" y="134"/>
                    </a:lnTo>
                    <a:lnTo>
                      <a:pt x="104" y="132"/>
                    </a:lnTo>
                    <a:lnTo>
                      <a:pt x="104" y="130"/>
                    </a:lnTo>
                    <a:lnTo>
                      <a:pt x="102" y="130"/>
                    </a:lnTo>
                    <a:lnTo>
                      <a:pt x="102" y="128"/>
                    </a:lnTo>
                    <a:lnTo>
                      <a:pt x="100" y="128"/>
                    </a:lnTo>
                    <a:lnTo>
                      <a:pt x="102" y="128"/>
                    </a:lnTo>
                    <a:lnTo>
                      <a:pt x="102" y="126"/>
                    </a:lnTo>
                    <a:lnTo>
                      <a:pt x="104" y="124"/>
                    </a:lnTo>
                    <a:lnTo>
                      <a:pt x="106" y="124"/>
                    </a:lnTo>
                    <a:lnTo>
                      <a:pt x="108" y="124"/>
                    </a:lnTo>
                    <a:lnTo>
                      <a:pt x="110" y="124"/>
                    </a:lnTo>
                    <a:lnTo>
                      <a:pt x="112" y="124"/>
                    </a:lnTo>
                    <a:lnTo>
                      <a:pt x="112" y="122"/>
                    </a:lnTo>
                    <a:lnTo>
                      <a:pt x="112" y="120"/>
                    </a:lnTo>
                    <a:lnTo>
                      <a:pt x="110" y="118"/>
                    </a:lnTo>
                    <a:lnTo>
                      <a:pt x="112" y="118"/>
                    </a:lnTo>
                    <a:lnTo>
                      <a:pt x="114" y="118"/>
                    </a:lnTo>
                    <a:lnTo>
                      <a:pt x="114" y="116"/>
                    </a:lnTo>
                    <a:lnTo>
                      <a:pt x="116" y="114"/>
                    </a:lnTo>
                    <a:lnTo>
                      <a:pt x="116" y="112"/>
                    </a:lnTo>
                    <a:lnTo>
                      <a:pt x="116" y="110"/>
                    </a:lnTo>
                    <a:lnTo>
                      <a:pt x="114" y="108"/>
                    </a:lnTo>
                    <a:lnTo>
                      <a:pt x="112" y="108"/>
                    </a:lnTo>
                    <a:lnTo>
                      <a:pt x="110" y="108"/>
                    </a:lnTo>
                    <a:lnTo>
                      <a:pt x="108" y="106"/>
                    </a:lnTo>
                    <a:lnTo>
                      <a:pt x="106" y="106"/>
                    </a:lnTo>
                    <a:lnTo>
                      <a:pt x="106" y="104"/>
                    </a:lnTo>
                    <a:lnTo>
                      <a:pt x="104" y="102"/>
                    </a:lnTo>
                    <a:lnTo>
                      <a:pt x="102" y="102"/>
                    </a:lnTo>
                    <a:lnTo>
                      <a:pt x="100" y="102"/>
                    </a:lnTo>
                    <a:lnTo>
                      <a:pt x="98" y="102"/>
                    </a:lnTo>
                    <a:lnTo>
                      <a:pt x="100" y="102"/>
                    </a:lnTo>
                    <a:lnTo>
                      <a:pt x="100" y="100"/>
                    </a:lnTo>
                    <a:lnTo>
                      <a:pt x="98" y="100"/>
                    </a:lnTo>
                    <a:lnTo>
                      <a:pt x="98" y="98"/>
                    </a:lnTo>
                    <a:lnTo>
                      <a:pt x="96" y="98"/>
                    </a:lnTo>
                    <a:lnTo>
                      <a:pt x="96" y="96"/>
                    </a:lnTo>
                    <a:lnTo>
                      <a:pt x="94" y="94"/>
                    </a:lnTo>
                    <a:lnTo>
                      <a:pt x="94" y="92"/>
                    </a:lnTo>
                    <a:lnTo>
                      <a:pt x="96" y="92"/>
                    </a:lnTo>
                    <a:lnTo>
                      <a:pt x="96" y="90"/>
                    </a:lnTo>
                    <a:lnTo>
                      <a:pt x="94" y="90"/>
                    </a:lnTo>
                    <a:lnTo>
                      <a:pt x="94" y="88"/>
                    </a:lnTo>
                    <a:lnTo>
                      <a:pt x="92" y="88"/>
                    </a:lnTo>
                    <a:lnTo>
                      <a:pt x="92" y="86"/>
                    </a:lnTo>
                    <a:lnTo>
                      <a:pt x="92" y="84"/>
                    </a:lnTo>
                    <a:lnTo>
                      <a:pt x="94" y="84"/>
                    </a:lnTo>
                    <a:lnTo>
                      <a:pt x="94" y="86"/>
                    </a:lnTo>
                    <a:lnTo>
                      <a:pt x="94" y="84"/>
                    </a:lnTo>
                    <a:lnTo>
                      <a:pt x="94" y="82"/>
                    </a:lnTo>
                    <a:lnTo>
                      <a:pt x="96" y="82"/>
                    </a:lnTo>
                    <a:lnTo>
                      <a:pt x="98" y="82"/>
                    </a:lnTo>
                    <a:lnTo>
                      <a:pt x="100" y="82"/>
                    </a:lnTo>
                    <a:lnTo>
                      <a:pt x="102" y="82"/>
                    </a:lnTo>
                    <a:lnTo>
                      <a:pt x="104" y="82"/>
                    </a:lnTo>
                    <a:lnTo>
                      <a:pt x="106" y="82"/>
                    </a:lnTo>
                    <a:lnTo>
                      <a:pt x="106" y="80"/>
                    </a:lnTo>
                    <a:lnTo>
                      <a:pt x="108" y="80"/>
                    </a:lnTo>
                    <a:lnTo>
                      <a:pt x="110" y="80"/>
                    </a:lnTo>
                    <a:lnTo>
                      <a:pt x="112" y="78"/>
                    </a:lnTo>
                    <a:lnTo>
                      <a:pt x="114" y="78"/>
                    </a:lnTo>
                    <a:lnTo>
                      <a:pt x="116" y="78"/>
                    </a:lnTo>
                    <a:lnTo>
                      <a:pt x="118" y="78"/>
                    </a:lnTo>
                    <a:lnTo>
                      <a:pt x="118" y="76"/>
                    </a:lnTo>
                    <a:lnTo>
                      <a:pt x="120" y="76"/>
                    </a:lnTo>
                    <a:lnTo>
                      <a:pt x="120" y="74"/>
                    </a:lnTo>
                    <a:lnTo>
                      <a:pt x="122" y="74"/>
                    </a:lnTo>
                    <a:lnTo>
                      <a:pt x="122" y="72"/>
                    </a:lnTo>
                    <a:lnTo>
                      <a:pt x="124" y="72"/>
                    </a:lnTo>
                    <a:lnTo>
                      <a:pt x="124" y="70"/>
                    </a:lnTo>
                    <a:lnTo>
                      <a:pt x="126" y="72"/>
                    </a:lnTo>
                    <a:lnTo>
                      <a:pt x="128" y="74"/>
                    </a:lnTo>
                    <a:lnTo>
                      <a:pt x="130" y="74"/>
                    </a:lnTo>
                    <a:lnTo>
                      <a:pt x="132" y="72"/>
                    </a:lnTo>
                    <a:lnTo>
                      <a:pt x="132" y="70"/>
                    </a:lnTo>
                    <a:lnTo>
                      <a:pt x="134" y="68"/>
                    </a:lnTo>
                    <a:lnTo>
                      <a:pt x="132" y="68"/>
                    </a:lnTo>
                    <a:lnTo>
                      <a:pt x="132" y="66"/>
                    </a:lnTo>
                    <a:lnTo>
                      <a:pt x="132" y="64"/>
                    </a:lnTo>
                    <a:lnTo>
                      <a:pt x="132" y="62"/>
                    </a:lnTo>
                    <a:lnTo>
                      <a:pt x="130" y="62"/>
                    </a:lnTo>
                    <a:lnTo>
                      <a:pt x="130" y="64"/>
                    </a:lnTo>
                    <a:lnTo>
                      <a:pt x="130" y="62"/>
                    </a:lnTo>
                    <a:lnTo>
                      <a:pt x="130" y="60"/>
                    </a:lnTo>
                    <a:lnTo>
                      <a:pt x="130" y="58"/>
                    </a:lnTo>
                    <a:lnTo>
                      <a:pt x="128" y="58"/>
                    </a:lnTo>
                    <a:lnTo>
                      <a:pt x="126" y="58"/>
                    </a:lnTo>
                    <a:lnTo>
                      <a:pt x="126" y="56"/>
                    </a:lnTo>
                    <a:lnTo>
                      <a:pt x="128" y="54"/>
                    </a:lnTo>
                    <a:lnTo>
                      <a:pt x="128" y="52"/>
                    </a:lnTo>
                    <a:lnTo>
                      <a:pt x="130" y="52"/>
                    </a:lnTo>
                    <a:lnTo>
                      <a:pt x="128" y="52"/>
                    </a:lnTo>
                    <a:lnTo>
                      <a:pt x="128" y="50"/>
                    </a:lnTo>
                    <a:lnTo>
                      <a:pt x="128" y="48"/>
                    </a:lnTo>
                    <a:lnTo>
                      <a:pt x="126" y="48"/>
                    </a:lnTo>
                    <a:lnTo>
                      <a:pt x="126" y="46"/>
                    </a:lnTo>
                    <a:lnTo>
                      <a:pt x="128" y="44"/>
                    </a:lnTo>
                    <a:lnTo>
                      <a:pt x="126" y="42"/>
                    </a:lnTo>
                    <a:lnTo>
                      <a:pt x="126" y="40"/>
                    </a:lnTo>
                    <a:lnTo>
                      <a:pt x="124" y="40"/>
                    </a:lnTo>
                    <a:lnTo>
                      <a:pt x="122" y="40"/>
                    </a:lnTo>
                    <a:lnTo>
                      <a:pt x="122" y="38"/>
                    </a:lnTo>
                    <a:lnTo>
                      <a:pt x="120" y="38"/>
                    </a:lnTo>
                    <a:lnTo>
                      <a:pt x="120" y="36"/>
                    </a:lnTo>
                    <a:lnTo>
                      <a:pt x="120" y="34"/>
                    </a:lnTo>
                    <a:lnTo>
                      <a:pt x="122" y="34"/>
                    </a:lnTo>
                    <a:lnTo>
                      <a:pt x="124" y="34"/>
                    </a:lnTo>
                    <a:lnTo>
                      <a:pt x="124" y="32"/>
                    </a:lnTo>
                    <a:lnTo>
                      <a:pt x="124" y="30"/>
                    </a:lnTo>
                    <a:lnTo>
                      <a:pt x="124" y="28"/>
                    </a:lnTo>
                    <a:lnTo>
                      <a:pt x="122" y="26"/>
                    </a:lnTo>
                    <a:lnTo>
                      <a:pt x="122" y="24"/>
                    </a:lnTo>
                    <a:lnTo>
                      <a:pt x="120" y="22"/>
                    </a:lnTo>
                    <a:lnTo>
                      <a:pt x="118" y="20"/>
                    </a:lnTo>
                    <a:lnTo>
                      <a:pt x="116" y="20"/>
                    </a:lnTo>
                    <a:lnTo>
                      <a:pt x="116" y="18"/>
                    </a:lnTo>
                    <a:lnTo>
                      <a:pt x="116" y="16"/>
                    </a:lnTo>
                    <a:lnTo>
                      <a:pt x="114" y="16"/>
                    </a:lnTo>
                    <a:lnTo>
                      <a:pt x="114" y="14"/>
                    </a:lnTo>
                    <a:lnTo>
                      <a:pt x="112" y="14"/>
                    </a:lnTo>
                    <a:lnTo>
                      <a:pt x="110" y="14"/>
                    </a:lnTo>
                    <a:lnTo>
                      <a:pt x="108" y="14"/>
                    </a:lnTo>
                    <a:lnTo>
                      <a:pt x="106" y="12"/>
                    </a:lnTo>
                    <a:lnTo>
                      <a:pt x="104" y="12"/>
                    </a:lnTo>
                    <a:lnTo>
                      <a:pt x="102" y="10"/>
                    </a:lnTo>
                    <a:lnTo>
                      <a:pt x="100" y="10"/>
                    </a:lnTo>
                    <a:lnTo>
                      <a:pt x="98" y="10"/>
                    </a:lnTo>
                    <a:lnTo>
                      <a:pt x="96" y="10"/>
                    </a:lnTo>
                    <a:lnTo>
                      <a:pt x="94" y="10"/>
                    </a:lnTo>
                    <a:lnTo>
                      <a:pt x="92" y="10"/>
                    </a:lnTo>
                    <a:lnTo>
                      <a:pt x="92" y="12"/>
                    </a:lnTo>
                    <a:lnTo>
                      <a:pt x="88" y="12"/>
                    </a:lnTo>
                    <a:lnTo>
                      <a:pt x="86" y="12"/>
                    </a:lnTo>
                    <a:lnTo>
                      <a:pt x="84" y="12"/>
                    </a:lnTo>
                    <a:lnTo>
                      <a:pt x="82" y="12"/>
                    </a:lnTo>
                    <a:lnTo>
                      <a:pt x="80" y="12"/>
                    </a:lnTo>
                    <a:lnTo>
                      <a:pt x="80" y="14"/>
                    </a:lnTo>
                    <a:lnTo>
                      <a:pt x="80" y="16"/>
                    </a:lnTo>
                    <a:lnTo>
                      <a:pt x="78" y="16"/>
                    </a:lnTo>
                    <a:lnTo>
                      <a:pt x="76" y="16"/>
                    </a:lnTo>
                    <a:lnTo>
                      <a:pt x="74" y="16"/>
                    </a:lnTo>
                    <a:lnTo>
                      <a:pt x="72" y="16"/>
                    </a:lnTo>
                    <a:lnTo>
                      <a:pt x="72" y="14"/>
                    </a:lnTo>
                    <a:lnTo>
                      <a:pt x="72" y="12"/>
                    </a:lnTo>
                    <a:lnTo>
                      <a:pt x="74" y="10"/>
                    </a:lnTo>
                    <a:lnTo>
                      <a:pt x="74" y="8"/>
                    </a:lnTo>
                    <a:lnTo>
                      <a:pt x="72" y="8"/>
                    </a:lnTo>
                    <a:lnTo>
                      <a:pt x="70" y="10"/>
                    </a:lnTo>
                    <a:lnTo>
                      <a:pt x="68" y="10"/>
                    </a:lnTo>
                    <a:lnTo>
                      <a:pt x="64" y="8"/>
                    </a:lnTo>
                    <a:lnTo>
                      <a:pt x="62" y="8"/>
                    </a:lnTo>
                    <a:lnTo>
                      <a:pt x="60" y="8"/>
                    </a:lnTo>
                    <a:lnTo>
                      <a:pt x="58" y="6"/>
                    </a:lnTo>
                    <a:lnTo>
                      <a:pt x="58" y="4"/>
                    </a:lnTo>
                    <a:lnTo>
                      <a:pt x="56" y="2"/>
                    </a:lnTo>
                    <a:lnTo>
                      <a:pt x="54" y="2"/>
                    </a:lnTo>
                    <a:lnTo>
                      <a:pt x="54" y="0"/>
                    </a:lnTo>
                    <a:lnTo>
                      <a:pt x="52" y="0"/>
                    </a:lnTo>
                    <a:lnTo>
                      <a:pt x="50" y="2"/>
                    </a:lnTo>
                    <a:lnTo>
                      <a:pt x="48" y="2"/>
                    </a:lnTo>
                    <a:lnTo>
                      <a:pt x="46" y="0"/>
                    </a:lnTo>
                    <a:lnTo>
                      <a:pt x="44" y="0"/>
                    </a:lnTo>
                    <a:lnTo>
                      <a:pt x="42" y="0"/>
                    </a:lnTo>
                    <a:lnTo>
                      <a:pt x="40" y="0"/>
                    </a:lnTo>
                    <a:lnTo>
                      <a:pt x="42" y="2"/>
                    </a:lnTo>
                    <a:lnTo>
                      <a:pt x="44" y="4"/>
                    </a:lnTo>
                    <a:lnTo>
                      <a:pt x="44" y="6"/>
                    </a:lnTo>
                    <a:lnTo>
                      <a:pt x="44" y="8"/>
                    </a:lnTo>
                    <a:lnTo>
                      <a:pt x="46" y="8"/>
                    </a:lnTo>
                    <a:lnTo>
                      <a:pt x="44" y="10"/>
                    </a:lnTo>
                    <a:lnTo>
                      <a:pt x="42" y="10"/>
                    </a:lnTo>
                    <a:lnTo>
                      <a:pt x="44" y="12"/>
                    </a:lnTo>
                    <a:lnTo>
                      <a:pt x="44" y="14"/>
                    </a:lnTo>
                    <a:lnTo>
                      <a:pt x="46" y="16"/>
                    </a:lnTo>
                    <a:lnTo>
                      <a:pt x="46" y="18"/>
                    </a:lnTo>
                    <a:lnTo>
                      <a:pt x="48" y="18"/>
                    </a:lnTo>
                    <a:lnTo>
                      <a:pt x="48" y="20"/>
                    </a:lnTo>
                    <a:lnTo>
                      <a:pt x="50" y="20"/>
                    </a:lnTo>
                    <a:lnTo>
                      <a:pt x="48" y="20"/>
                    </a:lnTo>
                    <a:lnTo>
                      <a:pt x="46" y="20"/>
                    </a:lnTo>
                    <a:lnTo>
                      <a:pt x="46" y="18"/>
                    </a:lnTo>
                    <a:lnTo>
                      <a:pt x="44" y="18"/>
                    </a:lnTo>
                    <a:lnTo>
                      <a:pt x="42" y="18"/>
                    </a:lnTo>
                    <a:lnTo>
                      <a:pt x="40" y="18"/>
                    </a:lnTo>
                    <a:lnTo>
                      <a:pt x="40" y="20"/>
                    </a:lnTo>
                    <a:lnTo>
                      <a:pt x="38" y="20"/>
                    </a:lnTo>
                    <a:lnTo>
                      <a:pt x="38" y="22"/>
                    </a:lnTo>
                    <a:lnTo>
                      <a:pt x="38" y="24"/>
                    </a:lnTo>
                    <a:lnTo>
                      <a:pt x="38" y="26"/>
                    </a:lnTo>
                    <a:lnTo>
                      <a:pt x="36" y="26"/>
                    </a:lnTo>
                    <a:lnTo>
                      <a:pt x="34" y="26"/>
                    </a:lnTo>
                    <a:lnTo>
                      <a:pt x="32" y="26"/>
                    </a:lnTo>
                    <a:lnTo>
                      <a:pt x="30" y="24"/>
                    </a:lnTo>
                    <a:lnTo>
                      <a:pt x="30" y="22"/>
                    </a:lnTo>
                    <a:lnTo>
                      <a:pt x="28" y="22"/>
                    </a:lnTo>
                    <a:lnTo>
                      <a:pt x="26" y="22"/>
                    </a:lnTo>
                    <a:lnTo>
                      <a:pt x="24" y="22"/>
                    </a:lnTo>
                    <a:lnTo>
                      <a:pt x="22" y="22"/>
                    </a:lnTo>
                    <a:lnTo>
                      <a:pt x="20" y="22"/>
                    </a:lnTo>
                    <a:lnTo>
                      <a:pt x="20" y="24"/>
                    </a:lnTo>
                    <a:lnTo>
                      <a:pt x="20" y="26"/>
                    </a:lnTo>
                    <a:lnTo>
                      <a:pt x="20" y="28"/>
                    </a:lnTo>
                    <a:lnTo>
                      <a:pt x="20" y="30"/>
                    </a:lnTo>
                    <a:lnTo>
                      <a:pt x="20" y="32"/>
                    </a:lnTo>
                    <a:lnTo>
                      <a:pt x="20" y="34"/>
                    </a:lnTo>
                    <a:lnTo>
                      <a:pt x="22" y="34"/>
                    </a:lnTo>
                    <a:lnTo>
                      <a:pt x="20" y="34"/>
                    </a:lnTo>
                    <a:lnTo>
                      <a:pt x="18" y="36"/>
                    </a:lnTo>
                    <a:lnTo>
                      <a:pt x="16" y="38"/>
                    </a:lnTo>
                    <a:lnTo>
                      <a:pt x="18" y="40"/>
                    </a:lnTo>
                    <a:lnTo>
                      <a:pt x="16" y="40"/>
                    </a:lnTo>
                    <a:lnTo>
                      <a:pt x="14" y="40"/>
                    </a:lnTo>
                    <a:lnTo>
                      <a:pt x="14" y="42"/>
                    </a:lnTo>
                    <a:lnTo>
                      <a:pt x="12" y="42"/>
                    </a:lnTo>
                    <a:lnTo>
                      <a:pt x="10" y="42"/>
                    </a:lnTo>
                    <a:lnTo>
                      <a:pt x="10" y="44"/>
                    </a:lnTo>
                    <a:lnTo>
                      <a:pt x="12" y="44"/>
                    </a:lnTo>
                    <a:lnTo>
                      <a:pt x="14" y="46"/>
                    </a:lnTo>
                    <a:lnTo>
                      <a:pt x="16" y="46"/>
                    </a:lnTo>
                    <a:lnTo>
                      <a:pt x="16" y="48"/>
                    </a:lnTo>
                    <a:lnTo>
                      <a:pt x="14" y="50"/>
                    </a:lnTo>
                    <a:lnTo>
                      <a:pt x="14" y="52"/>
                    </a:lnTo>
                    <a:lnTo>
                      <a:pt x="12" y="54"/>
                    </a:lnTo>
                    <a:lnTo>
                      <a:pt x="12" y="56"/>
                    </a:lnTo>
                    <a:lnTo>
                      <a:pt x="12" y="54"/>
                    </a:lnTo>
                    <a:lnTo>
                      <a:pt x="10" y="54"/>
                    </a:lnTo>
                    <a:lnTo>
                      <a:pt x="10" y="56"/>
                    </a:lnTo>
                    <a:lnTo>
                      <a:pt x="8" y="58"/>
                    </a:lnTo>
                    <a:lnTo>
                      <a:pt x="6" y="58"/>
                    </a:lnTo>
                    <a:lnTo>
                      <a:pt x="4" y="58"/>
                    </a:lnTo>
                    <a:lnTo>
                      <a:pt x="2" y="56"/>
                    </a:lnTo>
                    <a:lnTo>
                      <a:pt x="0" y="56"/>
                    </a:lnTo>
                    <a:lnTo>
                      <a:pt x="0" y="58"/>
                    </a:lnTo>
                    <a:lnTo>
                      <a:pt x="2" y="58"/>
                    </a:lnTo>
                    <a:lnTo>
                      <a:pt x="2" y="60"/>
                    </a:lnTo>
                    <a:lnTo>
                      <a:pt x="2" y="62"/>
                    </a:lnTo>
                    <a:lnTo>
                      <a:pt x="4" y="64"/>
                    </a:lnTo>
                    <a:lnTo>
                      <a:pt x="4" y="66"/>
                    </a:lnTo>
                    <a:lnTo>
                      <a:pt x="2" y="66"/>
                    </a:lnTo>
                    <a:lnTo>
                      <a:pt x="0" y="68"/>
                    </a:lnTo>
                    <a:lnTo>
                      <a:pt x="0" y="70"/>
                    </a:lnTo>
                    <a:lnTo>
                      <a:pt x="0" y="72"/>
                    </a:lnTo>
                    <a:lnTo>
                      <a:pt x="0" y="74"/>
                    </a:lnTo>
                    <a:lnTo>
                      <a:pt x="0" y="76"/>
                    </a:lnTo>
                    <a:lnTo>
                      <a:pt x="0" y="78"/>
                    </a:lnTo>
                    <a:lnTo>
                      <a:pt x="2" y="78"/>
                    </a:lnTo>
                    <a:lnTo>
                      <a:pt x="4" y="78"/>
                    </a:lnTo>
                    <a:lnTo>
                      <a:pt x="4" y="80"/>
                    </a:lnTo>
                    <a:lnTo>
                      <a:pt x="6" y="80"/>
                    </a:lnTo>
                    <a:lnTo>
                      <a:pt x="6" y="82"/>
                    </a:lnTo>
                    <a:lnTo>
                      <a:pt x="6" y="84"/>
                    </a:lnTo>
                    <a:lnTo>
                      <a:pt x="4" y="84"/>
                    </a:lnTo>
                    <a:lnTo>
                      <a:pt x="4" y="86"/>
                    </a:lnTo>
                    <a:lnTo>
                      <a:pt x="2" y="86"/>
                    </a:lnTo>
                    <a:lnTo>
                      <a:pt x="2" y="88"/>
                    </a:lnTo>
                    <a:lnTo>
                      <a:pt x="2" y="90"/>
                    </a:lnTo>
                    <a:lnTo>
                      <a:pt x="4" y="92"/>
                    </a:lnTo>
                    <a:lnTo>
                      <a:pt x="6" y="92"/>
                    </a:lnTo>
                    <a:lnTo>
                      <a:pt x="6" y="94"/>
                    </a:lnTo>
                    <a:lnTo>
                      <a:pt x="8" y="94"/>
                    </a:lnTo>
                    <a:lnTo>
                      <a:pt x="8" y="96"/>
                    </a:lnTo>
                    <a:lnTo>
                      <a:pt x="6" y="98"/>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2" name="Freeform 110">
                <a:extLst>
                  <a:ext uri="{FF2B5EF4-FFF2-40B4-BE49-F238E27FC236}">
                    <a16:creationId xmlns:a16="http://schemas.microsoft.com/office/drawing/2014/main" id="{337C31EA-5A50-4546-B8CC-4B13248B830D}"/>
                  </a:ext>
                </a:extLst>
              </p:cNvPr>
              <p:cNvSpPr>
                <a:spLocks noChangeAspect="1"/>
              </p:cNvSpPr>
              <p:nvPr/>
            </p:nvSpPr>
            <p:spPr bwMode="auto">
              <a:xfrm>
                <a:off x="4719566" y="2002945"/>
                <a:ext cx="269676" cy="408088"/>
              </a:xfrm>
              <a:custGeom>
                <a:avLst/>
                <a:gdLst/>
                <a:ahLst/>
                <a:cxnLst>
                  <a:cxn ang="0">
                    <a:pos x="158" y="36"/>
                  </a:cxn>
                  <a:cxn ang="0">
                    <a:pos x="156" y="26"/>
                  </a:cxn>
                  <a:cxn ang="0">
                    <a:pos x="154" y="18"/>
                  </a:cxn>
                  <a:cxn ang="0">
                    <a:pos x="142" y="10"/>
                  </a:cxn>
                  <a:cxn ang="0">
                    <a:pos x="132" y="8"/>
                  </a:cxn>
                  <a:cxn ang="0">
                    <a:pos x="116" y="0"/>
                  </a:cxn>
                  <a:cxn ang="0">
                    <a:pos x="110" y="4"/>
                  </a:cxn>
                  <a:cxn ang="0">
                    <a:pos x="108" y="10"/>
                  </a:cxn>
                  <a:cxn ang="0">
                    <a:pos x="96" y="8"/>
                  </a:cxn>
                  <a:cxn ang="0">
                    <a:pos x="88" y="8"/>
                  </a:cxn>
                  <a:cxn ang="0">
                    <a:pos x="84" y="16"/>
                  </a:cxn>
                  <a:cxn ang="0">
                    <a:pos x="68" y="16"/>
                  </a:cxn>
                  <a:cxn ang="0">
                    <a:pos x="60" y="24"/>
                  </a:cxn>
                  <a:cxn ang="0">
                    <a:pos x="62" y="34"/>
                  </a:cxn>
                  <a:cxn ang="0">
                    <a:pos x="50" y="40"/>
                  </a:cxn>
                  <a:cxn ang="0">
                    <a:pos x="48" y="48"/>
                  </a:cxn>
                  <a:cxn ang="0">
                    <a:pos x="42" y="52"/>
                  </a:cxn>
                  <a:cxn ang="0">
                    <a:pos x="40" y="64"/>
                  </a:cxn>
                  <a:cxn ang="0">
                    <a:pos x="30" y="72"/>
                  </a:cxn>
                  <a:cxn ang="0">
                    <a:pos x="26" y="82"/>
                  </a:cxn>
                  <a:cxn ang="0">
                    <a:pos x="12" y="90"/>
                  </a:cxn>
                  <a:cxn ang="0">
                    <a:pos x="12" y="96"/>
                  </a:cxn>
                  <a:cxn ang="0">
                    <a:pos x="12" y="108"/>
                  </a:cxn>
                  <a:cxn ang="0">
                    <a:pos x="14" y="122"/>
                  </a:cxn>
                  <a:cxn ang="0">
                    <a:pos x="20" y="132"/>
                  </a:cxn>
                  <a:cxn ang="0">
                    <a:pos x="14" y="138"/>
                  </a:cxn>
                  <a:cxn ang="0">
                    <a:pos x="16" y="148"/>
                  </a:cxn>
                  <a:cxn ang="0">
                    <a:pos x="10" y="154"/>
                  </a:cxn>
                  <a:cxn ang="0">
                    <a:pos x="6" y="160"/>
                  </a:cxn>
                  <a:cxn ang="0">
                    <a:pos x="2" y="170"/>
                  </a:cxn>
                  <a:cxn ang="0">
                    <a:pos x="2" y="182"/>
                  </a:cxn>
                  <a:cxn ang="0">
                    <a:pos x="10" y="184"/>
                  </a:cxn>
                  <a:cxn ang="0">
                    <a:pos x="8" y="196"/>
                  </a:cxn>
                  <a:cxn ang="0">
                    <a:pos x="18" y="208"/>
                  </a:cxn>
                  <a:cxn ang="0">
                    <a:pos x="22" y="216"/>
                  </a:cxn>
                  <a:cxn ang="0">
                    <a:pos x="24" y="226"/>
                  </a:cxn>
                  <a:cxn ang="0">
                    <a:pos x="32" y="234"/>
                  </a:cxn>
                  <a:cxn ang="0">
                    <a:pos x="44" y="230"/>
                  </a:cxn>
                  <a:cxn ang="0">
                    <a:pos x="48" y="220"/>
                  </a:cxn>
                  <a:cxn ang="0">
                    <a:pos x="64" y="220"/>
                  </a:cxn>
                  <a:cxn ang="0">
                    <a:pos x="70" y="210"/>
                  </a:cxn>
                  <a:cxn ang="0">
                    <a:pos x="74" y="196"/>
                  </a:cxn>
                  <a:cxn ang="0">
                    <a:pos x="78" y="184"/>
                  </a:cxn>
                  <a:cxn ang="0">
                    <a:pos x="76" y="180"/>
                  </a:cxn>
                  <a:cxn ang="0">
                    <a:pos x="84" y="176"/>
                  </a:cxn>
                  <a:cxn ang="0">
                    <a:pos x="92" y="172"/>
                  </a:cxn>
                  <a:cxn ang="0">
                    <a:pos x="98" y="162"/>
                  </a:cxn>
                  <a:cxn ang="0">
                    <a:pos x="98" y="150"/>
                  </a:cxn>
                  <a:cxn ang="0">
                    <a:pos x="90" y="142"/>
                  </a:cxn>
                  <a:cxn ang="0">
                    <a:pos x="80" y="138"/>
                  </a:cxn>
                  <a:cxn ang="0">
                    <a:pos x="82" y="120"/>
                  </a:cxn>
                  <a:cxn ang="0">
                    <a:pos x="82" y="110"/>
                  </a:cxn>
                  <a:cxn ang="0">
                    <a:pos x="84" y="102"/>
                  </a:cxn>
                  <a:cxn ang="0">
                    <a:pos x="98" y="96"/>
                  </a:cxn>
                  <a:cxn ang="0">
                    <a:pos x="108" y="92"/>
                  </a:cxn>
                  <a:cxn ang="0">
                    <a:pos x="128" y="82"/>
                  </a:cxn>
                  <a:cxn ang="0">
                    <a:pos x="130" y="66"/>
                  </a:cxn>
                  <a:cxn ang="0">
                    <a:pos x="136" y="56"/>
                  </a:cxn>
                  <a:cxn ang="0">
                    <a:pos x="148" y="52"/>
                  </a:cxn>
                  <a:cxn ang="0">
                    <a:pos x="162" y="56"/>
                  </a:cxn>
                </a:cxnLst>
                <a:rect l="0" t="0" r="r" b="b"/>
                <a:pathLst>
                  <a:path w="164" h="234">
                    <a:moveTo>
                      <a:pt x="162" y="48"/>
                    </a:moveTo>
                    <a:lnTo>
                      <a:pt x="162" y="48"/>
                    </a:lnTo>
                    <a:lnTo>
                      <a:pt x="160" y="46"/>
                    </a:lnTo>
                    <a:lnTo>
                      <a:pt x="158" y="44"/>
                    </a:lnTo>
                    <a:lnTo>
                      <a:pt x="156" y="42"/>
                    </a:lnTo>
                    <a:lnTo>
                      <a:pt x="156" y="40"/>
                    </a:lnTo>
                    <a:lnTo>
                      <a:pt x="158" y="38"/>
                    </a:lnTo>
                    <a:lnTo>
                      <a:pt x="158" y="36"/>
                    </a:lnTo>
                    <a:lnTo>
                      <a:pt x="160" y="34"/>
                    </a:lnTo>
                    <a:lnTo>
                      <a:pt x="158" y="32"/>
                    </a:lnTo>
                    <a:lnTo>
                      <a:pt x="156" y="32"/>
                    </a:lnTo>
                    <a:lnTo>
                      <a:pt x="154" y="30"/>
                    </a:lnTo>
                    <a:lnTo>
                      <a:pt x="154" y="28"/>
                    </a:lnTo>
                    <a:lnTo>
                      <a:pt x="156" y="26"/>
                    </a:lnTo>
                    <a:lnTo>
                      <a:pt x="154" y="24"/>
                    </a:lnTo>
                    <a:lnTo>
                      <a:pt x="152" y="24"/>
                    </a:lnTo>
                    <a:lnTo>
                      <a:pt x="152" y="22"/>
                    </a:lnTo>
                    <a:lnTo>
                      <a:pt x="154" y="22"/>
                    </a:lnTo>
                    <a:lnTo>
                      <a:pt x="154" y="20"/>
                    </a:lnTo>
                    <a:lnTo>
                      <a:pt x="154" y="18"/>
                    </a:lnTo>
                    <a:lnTo>
                      <a:pt x="154" y="16"/>
                    </a:lnTo>
                    <a:lnTo>
                      <a:pt x="152" y="16"/>
                    </a:lnTo>
                    <a:lnTo>
                      <a:pt x="152" y="14"/>
                    </a:lnTo>
                    <a:lnTo>
                      <a:pt x="150" y="14"/>
                    </a:lnTo>
                    <a:lnTo>
                      <a:pt x="148" y="14"/>
                    </a:lnTo>
                    <a:lnTo>
                      <a:pt x="146" y="12"/>
                    </a:lnTo>
                    <a:lnTo>
                      <a:pt x="144" y="12"/>
                    </a:lnTo>
                    <a:lnTo>
                      <a:pt x="142" y="10"/>
                    </a:lnTo>
                    <a:lnTo>
                      <a:pt x="140" y="10"/>
                    </a:lnTo>
                    <a:lnTo>
                      <a:pt x="138" y="10"/>
                    </a:lnTo>
                    <a:lnTo>
                      <a:pt x="136" y="10"/>
                    </a:lnTo>
                    <a:lnTo>
                      <a:pt x="134" y="8"/>
                    </a:lnTo>
                    <a:lnTo>
                      <a:pt x="132" y="8"/>
                    </a:lnTo>
                    <a:lnTo>
                      <a:pt x="130" y="6"/>
                    </a:lnTo>
                    <a:lnTo>
                      <a:pt x="128" y="6"/>
                    </a:lnTo>
                    <a:lnTo>
                      <a:pt x="124" y="4"/>
                    </a:lnTo>
                    <a:lnTo>
                      <a:pt x="122" y="4"/>
                    </a:lnTo>
                    <a:lnTo>
                      <a:pt x="120" y="2"/>
                    </a:lnTo>
                    <a:lnTo>
                      <a:pt x="118" y="2"/>
                    </a:lnTo>
                    <a:lnTo>
                      <a:pt x="118" y="0"/>
                    </a:lnTo>
                    <a:lnTo>
                      <a:pt x="116" y="0"/>
                    </a:lnTo>
                    <a:lnTo>
                      <a:pt x="114" y="0"/>
                    </a:lnTo>
                    <a:lnTo>
                      <a:pt x="112" y="0"/>
                    </a:lnTo>
                    <a:lnTo>
                      <a:pt x="110" y="0"/>
                    </a:lnTo>
                    <a:lnTo>
                      <a:pt x="110" y="2"/>
                    </a:lnTo>
                    <a:lnTo>
                      <a:pt x="110" y="4"/>
                    </a:lnTo>
                    <a:lnTo>
                      <a:pt x="108" y="4"/>
                    </a:lnTo>
                    <a:lnTo>
                      <a:pt x="108" y="6"/>
                    </a:lnTo>
                    <a:lnTo>
                      <a:pt x="108" y="8"/>
                    </a:lnTo>
                    <a:lnTo>
                      <a:pt x="110" y="8"/>
                    </a:lnTo>
                    <a:lnTo>
                      <a:pt x="110" y="10"/>
                    </a:lnTo>
                    <a:lnTo>
                      <a:pt x="108" y="10"/>
                    </a:lnTo>
                    <a:lnTo>
                      <a:pt x="104" y="10"/>
                    </a:lnTo>
                    <a:lnTo>
                      <a:pt x="102" y="10"/>
                    </a:lnTo>
                    <a:lnTo>
                      <a:pt x="102" y="8"/>
                    </a:lnTo>
                    <a:lnTo>
                      <a:pt x="100" y="8"/>
                    </a:lnTo>
                    <a:lnTo>
                      <a:pt x="98" y="8"/>
                    </a:lnTo>
                    <a:lnTo>
                      <a:pt x="96" y="8"/>
                    </a:lnTo>
                    <a:lnTo>
                      <a:pt x="94" y="8"/>
                    </a:lnTo>
                    <a:lnTo>
                      <a:pt x="92" y="8"/>
                    </a:lnTo>
                    <a:lnTo>
                      <a:pt x="90" y="8"/>
                    </a:lnTo>
                    <a:lnTo>
                      <a:pt x="88" y="8"/>
                    </a:lnTo>
                    <a:lnTo>
                      <a:pt x="88" y="6"/>
                    </a:lnTo>
                    <a:lnTo>
                      <a:pt x="86" y="6"/>
                    </a:lnTo>
                    <a:lnTo>
                      <a:pt x="84" y="8"/>
                    </a:lnTo>
                    <a:lnTo>
                      <a:pt x="84" y="10"/>
                    </a:lnTo>
                    <a:lnTo>
                      <a:pt x="84" y="12"/>
                    </a:lnTo>
                    <a:lnTo>
                      <a:pt x="84" y="14"/>
                    </a:lnTo>
                    <a:lnTo>
                      <a:pt x="84" y="16"/>
                    </a:lnTo>
                    <a:lnTo>
                      <a:pt x="80" y="16"/>
                    </a:lnTo>
                    <a:lnTo>
                      <a:pt x="78" y="16"/>
                    </a:lnTo>
                    <a:lnTo>
                      <a:pt x="74" y="16"/>
                    </a:lnTo>
                    <a:lnTo>
                      <a:pt x="72" y="16"/>
                    </a:lnTo>
                    <a:lnTo>
                      <a:pt x="70" y="16"/>
                    </a:lnTo>
                    <a:lnTo>
                      <a:pt x="68" y="16"/>
                    </a:lnTo>
                    <a:lnTo>
                      <a:pt x="68" y="18"/>
                    </a:lnTo>
                    <a:lnTo>
                      <a:pt x="66" y="20"/>
                    </a:lnTo>
                    <a:lnTo>
                      <a:pt x="64" y="22"/>
                    </a:lnTo>
                    <a:lnTo>
                      <a:pt x="62" y="22"/>
                    </a:lnTo>
                    <a:lnTo>
                      <a:pt x="60" y="24"/>
                    </a:lnTo>
                    <a:lnTo>
                      <a:pt x="60" y="26"/>
                    </a:lnTo>
                    <a:lnTo>
                      <a:pt x="62" y="28"/>
                    </a:lnTo>
                    <a:lnTo>
                      <a:pt x="64" y="30"/>
                    </a:lnTo>
                    <a:lnTo>
                      <a:pt x="64" y="32"/>
                    </a:lnTo>
                    <a:lnTo>
                      <a:pt x="62" y="32"/>
                    </a:lnTo>
                    <a:lnTo>
                      <a:pt x="62" y="34"/>
                    </a:lnTo>
                    <a:lnTo>
                      <a:pt x="60" y="34"/>
                    </a:lnTo>
                    <a:lnTo>
                      <a:pt x="58" y="36"/>
                    </a:lnTo>
                    <a:lnTo>
                      <a:pt x="56" y="38"/>
                    </a:lnTo>
                    <a:lnTo>
                      <a:pt x="56" y="40"/>
                    </a:lnTo>
                    <a:lnTo>
                      <a:pt x="54" y="40"/>
                    </a:lnTo>
                    <a:lnTo>
                      <a:pt x="52" y="40"/>
                    </a:lnTo>
                    <a:lnTo>
                      <a:pt x="50" y="40"/>
                    </a:lnTo>
                    <a:lnTo>
                      <a:pt x="52" y="40"/>
                    </a:lnTo>
                    <a:lnTo>
                      <a:pt x="52" y="42"/>
                    </a:lnTo>
                    <a:lnTo>
                      <a:pt x="54" y="44"/>
                    </a:lnTo>
                    <a:lnTo>
                      <a:pt x="52" y="46"/>
                    </a:lnTo>
                    <a:lnTo>
                      <a:pt x="50" y="46"/>
                    </a:lnTo>
                    <a:lnTo>
                      <a:pt x="48" y="46"/>
                    </a:lnTo>
                    <a:lnTo>
                      <a:pt x="48" y="48"/>
                    </a:lnTo>
                    <a:lnTo>
                      <a:pt x="46" y="48"/>
                    </a:lnTo>
                    <a:lnTo>
                      <a:pt x="44" y="46"/>
                    </a:lnTo>
                    <a:lnTo>
                      <a:pt x="42" y="46"/>
                    </a:lnTo>
                    <a:lnTo>
                      <a:pt x="42" y="48"/>
                    </a:lnTo>
                    <a:lnTo>
                      <a:pt x="42" y="50"/>
                    </a:lnTo>
                    <a:lnTo>
                      <a:pt x="42" y="52"/>
                    </a:lnTo>
                    <a:lnTo>
                      <a:pt x="42" y="54"/>
                    </a:lnTo>
                    <a:lnTo>
                      <a:pt x="42" y="56"/>
                    </a:lnTo>
                    <a:lnTo>
                      <a:pt x="42" y="60"/>
                    </a:lnTo>
                    <a:lnTo>
                      <a:pt x="42" y="62"/>
                    </a:lnTo>
                    <a:lnTo>
                      <a:pt x="40" y="64"/>
                    </a:lnTo>
                    <a:lnTo>
                      <a:pt x="38" y="66"/>
                    </a:lnTo>
                    <a:lnTo>
                      <a:pt x="36" y="68"/>
                    </a:lnTo>
                    <a:lnTo>
                      <a:pt x="34" y="70"/>
                    </a:lnTo>
                    <a:lnTo>
                      <a:pt x="32" y="72"/>
                    </a:lnTo>
                    <a:lnTo>
                      <a:pt x="30" y="72"/>
                    </a:lnTo>
                    <a:lnTo>
                      <a:pt x="32" y="74"/>
                    </a:lnTo>
                    <a:lnTo>
                      <a:pt x="34" y="74"/>
                    </a:lnTo>
                    <a:lnTo>
                      <a:pt x="36" y="76"/>
                    </a:lnTo>
                    <a:lnTo>
                      <a:pt x="36" y="78"/>
                    </a:lnTo>
                    <a:lnTo>
                      <a:pt x="36" y="80"/>
                    </a:lnTo>
                    <a:lnTo>
                      <a:pt x="34" y="82"/>
                    </a:lnTo>
                    <a:lnTo>
                      <a:pt x="32" y="82"/>
                    </a:lnTo>
                    <a:lnTo>
                      <a:pt x="30" y="82"/>
                    </a:lnTo>
                    <a:lnTo>
                      <a:pt x="28" y="82"/>
                    </a:lnTo>
                    <a:lnTo>
                      <a:pt x="26" y="82"/>
                    </a:lnTo>
                    <a:lnTo>
                      <a:pt x="24" y="82"/>
                    </a:lnTo>
                    <a:lnTo>
                      <a:pt x="22" y="82"/>
                    </a:lnTo>
                    <a:lnTo>
                      <a:pt x="22" y="84"/>
                    </a:lnTo>
                    <a:lnTo>
                      <a:pt x="20" y="86"/>
                    </a:lnTo>
                    <a:lnTo>
                      <a:pt x="18" y="86"/>
                    </a:lnTo>
                    <a:lnTo>
                      <a:pt x="18" y="88"/>
                    </a:lnTo>
                    <a:lnTo>
                      <a:pt x="16" y="88"/>
                    </a:lnTo>
                    <a:lnTo>
                      <a:pt x="14" y="88"/>
                    </a:lnTo>
                    <a:lnTo>
                      <a:pt x="14" y="90"/>
                    </a:lnTo>
                    <a:lnTo>
                      <a:pt x="12" y="90"/>
                    </a:lnTo>
                    <a:lnTo>
                      <a:pt x="12" y="92"/>
                    </a:lnTo>
                    <a:lnTo>
                      <a:pt x="10" y="92"/>
                    </a:lnTo>
                    <a:lnTo>
                      <a:pt x="10" y="94"/>
                    </a:lnTo>
                    <a:lnTo>
                      <a:pt x="8" y="96"/>
                    </a:lnTo>
                    <a:lnTo>
                      <a:pt x="10" y="96"/>
                    </a:lnTo>
                    <a:lnTo>
                      <a:pt x="12" y="96"/>
                    </a:lnTo>
                    <a:lnTo>
                      <a:pt x="14" y="98"/>
                    </a:lnTo>
                    <a:lnTo>
                      <a:pt x="12" y="100"/>
                    </a:lnTo>
                    <a:lnTo>
                      <a:pt x="10" y="102"/>
                    </a:lnTo>
                    <a:lnTo>
                      <a:pt x="8" y="102"/>
                    </a:lnTo>
                    <a:lnTo>
                      <a:pt x="8" y="104"/>
                    </a:lnTo>
                    <a:lnTo>
                      <a:pt x="10" y="106"/>
                    </a:lnTo>
                    <a:lnTo>
                      <a:pt x="12" y="108"/>
                    </a:lnTo>
                    <a:lnTo>
                      <a:pt x="14" y="110"/>
                    </a:lnTo>
                    <a:lnTo>
                      <a:pt x="14" y="112"/>
                    </a:lnTo>
                    <a:lnTo>
                      <a:pt x="16" y="112"/>
                    </a:lnTo>
                    <a:lnTo>
                      <a:pt x="14" y="114"/>
                    </a:lnTo>
                    <a:lnTo>
                      <a:pt x="14" y="116"/>
                    </a:lnTo>
                    <a:lnTo>
                      <a:pt x="12" y="118"/>
                    </a:lnTo>
                    <a:lnTo>
                      <a:pt x="14" y="120"/>
                    </a:lnTo>
                    <a:lnTo>
                      <a:pt x="14" y="122"/>
                    </a:lnTo>
                    <a:lnTo>
                      <a:pt x="16" y="124"/>
                    </a:lnTo>
                    <a:lnTo>
                      <a:pt x="18" y="124"/>
                    </a:lnTo>
                    <a:lnTo>
                      <a:pt x="18" y="126"/>
                    </a:lnTo>
                    <a:lnTo>
                      <a:pt x="20" y="126"/>
                    </a:lnTo>
                    <a:lnTo>
                      <a:pt x="20" y="128"/>
                    </a:lnTo>
                    <a:lnTo>
                      <a:pt x="22" y="128"/>
                    </a:lnTo>
                    <a:lnTo>
                      <a:pt x="20" y="130"/>
                    </a:lnTo>
                    <a:lnTo>
                      <a:pt x="20" y="132"/>
                    </a:lnTo>
                    <a:lnTo>
                      <a:pt x="18" y="134"/>
                    </a:lnTo>
                    <a:lnTo>
                      <a:pt x="16" y="134"/>
                    </a:lnTo>
                    <a:lnTo>
                      <a:pt x="14" y="134"/>
                    </a:lnTo>
                    <a:lnTo>
                      <a:pt x="14" y="136"/>
                    </a:lnTo>
                    <a:lnTo>
                      <a:pt x="14" y="138"/>
                    </a:lnTo>
                    <a:lnTo>
                      <a:pt x="16" y="140"/>
                    </a:lnTo>
                    <a:lnTo>
                      <a:pt x="16" y="142"/>
                    </a:lnTo>
                    <a:lnTo>
                      <a:pt x="18" y="142"/>
                    </a:lnTo>
                    <a:lnTo>
                      <a:pt x="18" y="144"/>
                    </a:lnTo>
                    <a:lnTo>
                      <a:pt x="18" y="146"/>
                    </a:lnTo>
                    <a:lnTo>
                      <a:pt x="16" y="146"/>
                    </a:lnTo>
                    <a:lnTo>
                      <a:pt x="16" y="148"/>
                    </a:lnTo>
                    <a:lnTo>
                      <a:pt x="16" y="150"/>
                    </a:lnTo>
                    <a:lnTo>
                      <a:pt x="16" y="152"/>
                    </a:lnTo>
                    <a:lnTo>
                      <a:pt x="16" y="154"/>
                    </a:lnTo>
                    <a:lnTo>
                      <a:pt x="14" y="154"/>
                    </a:lnTo>
                    <a:lnTo>
                      <a:pt x="12" y="154"/>
                    </a:lnTo>
                    <a:lnTo>
                      <a:pt x="10" y="154"/>
                    </a:lnTo>
                    <a:lnTo>
                      <a:pt x="8" y="152"/>
                    </a:lnTo>
                    <a:lnTo>
                      <a:pt x="8" y="154"/>
                    </a:lnTo>
                    <a:lnTo>
                      <a:pt x="8" y="156"/>
                    </a:lnTo>
                    <a:lnTo>
                      <a:pt x="8" y="158"/>
                    </a:lnTo>
                    <a:lnTo>
                      <a:pt x="6" y="158"/>
                    </a:lnTo>
                    <a:lnTo>
                      <a:pt x="6" y="160"/>
                    </a:lnTo>
                    <a:lnTo>
                      <a:pt x="8" y="162"/>
                    </a:lnTo>
                    <a:lnTo>
                      <a:pt x="8" y="164"/>
                    </a:lnTo>
                    <a:lnTo>
                      <a:pt x="8" y="166"/>
                    </a:lnTo>
                    <a:lnTo>
                      <a:pt x="8" y="168"/>
                    </a:lnTo>
                    <a:lnTo>
                      <a:pt x="6" y="170"/>
                    </a:lnTo>
                    <a:lnTo>
                      <a:pt x="6" y="172"/>
                    </a:lnTo>
                    <a:lnTo>
                      <a:pt x="4" y="170"/>
                    </a:lnTo>
                    <a:lnTo>
                      <a:pt x="2" y="170"/>
                    </a:lnTo>
                    <a:lnTo>
                      <a:pt x="2" y="168"/>
                    </a:lnTo>
                    <a:lnTo>
                      <a:pt x="0" y="168"/>
                    </a:lnTo>
                    <a:lnTo>
                      <a:pt x="0" y="170"/>
                    </a:lnTo>
                    <a:lnTo>
                      <a:pt x="0" y="172"/>
                    </a:lnTo>
                    <a:lnTo>
                      <a:pt x="0" y="174"/>
                    </a:lnTo>
                    <a:lnTo>
                      <a:pt x="0" y="176"/>
                    </a:lnTo>
                    <a:lnTo>
                      <a:pt x="2" y="178"/>
                    </a:lnTo>
                    <a:lnTo>
                      <a:pt x="2" y="180"/>
                    </a:lnTo>
                    <a:lnTo>
                      <a:pt x="2" y="182"/>
                    </a:lnTo>
                    <a:lnTo>
                      <a:pt x="4" y="182"/>
                    </a:lnTo>
                    <a:lnTo>
                      <a:pt x="4" y="180"/>
                    </a:lnTo>
                    <a:lnTo>
                      <a:pt x="6" y="180"/>
                    </a:lnTo>
                    <a:lnTo>
                      <a:pt x="8" y="182"/>
                    </a:lnTo>
                    <a:lnTo>
                      <a:pt x="10" y="182"/>
                    </a:lnTo>
                    <a:lnTo>
                      <a:pt x="10" y="184"/>
                    </a:lnTo>
                    <a:lnTo>
                      <a:pt x="8" y="184"/>
                    </a:lnTo>
                    <a:lnTo>
                      <a:pt x="8" y="186"/>
                    </a:lnTo>
                    <a:lnTo>
                      <a:pt x="8" y="188"/>
                    </a:lnTo>
                    <a:lnTo>
                      <a:pt x="6" y="190"/>
                    </a:lnTo>
                    <a:lnTo>
                      <a:pt x="6" y="192"/>
                    </a:lnTo>
                    <a:lnTo>
                      <a:pt x="6" y="194"/>
                    </a:lnTo>
                    <a:lnTo>
                      <a:pt x="6" y="196"/>
                    </a:lnTo>
                    <a:lnTo>
                      <a:pt x="8" y="196"/>
                    </a:lnTo>
                    <a:lnTo>
                      <a:pt x="8" y="198"/>
                    </a:lnTo>
                    <a:lnTo>
                      <a:pt x="10" y="200"/>
                    </a:lnTo>
                    <a:lnTo>
                      <a:pt x="12" y="200"/>
                    </a:lnTo>
                    <a:lnTo>
                      <a:pt x="14" y="200"/>
                    </a:lnTo>
                    <a:lnTo>
                      <a:pt x="14" y="202"/>
                    </a:lnTo>
                    <a:lnTo>
                      <a:pt x="16" y="204"/>
                    </a:lnTo>
                    <a:lnTo>
                      <a:pt x="18" y="208"/>
                    </a:lnTo>
                    <a:lnTo>
                      <a:pt x="20" y="210"/>
                    </a:lnTo>
                    <a:lnTo>
                      <a:pt x="22" y="212"/>
                    </a:lnTo>
                    <a:lnTo>
                      <a:pt x="24" y="212"/>
                    </a:lnTo>
                    <a:lnTo>
                      <a:pt x="24" y="214"/>
                    </a:lnTo>
                    <a:lnTo>
                      <a:pt x="24" y="216"/>
                    </a:lnTo>
                    <a:lnTo>
                      <a:pt x="22" y="216"/>
                    </a:lnTo>
                    <a:lnTo>
                      <a:pt x="20" y="216"/>
                    </a:lnTo>
                    <a:lnTo>
                      <a:pt x="18" y="218"/>
                    </a:lnTo>
                    <a:lnTo>
                      <a:pt x="18" y="220"/>
                    </a:lnTo>
                    <a:lnTo>
                      <a:pt x="18" y="222"/>
                    </a:lnTo>
                    <a:lnTo>
                      <a:pt x="20" y="222"/>
                    </a:lnTo>
                    <a:lnTo>
                      <a:pt x="20" y="224"/>
                    </a:lnTo>
                    <a:lnTo>
                      <a:pt x="22" y="226"/>
                    </a:lnTo>
                    <a:lnTo>
                      <a:pt x="24" y="226"/>
                    </a:lnTo>
                    <a:lnTo>
                      <a:pt x="24" y="228"/>
                    </a:lnTo>
                    <a:lnTo>
                      <a:pt x="24" y="230"/>
                    </a:lnTo>
                    <a:lnTo>
                      <a:pt x="24" y="232"/>
                    </a:lnTo>
                    <a:lnTo>
                      <a:pt x="26" y="234"/>
                    </a:lnTo>
                    <a:lnTo>
                      <a:pt x="28" y="234"/>
                    </a:lnTo>
                    <a:lnTo>
                      <a:pt x="30" y="234"/>
                    </a:lnTo>
                    <a:lnTo>
                      <a:pt x="32" y="234"/>
                    </a:lnTo>
                    <a:lnTo>
                      <a:pt x="34" y="234"/>
                    </a:lnTo>
                    <a:lnTo>
                      <a:pt x="36" y="234"/>
                    </a:lnTo>
                    <a:lnTo>
                      <a:pt x="38" y="234"/>
                    </a:lnTo>
                    <a:lnTo>
                      <a:pt x="40" y="234"/>
                    </a:lnTo>
                    <a:lnTo>
                      <a:pt x="42" y="234"/>
                    </a:lnTo>
                    <a:lnTo>
                      <a:pt x="44" y="234"/>
                    </a:lnTo>
                    <a:lnTo>
                      <a:pt x="44" y="230"/>
                    </a:lnTo>
                    <a:lnTo>
                      <a:pt x="44" y="228"/>
                    </a:lnTo>
                    <a:lnTo>
                      <a:pt x="44" y="226"/>
                    </a:lnTo>
                    <a:lnTo>
                      <a:pt x="44" y="224"/>
                    </a:lnTo>
                    <a:lnTo>
                      <a:pt x="46" y="224"/>
                    </a:lnTo>
                    <a:lnTo>
                      <a:pt x="48" y="224"/>
                    </a:lnTo>
                    <a:lnTo>
                      <a:pt x="48" y="222"/>
                    </a:lnTo>
                    <a:lnTo>
                      <a:pt x="48" y="220"/>
                    </a:lnTo>
                    <a:lnTo>
                      <a:pt x="50" y="220"/>
                    </a:lnTo>
                    <a:lnTo>
                      <a:pt x="54" y="220"/>
                    </a:lnTo>
                    <a:lnTo>
                      <a:pt x="56" y="220"/>
                    </a:lnTo>
                    <a:lnTo>
                      <a:pt x="58" y="220"/>
                    </a:lnTo>
                    <a:lnTo>
                      <a:pt x="60" y="220"/>
                    </a:lnTo>
                    <a:lnTo>
                      <a:pt x="62" y="220"/>
                    </a:lnTo>
                    <a:lnTo>
                      <a:pt x="64" y="220"/>
                    </a:lnTo>
                    <a:lnTo>
                      <a:pt x="66" y="222"/>
                    </a:lnTo>
                    <a:lnTo>
                      <a:pt x="68" y="220"/>
                    </a:lnTo>
                    <a:lnTo>
                      <a:pt x="68" y="218"/>
                    </a:lnTo>
                    <a:lnTo>
                      <a:pt x="68" y="216"/>
                    </a:lnTo>
                    <a:lnTo>
                      <a:pt x="70" y="214"/>
                    </a:lnTo>
                    <a:lnTo>
                      <a:pt x="70" y="212"/>
                    </a:lnTo>
                    <a:lnTo>
                      <a:pt x="70" y="210"/>
                    </a:lnTo>
                    <a:lnTo>
                      <a:pt x="70" y="208"/>
                    </a:lnTo>
                    <a:lnTo>
                      <a:pt x="72" y="208"/>
                    </a:lnTo>
                    <a:lnTo>
                      <a:pt x="72" y="206"/>
                    </a:lnTo>
                    <a:lnTo>
                      <a:pt x="72" y="204"/>
                    </a:lnTo>
                    <a:lnTo>
                      <a:pt x="74" y="202"/>
                    </a:lnTo>
                    <a:lnTo>
                      <a:pt x="74" y="200"/>
                    </a:lnTo>
                    <a:lnTo>
                      <a:pt x="74" y="198"/>
                    </a:lnTo>
                    <a:lnTo>
                      <a:pt x="74" y="196"/>
                    </a:lnTo>
                    <a:lnTo>
                      <a:pt x="74" y="194"/>
                    </a:lnTo>
                    <a:lnTo>
                      <a:pt x="72" y="192"/>
                    </a:lnTo>
                    <a:lnTo>
                      <a:pt x="72" y="190"/>
                    </a:lnTo>
                    <a:lnTo>
                      <a:pt x="74" y="188"/>
                    </a:lnTo>
                    <a:lnTo>
                      <a:pt x="76" y="188"/>
                    </a:lnTo>
                    <a:lnTo>
                      <a:pt x="78" y="186"/>
                    </a:lnTo>
                    <a:lnTo>
                      <a:pt x="78" y="184"/>
                    </a:lnTo>
                    <a:lnTo>
                      <a:pt x="76" y="182"/>
                    </a:lnTo>
                    <a:lnTo>
                      <a:pt x="74" y="182"/>
                    </a:lnTo>
                    <a:lnTo>
                      <a:pt x="72" y="182"/>
                    </a:lnTo>
                    <a:lnTo>
                      <a:pt x="70" y="182"/>
                    </a:lnTo>
                    <a:lnTo>
                      <a:pt x="72" y="180"/>
                    </a:lnTo>
                    <a:lnTo>
                      <a:pt x="74" y="180"/>
                    </a:lnTo>
                    <a:lnTo>
                      <a:pt x="76" y="180"/>
                    </a:lnTo>
                    <a:lnTo>
                      <a:pt x="74" y="178"/>
                    </a:lnTo>
                    <a:lnTo>
                      <a:pt x="72" y="178"/>
                    </a:lnTo>
                    <a:lnTo>
                      <a:pt x="74" y="178"/>
                    </a:lnTo>
                    <a:lnTo>
                      <a:pt x="76" y="178"/>
                    </a:lnTo>
                    <a:lnTo>
                      <a:pt x="78" y="178"/>
                    </a:lnTo>
                    <a:lnTo>
                      <a:pt x="80" y="178"/>
                    </a:lnTo>
                    <a:lnTo>
                      <a:pt x="84" y="176"/>
                    </a:lnTo>
                    <a:lnTo>
                      <a:pt x="86" y="176"/>
                    </a:lnTo>
                    <a:lnTo>
                      <a:pt x="86" y="174"/>
                    </a:lnTo>
                    <a:lnTo>
                      <a:pt x="86" y="172"/>
                    </a:lnTo>
                    <a:lnTo>
                      <a:pt x="88" y="170"/>
                    </a:lnTo>
                    <a:lnTo>
                      <a:pt x="88" y="168"/>
                    </a:lnTo>
                    <a:lnTo>
                      <a:pt x="90" y="170"/>
                    </a:lnTo>
                    <a:lnTo>
                      <a:pt x="92" y="172"/>
                    </a:lnTo>
                    <a:lnTo>
                      <a:pt x="94" y="172"/>
                    </a:lnTo>
                    <a:lnTo>
                      <a:pt x="96" y="170"/>
                    </a:lnTo>
                    <a:lnTo>
                      <a:pt x="96" y="168"/>
                    </a:lnTo>
                    <a:lnTo>
                      <a:pt x="98" y="168"/>
                    </a:lnTo>
                    <a:lnTo>
                      <a:pt x="98" y="166"/>
                    </a:lnTo>
                    <a:lnTo>
                      <a:pt x="98" y="164"/>
                    </a:lnTo>
                    <a:lnTo>
                      <a:pt x="98" y="162"/>
                    </a:lnTo>
                    <a:lnTo>
                      <a:pt x="100" y="162"/>
                    </a:lnTo>
                    <a:lnTo>
                      <a:pt x="102" y="160"/>
                    </a:lnTo>
                    <a:lnTo>
                      <a:pt x="104" y="160"/>
                    </a:lnTo>
                    <a:lnTo>
                      <a:pt x="104" y="158"/>
                    </a:lnTo>
                    <a:lnTo>
                      <a:pt x="104" y="156"/>
                    </a:lnTo>
                    <a:lnTo>
                      <a:pt x="104" y="154"/>
                    </a:lnTo>
                    <a:lnTo>
                      <a:pt x="102" y="152"/>
                    </a:lnTo>
                    <a:lnTo>
                      <a:pt x="100" y="150"/>
                    </a:lnTo>
                    <a:lnTo>
                      <a:pt x="98" y="150"/>
                    </a:lnTo>
                    <a:lnTo>
                      <a:pt x="98" y="148"/>
                    </a:lnTo>
                    <a:lnTo>
                      <a:pt x="98" y="146"/>
                    </a:lnTo>
                    <a:lnTo>
                      <a:pt x="94" y="144"/>
                    </a:lnTo>
                    <a:lnTo>
                      <a:pt x="92" y="144"/>
                    </a:lnTo>
                    <a:lnTo>
                      <a:pt x="90" y="142"/>
                    </a:lnTo>
                    <a:lnTo>
                      <a:pt x="88" y="142"/>
                    </a:lnTo>
                    <a:lnTo>
                      <a:pt x="88" y="144"/>
                    </a:lnTo>
                    <a:lnTo>
                      <a:pt x="86" y="144"/>
                    </a:lnTo>
                    <a:lnTo>
                      <a:pt x="84" y="144"/>
                    </a:lnTo>
                    <a:lnTo>
                      <a:pt x="84" y="142"/>
                    </a:lnTo>
                    <a:lnTo>
                      <a:pt x="82" y="142"/>
                    </a:lnTo>
                    <a:lnTo>
                      <a:pt x="82" y="140"/>
                    </a:lnTo>
                    <a:lnTo>
                      <a:pt x="80" y="138"/>
                    </a:lnTo>
                    <a:lnTo>
                      <a:pt x="80" y="136"/>
                    </a:lnTo>
                    <a:lnTo>
                      <a:pt x="80" y="132"/>
                    </a:lnTo>
                    <a:lnTo>
                      <a:pt x="78" y="130"/>
                    </a:lnTo>
                    <a:lnTo>
                      <a:pt x="78" y="128"/>
                    </a:lnTo>
                    <a:lnTo>
                      <a:pt x="78" y="126"/>
                    </a:lnTo>
                    <a:lnTo>
                      <a:pt x="78" y="124"/>
                    </a:lnTo>
                    <a:lnTo>
                      <a:pt x="80" y="124"/>
                    </a:lnTo>
                    <a:lnTo>
                      <a:pt x="80" y="122"/>
                    </a:lnTo>
                    <a:lnTo>
                      <a:pt x="82" y="120"/>
                    </a:lnTo>
                    <a:lnTo>
                      <a:pt x="82" y="118"/>
                    </a:lnTo>
                    <a:lnTo>
                      <a:pt x="82" y="116"/>
                    </a:lnTo>
                    <a:lnTo>
                      <a:pt x="82" y="114"/>
                    </a:lnTo>
                    <a:lnTo>
                      <a:pt x="82" y="112"/>
                    </a:lnTo>
                    <a:lnTo>
                      <a:pt x="80" y="112"/>
                    </a:lnTo>
                    <a:lnTo>
                      <a:pt x="80" y="110"/>
                    </a:lnTo>
                    <a:lnTo>
                      <a:pt x="82" y="110"/>
                    </a:lnTo>
                    <a:lnTo>
                      <a:pt x="84" y="110"/>
                    </a:lnTo>
                    <a:lnTo>
                      <a:pt x="86" y="110"/>
                    </a:lnTo>
                    <a:lnTo>
                      <a:pt x="86" y="108"/>
                    </a:lnTo>
                    <a:lnTo>
                      <a:pt x="86" y="106"/>
                    </a:lnTo>
                    <a:lnTo>
                      <a:pt x="86" y="104"/>
                    </a:lnTo>
                    <a:lnTo>
                      <a:pt x="84" y="102"/>
                    </a:lnTo>
                    <a:lnTo>
                      <a:pt x="84" y="100"/>
                    </a:lnTo>
                    <a:lnTo>
                      <a:pt x="84" y="102"/>
                    </a:lnTo>
                    <a:lnTo>
                      <a:pt x="86" y="102"/>
                    </a:lnTo>
                    <a:lnTo>
                      <a:pt x="88" y="102"/>
                    </a:lnTo>
                    <a:lnTo>
                      <a:pt x="90" y="102"/>
                    </a:lnTo>
                    <a:lnTo>
                      <a:pt x="92" y="102"/>
                    </a:lnTo>
                    <a:lnTo>
                      <a:pt x="92" y="100"/>
                    </a:lnTo>
                    <a:lnTo>
                      <a:pt x="94" y="98"/>
                    </a:lnTo>
                    <a:lnTo>
                      <a:pt x="96" y="98"/>
                    </a:lnTo>
                    <a:lnTo>
                      <a:pt x="96" y="96"/>
                    </a:lnTo>
                    <a:lnTo>
                      <a:pt x="98" y="96"/>
                    </a:lnTo>
                    <a:lnTo>
                      <a:pt x="100" y="96"/>
                    </a:lnTo>
                    <a:lnTo>
                      <a:pt x="102" y="96"/>
                    </a:lnTo>
                    <a:lnTo>
                      <a:pt x="104" y="96"/>
                    </a:lnTo>
                    <a:lnTo>
                      <a:pt x="104" y="98"/>
                    </a:lnTo>
                    <a:lnTo>
                      <a:pt x="106" y="96"/>
                    </a:lnTo>
                    <a:lnTo>
                      <a:pt x="106" y="94"/>
                    </a:lnTo>
                    <a:lnTo>
                      <a:pt x="108" y="92"/>
                    </a:lnTo>
                    <a:lnTo>
                      <a:pt x="110" y="92"/>
                    </a:lnTo>
                    <a:lnTo>
                      <a:pt x="112" y="92"/>
                    </a:lnTo>
                    <a:lnTo>
                      <a:pt x="114" y="92"/>
                    </a:lnTo>
                    <a:lnTo>
                      <a:pt x="116" y="90"/>
                    </a:lnTo>
                    <a:lnTo>
                      <a:pt x="118" y="90"/>
                    </a:lnTo>
                    <a:lnTo>
                      <a:pt x="120" y="90"/>
                    </a:lnTo>
                    <a:lnTo>
                      <a:pt x="122" y="88"/>
                    </a:lnTo>
                    <a:lnTo>
                      <a:pt x="124" y="88"/>
                    </a:lnTo>
                    <a:lnTo>
                      <a:pt x="126" y="86"/>
                    </a:lnTo>
                    <a:lnTo>
                      <a:pt x="128" y="82"/>
                    </a:lnTo>
                    <a:lnTo>
                      <a:pt x="130" y="80"/>
                    </a:lnTo>
                    <a:lnTo>
                      <a:pt x="130" y="78"/>
                    </a:lnTo>
                    <a:lnTo>
                      <a:pt x="130" y="76"/>
                    </a:lnTo>
                    <a:lnTo>
                      <a:pt x="132" y="76"/>
                    </a:lnTo>
                    <a:lnTo>
                      <a:pt x="130" y="74"/>
                    </a:lnTo>
                    <a:lnTo>
                      <a:pt x="128" y="72"/>
                    </a:lnTo>
                    <a:lnTo>
                      <a:pt x="128" y="70"/>
                    </a:lnTo>
                    <a:lnTo>
                      <a:pt x="126" y="70"/>
                    </a:lnTo>
                    <a:lnTo>
                      <a:pt x="130" y="68"/>
                    </a:lnTo>
                    <a:lnTo>
                      <a:pt x="130" y="66"/>
                    </a:lnTo>
                    <a:lnTo>
                      <a:pt x="132" y="64"/>
                    </a:lnTo>
                    <a:lnTo>
                      <a:pt x="134" y="64"/>
                    </a:lnTo>
                    <a:lnTo>
                      <a:pt x="134" y="62"/>
                    </a:lnTo>
                    <a:lnTo>
                      <a:pt x="132" y="62"/>
                    </a:lnTo>
                    <a:lnTo>
                      <a:pt x="132" y="60"/>
                    </a:lnTo>
                    <a:lnTo>
                      <a:pt x="130" y="60"/>
                    </a:lnTo>
                    <a:lnTo>
                      <a:pt x="130" y="58"/>
                    </a:lnTo>
                    <a:lnTo>
                      <a:pt x="132" y="58"/>
                    </a:lnTo>
                    <a:lnTo>
                      <a:pt x="136" y="56"/>
                    </a:lnTo>
                    <a:lnTo>
                      <a:pt x="138" y="56"/>
                    </a:lnTo>
                    <a:lnTo>
                      <a:pt x="140" y="54"/>
                    </a:lnTo>
                    <a:lnTo>
                      <a:pt x="142" y="52"/>
                    </a:lnTo>
                    <a:lnTo>
                      <a:pt x="146" y="52"/>
                    </a:lnTo>
                    <a:lnTo>
                      <a:pt x="148" y="52"/>
                    </a:lnTo>
                    <a:lnTo>
                      <a:pt x="152" y="52"/>
                    </a:lnTo>
                    <a:lnTo>
                      <a:pt x="154" y="52"/>
                    </a:lnTo>
                    <a:lnTo>
                      <a:pt x="156" y="52"/>
                    </a:lnTo>
                    <a:lnTo>
                      <a:pt x="158" y="52"/>
                    </a:lnTo>
                    <a:lnTo>
                      <a:pt x="160" y="52"/>
                    </a:lnTo>
                    <a:lnTo>
                      <a:pt x="162" y="52"/>
                    </a:lnTo>
                    <a:lnTo>
                      <a:pt x="162" y="54"/>
                    </a:lnTo>
                    <a:lnTo>
                      <a:pt x="162" y="56"/>
                    </a:lnTo>
                    <a:lnTo>
                      <a:pt x="164" y="56"/>
                    </a:lnTo>
                    <a:lnTo>
                      <a:pt x="162" y="48"/>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3" name="Freeform 112">
                <a:extLst>
                  <a:ext uri="{FF2B5EF4-FFF2-40B4-BE49-F238E27FC236}">
                    <a16:creationId xmlns:a16="http://schemas.microsoft.com/office/drawing/2014/main" id="{B7E3538C-D612-48FF-8029-18E7839E6A0F}"/>
                  </a:ext>
                </a:extLst>
              </p:cNvPr>
              <p:cNvSpPr>
                <a:spLocks noChangeAspect="1"/>
              </p:cNvSpPr>
              <p:nvPr/>
            </p:nvSpPr>
            <p:spPr bwMode="auto">
              <a:xfrm>
                <a:off x="4203236" y="2789473"/>
                <a:ext cx="319006" cy="258107"/>
              </a:xfrm>
              <a:custGeom>
                <a:avLst/>
                <a:gdLst/>
                <a:ahLst/>
                <a:cxnLst>
                  <a:cxn ang="0">
                    <a:pos x="194" y="30"/>
                  </a:cxn>
                  <a:cxn ang="0">
                    <a:pos x="186" y="24"/>
                  </a:cxn>
                  <a:cxn ang="0">
                    <a:pos x="182" y="28"/>
                  </a:cxn>
                  <a:cxn ang="0">
                    <a:pos x="176" y="26"/>
                  </a:cxn>
                  <a:cxn ang="0">
                    <a:pos x="166" y="26"/>
                  </a:cxn>
                  <a:cxn ang="0">
                    <a:pos x="162" y="20"/>
                  </a:cxn>
                  <a:cxn ang="0">
                    <a:pos x="154" y="18"/>
                  </a:cxn>
                  <a:cxn ang="0">
                    <a:pos x="150" y="22"/>
                  </a:cxn>
                  <a:cxn ang="0">
                    <a:pos x="142" y="20"/>
                  </a:cxn>
                  <a:cxn ang="0">
                    <a:pos x="136" y="18"/>
                  </a:cxn>
                  <a:cxn ang="0">
                    <a:pos x="128" y="16"/>
                  </a:cxn>
                  <a:cxn ang="0">
                    <a:pos x="122" y="10"/>
                  </a:cxn>
                  <a:cxn ang="0">
                    <a:pos x="116" y="10"/>
                  </a:cxn>
                  <a:cxn ang="0">
                    <a:pos x="92" y="6"/>
                  </a:cxn>
                  <a:cxn ang="0">
                    <a:pos x="82" y="8"/>
                  </a:cxn>
                  <a:cxn ang="0">
                    <a:pos x="70" y="6"/>
                  </a:cxn>
                  <a:cxn ang="0">
                    <a:pos x="44" y="4"/>
                  </a:cxn>
                  <a:cxn ang="0">
                    <a:pos x="32" y="4"/>
                  </a:cxn>
                  <a:cxn ang="0">
                    <a:pos x="20" y="4"/>
                  </a:cxn>
                  <a:cxn ang="0">
                    <a:pos x="10" y="10"/>
                  </a:cxn>
                  <a:cxn ang="0">
                    <a:pos x="4" y="20"/>
                  </a:cxn>
                  <a:cxn ang="0">
                    <a:pos x="4" y="32"/>
                  </a:cxn>
                  <a:cxn ang="0">
                    <a:pos x="14" y="32"/>
                  </a:cxn>
                  <a:cxn ang="0">
                    <a:pos x="16" y="38"/>
                  </a:cxn>
                  <a:cxn ang="0">
                    <a:pos x="24" y="38"/>
                  </a:cxn>
                  <a:cxn ang="0">
                    <a:pos x="28" y="36"/>
                  </a:cxn>
                  <a:cxn ang="0">
                    <a:pos x="42" y="36"/>
                  </a:cxn>
                  <a:cxn ang="0">
                    <a:pos x="46" y="42"/>
                  </a:cxn>
                  <a:cxn ang="0">
                    <a:pos x="34" y="52"/>
                  </a:cxn>
                  <a:cxn ang="0">
                    <a:pos x="36" y="58"/>
                  </a:cxn>
                  <a:cxn ang="0">
                    <a:pos x="32" y="68"/>
                  </a:cxn>
                  <a:cxn ang="0">
                    <a:pos x="30" y="78"/>
                  </a:cxn>
                  <a:cxn ang="0">
                    <a:pos x="24" y="82"/>
                  </a:cxn>
                  <a:cxn ang="0">
                    <a:pos x="28" y="88"/>
                  </a:cxn>
                  <a:cxn ang="0">
                    <a:pos x="28" y="94"/>
                  </a:cxn>
                  <a:cxn ang="0">
                    <a:pos x="26" y="106"/>
                  </a:cxn>
                  <a:cxn ang="0">
                    <a:pos x="28" y="110"/>
                  </a:cxn>
                  <a:cxn ang="0">
                    <a:pos x="20" y="118"/>
                  </a:cxn>
                  <a:cxn ang="0">
                    <a:pos x="22" y="126"/>
                  </a:cxn>
                  <a:cxn ang="0">
                    <a:pos x="30" y="128"/>
                  </a:cxn>
                  <a:cxn ang="0">
                    <a:pos x="38" y="132"/>
                  </a:cxn>
                  <a:cxn ang="0">
                    <a:pos x="38" y="138"/>
                  </a:cxn>
                  <a:cxn ang="0">
                    <a:pos x="42" y="146"/>
                  </a:cxn>
                  <a:cxn ang="0">
                    <a:pos x="50" y="148"/>
                  </a:cxn>
                  <a:cxn ang="0">
                    <a:pos x="64" y="140"/>
                  </a:cxn>
                  <a:cxn ang="0">
                    <a:pos x="70" y="136"/>
                  </a:cxn>
                  <a:cxn ang="0">
                    <a:pos x="90" y="134"/>
                  </a:cxn>
                  <a:cxn ang="0">
                    <a:pos x="96" y="136"/>
                  </a:cxn>
                  <a:cxn ang="0">
                    <a:pos x="104" y="136"/>
                  </a:cxn>
                  <a:cxn ang="0">
                    <a:pos x="112" y="126"/>
                  </a:cxn>
                  <a:cxn ang="0">
                    <a:pos x="124" y="118"/>
                  </a:cxn>
                  <a:cxn ang="0">
                    <a:pos x="128" y="114"/>
                  </a:cxn>
                  <a:cxn ang="0">
                    <a:pos x="134" y="102"/>
                  </a:cxn>
                  <a:cxn ang="0">
                    <a:pos x="140" y="94"/>
                  </a:cxn>
                  <a:cxn ang="0">
                    <a:pos x="136" y="82"/>
                  </a:cxn>
                  <a:cxn ang="0">
                    <a:pos x="146" y="68"/>
                  </a:cxn>
                  <a:cxn ang="0">
                    <a:pos x="156" y="60"/>
                  </a:cxn>
                  <a:cxn ang="0">
                    <a:pos x="158" y="52"/>
                  </a:cxn>
                  <a:cxn ang="0">
                    <a:pos x="182" y="42"/>
                  </a:cxn>
                  <a:cxn ang="0">
                    <a:pos x="190" y="38"/>
                  </a:cxn>
                </a:cxnLst>
                <a:rect l="0" t="0" r="r" b="b"/>
                <a:pathLst>
                  <a:path w="194" h="148">
                    <a:moveTo>
                      <a:pt x="190" y="38"/>
                    </a:moveTo>
                    <a:lnTo>
                      <a:pt x="190" y="36"/>
                    </a:lnTo>
                    <a:lnTo>
                      <a:pt x="190" y="34"/>
                    </a:lnTo>
                    <a:lnTo>
                      <a:pt x="190" y="32"/>
                    </a:lnTo>
                    <a:lnTo>
                      <a:pt x="192" y="30"/>
                    </a:lnTo>
                    <a:lnTo>
                      <a:pt x="194" y="30"/>
                    </a:lnTo>
                    <a:lnTo>
                      <a:pt x="192" y="30"/>
                    </a:lnTo>
                    <a:lnTo>
                      <a:pt x="192" y="28"/>
                    </a:lnTo>
                    <a:lnTo>
                      <a:pt x="190" y="26"/>
                    </a:lnTo>
                    <a:lnTo>
                      <a:pt x="188" y="26"/>
                    </a:lnTo>
                    <a:lnTo>
                      <a:pt x="188" y="24"/>
                    </a:lnTo>
                    <a:lnTo>
                      <a:pt x="186" y="24"/>
                    </a:lnTo>
                    <a:lnTo>
                      <a:pt x="186" y="26"/>
                    </a:lnTo>
                    <a:lnTo>
                      <a:pt x="186" y="28"/>
                    </a:lnTo>
                    <a:lnTo>
                      <a:pt x="184" y="28"/>
                    </a:lnTo>
                    <a:lnTo>
                      <a:pt x="182" y="28"/>
                    </a:lnTo>
                    <a:lnTo>
                      <a:pt x="180" y="28"/>
                    </a:lnTo>
                    <a:lnTo>
                      <a:pt x="180" y="26"/>
                    </a:lnTo>
                    <a:lnTo>
                      <a:pt x="178" y="26"/>
                    </a:lnTo>
                    <a:lnTo>
                      <a:pt x="176" y="26"/>
                    </a:lnTo>
                    <a:lnTo>
                      <a:pt x="174" y="26"/>
                    </a:lnTo>
                    <a:lnTo>
                      <a:pt x="172" y="26"/>
                    </a:lnTo>
                    <a:lnTo>
                      <a:pt x="172" y="24"/>
                    </a:lnTo>
                    <a:lnTo>
                      <a:pt x="170" y="26"/>
                    </a:lnTo>
                    <a:lnTo>
                      <a:pt x="168" y="26"/>
                    </a:lnTo>
                    <a:lnTo>
                      <a:pt x="166" y="26"/>
                    </a:lnTo>
                    <a:lnTo>
                      <a:pt x="166" y="24"/>
                    </a:lnTo>
                    <a:lnTo>
                      <a:pt x="164" y="22"/>
                    </a:lnTo>
                    <a:lnTo>
                      <a:pt x="164" y="20"/>
                    </a:lnTo>
                    <a:lnTo>
                      <a:pt x="162" y="20"/>
                    </a:lnTo>
                    <a:lnTo>
                      <a:pt x="160" y="18"/>
                    </a:lnTo>
                    <a:lnTo>
                      <a:pt x="158" y="18"/>
                    </a:lnTo>
                    <a:lnTo>
                      <a:pt x="156" y="18"/>
                    </a:lnTo>
                    <a:lnTo>
                      <a:pt x="154" y="18"/>
                    </a:lnTo>
                    <a:lnTo>
                      <a:pt x="154" y="20"/>
                    </a:lnTo>
                    <a:lnTo>
                      <a:pt x="154" y="22"/>
                    </a:lnTo>
                    <a:lnTo>
                      <a:pt x="152" y="22"/>
                    </a:lnTo>
                    <a:lnTo>
                      <a:pt x="150" y="22"/>
                    </a:lnTo>
                    <a:lnTo>
                      <a:pt x="148" y="24"/>
                    </a:lnTo>
                    <a:lnTo>
                      <a:pt x="148" y="22"/>
                    </a:lnTo>
                    <a:lnTo>
                      <a:pt x="148" y="20"/>
                    </a:lnTo>
                    <a:lnTo>
                      <a:pt x="146" y="20"/>
                    </a:lnTo>
                    <a:lnTo>
                      <a:pt x="144" y="20"/>
                    </a:lnTo>
                    <a:lnTo>
                      <a:pt x="142" y="20"/>
                    </a:lnTo>
                    <a:lnTo>
                      <a:pt x="140" y="20"/>
                    </a:lnTo>
                    <a:lnTo>
                      <a:pt x="140" y="18"/>
                    </a:lnTo>
                    <a:lnTo>
                      <a:pt x="138" y="18"/>
                    </a:lnTo>
                    <a:lnTo>
                      <a:pt x="136" y="18"/>
                    </a:lnTo>
                    <a:lnTo>
                      <a:pt x="134" y="18"/>
                    </a:lnTo>
                    <a:lnTo>
                      <a:pt x="132" y="16"/>
                    </a:lnTo>
                    <a:lnTo>
                      <a:pt x="130" y="16"/>
                    </a:lnTo>
                    <a:lnTo>
                      <a:pt x="128" y="16"/>
                    </a:lnTo>
                    <a:lnTo>
                      <a:pt x="124" y="16"/>
                    </a:lnTo>
                    <a:lnTo>
                      <a:pt x="124" y="14"/>
                    </a:lnTo>
                    <a:lnTo>
                      <a:pt x="122" y="14"/>
                    </a:lnTo>
                    <a:lnTo>
                      <a:pt x="122" y="12"/>
                    </a:lnTo>
                    <a:lnTo>
                      <a:pt x="122" y="10"/>
                    </a:lnTo>
                    <a:lnTo>
                      <a:pt x="120" y="10"/>
                    </a:lnTo>
                    <a:lnTo>
                      <a:pt x="118" y="10"/>
                    </a:lnTo>
                    <a:lnTo>
                      <a:pt x="116" y="10"/>
                    </a:lnTo>
                    <a:lnTo>
                      <a:pt x="116" y="12"/>
                    </a:lnTo>
                    <a:lnTo>
                      <a:pt x="116" y="10"/>
                    </a:lnTo>
                    <a:lnTo>
                      <a:pt x="114" y="10"/>
                    </a:lnTo>
                    <a:lnTo>
                      <a:pt x="112" y="8"/>
                    </a:lnTo>
                    <a:lnTo>
                      <a:pt x="108" y="8"/>
                    </a:lnTo>
                    <a:lnTo>
                      <a:pt x="104" y="8"/>
                    </a:lnTo>
                    <a:lnTo>
                      <a:pt x="100" y="8"/>
                    </a:lnTo>
                    <a:lnTo>
                      <a:pt x="96" y="6"/>
                    </a:lnTo>
                    <a:lnTo>
                      <a:pt x="92" y="6"/>
                    </a:lnTo>
                    <a:lnTo>
                      <a:pt x="88" y="6"/>
                    </a:lnTo>
                    <a:lnTo>
                      <a:pt x="86" y="8"/>
                    </a:lnTo>
                    <a:lnTo>
                      <a:pt x="84" y="8"/>
                    </a:lnTo>
                    <a:lnTo>
                      <a:pt x="82" y="8"/>
                    </a:lnTo>
                    <a:lnTo>
                      <a:pt x="78" y="8"/>
                    </a:lnTo>
                    <a:lnTo>
                      <a:pt x="76" y="8"/>
                    </a:lnTo>
                    <a:lnTo>
                      <a:pt x="72" y="8"/>
                    </a:lnTo>
                    <a:lnTo>
                      <a:pt x="70" y="8"/>
                    </a:lnTo>
                    <a:lnTo>
                      <a:pt x="70" y="6"/>
                    </a:lnTo>
                    <a:lnTo>
                      <a:pt x="68" y="6"/>
                    </a:lnTo>
                    <a:lnTo>
                      <a:pt x="66" y="4"/>
                    </a:lnTo>
                    <a:lnTo>
                      <a:pt x="62" y="4"/>
                    </a:lnTo>
                    <a:lnTo>
                      <a:pt x="60" y="4"/>
                    </a:lnTo>
                    <a:lnTo>
                      <a:pt x="58" y="2"/>
                    </a:lnTo>
                    <a:lnTo>
                      <a:pt x="56" y="4"/>
                    </a:lnTo>
                    <a:lnTo>
                      <a:pt x="52" y="4"/>
                    </a:lnTo>
                    <a:lnTo>
                      <a:pt x="46" y="4"/>
                    </a:lnTo>
                    <a:lnTo>
                      <a:pt x="44" y="4"/>
                    </a:lnTo>
                    <a:lnTo>
                      <a:pt x="42" y="4"/>
                    </a:lnTo>
                    <a:lnTo>
                      <a:pt x="40" y="4"/>
                    </a:lnTo>
                    <a:lnTo>
                      <a:pt x="36" y="4"/>
                    </a:lnTo>
                    <a:lnTo>
                      <a:pt x="34" y="4"/>
                    </a:lnTo>
                    <a:lnTo>
                      <a:pt x="32" y="4"/>
                    </a:lnTo>
                    <a:lnTo>
                      <a:pt x="32" y="2"/>
                    </a:lnTo>
                    <a:lnTo>
                      <a:pt x="30" y="2"/>
                    </a:lnTo>
                    <a:lnTo>
                      <a:pt x="28" y="0"/>
                    </a:lnTo>
                    <a:lnTo>
                      <a:pt x="26" y="0"/>
                    </a:lnTo>
                    <a:lnTo>
                      <a:pt x="24" y="2"/>
                    </a:lnTo>
                    <a:lnTo>
                      <a:pt x="22" y="2"/>
                    </a:lnTo>
                    <a:lnTo>
                      <a:pt x="20" y="4"/>
                    </a:lnTo>
                    <a:lnTo>
                      <a:pt x="20" y="6"/>
                    </a:lnTo>
                    <a:lnTo>
                      <a:pt x="18" y="6"/>
                    </a:lnTo>
                    <a:lnTo>
                      <a:pt x="18" y="8"/>
                    </a:lnTo>
                    <a:lnTo>
                      <a:pt x="16" y="8"/>
                    </a:lnTo>
                    <a:lnTo>
                      <a:pt x="12" y="8"/>
                    </a:lnTo>
                    <a:lnTo>
                      <a:pt x="10" y="10"/>
                    </a:lnTo>
                    <a:lnTo>
                      <a:pt x="6" y="10"/>
                    </a:lnTo>
                    <a:lnTo>
                      <a:pt x="4" y="12"/>
                    </a:lnTo>
                    <a:lnTo>
                      <a:pt x="2" y="12"/>
                    </a:lnTo>
                    <a:lnTo>
                      <a:pt x="0" y="14"/>
                    </a:lnTo>
                    <a:lnTo>
                      <a:pt x="0" y="16"/>
                    </a:lnTo>
                    <a:lnTo>
                      <a:pt x="0" y="18"/>
                    </a:lnTo>
                    <a:lnTo>
                      <a:pt x="2" y="20"/>
                    </a:lnTo>
                    <a:lnTo>
                      <a:pt x="4" y="20"/>
                    </a:lnTo>
                    <a:lnTo>
                      <a:pt x="4" y="22"/>
                    </a:lnTo>
                    <a:lnTo>
                      <a:pt x="6" y="24"/>
                    </a:lnTo>
                    <a:lnTo>
                      <a:pt x="8" y="24"/>
                    </a:lnTo>
                    <a:lnTo>
                      <a:pt x="6" y="28"/>
                    </a:lnTo>
                    <a:lnTo>
                      <a:pt x="6" y="30"/>
                    </a:lnTo>
                    <a:lnTo>
                      <a:pt x="4" y="32"/>
                    </a:lnTo>
                    <a:lnTo>
                      <a:pt x="4" y="34"/>
                    </a:lnTo>
                    <a:lnTo>
                      <a:pt x="4" y="36"/>
                    </a:lnTo>
                    <a:lnTo>
                      <a:pt x="6" y="38"/>
                    </a:lnTo>
                    <a:lnTo>
                      <a:pt x="6" y="36"/>
                    </a:lnTo>
                    <a:lnTo>
                      <a:pt x="8" y="34"/>
                    </a:lnTo>
                    <a:lnTo>
                      <a:pt x="10" y="32"/>
                    </a:lnTo>
                    <a:lnTo>
                      <a:pt x="12" y="32"/>
                    </a:lnTo>
                    <a:lnTo>
                      <a:pt x="14" y="32"/>
                    </a:lnTo>
                    <a:lnTo>
                      <a:pt x="16" y="32"/>
                    </a:lnTo>
                    <a:lnTo>
                      <a:pt x="18" y="32"/>
                    </a:lnTo>
                    <a:lnTo>
                      <a:pt x="18" y="34"/>
                    </a:lnTo>
                    <a:lnTo>
                      <a:pt x="16" y="36"/>
                    </a:lnTo>
                    <a:lnTo>
                      <a:pt x="16" y="38"/>
                    </a:lnTo>
                    <a:lnTo>
                      <a:pt x="18" y="38"/>
                    </a:lnTo>
                    <a:lnTo>
                      <a:pt x="20" y="36"/>
                    </a:lnTo>
                    <a:lnTo>
                      <a:pt x="22" y="36"/>
                    </a:lnTo>
                    <a:lnTo>
                      <a:pt x="24" y="38"/>
                    </a:lnTo>
                    <a:lnTo>
                      <a:pt x="26" y="38"/>
                    </a:lnTo>
                    <a:lnTo>
                      <a:pt x="28" y="38"/>
                    </a:lnTo>
                    <a:lnTo>
                      <a:pt x="28" y="36"/>
                    </a:lnTo>
                    <a:lnTo>
                      <a:pt x="30" y="36"/>
                    </a:lnTo>
                    <a:lnTo>
                      <a:pt x="34" y="36"/>
                    </a:lnTo>
                    <a:lnTo>
                      <a:pt x="36" y="34"/>
                    </a:lnTo>
                    <a:lnTo>
                      <a:pt x="38" y="34"/>
                    </a:lnTo>
                    <a:lnTo>
                      <a:pt x="40" y="34"/>
                    </a:lnTo>
                    <a:lnTo>
                      <a:pt x="42" y="34"/>
                    </a:lnTo>
                    <a:lnTo>
                      <a:pt x="42" y="36"/>
                    </a:lnTo>
                    <a:lnTo>
                      <a:pt x="42" y="38"/>
                    </a:lnTo>
                    <a:lnTo>
                      <a:pt x="42" y="40"/>
                    </a:lnTo>
                    <a:lnTo>
                      <a:pt x="44" y="40"/>
                    </a:lnTo>
                    <a:lnTo>
                      <a:pt x="44" y="42"/>
                    </a:lnTo>
                    <a:lnTo>
                      <a:pt x="46" y="42"/>
                    </a:lnTo>
                    <a:lnTo>
                      <a:pt x="44" y="42"/>
                    </a:lnTo>
                    <a:lnTo>
                      <a:pt x="44" y="44"/>
                    </a:lnTo>
                    <a:lnTo>
                      <a:pt x="42" y="46"/>
                    </a:lnTo>
                    <a:lnTo>
                      <a:pt x="40" y="48"/>
                    </a:lnTo>
                    <a:lnTo>
                      <a:pt x="38" y="50"/>
                    </a:lnTo>
                    <a:lnTo>
                      <a:pt x="36" y="50"/>
                    </a:lnTo>
                    <a:lnTo>
                      <a:pt x="34" y="52"/>
                    </a:lnTo>
                    <a:lnTo>
                      <a:pt x="34" y="54"/>
                    </a:lnTo>
                    <a:lnTo>
                      <a:pt x="36" y="56"/>
                    </a:lnTo>
                    <a:lnTo>
                      <a:pt x="36" y="58"/>
                    </a:lnTo>
                    <a:lnTo>
                      <a:pt x="36" y="60"/>
                    </a:lnTo>
                    <a:lnTo>
                      <a:pt x="36" y="62"/>
                    </a:lnTo>
                    <a:lnTo>
                      <a:pt x="34" y="64"/>
                    </a:lnTo>
                    <a:lnTo>
                      <a:pt x="34" y="66"/>
                    </a:lnTo>
                    <a:lnTo>
                      <a:pt x="32" y="68"/>
                    </a:lnTo>
                    <a:lnTo>
                      <a:pt x="32" y="70"/>
                    </a:lnTo>
                    <a:lnTo>
                      <a:pt x="34" y="72"/>
                    </a:lnTo>
                    <a:lnTo>
                      <a:pt x="34" y="74"/>
                    </a:lnTo>
                    <a:lnTo>
                      <a:pt x="34" y="76"/>
                    </a:lnTo>
                    <a:lnTo>
                      <a:pt x="32" y="76"/>
                    </a:lnTo>
                    <a:lnTo>
                      <a:pt x="30" y="78"/>
                    </a:lnTo>
                    <a:lnTo>
                      <a:pt x="28" y="78"/>
                    </a:lnTo>
                    <a:lnTo>
                      <a:pt x="24" y="78"/>
                    </a:lnTo>
                    <a:lnTo>
                      <a:pt x="22" y="78"/>
                    </a:lnTo>
                    <a:lnTo>
                      <a:pt x="24" y="80"/>
                    </a:lnTo>
                    <a:lnTo>
                      <a:pt x="24" y="82"/>
                    </a:lnTo>
                    <a:lnTo>
                      <a:pt x="26" y="82"/>
                    </a:lnTo>
                    <a:lnTo>
                      <a:pt x="26" y="84"/>
                    </a:lnTo>
                    <a:lnTo>
                      <a:pt x="28" y="84"/>
                    </a:lnTo>
                    <a:lnTo>
                      <a:pt x="28" y="86"/>
                    </a:lnTo>
                    <a:lnTo>
                      <a:pt x="28" y="88"/>
                    </a:lnTo>
                    <a:lnTo>
                      <a:pt x="30" y="88"/>
                    </a:lnTo>
                    <a:lnTo>
                      <a:pt x="32" y="90"/>
                    </a:lnTo>
                    <a:lnTo>
                      <a:pt x="30" y="90"/>
                    </a:lnTo>
                    <a:lnTo>
                      <a:pt x="30" y="92"/>
                    </a:lnTo>
                    <a:lnTo>
                      <a:pt x="28" y="94"/>
                    </a:lnTo>
                    <a:lnTo>
                      <a:pt x="26" y="96"/>
                    </a:lnTo>
                    <a:lnTo>
                      <a:pt x="24" y="96"/>
                    </a:lnTo>
                    <a:lnTo>
                      <a:pt x="24" y="98"/>
                    </a:lnTo>
                    <a:lnTo>
                      <a:pt x="22" y="98"/>
                    </a:lnTo>
                    <a:lnTo>
                      <a:pt x="24" y="100"/>
                    </a:lnTo>
                    <a:lnTo>
                      <a:pt x="24" y="102"/>
                    </a:lnTo>
                    <a:lnTo>
                      <a:pt x="26" y="104"/>
                    </a:lnTo>
                    <a:lnTo>
                      <a:pt x="26" y="106"/>
                    </a:lnTo>
                    <a:lnTo>
                      <a:pt x="28" y="106"/>
                    </a:lnTo>
                    <a:lnTo>
                      <a:pt x="30" y="106"/>
                    </a:lnTo>
                    <a:lnTo>
                      <a:pt x="30" y="108"/>
                    </a:lnTo>
                    <a:lnTo>
                      <a:pt x="28" y="110"/>
                    </a:lnTo>
                    <a:lnTo>
                      <a:pt x="26" y="110"/>
                    </a:lnTo>
                    <a:lnTo>
                      <a:pt x="26" y="112"/>
                    </a:lnTo>
                    <a:lnTo>
                      <a:pt x="24" y="112"/>
                    </a:lnTo>
                    <a:lnTo>
                      <a:pt x="22" y="114"/>
                    </a:lnTo>
                    <a:lnTo>
                      <a:pt x="20" y="116"/>
                    </a:lnTo>
                    <a:lnTo>
                      <a:pt x="20" y="118"/>
                    </a:lnTo>
                    <a:lnTo>
                      <a:pt x="20" y="120"/>
                    </a:lnTo>
                    <a:lnTo>
                      <a:pt x="20" y="122"/>
                    </a:lnTo>
                    <a:lnTo>
                      <a:pt x="20" y="124"/>
                    </a:lnTo>
                    <a:lnTo>
                      <a:pt x="20" y="126"/>
                    </a:lnTo>
                    <a:lnTo>
                      <a:pt x="22" y="126"/>
                    </a:lnTo>
                    <a:lnTo>
                      <a:pt x="24" y="126"/>
                    </a:lnTo>
                    <a:lnTo>
                      <a:pt x="26" y="126"/>
                    </a:lnTo>
                    <a:lnTo>
                      <a:pt x="28" y="126"/>
                    </a:lnTo>
                    <a:lnTo>
                      <a:pt x="30" y="128"/>
                    </a:lnTo>
                    <a:lnTo>
                      <a:pt x="32" y="130"/>
                    </a:lnTo>
                    <a:lnTo>
                      <a:pt x="34" y="130"/>
                    </a:lnTo>
                    <a:lnTo>
                      <a:pt x="34" y="132"/>
                    </a:lnTo>
                    <a:lnTo>
                      <a:pt x="36" y="132"/>
                    </a:lnTo>
                    <a:lnTo>
                      <a:pt x="38" y="132"/>
                    </a:lnTo>
                    <a:lnTo>
                      <a:pt x="40" y="132"/>
                    </a:lnTo>
                    <a:lnTo>
                      <a:pt x="38" y="134"/>
                    </a:lnTo>
                    <a:lnTo>
                      <a:pt x="38" y="136"/>
                    </a:lnTo>
                    <a:lnTo>
                      <a:pt x="38" y="138"/>
                    </a:lnTo>
                    <a:lnTo>
                      <a:pt x="36" y="138"/>
                    </a:lnTo>
                    <a:lnTo>
                      <a:pt x="38" y="138"/>
                    </a:lnTo>
                    <a:lnTo>
                      <a:pt x="40" y="138"/>
                    </a:lnTo>
                    <a:lnTo>
                      <a:pt x="40" y="140"/>
                    </a:lnTo>
                    <a:lnTo>
                      <a:pt x="40" y="142"/>
                    </a:lnTo>
                    <a:lnTo>
                      <a:pt x="40" y="144"/>
                    </a:lnTo>
                    <a:lnTo>
                      <a:pt x="42" y="146"/>
                    </a:lnTo>
                    <a:lnTo>
                      <a:pt x="44" y="146"/>
                    </a:lnTo>
                    <a:lnTo>
                      <a:pt x="46" y="148"/>
                    </a:lnTo>
                    <a:lnTo>
                      <a:pt x="48" y="148"/>
                    </a:lnTo>
                    <a:lnTo>
                      <a:pt x="50" y="148"/>
                    </a:lnTo>
                    <a:lnTo>
                      <a:pt x="52" y="146"/>
                    </a:lnTo>
                    <a:lnTo>
                      <a:pt x="54" y="144"/>
                    </a:lnTo>
                    <a:lnTo>
                      <a:pt x="56" y="142"/>
                    </a:lnTo>
                    <a:lnTo>
                      <a:pt x="58" y="140"/>
                    </a:lnTo>
                    <a:lnTo>
                      <a:pt x="60" y="140"/>
                    </a:lnTo>
                    <a:lnTo>
                      <a:pt x="62" y="140"/>
                    </a:lnTo>
                    <a:lnTo>
                      <a:pt x="64" y="140"/>
                    </a:lnTo>
                    <a:lnTo>
                      <a:pt x="66" y="138"/>
                    </a:lnTo>
                    <a:lnTo>
                      <a:pt x="68" y="138"/>
                    </a:lnTo>
                    <a:lnTo>
                      <a:pt x="68" y="136"/>
                    </a:lnTo>
                    <a:lnTo>
                      <a:pt x="70" y="136"/>
                    </a:lnTo>
                    <a:lnTo>
                      <a:pt x="72" y="136"/>
                    </a:lnTo>
                    <a:lnTo>
                      <a:pt x="74" y="136"/>
                    </a:lnTo>
                    <a:lnTo>
                      <a:pt x="76" y="136"/>
                    </a:lnTo>
                    <a:lnTo>
                      <a:pt x="78" y="136"/>
                    </a:lnTo>
                    <a:lnTo>
                      <a:pt x="80" y="136"/>
                    </a:lnTo>
                    <a:lnTo>
                      <a:pt x="82" y="136"/>
                    </a:lnTo>
                    <a:lnTo>
                      <a:pt x="84" y="136"/>
                    </a:lnTo>
                    <a:lnTo>
                      <a:pt x="86" y="136"/>
                    </a:lnTo>
                    <a:lnTo>
                      <a:pt x="88" y="134"/>
                    </a:lnTo>
                    <a:lnTo>
                      <a:pt x="90" y="134"/>
                    </a:lnTo>
                    <a:lnTo>
                      <a:pt x="92" y="136"/>
                    </a:lnTo>
                    <a:lnTo>
                      <a:pt x="94" y="136"/>
                    </a:lnTo>
                    <a:lnTo>
                      <a:pt x="96" y="136"/>
                    </a:lnTo>
                    <a:lnTo>
                      <a:pt x="100" y="134"/>
                    </a:lnTo>
                    <a:lnTo>
                      <a:pt x="102" y="134"/>
                    </a:lnTo>
                    <a:lnTo>
                      <a:pt x="102" y="136"/>
                    </a:lnTo>
                    <a:lnTo>
                      <a:pt x="104" y="136"/>
                    </a:lnTo>
                    <a:lnTo>
                      <a:pt x="106" y="136"/>
                    </a:lnTo>
                    <a:lnTo>
                      <a:pt x="108" y="134"/>
                    </a:lnTo>
                    <a:lnTo>
                      <a:pt x="108" y="132"/>
                    </a:lnTo>
                    <a:lnTo>
                      <a:pt x="110" y="130"/>
                    </a:lnTo>
                    <a:lnTo>
                      <a:pt x="110" y="128"/>
                    </a:lnTo>
                    <a:lnTo>
                      <a:pt x="110" y="126"/>
                    </a:lnTo>
                    <a:lnTo>
                      <a:pt x="112" y="126"/>
                    </a:lnTo>
                    <a:lnTo>
                      <a:pt x="114" y="122"/>
                    </a:lnTo>
                    <a:lnTo>
                      <a:pt x="116" y="122"/>
                    </a:lnTo>
                    <a:lnTo>
                      <a:pt x="116" y="120"/>
                    </a:lnTo>
                    <a:lnTo>
                      <a:pt x="118" y="118"/>
                    </a:lnTo>
                    <a:lnTo>
                      <a:pt x="120" y="118"/>
                    </a:lnTo>
                    <a:lnTo>
                      <a:pt x="122" y="118"/>
                    </a:lnTo>
                    <a:lnTo>
                      <a:pt x="124" y="118"/>
                    </a:lnTo>
                    <a:lnTo>
                      <a:pt x="126" y="118"/>
                    </a:lnTo>
                    <a:lnTo>
                      <a:pt x="126" y="116"/>
                    </a:lnTo>
                    <a:lnTo>
                      <a:pt x="126" y="114"/>
                    </a:lnTo>
                    <a:lnTo>
                      <a:pt x="128" y="114"/>
                    </a:lnTo>
                    <a:lnTo>
                      <a:pt x="128" y="112"/>
                    </a:lnTo>
                    <a:lnTo>
                      <a:pt x="128" y="110"/>
                    </a:lnTo>
                    <a:lnTo>
                      <a:pt x="130" y="108"/>
                    </a:lnTo>
                    <a:lnTo>
                      <a:pt x="130" y="106"/>
                    </a:lnTo>
                    <a:lnTo>
                      <a:pt x="132" y="104"/>
                    </a:lnTo>
                    <a:lnTo>
                      <a:pt x="132" y="102"/>
                    </a:lnTo>
                    <a:lnTo>
                      <a:pt x="134" y="102"/>
                    </a:lnTo>
                    <a:lnTo>
                      <a:pt x="136" y="102"/>
                    </a:lnTo>
                    <a:lnTo>
                      <a:pt x="138" y="100"/>
                    </a:lnTo>
                    <a:lnTo>
                      <a:pt x="140" y="100"/>
                    </a:lnTo>
                    <a:lnTo>
                      <a:pt x="142" y="100"/>
                    </a:lnTo>
                    <a:lnTo>
                      <a:pt x="142" y="98"/>
                    </a:lnTo>
                    <a:lnTo>
                      <a:pt x="144" y="98"/>
                    </a:lnTo>
                    <a:lnTo>
                      <a:pt x="142" y="96"/>
                    </a:lnTo>
                    <a:lnTo>
                      <a:pt x="142" y="94"/>
                    </a:lnTo>
                    <a:lnTo>
                      <a:pt x="140" y="94"/>
                    </a:lnTo>
                    <a:lnTo>
                      <a:pt x="140" y="92"/>
                    </a:lnTo>
                    <a:lnTo>
                      <a:pt x="138" y="90"/>
                    </a:lnTo>
                    <a:lnTo>
                      <a:pt x="136" y="90"/>
                    </a:lnTo>
                    <a:lnTo>
                      <a:pt x="136" y="88"/>
                    </a:lnTo>
                    <a:lnTo>
                      <a:pt x="136" y="86"/>
                    </a:lnTo>
                    <a:lnTo>
                      <a:pt x="136" y="82"/>
                    </a:lnTo>
                    <a:lnTo>
                      <a:pt x="138" y="80"/>
                    </a:lnTo>
                    <a:lnTo>
                      <a:pt x="138" y="78"/>
                    </a:lnTo>
                    <a:lnTo>
                      <a:pt x="140" y="74"/>
                    </a:lnTo>
                    <a:lnTo>
                      <a:pt x="142" y="72"/>
                    </a:lnTo>
                    <a:lnTo>
                      <a:pt x="142" y="70"/>
                    </a:lnTo>
                    <a:lnTo>
                      <a:pt x="144" y="70"/>
                    </a:lnTo>
                    <a:lnTo>
                      <a:pt x="144" y="68"/>
                    </a:lnTo>
                    <a:lnTo>
                      <a:pt x="146" y="68"/>
                    </a:lnTo>
                    <a:lnTo>
                      <a:pt x="146" y="66"/>
                    </a:lnTo>
                    <a:lnTo>
                      <a:pt x="148" y="66"/>
                    </a:lnTo>
                    <a:lnTo>
                      <a:pt x="150" y="64"/>
                    </a:lnTo>
                    <a:lnTo>
                      <a:pt x="152" y="62"/>
                    </a:lnTo>
                    <a:lnTo>
                      <a:pt x="154" y="60"/>
                    </a:lnTo>
                    <a:lnTo>
                      <a:pt x="156" y="60"/>
                    </a:lnTo>
                    <a:lnTo>
                      <a:pt x="156" y="58"/>
                    </a:lnTo>
                    <a:lnTo>
                      <a:pt x="154" y="56"/>
                    </a:lnTo>
                    <a:lnTo>
                      <a:pt x="154" y="54"/>
                    </a:lnTo>
                    <a:lnTo>
                      <a:pt x="156" y="54"/>
                    </a:lnTo>
                    <a:lnTo>
                      <a:pt x="156" y="52"/>
                    </a:lnTo>
                    <a:lnTo>
                      <a:pt x="158" y="52"/>
                    </a:lnTo>
                    <a:lnTo>
                      <a:pt x="160" y="52"/>
                    </a:lnTo>
                    <a:lnTo>
                      <a:pt x="162" y="50"/>
                    </a:lnTo>
                    <a:lnTo>
                      <a:pt x="164" y="50"/>
                    </a:lnTo>
                    <a:lnTo>
                      <a:pt x="170" y="48"/>
                    </a:lnTo>
                    <a:lnTo>
                      <a:pt x="172" y="48"/>
                    </a:lnTo>
                    <a:lnTo>
                      <a:pt x="174" y="48"/>
                    </a:lnTo>
                    <a:lnTo>
                      <a:pt x="176" y="46"/>
                    </a:lnTo>
                    <a:lnTo>
                      <a:pt x="178" y="46"/>
                    </a:lnTo>
                    <a:lnTo>
                      <a:pt x="180" y="44"/>
                    </a:lnTo>
                    <a:lnTo>
                      <a:pt x="182" y="42"/>
                    </a:lnTo>
                    <a:lnTo>
                      <a:pt x="184" y="42"/>
                    </a:lnTo>
                    <a:lnTo>
                      <a:pt x="186" y="42"/>
                    </a:lnTo>
                    <a:lnTo>
                      <a:pt x="186" y="40"/>
                    </a:lnTo>
                    <a:lnTo>
                      <a:pt x="188" y="40"/>
                    </a:lnTo>
                    <a:lnTo>
                      <a:pt x="190" y="38"/>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4" name="Freeform 114">
                <a:extLst>
                  <a:ext uri="{FF2B5EF4-FFF2-40B4-BE49-F238E27FC236}">
                    <a16:creationId xmlns:a16="http://schemas.microsoft.com/office/drawing/2014/main" id="{EE22CF33-D866-4078-9C0A-B6EB514D732C}"/>
                  </a:ext>
                </a:extLst>
              </p:cNvPr>
              <p:cNvSpPr>
                <a:spLocks noChangeAspect="1"/>
              </p:cNvSpPr>
              <p:nvPr/>
            </p:nvSpPr>
            <p:spPr bwMode="auto">
              <a:xfrm>
                <a:off x="4328208" y="2550551"/>
                <a:ext cx="319006" cy="287754"/>
              </a:xfrm>
              <a:custGeom>
                <a:avLst/>
                <a:gdLst/>
                <a:ahLst/>
                <a:cxnLst>
                  <a:cxn ang="0">
                    <a:pos x="178" y="36"/>
                  </a:cxn>
                  <a:cxn ang="0">
                    <a:pos x="170" y="36"/>
                  </a:cxn>
                  <a:cxn ang="0">
                    <a:pos x="164" y="26"/>
                  </a:cxn>
                  <a:cxn ang="0">
                    <a:pos x="158" y="28"/>
                  </a:cxn>
                  <a:cxn ang="0">
                    <a:pos x="148" y="24"/>
                  </a:cxn>
                  <a:cxn ang="0">
                    <a:pos x="144" y="18"/>
                  </a:cxn>
                  <a:cxn ang="0">
                    <a:pos x="136" y="20"/>
                  </a:cxn>
                  <a:cxn ang="0">
                    <a:pos x="126" y="12"/>
                  </a:cxn>
                  <a:cxn ang="0">
                    <a:pos x="116" y="8"/>
                  </a:cxn>
                  <a:cxn ang="0">
                    <a:pos x="116" y="0"/>
                  </a:cxn>
                  <a:cxn ang="0">
                    <a:pos x="94" y="2"/>
                  </a:cxn>
                  <a:cxn ang="0">
                    <a:pos x="98" y="14"/>
                  </a:cxn>
                  <a:cxn ang="0">
                    <a:pos x="78" y="26"/>
                  </a:cxn>
                  <a:cxn ang="0">
                    <a:pos x="76" y="32"/>
                  </a:cxn>
                  <a:cxn ang="0">
                    <a:pos x="58" y="32"/>
                  </a:cxn>
                  <a:cxn ang="0">
                    <a:pos x="48" y="24"/>
                  </a:cxn>
                  <a:cxn ang="0">
                    <a:pos x="52" y="34"/>
                  </a:cxn>
                  <a:cxn ang="0">
                    <a:pos x="38" y="44"/>
                  </a:cxn>
                  <a:cxn ang="0">
                    <a:pos x="30" y="44"/>
                  </a:cxn>
                  <a:cxn ang="0">
                    <a:pos x="16" y="42"/>
                  </a:cxn>
                  <a:cxn ang="0">
                    <a:pos x="4" y="50"/>
                  </a:cxn>
                  <a:cxn ang="0">
                    <a:pos x="0" y="56"/>
                  </a:cxn>
                  <a:cxn ang="0">
                    <a:pos x="12" y="58"/>
                  </a:cxn>
                  <a:cxn ang="0">
                    <a:pos x="28" y="64"/>
                  </a:cxn>
                  <a:cxn ang="0">
                    <a:pos x="38" y="70"/>
                  </a:cxn>
                  <a:cxn ang="0">
                    <a:pos x="38" y="74"/>
                  </a:cxn>
                  <a:cxn ang="0">
                    <a:pos x="46" y="86"/>
                  </a:cxn>
                  <a:cxn ang="0">
                    <a:pos x="52" y="98"/>
                  </a:cxn>
                  <a:cxn ang="0">
                    <a:pos x="60" y="110"/>
                  </a:cxn>
                  <a:cxn ang="0">
                    <a:pos x="52" y="104"/>
                  </a:cxn>
                  <a:cxn ang="0">
                    <a:pos x="48" y="128"/>
                  </a:cxn>
                  <a:cxn ang="0">
                    <a:pos x="40" y="146"/>
                  </a:cxn>
                  <a:cxn ang="0">
                    <a:pos x="46" y="148"/>
                  </a:cxn>
                  <a:cxn ang="0">
                    <a:pos x="56" y="152"/>
                  </a:cxn>
                  <a:cxn ang="0">
                    <a:pos x="64" y="156"/>
                  </a:cxn>
                  <a:cxn ang="0">
                    <a:pos x="72" y="160"/>
                  </a:cxn>
                  <a:cxn ang="0">
                    <a:pos x="78" y="154"/>
                  </a:cxn>
                  <a:cxn ang="0">
                    <a:pos x="88" y="156"/>
                  </a:cxn>
                  <a:cxn ang="0">
                    <a:pos x="96" y="158"/>
                  </a:cxn>
                  <a:cxn ang="0">
                    <a:pos x="102" y="162"/>
                  </a:cxn>
                  <a:cxn ang="0">
                    <a:pos x="110" y="164"/>
                  </a:cxn>
                  <a:cxn ang="0">
                    <a:pos x="114" y="154"/>
                  </a:cxn>
                  <a:cxn ang="0">
                    <a:pos x="132" y="140"/>
                  </a:cxn>
                  <a:cxn ang="0">
                    <a:pos x="148" y="144"/>
                  </a:cxn>
                  <a:cxn ang="0">
                    <a:pos x="164" y="152"/>
                  </a:cxn>
                  <a:cxn ang="0">
                    <a:pos x="180" y="138"/>
                  </a:cxn>
                  <a:cxn ang="0">
                    <a:pos x="184" y="130"/>
                  </a:cxn>
                  <a:cxn ang="0">
                    <a:pos x="176" y="128"/>
                  </a:cxn>
                  <a:cxn ang="0">
                    <a:pos x="174" y="116"/>
                  </a:cxn>
                  <a:cxn ang="0">
                    <a:pos x="170" y="110"/>
                  </a:cxn>
                  <a:cxn ang="0">
                    <a:pos x="180" y="108"/>
                  </a:cxn>
                  <a:cxn ang="0">
                    <a:pos x="172" y="100"/>
                  </a:cxn>
                  <a:cxn ang="0">
                    <a:pos x="174" y="88"/>
                  </a:cxn>
                  <a:cxn ang="0">
                    <a:pos x="166" y="86"/>
                  </a:cxn>
                  <a:cxn ang="0">
                    <a:pos x="164" y="88"/>
                  </a:cxn>
                  <a:cxn ang="0">
                    <a:pos x="168" y="80"/>
                  </a:cxn>
                  <a:cxn ang="0">
                    <a:pos x="176" y="72"/>
                  </a:cxn>
                  <a:cxn ang="0">
                    <a:pos x="182" y="68"/>
                  </a:cxn>
                  <a:cxn ang="0">
                    <a:pos x="184" y="60"/>
                  </a:cxn>
                  <a:cxn ang="0">
                    <a:pos x="188" y="44"/>
                  </a:cxn>
                  <a:cxn ang="0">
                    <a:pos x="192" y="38"/>
                  </a:cxn>
                </a:cxnLst>
                <a:rect l="0" t="0" r="r" b="b"/>
                <a:pathLst>
                  <a:path w="194" h="164">
                    <a:moveTo>
                      <a:pt x="184" y="36"/>
                    </a:moveTo>
                    <a:lnTo>
                      <a:pt x="184" y="36"/>
                    </a:lnTo>
                    <a:lnTo>
                      <a:pt x="182" y="36"/>
                    </a:lnTo>
                    <a:lnTo>
                      <a:pt x="180" y="36"/>
                    </a:lnTo>
                    <a:lnTo>
                      <a:pt x="178" y="36"/>
                    </a:lnTo>
                    <a:lnTo>
                      <a:pt x="176" y="36"/>
                    </a:lnTo>
                    <a:lnTo>
                      <a:pt x="174" y="36"/>
                    </a:lnTo>
                    <a:lnTo>
                      <a:pt x="172" y="36"/>
                    </a:lnTo>
                    <a:lnTo>
                      <a:pt x="170" y="36"/>
                    </a:lnTo>
                    <a:lnTo>
                      <a:pt x="170" y="34"/>
                    </a:lnTo>
                    <a:lnTo>
                      <a:pt x="170" y="32"/>
                    </a:lnTo>
                    <a:lnTo>
                      <a:pt x="170" y="30"/>
                    </a:lnTo>
                    <a:lnTo>
                      <a:pt x="168" y="28"/>
                    </a:lnTo>
                    <a:lnTo>
                      <a:pt x="166" y="28"/>
                    </a:lnTo>
                    <a:lnTo>
                      <a:pt x="164" y="26"/>
                    </a:lnTo>
                    <a:lnTo>
                      <a:pt x="162" y="28"/>
                    </a:lnTo>
                    <a:lnTo>
                      <a:pt x="160" y="30"/>
                    </a:lnTo>
                    <a:lnTo>
                      <a:pt x="160" y="28"/>
                    </a:lnTo>
                    <a:lnTo>
                      <a:pt x="158" y="28"/>
                    </a:lnTo>
                    <a:lnTo>
                      <a:pt x="156" y="28"/>
                    </a:lnTo>
                    <a:lnTo>
                      <a:pt x="154" y="28"/>
                    </a:lnTo>
                    <a:lnTo>
                      <a:pt x="154" y="26"/>
                    </a:lnTo>
                    <a:lnTo>
                      <a:pt x="152" y="26"/>
                    </a:lnTo>
                    <a:lnTo>
                      <a:pt x="150" y="26"/>
                    </a:lnTo>
                    <a:lnTo>
                      <a:pt x="148" y="24"/>
                    </a:lnTo>
                    <a:lnTo>
                      <a:pt x="146" y="24"/>
                    </a:lnTo>
                    <a:lnTo>
                      <a:pt x="144" y="24"/>
                    </a:lnTo>
                    <a:lnTo>
                      <a:pt x="144" y="22"/>
                    </a:lnTo>
                    <a:lnTo>
                      <a:pt x="144" y="20"/>
                    </a:lnTo>
                    <a:lnTo>
                      <a:pt x="144" y="18"/>
                    </a:lnTo>
                    <a:lnTo>
                      <a:pt x="142" y="20"/>
                    </a:lnTo>
                    <a:lnTo>
                      <a:pt x="140" y="20"/>
                    </a:lnTo>
                    <a:lnTo>
                      <a:pt x="138" y="20"/>
                    </a:lnTo>
                    <a:lnTo>
                      <a:pt x="136" y="20"/>
                    </a:lnTo>
                    <a:lnTo>
                      <a:pt x="136" y="18"/>
                    </a:lnTo>
                    <a:lnTo>
                      <a:pt x="136" y="14"/>
                    </a:lnTo>
                    <a:lnTo>
                      <a:pt x="134" y="14"/>
                    </a:lnTo>
                    <a:lnTo>
                      <a:pt x="134" y="12"/>
                    </a:lnTo>
                    <a:lnTo>
                      <a:pt x="132" y="12"/>
                    </a:lnTo>
                    <a:lnTo>
                      <a:pt x="130" y="12"/>
                    </a:lnTo>
                    <a:lnTo>
                      <a:pt x="128" y="12"/>
                    </a:lnTo>
                    <a:lnTo>
                      <a:pt x="126" y="12"/>
                    </a:lnTo>
                    <a:lnTo>
                      <a:pt x="124" y="12"/>
                    </a:lnTo>
                    <a:lnTo>
                      <a:pt x="124" y="10"/>
                    </a:lnTo>
                    <a:lnTo>
                      <a:pt x="122" y="10"/>
                    </a:lnTo>
                    <a:lnTo>
                      <a:pt x="120" y="10"/>
                    </a:lnTo>
                    <a:lnTo>
                      <a:pt x="118" y="8"/>
                    </a:lnTo>
                    <a:lnTo>
                      <a:pt x="116" y="8"/>
                    </a:lnTo>
                    <a:lnTo>
                      <a:pt x="116" y="6"/>
                    </a:lnTo>
                    <a:lnTo>
                      <a:pt x="116" y="4"/>
                    </a:lnTo>
                    <a:lnTo>
                      <a:pt x="114" y="4"/>
                    </a:lnTo>
                    <a:lnTo>
                      <a:pt x="114" y="2"/>
                    </a:lnTo>
                    <a:lnTo>
                      <a:pt x="114" y="0"/>
                    </a:lnTo>
                    <a:lnTo>
                      <a:pt x="116" y="0"/>
                    </a:lnTo>
                    <a:lnTo>
                      <a:pt x="114" y="0"/>
                    </a:lnTo>
                    <a:lnTo>
                      <a:pt x="112" y="0"/>
                    </a:lnTo>
                    <a:lnTo>
                      <a:pt x="110" y="0"/>
                    </a:lnTo>
                    <a:lnTo>
                      <a:pt x="106" y="0"/>
                    </a:lnTo>
                    <a:lnTo>
                      <a:pt x="104" y="0"/>
                    </a:lnTo>
                    <a:lnTo>
                      <a:pt x="102" y="0"/>
                    </a:lnTo>
                    <a:lnTo>
                      <a:pt x="98" y="2"/>
                    </a:lnTo>
                    <a:lnTo>
                      <a:pt x="96" y="2"/>
                    </a:lnTo>
                    <a:lnTo>
                      <a:pt x="94" y="2"/>
                    </a:lnTo>
                    <a:lnTo>
                      <a:pt x="94" y="4"/>
                    </a:lnTo>
                    <a:lnTo>
                      <a:pt x="96" y="6"/>
                    </a:lnTo>
                    <a:lnTo>
                      <a:pt x="96" y="8"/>
                    </a:lnTo>
                    <a:lnTo>
                      <a:pt x="98" y="8"/>
                    </a:lnTo>
                    <a:lnTo>
                      <a:pt x="98" y="10"/>
                    </a:lnTo>
                    <a:lnTo>
                      <a:pt x="98" y="12"/>
                    </a:lnTo>
                    <a:lnTo>
                      <a:pt x="98" y="14"/>
                    </a:lnTo>
                    <a:lnTo>
                      <a:pt x="98" y="16"/>
                    </a:lnTo>
                    <a:lnTo>
                      <a:pt x="96" y="18"/>
                    </a:lnTo>
                    <a:lnTo>
                      <a:pt x="94" y="18"/>
                    </a:lnTo>
                    <a:lnTo>
                      <a:pt x="92" y="18"/>
                    </a:lnTo>
                    <a:lnTo>
                      <a:pt x="88" y="20"/>
                    </a:lnTo>
                    <a:lnTo>
                      <a:pt x="86" y="20"/>
                    </a:lnTo>
                    <a:lnTo>
                      <a:pt x="82" y="22"/>
                    </a:lnTo>
                    <a:lnTo>
                      <a:pt x="80" y="24"/>
                    </a:lnTo>
                    <a:lnTo>
                      <a:pt x="78" y="26"/>
                    </a:lnTo>
                    <a:lnTo>
                      <a:pt x="76" y="26"/>
                    </a:lnTo>
                    <a:lnTo>
                      <a:pt x="76" y="28"/>
                    </a:lnTo>
                    <a:lnTo>
                      <a:pt x="78" y="28"/>
                    </a:lnTo>
                    <a:lnTo>
                      <a:pt x="78" y="30"/>
                    </a:lnTo>
                    <a:lnTo>
                      <a:pt x="80" y="30"/>
                    </a:lnTo>
                    <a:lnTo>
                      <a:pt x="78" y="30"/>
                    </a:lnTo>
                    <a:lnTo>
                      <a:pt x="76" y="32"/>
                    </a:lnTo>
                    <a:lnTo>
                      <a:pt x="74" y="32"/>
                    </a:lnTo>
                    <a:lnTo>
                      <a:pt x="72" y="32"/>
                    </a:lnTo>
                    <a:lnTo>
                      <a:pt x="70" y="34"/>
                    </a:lnTo>
                    <a:lnTo>
                      <a:pt x="68" y="34"/>
                    </a:lnTo>
                    <a:lnTo>
                      <a:pt x="66" y="34"/>
                    </a:lnTo>
                    <a:lnTo>
                      <a:pt x="64" y="34"/>
                    </a:lnTo>
                    <a:lnTo>
                      <a:pt x="62" y="34"/>
                    </a:lnTo>
                    <a:lnTo>
                      <a:pt x="60" y="32"/>
                    </a:lnTo>
                    <a:lnTo>
                      <a:pt x="58" y="32"/>
                    </a:lnTo>
                    <a:lnTo>
                      <a:pt x="56" y="30"/>
                    </a:lnTo>
                    <a:lnTo>
                      <a:pt x="56" y="28"/>
                    </a:lnTo>
                    <a:lnTo>
                      <a:pt x="54" y="26"/>
                    </a:lnTo>
                    <a:lnTo>
                      <a:pt x="52" y="26"/>
                    </a:lnTo>
                    <a:lnTo>
                      <a:pt x="50" y="24"/>
                    </a:lnTo>
                    <a:lnTo>
                      <a:pt x="48" y="24"/>
                    </a:lnTo>
                    <a:lnTo>
                      <a:pt x="46" y="24"/>
                    </a:lnTo>
                    <a:lnTo>
                      <a:pt x="46" y="26"/>
                    </a:lnTo>
                    <a:lnTo>
                      <a:pt x="48" y="28"/>
                    </a:lnTo>
                    <a:lnTo>
                      <a:pt x="48" y="30"/>
                    </a:lnTo>
                    <a:lnTo>
                      <a:pt x="50" y="32"/>
                    </a:lnTo>
                    <a:lnTo>
                      <a:pt x="50" y="34"/>
                    </a:lnTo>
                    <a:lnTo>
                      <a:pt x="52" y="34"/>
                    </a:lnTo>
                    <a:lnTo>
                      <a:pt x="52" y="36"/>
                    </a:lnTo>
                    <a:lnTo>
                      <a:pt x="52" y="38"/>
                    </a:lnTo>
                    <a:lnTo>
                      <a:pt x="52" y="40"/>
                    </a:lnTo>
                    <a:lnTo>
                      <a:pt x="52" y="42"/>
                    </a:lnTo>
                    <a:lnTo>
                      <a:pt x="50" y="42"/>
                    </a:lnTo>
                    <a:lnTo>
                      <a:pt x="44" y="44"/>
                    </a:lnTo>
                    <a:lnTo>
                      <a:pt x="42" y="44"/>
                    </a:lnTo>
                    <a:lnTo>
                      <a:pt x="40" y="44"/>
                    </a:lnTo>
                    <a:lnTo>
                      <a:pt x="38" y="44"/>
                    </a:lnTo>
                    <a:lnTo>
                      <a:pt x="36" y="44"/>
                    </a:lnTo>
                    <a:lnTo>
                      <a:pt x="34" y="46"/>
                    </a:lnTo>
                    <a:lnTo>
                      <a:pt x="34" y="48"/>
                    </a:lnTo>
                    <a:lnTo>
                      <a:pt x="32" y="46"/>
                    </a:lnTo>
                    <a:lnTo>
                      <a:pt x="30" y="44"/>
                    </a:lnTo>
                    <a:lnTo>
                      <a:pt x="30" y="42"/>
                    </a:lnTo>
                    <a:lnTo>
                      <a:pt x="28" y="42"/>
                    </a:lnTo>
                    <a:lnTo>
                      <a:pt x="26" y="40"/>
                    </a:lnTo>
                    <a:lnTo>
                      <a:pt x="24" y="40"/>
                    </a:lnTo>
                    <a:lnTo>
                      <a:pt x="20" y="42"/>
                    </a:lnTo>
                    <a:lnTo>
                      <a:pt x="18" y="42"/>
                    </a:lnTo>
                    <a:lnTo>
                      <a:pt x="16" y="42"/>
                    </a:lnTo>
                    <a:lnTo>
                      <a:pt x="14" y="44"/>
                    </a:lnTo>
                    <a:lnTo>
                      <a:pt x="12" y="44"/>
                    </a:lnTo>
                    <a:lnTo>
                      <a:pt x="10" y="44"/>
                    </a:lnTo>
                    <a:lnTo>
                      <a:pt x="8" y="44"/>
                    </a:lnTo>
                    <a:lnTo>
                      <a:pt x="6" y="46"/>
                    </a:lnTo>
                    <a:lnTo>
                      <a:pt x="4" y="46"/>
                    </a:lnTo>
                    <a:lnTo>
                      <a:pt x="2" y="46"/>
                    </a:lnTo>
                    <a:lnTo>
                      <a:pt x="2" y="48"/>
                    </a:lnTo>
                    <a:lnTo>
                      <a:pt x="4" y="50"/>
                    </a:lnTo>
                    <a:lnTo>
                      <a:pt x="6" y="50"/>
                    </a:lnTo>
                    <a:lnTo>
                      <a:pt x="6" y="52"/>
                    </a:lnTo>
                    <a:lnTo>
                      <a:pt x="8" y="52"/>
                    </a:lnTo>
                    <a:lnTo>
                      <a:pt x="10" y="54"/>
                    </a:lnTo>
                    <a:lnTo>
                      <a:pt x="8" y="54"/>
                    </a:lnTo>
                    <a:lnTo>
                      <a:pt x="6" y="54"/>
                    </a:lnTo>
                    <a:lnTo>
                      <a:pt x="4" y="54"/>
                    </a:lnTo>
                    <a:lnTo>
                      <a:pt x="2" y="54"/>
                    </a:lnTo>
                    <a:lnTo>
                      <a:pt x="0" y="56"/>
                    </a:lnTo>
                    <a:lnTo>
                      <a:pt x="2" y="58"/>
                    </a:lnTo>
                    <a:lnTo>
                      <a:pt x="6" y="60"/>
                    </a:lnTo>
                    <a:lnTo>
                      <a:pt x="8" y="60"/>
                    </a:lnTo>
                    <a:lnTo>
                      <a:pt x="10" y="60"/>
                    </a:lnTo>
                    <a:lnTo>
                      <a:pt x="12" y="60"/>
                    </a:lnTo>
                    <a:lnTo>
                      <a:pt x="12" y="58"/>
                    </a:lnTo>
                    <a:lnTo>
                      <a:pt x="14" y="60"/>
                    </a:lnTo>
                    <a:lnTo>
                      <a:pt x="16" y="60"/>
                    </a:lnTo>
                    <a:lnTo>
                      <a:pt x="18" y="62"/>
                    </a:lnTo>
                    <a:lnTo>
                      <a:pt x="20" y="62"/>
                    </a:lnTo>
                    <a:lnTo>
                      <a:pt x="22" y="64"/>
                    </a:lnTo>
                    <a:lnTo>
                      <a:pt x="24" y="64"/>
                    </a:lnTo>
                    <a:lnTo>
                      <a:pt x="26" y="64"/>
                    </a:lnTo>
                    <a:lnTo>
                      <a:pt x="28" y="64"/>
                    </a:lnTo>
                    <a:lnTo>
                      <a:pt x="30" y="64"/>
                    </a:lnTo>
                    <a:lnTo>
                      <a:pt x="32" y="66"/>
                    </a:lnTo>
                    <a:lnTo>
                      <a:pt x="34" y="66"/>
                    </a:lnTo>
                    <a:lnTo>
                      <a:pt x="34" y="68"/>
                    </a:lnTo>
                    <a:lnTo>
                      <a:pt x="38" y="70"/>
                    </a:lnTo>
                    <a:lnTo>
                      <a:pt x="40" y="70"/>
                    </a:lnTo>
                    <a:lnTo>
                      <a:pt x="42" y="70"/>
                    </a:lnTo>
                    <a:lnTo>
                      <a:pt x="44" y="70"/>
                    </a:lnTo>
                    <a:lnTo>
                      <a:pt x="42" y="72"/>
                    </a:lnTo>
                    <a:lnTo>
                      <a:pt x="40" y="72"/>
                    </a:lnTo>
                    <a:lnTo>
                      <a:pt x="38" y="74"/>
                    </a:lnTo>
                    <a:lnTo>
                      <a:pt x="38" y="76"/>
                    </a:lnTo>
                    <a:lnTo>
                      <a:pt x="40" y="78"/>
                    </a:lnTo>
                    <a:lnTo>
                      <a:pt x="40" y="80"/>
                    </a:lnTo>
                    <a:lnTo>
                      <a:pt x="42" y="82"/>
                    </a:lnTo>
                    <a:lnTo>
                      <a:pt x="44" y="84"/>
                    </a:lnTo>
                    <a:lnTo>
                      <a:pt x="46" y="86"/>
                    </a:lnTo>
                    <a:lnTo>
                      <a:pt x="50" y="86"/>
                    </a:lnTo>
                    <a:lnTo>
                      <a:pt x="50" y="88"/>
                    </a:lnTo>
                    <a:lnTo>
                      <a:pt x="52" y="88"/>
                    </a:lnTo>
                    <a:lnTo>
                      <a:pt x="52" y="90"/>
                    </a:lnTo>
                    <a:lnTo>
                      <a:pt x="52" y="94"/>
                    </a:lnTo>
                    <a:lnTo>
                      <a:pt x="52" y="96"/>
                    </a:lnTo>
                    <a:lnTo>
                      <a:pt x="52" y="98"/>
                    </a:lnTo>
                    <a:lnTo>
                      <a:pt x="54" y="100"/>
                    </a:lnTo>
                    <a:lnTo>
                      <a:pt x="54" y="102"/>
                    </a:lnTo>
                    <a:lnTo>
                      <a:pt x="56" y="104"/>
                    </a:lnTo>
                    <a:lnTo>
                      <a:pt x="56" y="106"/>
                    </a:lnTo>
                    <a:lnTo>
                      <a:pt x="58" y="106"/>
                    </a:lnTo>
                    <a:lnTo>
                      <a:pt x="58" y="108"/>
                    </a:lnTo>
                    <a:lnTo>
                      <a:pt x="58" y="110"/>
                    </a:lnTo>
                    <a:lnTo>
                      <a:pt x="60" y="110"/>
                    </a:lnTo>
                    <a:lnTo>
                      <a:pt x="60" y="112"/>
                    </a:lnTo>
                    <a:lnTo>
                      <a:pt x="60" y="114"/>
                    </a:lnTo>
                    <a:lnTo>
                      <a:pt x="58" y="110"/>
                    </a:lnTo>
                    <a:lnTo>
                      <a:pt x="56" y="108"/>
                    </a:lnTo>
                    <a:lnTo>
                      <a:pt x="54" y="106"/>
                    </a:lnTo>
                    <a:lnTo>
                      <a:pt x="52" y="104"/>
                    </a:lnTo>
                    <a:lnTo>
                      <a:pt x="52" y="106"/>
                    </a:lnTo>
                    <a:lnTo>
                      <a:pt x="52" y="108"/>
                    </a:lnTo>
                    <a:lnTo>
                      <a:pt x="52" y="110"/>
                    </a:lnTo>
                    <a:lnTo>
                      <a:pt x="52" y="114"/>
                    </a:lnTo>
                    <a:lnTo>
                      <a:pt x="52" y="116"/>
                    </a:lnTo>
                    <a:lnTo>
                      <a:pt x="52" y="118"/>
                    </a:lnTo>
                    <a:lnTo>
                      <a:pt x="52" y="120"/>
                    </a:lnTo>
                    <a:lnTo>
                      <a:pt x="50" y="122"/>
                    </a:lnTo>
                    <a:lnTo>
                      <a:pt x="50" y="126"/>
                    </a:lnTo>
                    <a:lnTo>
                      <a:pt x="48" y="128"/>
                    </a:lnTo>
                    <a:lnTo>
                      <a:pt x="48" y="132"/>
                    </a:lnTo>
                    <a:lnTo>
                      <a:pt x="46" y="134"/>
                    </a:lnTo>
                    <a:lnTo>
                      <a:pt x="46" y="136"/>
                    </a:lnTo>
                    <a:lnTo>
                      <a:pt x="46" y="138"/>
                    </a:lnTo>
                    <a:lnTo>
                      <a:pt x="44" y="140"/>
                    </a:lnTo>
                    <a:lnTo>
                      <a:pt x="44" y="142"/>
                    </a:lnTo>
                    <a:lnTo>
                      <a:pt x="44" y="144"/>
                    </a:lnTo>
                    <a:lnTo>
                      <a:pt x="42" y="144"/>
                    </a:lnTo>
                    <a:lnTo>
                      <a:pt x="40" y="146"/>
                    </a:lnTo>
                    <a:lnTo>
                      <a:pt x="40" y="148"/>
                    </a:lnTo>
                    <a:lnTo>
                      <a:pt x="42" y="146"/>
                    </a:lnTo>
                    <a:lnTo>
                      <a:pt x="44" y="146"/>
                    </a:lnTo>
                    <a:lnTo>
                      <a:pt x="46" y="146"/>
                    </a:lnTo>
                    <a:lnTo>
                      <a:pt x="46" y="148"/>
                    </a:lnTo>
                    <a:lnTo>
                      <a:pt x="46" y="150"/>
                    </a:lnTo>
                    <a:lnTo>
                      <a:pt x="48" y="152"/>
                    </a:lnTo>
                    <a:lnTo>
                      <a:pt x="52" y="152"/>
                    </a:lnTo>
                    <a:lnTo>
                      <a:pt x="54" y="152"/>
                    </a:lnTo>
                    <a:lnTo>
                      <a:pt x="56" y="152"/>
                    </a:lnTo>
                    <a:lnTo>
                      <a:pt x="58" y="154"/>
                    </a:lnTo>
                    <a:lnTo>
                      <a:pt x="60" y="154"/>
                    </a:lnTo>
                    <a:lnTo>
                      <a:pt x="62" y="154"/>
                    </a:lnTo>
                    <a:lnTo>
                      <a:pt x="64" y="154"/>
                    </a:lnTo>
                    <a:lnTo>
                      <a:pt x="64" y="156"/>
                    </a:lnTo>
                    <a:lnTo>
                      <a:pt x="68" y="156"/>
                    </a:lnTo>
                    <a:lnTo>
                      <a:pt x="70" y="156"/>
                    </a:lnTo>
                    <a:lnTo>
                      <a:pt x="72" y="156"/>
                    </a:lnTo>
                    <a:lnTo>
                      <a:pt x="72" y="158"/>
                    </a:lnTo>
                    <a:lnTo>
                      <a:pt x="72" y="160"/>
                    </a:lnTo>
                    <a:lnTo>
                      <a:pt x="74" y="158"/>
                    </a:lnTo>
                    <a:lnTo>
                      <a:pt x="76" y="158"/>
                    </a:lnTo>
                    <a:lnTo>
                      <a:pt x="78" y="158"/>
                    </a:lnTo>
                    <a:lnTo>
                      <a:pt x="78" y="156"/>
                    </a:lnTo>
                    <a:lnTo>
                      <a:pt x="78" y="154"/>
                    </a:lnTo>
                    <a:lnTo>
                      <a:pt x="80" y="154"/>
                    </a:lnTo>
                    <a:lnTo>
                      <a:pt x="82" y="154"/>
                    </a:lnTo>
                    <a:lnTo>
                      <a:pt x="84" y="154"/>
                    </a:lnTo>
                    <a:lnTo>
                      <a:pt x="84" y="156"/>
                    </a:lnTo>
                    <a:lnTo>
                      <a:pt x="86" y="156"/>
                    </a:lnTo>
                    <a:lnTo>
                      <a:pt x="88" y="156"/>
                    </a:lnTo>
                    <a:lnTo>
                      <a:pt x="88" y="158"/>
                    </a:lnTo>
                    <a:lnTo>
                      <a:pt x="90" y="158"/>
                    </a:lnTo>
                    <a:lnTo>
                      <a:pt x="92" y="158"/>
                    </a:lnTo>
                    <a:lnTo>
                      <a:pt x="94" y="158"/>
                    </a:lnTo>
                    <a:lnTo>
                      <a:pt x="96" y="158"/>
                    </a:lnTo>
                    <a:lnTo>
                      <a:pt x="96" y="160"/>
                    </a:lnTo>
                    <a:lnTo>
                      <a:pt x="96" y="162"/>
                    </a:lnTo>
                    <a:lnTo>
                      <a:pt x="98" y="162"/>
                    </a:lnTo>
                    <a:lnTo>
                      <a:pt x="100" y="162"/>
                    </a:lnTo>
                    <a:lnTo>
                      <a:pt x="102" y="162"/>
                    </a:lnTo>
                    <a:lnTo>
                      <a:pt x="104" y="162"/>
                    </a:lnTo>
                    <a:lnTo>
                      <a:pt x="104" y="164"/>
                    </a:lnTo>
                    <a:lnTo>
                      <a:pt x="106" y="164"/>
                    </a:lnTo>
                    <a:lnTo>
                      <a:pt x="108" y="164"/>
                    </a:lnTo>
                    <a:lnTo>
                      <a:pt x="110" y="164"/>
                    </a:lnTo>
                    <a:lnTo>
                      <a:pt x="110" y="162"/>
                    </a:lnTo>
                    <a:lnTo>
                      <a:pt x="110" y="160"/>
                    </a:lnTo>
                    <a:lnTo>
                      <a:pt x="112" y="160"/>
                    </a:lnTo>
                    <a:lnTo>
                      <a:pt x="112" y="158"/>
                    </a:lnTo>
                    <a:lnTo>
                      <a:pt x="112" y="156"/>
                    </a:lnTo>
                    <a:lnTo>
                      <a:pt x="114" y="154"/>
                    </a:lnTo>
                    <a:lnTo>
                      <a:pt x="114" y="152"/>
                    </a:lnTo>
                    <a:lnTo>
                      <a:pt x="116" y="150"/>
                    </a:lnTo>
                    <a:lnTo>
                      <a:pt x="118" y="148"/>
                    </a:lnTo>
                    <a:lnTo>
                      <a:pt x="120" y="146"/>
                    </a:lnTo>
                    <a:lnTo>
                      <a:pt x="122" y="146"/>
                    </a:lnTo>
                    <a:lnTo>
                      <a:pt x="122" y="144"/>
                    </a:lnTo>
                    <a:lnTo>
                      <a:pt x="124" y="144"/>
                    </a:lnTo>
                    <a:lnTo>
                      <a:pt x="126" y="142"/>
                    </a:lnTo>
                    <a:lnTo>
                      <a:pt x="128" y="142"/>
                    </a:lnTo>
                    <a:lnTo>
                      <a:pt x="130" y="140"/>
                    </a:lnTo>
                    <a:lnTo>
                      <a:pt x="132" y="140"/>
                    </a:lnTo>
                    <a:lnTo>
                      <a:pt x="134" y="140"/>
                    </a:lnTo>
                    <a:lnTo>
                      <a:pt x="136" y="142"/>
                    </a:lnTo>
                    <a:lnTo>
                      <a:pt x="138" y="144"/>
                    </a:lnTo>
                    <a:lnTo>
                      <a:pt x="140" y="144"/>
                    </a:lnTo>
                    <a:lnTo>
                      <a:pt x="142" y="144"/>
                    </a:lnTo>
                    <a:lnTo>
                      <a:pt x="144" y="144"/>
                    </a:lnTo>
                    <a:lnTo>
                      <a:pt x="146" y="144"/>
                    </a:lnTo>
                    <a:lnTo>
                      <a:pt x="148" y="144"/>
                    </a:lnTo>
                    <a:lnTo>
                      <a:pt x="150" y="144"/>
                    </a:lnTo>
                    <a:lnTo>
                      <a:pt x="150" y="146"/>
                    </a:lnTo>
                    <a:lnTo>
                      <a:pt x="152" y="148"/>
                    </a:lnTo>
                    <a:lnTo>
                      <a:pt x="154" y="148"/>
                    </a:lnTo>
                    <a:lnTo>
                      <a:pt x="156" y="150"/>
                    </a:lnTo>
                    <a:lnTo>
                      <a:pt x="158" y="150"/>
                    </a:lnTo>
                    <a:lnTo>
                      <a:pt x="160" y="152"/>
                    </a:lnTo>
                    <a:lnTo>
                      <a:pt x="162" y="152"/>
                    </a:lnTo>
                    <a:lnTo>
                      <a:pt x="164" y="152"/>
                    </a:lnTo>
                    <a:lnTo>
                      <a:pt x="166" y="150"/>
                    </a:lnTo>
                    <a:lnTo>
                      <a:pt x="168" y="150"/>
                    </a:lnTo>
                    <a:lnTo>
                      <a:pt x="170" y="148"/>
                    </a:lnTo>
                    <a:lnTo>
                      <a:pt x="172" y="146"/>
                    </a:lnTo>
                    <a:lnTo>
                      <a:pt x="174" y="142"/>
                    </a:lnTo>
                    <a:lnTo>
                      <a:pt x="176" y="140"/>
                    </a:lnTo>
                    <a:lnTo>
                      <a:pt x="176" y="138"/>
                    </a:lnTo>
                    <a:lnTo>
                      <a:pt x="178" y="138"/>
                    </a:lnTo>
                    <a:lnTo>
                      <a:pt x="180" y="138"/>
                    </a:lnTo>
                    <a:lnTo>
                      <a:pt x="182" y="138"/>
                    </a:lnTo>
                    <a:lnTo>
                      <a:pt x="182" y="136"/>
                    </a:lnTo>
                    <a:lnTo>
                      <a:pt x="184" y="136"/>
                    </a:lnTo>
                    <a:lnTo>
                      <a:pt x="184" y="134"/>
                    </a:lnTo>
                    <a:lnTo>
                      <a:pt x="184" y="132"/>
                    </a:lnTo>
                    <a:lnTo>
                      <a:pt x="184" y="130"/>
                    </a:lnTo>
                    <a:lnTo>
                      <a:pt x="182" y="130"/>
                    </a:lnTo>
                    <a:lnTo>
                      <a:pt x="180" y="130"/>
                    </a:lnTo>
                    <a:lnTo>
                      <a:pt x="178" y="130"/>
                    </a:lnTo>
                    <a:lnTo>
                      <a:pt x="178" y="128"/>
                    </a:lnTo>
                    <a:lnTo>
                      <a:pt x="176" y="128"/>
                    </a:lnTo>
                    <a:lnTo>
                      <a:pt x="174" y="128"/>
                    </a:lnTo>
                    <a:lnTo>
                      <a:pt x="174" y="126"/>
                    </a:lnTo>
                    <a:lnTo>
                      <a:pt x="174" y="124"/>
                    </a:lnTo>
                    <a:lnTo>
                      <a:pt x="174" y="122"/>
                    </a:lnTo>
                    <a:lnTo>
                      <a:pt x="174" y="120"/>
                    </a:lnTo>
                    <a:lnTo>
                      <a:pt x="176" y="120"/>
                    </a:lnTo>
                    <a:lnTo>
                      <a:pt x="176" y="118"/>
                    </a:lnTo>
                    <a:lnTo>
                      <a:pt x="174" y="116"/>
                    </a:lnTo>
                    <a:lnTo>
                      <a:pt x="172" y="116"/>
                    </a:lnTo>
                    <a:lnTo>
                      <a:pt x="170" y="114"/>
                    </a:lnTo>
                    <a:lnTo>
                      <a:pt x="170" y="112"/>
                    </a:lnTo>
                    <a:lnTo>
                      <a:pt x="168" y="110"/>
                    </a:lnTo>
                    <a:lnTo>
                      <a:pt x="170" y="110"/>
                    </a:lnTo>
                    <a:lnTo>
                      <a:pt x="172" y="110"/>
                    </a:lnTo>
                    <a:lnTo>
                      <a:pt x="174" y="110"/>
                    </a:lnTo>
                    <a:lnTo>
                      <a:pt x="176" y="110"/>
                    </a:lnTo>
                    <a:lnTo>
                      <a:pt x="178" y="108"/>
                    </a:lnTo>
                    <a:lnTo>
                      <a:pt x="180" y="108"/>
                    </a:lnTo>
                    <a:lnTo>
                      <a:pt x="180" y="106"/>
                    </a:lnTo>
                    <a:lnTo>
                      <a:pt x="178" y="106"/>
                    </a:lnTo>
                    <a:lnTo>
                      <a:pt x="178" y="104"/>
                    </a:lnTo>
                    <a:lnTo>
                      <a:pt x="176" y="102"/>
                    </a:lnTo>
                    <a:lnTo>
                      <a:pt x="174" y="102"/>
                    </a:lnTo>
                    <a:lnTo>
                      <a:pt x="174" y="100"/>
                    </a:lnTo>
                    <a:lnTo>
                      <a:pt x="172" y="100"/>
                    </a:lnTo>
                    <a:lnTo>
                      <a:pt x="174" y="98"/>
                    </a:lnTo>
                    <a:lnTo>
                      <a:pt x="176" y="98"/>
                    </a:lnTo>
                    <a:lnTo>
                      <a:pt x="176" y="96"/>
                    </a:lnTo>
                    <a:lnTo>
                      <a:pt x="174" y="94"/>
                    </a:lnTo>
                    <a:lnTo>
                      <a:pt x="174" y="92"/>
                    </a:lnTo>
                    <a:lnTo>
                      <a:pt x="174" y="90"/>
                    </a:lnTo>
                    <a:lnTo>
                      <a:pt x="174" y="88"/>
                    </a:lnTo>
                    <a:lnTo>
                      <a:pt x="174" y="86"/>
                    </a:lnTo>
                    <a:lnTo>
                      <a:pt x="172" y="86"/>
                    </a:lnTo>
                    <a:lnTo>
                      <a:pt x="170" y="84"/>
                    </a:lnTo>
                    <a:lnTo>
                      <a:pt x="168" y="86"/>
                    </a:lnTo>
                    <a:lnTo>
                      <a:pt x="166" y="86"/>
                    </a:lnTo>
                    <a:lnTo>
                      <a:pt x="164" y="88"/>
                    </a:lnTo>
                    <a:lnTo>
                      <a:pt x="164" y="90"/>
                    </a:lnTo>
                    <a:lnTo>
                      <a:pt x="162" y="92"/>
                    </a:lnTo>
                    <a:lnTo>
                      <a:pt x="160" y="92"/>
                    </a:lnTo>
                    <a:lnTo>
                      <a:pt x="160" y="90"/>
                    </a:lnTo>
                    <a:lnTo>
                      <a:pt x="162" y="90"/>
                    </a:lnTo>
                    <a:lnTo>
                      <a:pt x="162" y="88"/>
                    </a:lnTo>
                    <a:lnTo>
                      <a:pt x="164" y="88"/>
                    </a:lnTo>
                    <a:lnTo>
                      <a:pt x="162" y="86"/>
                    </a:lnTo>
                    <a:lnTo>
                      <a:pt x="160" y="84"/>
                    </a:lnTo>
                    <a:lnTo>
                      <a:pt x="162" y="84"/>
                    </a:lnTo>
                    <a:lnTo>
                      <a:pt x="164" y="84"/>
                    </a:lnTo>
                    <a:lnTo>
                      <a:pt x="166" y="82"/>
                    </a:lnTo>
                    <a:lnTo>
                      <a:pt x="168" y="80"/>
                    </a:lnTo>
                    <a:lnTo>
                      <a:pt x="168" y="78"/>
                    </a:lnTo>
                    <a:lnTo>
                      <a:pt x="168" y="76"/>
                    </a:lnTo>
                    <a:lnTo>
                      <a:pt x="170" y="76"/>
                    </a:lnTo>
                    <a:lnTo>
                      <a:pt x="172" y="76"/>
                    </a:lnTo>
                    <a:lnTo>
                      <a:pt x="174" y="74"/>
                    </a:lnTo>
                    <a:lnTo>
                      <a:pt x="176" y="72"/>
                    </a:lnTo>
                    <a:lnTo>
                      <a:pt x="176" y="70"/>
                    </a:lnTo>
                    <a:lnTo>
                      <a:pt x="178" y="68"/>
                    </a:lnTo>
                    <a:lnTo>
                      <a:pt x="178" y="66"/>
                    </a:lnTo>
                    <a:lnTo>
                      <a:pt x="180" y="68"/>
                    </a:lnTo>
                    <a:lnTo>
                      <a:pt x="182" y="68"/>
                    </a:lnTo>
                    <a:lnTo>
                      <a:pt x="184" y="68"/>
                    </a:lnTo>
                    <a:lnTo>
                      <a:pt x="184" y="66"/>
                    </a:lnTo>
                    <a:lnTo>
                      <a:pt x="184" y="64"/>
                    </a:lnTo>
                    <a:lnTo>
                      <a:pt x="184" y="62"/>
                    </a:lnTo>
                    <a:lnTo>
                      <a:pt x="184" y="60"/>
                    </a:lnTo>
                    <a:lnTo>
                      <a:pt x="184" y="58"/>
                    </a:lnTo>
                    <a:lnTo>
                      <a:pt x="184" y="56"/>
                    </a:lnTo>
                    <a:lnTo>
                      <a:pt x="186" y="52"/>
                    </a:lnTo>
                    <a:lnTo>
                      <a:pt x="186" y="50"/>
                    </a:lnTo>
                    <a:lnTo>
                      <a:pt x="188" y="48"/>
                    </a:lnTo>
                    <a:lnTo>
                      <a:pt x="188" y="46"/>
                    </a:lnTo>
                    <a:lnTo>
                      <a:pt x="188" y="44"/>
                    </a:lnTo>
                    <a:lnTo>
                      <a:pt x="190" y="44"/>
                    </a:lnTo>
                    <a:lnTo>
                      <a:pt x="192" y="42"/>
                    </a:lnTo>
                    <a:lnTo>
                      <a:pt x="192" y="40"/>
                    </a:lnTo>
                    <a:lnTo>
                      <a:pt x="194" y="40"/>
                    </a:lnTo>
                    <a:lnTo>
                      <a:pt x="194" y="38"/>
                    </a:lnTo>
                    <a:lnTo>
                      <a:pt x="192" y="38"/>
                    </a:lnTo>
                    <a:lnTo>
                      <a:pt x="192" y="36"/>
                    </a:lnTo>
                    <a:lnTo>
                      <a:pt x="190" y="36"/>
                    </a:lnTo>
                    <a:lnTo>
                      <a:pt x="184" y="36"/>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5" name="Freeform 115">
                <a:extLst>
                  <a:ext uri="{FF2B5EF4-FFF2-40B4-BE49-F238E27FC236}">
                    <a16:creationId xmlns:a16="http://schemas.microsoft.com/office/drawing/2014/main" id="{56ACE360-3A0B-4ADE-8117-4035766DF3C1}"/>
                  </a:ext>
                </a:extLst>
              </p:cNvPr>
              <p:cNvSpPr>
                <a:spLocks noChangeAspect="1"/>
              </p:cNvSpPr>
              <p:nvPr/>
            </p:nvSpPr>
            <p:spPr bwMode="auto">
              <a:xfrm>
                <a:off x="4311764" y="2309883"/>
                <a:ext cx="180880" cy="275546"/>
              </a:xfrm>
              <a:custGeom>
                <a:avLst/>
                <a:gdLst/>
                <a:ahLst/>
                <a:cxnLst>
                  <a:cxn ang="0">
                    <a:pos x="88" y="102"/>
                  </a:cxn>
                  <a:cxn ang="0">
                    <a:pos x="86" y="92"/>
                  </a:cxn>
                  <a:cxn ang="0">
                    <a:pos x="86" y="88"/>
                  </a:cxn>
                  <a:cxn ang="0">
                    <a:pos x="82" y="82"/>
                  </a:cxn>
                  <a:cxn ang="0">
                    <a:pos x="74" y="74"/>
                  </a:cxn>
                  <a:cxn ang="0">
                    <a:pos x="68" y="54"/>
                  </a:cxn>
                  <a:cxn ang="0">
                    <a:pos x="62" y="52"/>
                  </a:cxn>
                  <a:cxn ang="0">
                    <a:pos x="44" y="50"/>
                  </a:cxn>
                  <a:cxn ang="0">
                    <a:pos x="44" y="46"/>
                  </a:cxn>
                  <a:cxn ang="0">
                    <a:pos x="50" y="42"/>
                  </a:cxn>
                  <a:cxn ang="0">
                    <a:pos x="52" y="40"/>
                  </a:cxn>
                  <a:cxn ang="0">
                    <a:pos x="62" y="28"/>
                  </a:cxn>
                  <a:cxn ang="0">
                    <a:pos x="68" y="18"/>
                  </a:cxn>
                  <a:cxn ang="0">
                    <a:pos x="50" y="18"/>
                  </a:cxn>
                  <a:cxn ang="0">
                    <a:pos x="36" y="18"/>
                  </a:cxn>
                  <a:cxn ang="0">
                    <a:pos x="34" y="14"/>
                  </a:cxn>
                  <a:cxn ang="0">
                    <a:pos x="44" y="10"/>
                  </a:cxn>
                  <a:cxn ang="0">
                    <a:pos x="50" y="2"/>
                  </a:cxn>
                  <a:cxn ang="0">
                    <a:pos x="30" y="2"/>
                  </a:cxn>
                  <a:cxn ang="0">
                    <a:pos x="24" y="6"/>
                  </a:cxn>
                  <a:cxn ang="0">
                    <a:pos x="20" y="12"/>
                  </a:cxn>
                  <a:cxn ang="0">
                    <a:pos x="10" y="16"/>
                  </a:cxn>
                  <a:cxn ang="0">
                    <a:pos x="14" y="24"/>
                  </a:cxn>
                  <a:cxn ang="0">
                    <a:pos x="12" y="32"/>
                  </a:cxn>
                  <a:cxn ang="0">
                    <a:pos x="8" y="36"/>
                  </a:cxn>
                  <a:cxn ang="0">
                    <a:pos x="18" y="36"/>
                  </a:cxn>
                  <a:cxn ang="0">
                    <a:pos x="10" y="44"/>
                  </a:cxn>
                  <a:cxn ang="0">
                    <a:pos x="16" y="50"/>
                  </a:cxn>
                  <a:cxn ang="0">
                    <a:pos x="24" y="48"/>
                  </a:cxn>
                  <a:cxn ang="0">
                    <a:pos x="24" y="56"/>
                  </a:cxn>
                  <a:cxn ang="0">
                    <a:pos x="16" y="70"/>
                  </a:cxn>
                  <a:cxn ang="0">
                    <a:pos x="28" y="70"/>
                  </a:cxn>
                  <a:cxn ang="0">
                    <a:pos x="42" y="66"/>
                  </a:cxn>
                  <a:cxn ang="0">
                    <a:pos x="38" y="72"/>
                  </a:cxn>
                  <a:cxn ang="0">
                    <a:pos x="46" y="80"/>
                  </a:cxn>
                  <a:cxn ang="0">
                    <a:pos x="44" y="90"/>
                  </a:cxn>
                  <a:cxn ang="0">
                    <a:pos x="42" y="98"/>
                  </a:cxn>
                  <a:cxn ang="0">
                    <a:pos x="26" y="96"/>
                  </a:cxn>
                  <a:cxn ang="0">
                    <a:pos x="24" y="100"/>
                  </a:cxn>
                  <a:cxn ang="0">
                    <a:pos x="26" y="104"/>
                  </a:cxn>
                  <a:cxn ang="0">
                    <a:pos x="24" y="116"/>
                  </a:cxn>
                  <a:cxn ang="0">
                    <a:pos x="12" y="126"/>
                  </a:cxn>
                  <a:cxn ang="0">
                    <a:pos x="22" y="126"/>
                  </a:cxn>
                  <a:cxn ang="0">
                    <a:pos x="28" y="128"/>
                  </a:cxn>
                  <a:cxn ang="0">
                    <a:pos x="46" y="126"/>
                  </a:cxn>
                  <a:cxn ang="0">
                    <a:pos x="40" y="134"/>
                  </a:cxn>
                  <a:cxn ang="0">
                    <a:pos x="24" y="136"/>
                  </a:cxn>
                  <a:cxn ang="0">
                    <a:pos x="16" y="142"/>
                  </a:cxn>
                  <a:cxn ang="0">
                    <a:pos x="8" y="148"/>
                  </a:cxn>
                  <a:cxn ang="0">
                    <a:pos x="0" y="156"/>
                  </a:cxn>
                  <a:cxn ang="0">
                    <a:pos x="12" y="154"/>
                  </a:cxn>
                  <a:cxn ang="0">
                    <a:pos x="28" y="154"/>
                  </a:cxn>
                  <a:cxn ang="0">
                    <a:pos x="42" y="144"/>
                  </a:cxn>
                  <a:cxn ang="0">
                    <a:pos x="50" y="148"/>
                  </a:cxn>
                  <a:cxn ang="0">
                    <a:pos x="60" y="146"/>
                  </a:cxn>
                  <a:cxn ang="0">
                    <a:pos x="66" y="142"/>
                  </a:cxn>
                  <a:cxn ang="0">
                    <a:pos x="74" y="144"/>
                  </a:cxn>
                  <a:cxn ang="0">
                    <a:pos x="96" y="142"/>
                  </a:cxn>
                  <a:cxn ang="0">
                    <a:pos x="100" y="132"/>
                  </a:cxn>
                  <a:cxn ang="0">
                    <a:pos x="96" y="130"/>
                  </a:cxn>
                  <a:cxn ang="0">
                    <a:pos x="96" y="126"/>
                  </a:cxn>
                  <a:cxn ang="0">
                    <a:pos x="108" y="118"/>
                  </a:cxn>
                  <a:cxn ang="0">
                    <a:pos x="98" y="102"/>
                  </a:cxn>
                </a:cxnLst>
                <a:rect l="0" t="0" r="r" b="b"/>
                <a:pathLst>
                  <a:path w="110" h="158">
                    <a:moveTo>
                      <a:pt x="94" y="102"/>
                    </a:moveTo>
                    <a:lnTo>
                      <a:pt x="94" y="102"/>
                    </a:lnTo>
                    <a:lnTo>
                      <a:pt x="92" y="104"/>
                    </a:lnTo>
                    <a:lnTo>
                      <a:pt x="90" y="106"/>
                    </a:lnTo>
                    <a:lnTo>
                      <a:pt x="88" y="104"/>
                    </a:lnTo>
                    <a:lnTo>
                      <a:pt x="88" y="102"/>
                    </a:lnTo>
                    <a:lnTo>
                      <a:pt x="90" y="100"/>
                    </a:lnTo>
                    <a:lnTo>
                      <a:pt x="92" y="98"/>
                    </a:lnTo>
                    <a:lnTo>
                      <a:pt x="92" y="96"/>
                    </a:lnTo>
                    <a:lnTo>
                      <a:pt x="90" y="96"/>
                    </a:lnTo>
                    <a:lnTo>
                      <a:pt x="90" y="94"/>
                    </a:lnTo>
                    <a:lnTo>
                      <a:pt x="88" y="94"/>
                    </a:lnTo>
                    <a:lnTo>
                      <a:pt x="86" y="92"/>
                    </a:lnTo>
                    <a:lnTo>
                      <a:pt x="84" y="92"/>
                    </a:lnTo>
                    <a:lnTo>
                      <a:pt x="82" y="92"/>
                    </a:lnTo>
                    <a:lnTo>
                      <a:pt x="80" y="90"/>
                    </a:lnTo>
                    <a:lnTo>
                      <a:pt x="80" y="88"/>
                    </a:lnTo>
                    <a:lnTo>
                      <a:pt x="82" y="88"/>
                    </a:lnTo>
                    <a:lnTo>
                      <a:pt x="84" y="88"/>
                    </a:lnTo>
                    <a:lnTo>
                      <a:pt x="86" y="88"/>
                    </a:lnTo>
                    <a:lnTo>
                      <a:pt x="88" y="88"/>
                    </a:lnTo>
                    <a:lnTo>
                      <a:pt x="86" y="88"/>
                    </a:lnTo>
                    <a:lnTo>
                      <a:pt x="84" y="86"/>
                    </a:lnTo>
                    <a:lnTo>
                      <a:pt x="84" y="84"/>
                    </a:lnTo>
                    <a:lnTo>
                      <a:pt x="82" y="82"/>
                    </a:lnTo>
                    <a:lnTo>
                      <a:pt x="80" y="78"/>
                    </a:lnTo>
                    <a:lnTo>
                      <a:pt x="80" y="76"/>
                    </a:lnTo>
                    <a:lnTo>
                      <a:pt x="78" y="76"/>
                    </a:lnTo>
                    <a:lnTo>
                      <a:pt x="78" y="74"/>
                    </a:lnTo>
                    <a:lnTo>
                      <a:pt x="76" y="74"/>
                    </a:lnTo>
                    <a:lnTo>
                      <a:pt x="74" y="74"/>
                    </a:lnTo>
                    <a:lnTo>
                      <a:pt x="72" y="72"/>
                    </a:lnTo>
                    <a:lnTo>
                      <a:pt x="70" y="70"/>
                    </a:lnTo>
                    <a:lnTo>
                      <a:pt x="68" y="68"/>
                    </a:lnTo>
                    <a:lnTo>
                      <a:pt x="66" y="66"/>
                    </a:lnTo>
                    <a:lnTo>
                      <a:pt x="66" y="62"/>
                    </a:lnTo>
                    <a:lnTo>
                      <a:pt x="66" y="60"/>
                    </a:lnTo>
                    <a:lnTo>
                      <a:pt x="66" y="58"/>
                    </a:lnTo>
                    <a:lnTo>
                      <a:pt x="68" y="56"/>
                    </a:lnTo>
                    <a:lnTo>
                      <a:pt x="68" y="54"/>
                    </a:lnTo>
                    <a:lnTo>
                      <a:pt x="66" y="54"/>
                    </a:lnTo>
                    <a:lnTo>
                      <a:pt x="64" y="54"/>
                    </a:lnTo>
                    <a:lnTo>
                      <a:pt x="62" y="52"/>
                    </a:lnTo>
                    <a:lnTo>
                      <a:pt x="60" y="50"/>
                    </a:lnTo>
                    <a:lnTo>
                      <a:pt x="58" y="50"/>
                    </a:lnTo>
                    <a:lnTo>
                      <a:pt x="56" y="48"/>
                    </a:lnTo>
                    <a:lnTo>
                      <a:pt x="54" y="48"/>
                    </a:lnTo>
                    <a:lnTo>
                      <a:pt x="52" y="48"/>
                    </a:lnTo>
                    <a:lnTo>
                      <a:pt x="50" y="48"/>
                    </a:lnTo>
                    <a:lnTo>
                      <a:pt x="48" y="48"/>
                    </a:lnTo>
                    <a:lnTo>
                      <a:pt x="46" y="50"/>
                    </a:lnTo>
                    <a:lnTo>
                      <a:pt x="44" y="50"/>
                    </a:lnTo>
                    <a:lnTo>
                      <a:pt x="42" y="50"/>
                    </a:lnTo>
                    <a:lnTo>
                      <a:pt x="40" y="48"/>
                    </a:lnTo>
                    <a:lnTo>
                      <a:pt x="38" y="46"/>
                    </a:lnTo>
                    <a:lnTo>
                      <a:pt x="40" y="46"/>
                    </a:lnTo>
                    <a:lnTo>
                      <a:pt x="42" y="46"/>
                    </a:lnTo>
                    <a:lnTo>
                      <a:pt x="44" y="46"/>
                    </a:lnTo>
                    <a:lnTo>
                      <a:pt x="46" y="46"/>
                    </a:lnTo>
                    <a:lnTo>
                      <a:pt x="50" y="46"/>
                    </a:lnTo>
                    <a:lnTo>
                      <a:pt x="50" y="44"/>
                    </a:lnTo>
                    <a:lnTo>
                      <a:pt x="52" y="44"/>
                    </a:lnTo>
                    <a:lnTo>
                      <a:pt x="52" y="42"/>
                    </a:lnTo>
                    <a:lnTo>
                      <a:pt x="50" y="42"/>
                    </a:lnTo>
                    <a:lnTo>
                      <a:pt x="50" y="40"/>
                    </a:lnTo>
                    <a:lnTo>
                      <a:pt x="48" y="40"/>
                    </a:lnTo>
                    <a:lnTo>
                      <a:pt x="46" y="40"/>
                    </a:lnTo>
                    <a:lnTo>
                      <a:pt x="48" y="40"/>
                    </a:lnTo>
                    <a:lnTo>
                      <a:pt x="50" y="40"/>
                    </a:lnTo>
                    <a:lnTo>
                      <a:pt x="52" y="40"/>
                    </a:lnTo>
                    <a:lnTo>
                      <a:pt x="52" y="38"/>
                    </a:lnTo>
                    <a:lnTo>
                      <a:pt x="54" y="38"/>
                    </a:lnTo>
                    <a:lnTo>
                      <a:pt x="56" y="36"/>
                    </a:lnTo>
                    <a:lnTo>
                      <a:pt x="58" y="34"/>
                    </a:lnTo>
                    <a:lnTo>
                      <a:pt x="58" y="32"/>
                    </a:lnTo>
                    <a:lnTo>
                      <a:pt x="60" y="32"/>
                    </a:lnTo>
                    <a:lnTo>
                      <a:pt x="60" y="30"/>
                    </a:lnTo>
                    <a:lnTo>
                      <a:pt x="62" y="28"/>
                    </a:lnTo>
                    <a:lnTo>
                      <a:pt x="62" y="26"/>
                    </a:lnTo>
                    <a:lnTo>
                      <a:pt x="62" y="24"/>
                    </a:lnTo>
                    <a:lnTo>
                      <a:pt x="64" y="24"/>
                    </a:lnTo>
                    <a:lnTo>
                      <a:pt x="66" y="22"/>
                    </a:lnTo>
                    <a:lnTo>
                      <a:pt x="68" y="20"/>
                    </a:lnTo>
                    <a:lnTo>
                      <a:pt x="68" y="18"/>
                    </a:lnTo>
                    <a:lnTo>
                      <a:pt x="66" y="18"/>
                    </a:lnTo>
                    <a:lnTo>
                      <a:pt x="62" y="18"/>
                    </a:lnTo>
                    <a:lnTo>
                      <a:pt x="58" y="18"/>
                    </a:lnTo>
                    <a:lnTo>
                      <a:pt x="54" y="18"/>
                    </a:lnTo>
                    <a:lnTo>
                      <a:pt x="52" y="18"/>
                    </a:lnTo>
                    <a:lnTo>
                      <a:pt x="50" y="18"/>
                    </a:lnTo>
                    <a:lnTo>
                      <a:pt x="48" y="16"/>
                    </a:lnTo>
                    <a:lnTo>
                      <a:pt x="46" y="16"/>
                    </a:lnTo>
                    <a:lnTo>
                      <a:pt x="44" y="16"/>
                    </a:lnTo>
                    <a:lnTo>
                      <a:pt x="42" y="16"/>
                    </a:lnTo>
                    <a:lnTo>
                      <a:pt x="38" y="18"/>
                    </a:lnTo>
                    <a:lnTo>
                      <a:pt x="36" y="18"/>
                    </a:lnTo>
                    <a:lnTo>
                      <a:pt x="34" y="18"/>
                    </a:lnTo>
                    <a:lnTo>
                      <a:pt x="34" y="20"/>
                    </a:lnTo>
                    <a:lnTo>
                      <a:pt x="32" y="20"/>
                    </a:lnTo>
                    <a:lnTo>
                      <a:pt x="34" y="18"/>
                    </a:lnTo>
                    <a:lnTo>
                      <a:pt x="36" y="16"/>
                    </a:lnTo>
                    <a:lnTo>
                      <a:pt x="34" y="16"/>
                    </a:lnTo>
                    <a:lnTo>
                      <a:pt x="34" y="14"/>
                    </a:lnTo>
                    <a:lnTo>
                      <a:pt x="36" y="14"/>
                    </a:lnTo>
                    <a:lnTo>
                      <a:pt x="38" y="12"/>
                    </a:lnTo>
                    <a:lnTo>
                      <a:pt x="40" y="12"/>
                    </a:lnTo>
                    <a:lnTo>
                      <a:pt x="42" y="10"/>
                    </a:lnTo>
                    <a:lnTo>
                      <a:pt x="44" y="10"/>
                    </a:lnTo>
                    <a:lnTo>
                      <a:pt x="44" y="8"/>
                    </a:lnTo>
                    <a:lnTo>
                      <a:pt x="46" y="8"/>
                    </a:lnTo>
                    <a:lnTo>
                      <a:pt x="48" y="6"/>
                    </a:lnTo>
                    <a:lnTo>
                      <a:pt x="50" y="4"/>
                    </a:lnTo>
                    <a:lnTo>
                      <a:pt x="50" y="2"/>
                    </a:lnTo>
                    <a:lnTo>
                      <a:pt x="50" y="0"/>
                    </a:lnTo>
                    <a:lnTo>
                      <a:pt x="48" y="0"/>
                    </a:lnTo>
                    <a:lnTo>
                      <a:pt x="44" y="0"/>
                    </a:lnTo>
                    <a:lnTo>
                      <a:pt x="42" y="0"/>
                    </a:lnTo>
                    <a:lnTo>
                      <a:pt x="40" y="0"/>
                    </a:lnTo>
                    <a:lnTo>
                      <a:pt x="38" y="2"/>
                    </a:lnTo>
                    <a:lnTo>
                      <a:pt x="34" y="2"/>
                    </a:lnTo>
                    <a:lnTo>
                      <a:pt x="32" y="2"/>
                    </a:lnTo>
                    <a:lnTo>
                      <a:pt x="30" y="2"/>
                    </a:lnTo>
                    <a:lnTo>
                      <a:pt x="28" y="2"/>
                    </a:lnTo>
                    <a:lnTo>
                      <a:pt x="26" y="0"/>
                    </a:lnTo>
                    <a:lnTo>
                      <a:pt x="24" y="0"/>
                    </a:lnTo>
                    <a:lnTo>
                      <a:pt x="24" y="2"/>
                    </a:lnTo>
                    <a:lnTo>
                      <a:pt x="24" y="4"/>
                    </a:lnTo>
                    <a:lnTo>
                      <a:pt x="24" y="6"/>
                    </a:lnTo>
                    <a:lnTo>
                      <a:pt x="22" y="6"/>
                    </a:lnTo>
                    <a:lnTo>
                      <a:pt x="20" y="8"/>
                    </a:lnTo>
                    <a:lnTo>
                      <a:pt x="20" y="10"/>
                    </a:lnTo>
                    <a:lnTo>
                      <a:pt x="20" y="12"/>
                    </a:lnTo>
                    <a:lnTo>
                      <a:pt x="20" y="14"/>
                    </a:lnTo>
                    <a:lnTo>
                      <a:pt x="22" y="14"/>
                    </a:lnTo>
                    <a:lnTo>
                      <a:pt x="20" y="14"/>
                    </a:lnTo>
                    <a:lnTo>
                      <a:pt x="18" y="14"/>
                    </a:lnTo>
                    <a:lnTo>
                      <a:pt x="16" y="14"/>
                    </a:lnTo>
                    <a:lnTo>
                      <a:pt x="14" y="14"/>
                    </a:lnTo>
                    <a:lnTo>
                      <a:pt x="12" y="16"/>
                    </a:lnTo>
                    <a:lnTo>
                      <a:pt x="10" y="16"/>
                    </a:lnTo>
                    <a:lnTo>
                      <a:pt x="10" y="18"/>
                    </a:lnTo>
                    <a:lnTo>
                      <a:pt x="12" y="18"/>
                    </a:lnTo>
                    <a:lnTo>
                      <a:pt x="12" y="20"/>
                    </a:lnTo>
                    <a:lnTo>
                      <a:pt x="14" y="22"/>
                    </a:lnTo>
                    <a:lnTo>
                      <a:pt x="14" y="24"/>
                    </a:lnTo>
                    <a:lnTo>
                      <a:pt x="16" y="24"/>
                    </a:lnTo>
                    <a:lnTo>
                      <a:pt x="16" y="26"/>
                    </a:lnTo>
                    <a:lnTo>
                      <a:pt x="14" y="26"/>
                    </a:lnTo>
                    <a:lnTo>
                      <a:pt x="14" y="28"/>
                    </a:lnTo>
                    <a:lnTo>
                      <a:pt x="12" y="28"/>
                    </a:lnTo>
                    <a:lnTo>
                      <a:pt x="12" y="30"/>
                    </a:lnTo>
                    <a:lnTo>
                      <a:pt x="12" y="32"/>
                    </a:lnTo>
                    <a:lnTo>
                      <a:pt x="10" y="32"/>
                    </a:lnTo>
                    <a:lnTo>
                      <a:pt x="8" y="32"/>
                    </a:lnTo>
                    <a:lnTo>
                      <a:pt x="8" y="34"/>
                    </a:lnTo>
                    <a:lnTo>
                      <a:pt x="6" y="34"/>
                    </a:lnTo>
                    <a:lnTo>
                      <a:pt x="8" y="34"/>
                    </a:lnTo>
                    <a:lnTo>
                      <a:pt x="8" y="36"/>
                    </a:lnTo>
                    <a:lnTo>
                      <a:pt x="10" y="36"/>
                    </a:lnTo>
                    <a:lnTo>
                      <a:pt x="12" y="36"/>
                    </a:lnTo>
                    <a:lnTo>
                      <a:pt x="14" y="36"/>
                    </a:lnTo>
                    <a:lnTo>
                      <a:pt x="16" y="34"/>
                    </a:lnTo>
                    <a:lnTo>
                      <a:pt x="18" y="34"/>
                    </a:lnTo>
                    <a:lnTo>
                      <a:pt x="18" y="36"/>
                    </a:lnTo>
                    <a:lnTo>
                      <a:pt x="18" y="38"/>
                    </a:lnTo>
                    <a:lnTo>
                      <a:pt x="16" y="38"/>
                    </a:lnTo>
                    <a:lnTo>
                      <a:pt x="14" y="40"/>
                    </a:lnTo>
                    <a:lnTo>
                      <a:pt x="12" y="40"/>
                    </a:lnTo>
                    <a:lnTo>
                      <a:pt x="12" y="42"/>
                    </a:lnTo>
                    <a:lnTo>
                      <a:pt x="10" y="42"/>
                    </a:lnTo>
                    <a:lnTo>
                      <a:pt x="10" y="44"/>
                    </a:lnTo>
                    <a:lnTo>
                      <a:pt x="10" y="46"/>
                    </a:lnTo>
                    <a:lnTo>
                      <a:pt x="10" y="48"/>
                    </a:lnTo>
                    <a:lnTo>
                      <a:pt x="10" y="50"/>
                    </a:lnTo>
                    <a:lnTo>
                      <a:pt x="12" y="52"/>
                    </a:lnTo>
                    <a:lnTo>
                      <a:pt x="12" y="50"/>
                    </a:lnTo>
                    <a:lnTo>
                      <a:pt x="14" y="50"/>
                    </a:lnTo>
                    <a:lnTo>
                      <a:pt x="16" y="50"/>
                    </a:lnTo>
                    <a:lnTo>
                      <a:pt x="18" y="50"/>
                    </a:lnTo>
                    <a:lnTo>
                      <a:pt x="20" y="50"/>
                    </a:lnTo>
                    <a:lnTo>
                      <a:pt x="22" y="50"/>
                    </a:lnTo>
                    <a:lnTo>
                      <a:pt x="24" y="48"/>
                    </a:lnTo>
                    <a:lnTo>
                      <a:pt x="22" y="50"/>
                    </a:lnTo>
                    <a:lnTo>
                      <a:pt x="22" y="52"/>
                    </a:lnTo>
                    <a:lnTo>
                      <a:pt x="22" y="54"/>
                    </a:lnTo>
                    <a:lnTo>
                      <a:pt x="22" y="56"/>
                    </a:lnTo>
                    <a:lnTo>
                      <a:pt x="24" y="56"/>
                    </a:lnTo>
                    <a:lnTo>
                      <a:pt x="24" y="58"/>
                    </a:lnTo>
                    <a:lnTo>
                      <a:pt x="22" y="58"/>
                    </a:lnTo>
                    <a:lnTo>
                      <a:pt x="20" y="60"/>
                    </a:lnTo>
                    <a:lnTo>
                      <a:pt x="18" y="64"/>
                    </a:lnTo>
                    <a:lnTo>
                      <a:pt x="16" y="68"/>
                    </a:lnTo>
                    <a:lnTo>
                      <a:pt x="16" y="70"/>
                    </a:lnTo>
                    <a:lnTo>
                      <a:pt x="18" y="70"/>
                    </a:lnTo>
                    <a:lnTo>
                      <a:pt x="20" y="70"/>
                    </a:lnTo>
                    <a:lnTo>
                      <a:pt x="22" y="70"/>
                    </a:lnTo>
                    <a:lnTo>
                      <a:pt x="24" y="70"/>
                    </a:lnTo>
                    <a:lnTo>
                      <a:pt x="26" y="70"/>
                    </a:lnTo>
                    <a:lnTo>
                      <a:pt x="28" y="70"/>
                    </a:lnTo>
                    <a:lnTo>
                      <a:pt x="30" y="70"/>
                    </a:lnTo>
                    <a:lnTo>
                      <a:pt x="32" y="70"/>
                    </a:lnTo>
                    <a:lnTo>
                      <a:pt x="34" y="68"/>
                    </a:lnTo>
                    <a:lnTo>
                      <a:pt x="36" y="68"/>
                    </a:lnTo>
                    <a:lnTo>
                      <a:pt x="36" y="66"/>
                    </a:lnTo>
                    <a:lnTo>
                      <a:pt x="38" y="66"/>
                    </a:lnTo>
                    <a:lnTo>
                      <a:pt x="40" y="66"/>
                    </a:lnTo>
                    <a:lnTo>
                      <a:pt x="42" y="66"/>
                    </a:lnTo>
                    <a:lnTo>
                      <a:pt x="44" y="66"/>
                    </a:lnTo>
                    <a:lnTo>
                      <a:pt x="46" y="66"/>
                    </a:lnTo>
                    <a:lnTo>
                      <a:pt x="44" y="66"/>
                    </a:lnTo>
                    <a:lnTo>
                      <a:pt x="44" y="68"/>
                    </a:lnTo>
                    <a:lnTo>
                      <a:pt x="42" y="68"/>
                    </a:lnTo>
                    <a:lnTo>
                      <a:pt x="40" y="70"/>
                    </a:lnTo>
                    <a:lnTo>
                      <a:pt x="38" y="72"/>
                    </a:lnTo>
                    <a:lnTo>
                      <a:pt x="36" y="74"/>
                    </a:lnTo>
                    <a:lnTo>
                      <a:pt x="36" y="76"/>
                    </a:lnTo>
                    <a:lnTo>
                      <a:pt x="38" y="78"/>
                    </a:lnTo>
                    <a:lnTo>
                      <a:pt x="40" y="78"/>
                    </a:lnTo>
                    <a:lnTo>
                      <a:pt x="42" y="78"/>
                    </a:lnTo>
                    <a:lnTo>
                      <a:pt x="44" y="80"/>
                    </a:lnTo>
                    <a:lnTo>
                      <a:pt x="46" y="80"/>
                    </a:lnTo>
                    <a:lnTo>
                      <a:pt x="46" y="82"/>
                    </a:lnTo>
                    <a:lnTo>
                      <a:pt x="46" y="84"/>
                    </a:lnTo>
                    <a:lnTo>
                      <a:pt x="48" y="84"/>
                    </a:lnTo>
                    <a:lnTo>
                      <a:pt x="48" y="86"/>
                    </a:lnTo>
                    <a:lnTo>
                      <a:pt x="46" y="88"/>
                    </a:lnTo>
                    <a:lnTo>
                      <a:pt x="44" y="90"/>
                    </a:lnTo>
                    <a:lnTo>
                      <a:pt x="44" y="92"/>
                    </a:lnTo>
                    <a:lnTo>
                      <a:pt x="44" y="94"/>
                    </a:lnTo>
                    <a:lnTo>
                      <a:pt x="44" y="96"/>
                    </a:lnTo>
                    <a:lnTo>
                      <a:pt x="44" y="98"/>
                    </a:lnTo>
                    <a:lnTo>
                      <a:pt x="42" y="98"/>
                    </a:lnTo>
                    <a:lnTo>
                      <a:pt x="40" y="98"/>
                    </a:lnTo>
                    <a:lnTo>
                      <a:pt x="38" y="98"/>
                    </a:lnTo>
                    <a:lnTo>
                      <a:pt x="36" y="98"/>
                    </a:lnTo>
                    <a:lnTo>
                      <a:pt x="32" y="96"/>
                    </a:lnTo>
                    <a:lnTo>
                      <a:pt x="30" y="96"/>
                    </a:lnTo>
                    <a:lnTo>
                      <a:pt x="28" y="96"/>
                    </a:lnTo>
                    <a:lnTo>
                      <a:pt x="26" y="96"/>
                    </a:lnTo>
                    <a:lnTo>
                      <a:pt x="24" y="96"/>
                    </a:lnTo>
                    <a:lnTo>
                      <a:pt x="22" y="96"/>
                    </a:lnTo>
                    <a:lnTo>
                      <a:pt x="20" y="96"/>
                    </a:lnTo>
                    <a:lnTo>
                      <a:pt x="20" y="98"/>
                    </a:lnTo>
                    <a:lnTo>
                      <a:pt x="22" y="100"/>
                    </a:lnTo>
                    <a:lnTo>
                      <a:pt x="24" y="100"/>
                    </a:lnTo>
                    <a:lnTo>
                      <a:pt x="22" y="102"/>
                    </a:lnTo>
                    <a:lnTo>
                      <a:pt x="20" y="102"/>
                    </a:lnTo>
                    <a:lnTo>
                      <a:pt x="20" y="104"/>
                    </a:lnTo>
                    <a:lnTo>
                      <a:pt x="18" y="104"/>
                    </a:lnTo>
                    <a:lnTo>
                      <a:pt x="22" y="104"/>
                    </a:lnTo>
                    <a:lnTo>
                      <a:pt x="24" y="104"/>
                    </a:lnTo>
                    <a:lnTo>
                      <a:pt x="26" y="104"/>
                    </a:lnTo>
                    <a:lnTo>
                      <a:pt x="28" y="104"/>
                    </a:lnTo>
                    <a:lnTo>
                      <a:pt x="28" y="106"/>
                    </a:lnTo>
                    <a:lnTo>
                      <a:pt x="28" y="108"/>
                    </a:lnTo>
                    <a:lnTo>
                      <a:pt x="26" y="112"/>
                    </a:lnTo>
                    <a:lnTo>
                      <a:pt x="26" y="114"/>
                    </a:lnTo>
                    <a:lnTo>
                      <a:pt x="26" y="116"/>
                    </a:lnTo>
                    <a:lnTo>
                      <a:pt x="24" y="116"/>
                    </a:lnTo>
                    <a:lnTo>
                      <a:pt x="22" y="118"/>
                    </a:lnTo>
                    <a:lnTo>
                      <a:pt x="20" y="118"/>
                    </a:lnTo>
                    <a:lnTo>
                      <a:pt x="18" y="118"/>
                    </a:lnTo>
                    <a:lnTo>
                      <a:pt x="16" y="120"/>
                    </a:lnTo>
                    <a:lnTo>
                      <a:pt x="14" y="120"/>
                    </a:lnTo>
                    <a:lnTo>
                      <a:pt x="12" y="122"/>
                    </a:lnTo>
                    <a:lnTo>
                      <a:pt x="10" y="122"/>
                    </a:lnTo>
                    <a:lnTo>
                      <a:pt x="10" y="124"/>
                    </a:lnTo>
                    <a:lnTo>
                      <a:pt x="12" y="126"/>
                    </a:lnTo>
                    <a:lnTo>
                      <a:pt x="12" y="128"/>
                    </a:lnTo>
                    <a:lnTo>
                      <a:pt x="14" y="128"/>
                    </a:lnTo>
                    <a:lnTo>
                      <a:pt x="16" y="128"/>
                    </a:lnTo>
                    <a:lnTo>
                      <a:pt x="18" y="126"/>
                    </a:lnTo>
                    <a:lnTo>
                      <a:pt x="20" y="126"/>
                    </a:lnTo>
                    <a:lnTo>
                      <a:pt x="22" y="124"/>
                    </a:lnTo>
                    <a:lnTo>
                      <a:pt x="22" y="126"/>
                    </a:lnTo>
                    <a:lnTo>
                      <a:pt x="24" y="128"/>
                    </a:lnTo>
                    <a:lnTo>
                      <a:pt x="26" y="128"/>
                    </a:lnTo>
                    <a:lnTo>
                      <a:pt x="28" y="128"/>
                    </a:lnTo>
                    <a:lnTo>
                      <a:pt x="30" y="130"/>
                    </a:lnTo>
                    <a:lnTo>
                      <a:pt x="32" y="130"/>
                    </a:lnTo>
                    <a:lnTo>
                      <a:pt x="34" y="130"/>
                    </a:lnTo>
                    <a:lnTo>
                      <a:pt x="34" y="132"/>
                    </a:lnTo>
                    <a:lnTo>
                      <a:pt x="36" y="132"/>
                    </a:lnTo>
                    <a:lnTo>
                      <a:pt x="38" y="130"/>
                    </a:lnTo>
                    <a:lnTo>
                      <a:pt x="40" y="130"/>
                    </a:lnTo>
                    <a:lnTo>
                      <a:pt x="42" y="128"/>
                    </a:lnTo>
                    <a:lnTo>
                      <a:pt x="44" y="126"/>
                    </a:lnTo>
                    <a:lnTo>
                      <a:pt x="46" y="126"/>
                    </a:lnTo>
                    <a:lnTo>
                      <a:pt x="48" y="126"/>
                    </a:lnTo>
                    <a:lnTo>
                      <a:pt x="48" y="128"/>
                    </a:lnTo>
                    <a:lnTo>
                      <a:pt x="46" y="128"/>
                    </a:lnTo>
                    <a:lnTo>
                      <a:pt x="46" y="130"/>
                    </a:lnTo>
                    <a:lnTo>
                      <a:pt x="42" y="132"/>
                    </a:lnTo>
                    <a:lnTo>
                      <a:pt x="40" y="134"/>
                    </a:lnTo>
                    <a:lnTo>
                      <a:pt x="38" y="136"/>
                    </a:lnTo>
                    <a:lnTo>
                      <a:pt x="36" y="136"/>
                    </a:lnTo>
                    <a:lnTo>
                      <a:pt x="34" y="136"/>
                    </a:lnTo>
                    <a:lnTo>
                      <a:pt x="32" y="136"/>
                    </a:lnTo>
                    <a:lnTo>
                      <a:pt x="30" y="136"/>
                    </a:lnTo>
                    <a:lnTo>
                      <a:pt x="28" y="134"/>
                    </a:lnTo>
                    <a:lnTo>
                      <a:pt x="26" y="134"/>
                    </a:lnTo>
                    <a:lnTo>
                      <a:pt x="24" y="136"/>
                    </a:lnTo>
                    <a:lnTo>
                      <a:pt x="24" y="138"/>
                    </a:lnTo>
                    <a:lnTo>
                      <a:pt x="22" y="138"/>
                    </a:lnTo>
                    <a:lnTo>
                      <a:pt x="20" y="138"/>
                    </a:lnTo>
                    <a:lnTo>
                      <a:pt x="18" y="140"/>
                    </a:lnTo>
                    <a:lnTo>
                      <a:pt x="16" y="140"/>
                    </a:lnTo>
                    <a:lnTo>
                      <a:pt x="16" y="142"/>
                    </a:lnTo>
                    <a:lnTo>
                      <a:pt x="16" y="144"/>
                    </a:lnTo>
                    <a:lnTo>
                      <a:pt x="16" y="146"/>
                    </a:lnTo>
                    <a:lnTo>
                      <a:pt x="16" y="148"/>
                    </a:lnTo>
                    <a:lnTo>
                      <a:pt x="14" y="148"/>
                    </a:lnTo>
                    <a:lnTo>
                      <a:pt x="12" y="148"/>
                    </a:lnTo>
                    <a:lnTo>
                      <a:pt x="10" y="148"/>
                    </a:lnTo>
                    <a:lnTo>
                      <a:pt x="8" y="148"/>
                    </a:lnTo>
                    <a:lnTo>
                      <a:pt x="6" y="150"/>
                    </a:lnTo>
                    <a:lnTo>
                      <a:pt x="6" y="152"/>
                    </a:lnTo>
                    <a:lnTo>
                      <a:pt x="4" y="152"/>
                    </a:lnTo>
                    <a:lnTo>
                      <a:pt x="2" y="154"/>
                    </a:lnTo>
                    <a:lnTo>
                      <a:pt x="0" y="156"/>
                    </a:lnTo>
                    <a:lnTo>
                      <a:pt x="2" y="158"/>
                    </a:lnTo>
                    <a:lnTo>
                      <a:pt x="4" y="158"/>
                    </a:lnTo>
                    <a:lnTo>
                      <a:pt x="6" y="158"/>
                    </a:lnTo>
                    <a:lnTo>
                      <a:pt x="8" y="158"/>
                    </a:lnTo>
                    <a:lnTo>
                      <a:pt x="8" y="156"/>
                    </a:lnTo>
                    <a:lnTo>
                      <a:pt x="10" y="156"/>
                    </a:lnTo>
                    <a:lnTo>
                      <a:pt x="12" y="154"/>
                    </a:lnTo>
                    <a:lnTo>
                      <a:pt x="14" y="152"/>
                    </a:lnTo>
                    <a:lnTo>
                      <a:pt x="16" y="150"/>
                    </a:lnTo>
                    <a:lnTo>
                      <a:pt x="18" y="150"/>
                    </a:lnTo>
                    <a:lnTo>
                      <a:pt x="20" y="150"/>
                    </a:lnTo>
                    <a:lnTo>
                      <a:pt x="22" y="150"/>
                    </a:lnTo>
                    <a:lnTo>
                      <a:pt x="24" y="150"/>
                    </a:lnTo>
                    <a:lnTo>
                      <a:pt x="26" y="152"/>
                    </a:lnTo>
                    <a:lnTo>
                      <a:pt x="26" y="154"/>
                    </a:lnTo>
                    <a:lnTo>
                      <a:pt x="28" y="154"/>
                    </a:lnTo>
                    <a:lnTo>
                      <a:pt x="30" y="154"/>
                    </a:lnTo>
                    <a:lnTo>
                      <a:pt x="30" y="152"/>
                    </a:lnTo>
                    <a:lnTo>
                      <a:pt x="32" y="152"/>
                    </a:lnTo>
                    <a:lnTo>
                      <a:pt x="32" y="150"/>
                    </a:lnTo>
                    <a:lnTo>
                      <a:pt x="34" y="148"/>
                    </a:lnTo>
                    <a:lnTo>
                      <a:pt x="36" y="146"/>
                    </a:lnTo>
                    <a:lnTo>
                      <a:pt x="38" y="144"/>
                    </a:lnTo>
                    <a:lnTo>
                      <a:pt x="40" y="144"/>
                    </a:lnTo>
                    <a:lnTo>
                      <a:pt x="42" y="144"/>
                    </a:lnTo>
                    <a:lnTo>
                      <a:pt x="42" y="146"/>
                    </a:lnTo>
                    <a:lnTo>
                      <a:pt x="44" y="146"/>
                    </a:lnTo>
                    <a:lnTo>
                      <a:pt x="46" y="146"/>
                    </a:lnTo>
                    <a:lnTo>
                      <a:pt x="46" y="148"/>
                    </a:lnTo>
                    <a:lnTo>
                      <a:pt x="48" y="148"/>
                    </a:lnTo>
                    <a:lnTo>
                      <a:pt x="50" y="148"/>
                    </a:lnTo>
                    <a:lnTo>
                      <a:pt x="54" y="146"/>
                    </a:lnTo>
                    <a:lnTo>
                      <a:pt x="56" y="146"/>
                    </a:lnTo>
                    <a:lnTo>
                      <a:pt x="58" y="146"/>
                    </a:lnTo>
                    <a:lnTo>
                      <a:pt x="58" y="144"/>
                    </a:lnTo>
                    <a:lnTo>
                      <a:pt x="60" y="146"/>
                    </a:lnTo>
                    <a:lnTo>
                      <a:pt x="62" y="146"/>
                    </a:lnTo>
                    <a:lnTo>
                      <a:pt x="66" y="148"/>
                    </a:lnTo>
                    <a:lnTo>
                      <a:pt x="68" y="148"/>
                    </a:lnTo>
                    <a:lnTo>
                      <a:pt x="68" y="146"/>
                    </a:lnTo>
                    <a:lnTo>
                      <a:pt x="68" y="144"/>
                    </a:lnTo>
                    <a:lnTo>
                      <a:pt x="66" y="144"/>
                    </a:lnTo>
                    <a:lnTo>
                      <a:pt x="66" y="142"/>
                    </a:lnTo>
                    <a:lnTo>
                      <a:pt x="68" y="140"/>
                    </a:lnTo>
                    <a:lnTo>
                      <a:pt x="68" y="142"/>
                    </a:lnTo>
                    <a:lnTo>
                      <a:pt x="70" y="142"/>
                    </a:lnTo>
                    <a:lnTo>
                      <a:pt x="72" y="144"/>
                    </a:lnTo>
                    <a:lnTo>
                      <a:pt x="72" y="146"/>
                    </a:lnTo>
                    <a:lnTo>
                      <a:pt x="74" y="144"/>
                    </a:lnTo>
                    <a:lnTo>
                      <a:pt x="76" y="144"/>
                    </a:lnTo>
                    <a:lnTo>
                      <a:pt x="78" y="144"/>
                    </a:lnTo>
                    <a:lnTo>
                      <a:pt x="80" y="144"/>
                    </a:lnTo>
                    <a:lnTo>
                      <a:pt x="84" y="142"/>
                    </a:lnTo>
                    <a:lnTo>
                      <a:pt x="88" y="142"/>
                    </a:lnTo>
                    <a:lnTo>
                      <a:pt x="92" y="142"/>
                    </a:lnTo>
                    <a:lnTo>
                      <a:pt x="96" y="142"/>
                    </a:lnTo>
                    <a:lnTo>
                      <a:pt x="98" y="140"/>
                    </a:lnTo>
                    <a:lnTo>
                      <a:pt x="100" y="140"/>
                    </a:lnTo>
                    <a:lnTo>
                      <a:pt x="100" y="138"/>
                    </a:lnTo>
                    <a:lnTo>
                      <a:pt x="102" y="136"/>
                    </a:lnTo>
                    <a:lnTo>
                      <a:pt x="104" y="134"/>
                    </a:lnTo>
                    <a:lnTo>
                      <a:pt x="104" y="132"/>
                    </a:lnTo>
                    <a:lnTo>
                      <a:pt x="102" y="132"/>
                    </a:lnTo>
                    <a:lnTo>
                      <a:pt x="100" y="132"/>
                    </a:lnTo>
                    <a:lnTo>
                      <a:pt x="98" y="132"/>
                    </a:lnTo>
                    <a:lnTo>
                      <a:pt x="96" y="132"/>
                    </a:lnTo>
                    <a:lnTo>
                      <a:pt x="94" y="130"/>
                    </a:lnTo>
                    <a:lnTo>
                      <a:pt x="92" y="130"/>
                    </a:lnTo>
                    <a:lnTo>
                      <a:pt x="94" y="130"/>
                    </a:lnTo>
                    <a:lnTo>
                      <a:pt x="96" y="130"/>
                    </a:lnTo>
                    <a:lnTo>
                      <a:pt x="98" y="130"/>
                    </a:lnTo>
                    <a:lnTo>
                      <a:pt x="98" y="128"/>
                    </a:lnTo>
                    <a:lnTo>
                      <a:pt x="96" y="126"/>
                    </a:lnTo>
                    <a:lnTo>
                      <a:pt x="98" y="126"/>
                    </a:lnTo>
                    <a:lnTo>
                      <a:pt x="98" y="124"/>
                    </a:lnTo>
                    <a:lnTo>
                      <a:pt x="102" y="122"/>
                    </a:lnTo>
                    <a:lnTo>
                      <a:pt x="104" y="122"/>
                    </a:lnTo>
                    <a:lnTo>
                      <a:pt x="106" y="120"/>
                    </a:lnTo>
                    <a:lnTo>
                      <a:pt x="108" y="118"/>
                    </a:lnTo>
                    <a:lnTo>
                      <a:pt x="108" y="116"/>
                    </a:lnTo>
                    <a:lnTo>
                      <a:pt x="110" y="114"/>
                    </a:lnTo>
                    <a:lnTo>
                      <a:pt x="110" y="112"/>
                    </a:lnTo>
                    <a:lnTo>
                      <a:pt x="110" y="110"/>
                    </a:lnTo>
                    <a:lnTo>
                      <a:pt x="110" y="108"/>
                    </a:lnTo>
                    <a:lnTo>
                      <a:pt x="110" y="106"/>
                    </a:lnTo>
                    <a:lnTo>
                      <a:pt x="108" y="106"/>
                    </a:lnTo>
                    <a:lnTo>
                      <a:pt x="108" y="104"/>
                    </a:lnTo>
                    <a:lnTo>
                      <a:pt x="104" y="104"/>
                    </a:lnTo>
                    <a:lnTo>
                      <a:pt x="102" y="102"/>
                    </a:lnTo>
                    <a:lnTo>
                      <a:pt x="98" y="102"/>
                    </a:lnTo>
                    <a:lnTo>
                      <a:pt x="96" y="102"/>
                    </a:lnTo>
                    <a:lnTo>
                      <a:pt x="94" y="102"/>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6" name="Freeform 193">
                <a:extLst>
                  <a:ext uri="{FF2B5EF4-FFF2-40B4-BE49-F238E27FC236}">
                    <a16:creationId xmlns:a16="http://schemas.microsoft.com/office/drawing/2014/main" id="{D5944B6E-CF1A-44B5-BA7E-F5164E43ABE6}"/>
                  </a:ext>
                </a:extLst>
              </p:cNvPr>
              <p:cNvSpPr>
                <a:spLocks noChangeAspect="1"/>
              </p:cNvSpPr>
              <p:nvPr/>
            </p:nvSpPr>
            <p:spPr bwMode="auto">
              <a:xfrm>
                <a:off x="6335973" y="2466840"/>
                <a:ext cx="1433883" cy="1107417"/>
              </a:xfrm>
              <a:custGeom>
                <a:avLst/>
                <a:gdLst/>
                <a:ahLst/>
                <a:cxnLst>
                  <a:cxn ang="0">
                    <a:pos x="868" y="112"/>
                  </a:cxn>
                  <a:cxn ang="0">
                    <a:pos x="826" y="110"/>
                  </a:cxn>
                  <a:cxn ang="0">
                    <a:pos x="784" y="88"/>
                  </a:cxn>
                  <a:cxn ang="0">
                    <a:pos x="728" y="62"/>
                  </a:cxn>
                  <a:cxn ang="0">
                    <a:pos x="676" y="16"/>
                  </a:cxn>
                  <a:cxn ang="0">
                    <a:pos x="610" y="2"/>
                  </a:cxn>
                  <a:cxn ang="0">
                    <a:pos x="604" y="38"/>
                  </a:cxn>
                  <a:cxn ang="0">
                    <a:pos x="584" y="76"/>
                  </a:cxn>
                  <a:cxn ang="0">
                    <a:pos x="586" y="108"/>
                  </a:cxn>
                  <a:cxn ang="0">
                    <a:pos x="634" y="110"/>
                  </a:cxn>
                  <a:cxn ang="0">
                    <a:pos x="622" y="132"/>
                  </a:cxn>
                  <a:cxn ang="0">
                    <a:pos x="588" y="160"/>
                  </a:cxn>
                  <a:cxn ang="0">
                    <a:pos x="560" y="192"/>
                  </a:cxn>
                  <a:cxn ang="0">
                    <a:pos x="474" y="226"/>
                  </a:cxn>
                  <a:cxn ang="0">
                    <a:pos x="394" y="206"/>
                  </a:cxn>
                  <a:cxn ang="0">
                    <a:pos x="328" y="202"/>
                  </a:cxn>
                  <a:cxn ang="0">
                    <a:pos x="270" y="162"/>
                  </a:cxn>
                  <a:cxn ang="0">
                    <a:pos x="202" y="110"/>
                  </a:cxn>
                  <a:cxn ang="0">
                    <a:pos x="154" y="90"/>
                  </a:cxn>
                  <a:cxn ang="0">
                    <a:pos x="134" y="122"/>
                  </a:cxn>
                  <a:cxn ang="0">
                    <a:pos x="104" y="156"/>
                  </a:cxn>
                  <a:cxn ang="0">
                    <a:pos x="76" y="176"/>
                  </a:cxn>
                  <a:cxn ang="0">
                    <a:pos x="74" y="224"/>
                  </a:cxn>
                  <a:cxn ang="0">
                    <a:pos x="26" y="250"/>
                  </a:cxn>
                  <a:cxn ang="0">
                    <a:pos x="0" y="274"/>
                  </a:cxn>
                  <a:cxn ang="0">
                    <a:pos x="30" y="314"/>
                  </a:cxn>
                  <a:cxn ang="0">
                    <a:pos x="82" y="342"/>
                  </a:cxn>
                  <a:cxn ang="0">
                    <a:pos x="112" y="370"/>
                  </a:cxn>
                  <a:cxn ang="0">
                    <a:pos x="118" y="404"/>
                  </a:cxn>
                  <a:cxn ang="0">
                    <a:pos x="132" y="428"/>
                  </a:cxn>
                  <a:cxn ang="0">
                    <a:pos x="178" y="444"/>
                  </a:cxn>
                  <a:cxn ang="0">
                    <a:pos x="230" y="474"/>
                  </a:cxn>
                  <a:cxn ang="0">
                    <a:pos x="266" y="488"/>
                  </a:cxn>
                  <a:cxn ang="0">
                    <a:pos x="322" y="488"/>
                  </a:cxn>
                  <a:cxn ang="0">
                    <a:pos x="370" y="472"/>
                  </a:cxn>
                  <a:cxn ang="0">
                    <a:pos x="420" y="474"/>
                  </a:cxn>
                  <a:cxn ang="0">
                    <a:pos x="458" y="502"/>
                  </a:cxn>
                  <a:cxn ang="0">
                    <a:pos x="450" y="542"/>
                  </a:cxn>
                  <a:cxn ang="0">
                    <a:pos x="470" y="568"/>
                  </a:cxn>
                  <a:cxn ang="0">
                    <a:pos x="494" y="602"/>
                  </a:cxn>
                  <a:cxn ang="0">
                    <a:pos x="524" y="618"/>
                  </a:cxn>
                  <a:cxn ang="0">
                    <a:pos x="550" y="588"/>
                  </a:cxn>
                  <a:cxn ang="0">
                    <a:pos x="570" y="586"/>
                  </a:cxn>
                  <a:cxn ang="0">
                    <a:pos x="606" y="596"/>
                  </a:cxn>
                  <a:cxn ang="0">
                    <a:pos x="662" y="610"/>
                  </a:cxn>
                  <a:cxn ang="0">
                    <a:pos x="716" y="598"/>
                  </a:cxn>
                  <a:cxn ang="0">
                    <a:pos x="768" y="580"/>
                  </a:cxn>
                  <a:cxn ang="0">
                    <a:pos x="802" y="530"/>
                  </a:cxn>
                  <a:cxn ang="0">
                    <a:pos x="824" y="476"/>
                  </a:cxn>
                  <a:cxn ang="0">
                    <a:pos x="800" y="444"/>
                  </a:cxn>
                  <a:cxn ang="0">
                    <a:pos x="798" y="416"/>
                  </a:cxn>
                  <a:cxn ang="0">
                    <a:pos x="802" y="412"/>
                  </a:cxn>
                  <a:cxn ang="0">
                    <a:pos x="772" y="368"/>
                  </a:cxn>
                  <a:cxn ang="0">
                    <a:pos x="760" y="334"/>
                  </a:cxn>
                  <a:cxn ang="0">
                    <a:pos x="776" y="304"/>
                  </a:cxn>
                  <a:cxn ang="0">
                    <a:pos x="718" y="292"/>
                  </a:cxn>
                  <a:cxn ang="0">
                    <a:pos x="706" y="272"/>
                  </a:cxn>
                  <a:cxn ang="0">
                    <a:pos x="738" y="242"/>
                  </a:cxn>
                  <a:cxn ang="0">
                    <a:pos x="752" y="282"/>
                  </a:cxn>
                  <a:cxn ang="0">
                    <a:pos x="802" y="244"/>
                  </a:cxn>
                  <a:cxn ang="0">
                    <a:pos x="844" y="218"/>
                  </a:cxn>
                  <a:cxn ang="0">
                    <a:pos x="866" y="196"/>
                  </a:cxn>
                  <a:cxn ang="0">
                    <a:pos x="872" y="160"/>
                  </a:cxn>
                </a:cxnLst>
                <a:rect l="0" t="0" r="r" b="b"/>
                <a:pathLst>
                  <a:path w="872" h="634">
                    <a:moveTo>
                      <a:pt x="872" y="150"/>
                    </a:moveTo>
                    <a:lnTo>
                      <a:pt x="872" y="148"/>
                    </a:lnTo>
                    <a:lnTo>
                      <a:pt x="872" y="146"/>
                    </a:lnTo>
                    <a:lnTo>
                      <a:pt x="872" y="144"/>
                    </a:lnTo>
                    <a:lnTo>
                      <a:pt x="872" y="142"/>
                    </a:lnTo>
                    <a:lnTo>
                      <a:pt x="872" y="140"/>
                    </a:lnTo>
                    <a:lnTo>
                      <a:pt x="872" y="138"/>
                    </a:lnTo>
                    <a:lnTo>
                      <a:pt x="872" y="136"/>
                    </a:lnTo>
                    <a:lnTo>
                      <a:pt x="870" y="136"/>
                    </a:lnTo>
                    <a:lnTo>
                      <a:pt x="870" y="134"/>
                    </a:lnTo>
                    <a:lnTo>
                      <a:pt x="868" y="134"/>
                    </a:lnTo>
                    <a:lnTo>
                      <a:pt x="868" y="132"/>
                    </a:lnTo>
                    <a:lnTo>
                      <a:pt x="868" y="130"/>
                    </a:lnTo>
                    <a:lnTo>
                      <a:pt x="868" y="128"/>
                    </a:lnTo>
                    <a:lnTo>
                      <a:pt x="866" y="128"/>
                    </a:lnTo>
                    <a:lnTo>
                      <a:pt x="866" y="126"/>
                    </a:lnTo>
                    <a:lnTo>
                      <a:pt x="866" y="124"/>
                    </a:lnTo>
                    <a:lnTo>
                      <a:pt x="866" y="122"/>
                    </a:lnTo>
                    <a:lnTo>
                      <a:pt x="864" y="120"/>
                    </a:lnTo>
                    <a:lnTo>
                      <a:pt x="864" y="118"/>
                    </a:lnTo>
                    <a:lnTo>
                      <a:pt x="866" y="118"/>
                    </a:lnTo>
                    <a:lnTo>
                      <a:pt x="868" y="116"/>
                    </a:lnTo>
                    <a:lnTo>
                      <a:pt x="868" y="114"/>
                    </a:lnTo>
                    <a:lnTo>
                      <a:pt x="868" y="112"/>
                    </a:lnTo>
                    <a:lnTo>
                      <a:pt x="868" y="110"/>
                    </a:lnTo>
                    <a:lnTo>
                      <a:pt x="866" y="108"/>
                    </a:lnTo>
                    <a:lnTo>
                      <a:pt x="864" y="108"/>
                    </a:lnTo>
                    <a:lnTo>
                      <a:pt x="862" y="108"/>
                    </a:lnTo>
                    <a:lnTo>
                      <a:pt x="862" y="106"/>
                    </a:lnTo>
                    <a:lnTo>
                      <a:pt x="862" y="104"/>
                    </a:lnTo>
                    <a:lnTo>
                      <a:pt x="862" y="102"/>
                    </a:lnTo>
                    <a:lnTo>
                      <a:pt x="860" y="100"/>
                    </a:lnTo>
                    <a:lnTo>
                      <a:pt x="858" y="98"/>
                    </a:lnTo>
                    <a:lnTo>
                      <a:pt x="856" y="98"/>
                    </a:lnTo>
                    <a:lnTo>
                      <a:pt x="854" y="98"/>
                    </a:lnTo>
                    <a:lnTo>
                      <a:pt x="852" y="98"/>
                    </a:lnTo>
                    <a:lnTo>
                      <a:pt x="850" y="98"/>
                    </a:lnTo>
                    <a:lnTo>
                      <a:pt x="848" y="98"/>
                    </a:lnTo>
                    <a:lnTo>
                      <a:pt x="846" y="100"/>
                    </a:lnTo>
                    <a:lnTo>
                      <a:pt x="846" y="102"/>
                    </a:lnTo>
                    <a:lnTo>
                      <a:pt x="846" y="104"/>
                    </a:lnTo>
                    <a:lnTo>
                      <a:pt x="844" y="104"/>
                    </a:lnTo>
                    <a:lnTo>
                      <a:pt x="842" y="104"/>
                    </a:lnTo>
                    <a:lnTo>
                      <a:pt x="840" y="104"/>
                    </a:lnTo>
                    <a:lnTo>
                      <a:pt x="838" y="104"/>
                    </a:lnTo>
                    <a:lnTo>
                      <a:pt x="836" y="104"/>
                    </a:lnTo>
                    <a:lnTo>
                      <a:pt x="834" y="104"/>
                    </a:lnTo>
                    <a:lnTo>
                      <a:pt x="834" y="106"/>
                    </a:lnTo>
                    <a:lnTo>
                      <a:pt x="834" y="108"/>
                    </a:lnTo>
                    <a:lnTo>
                      <a:pt x="832" y="108"/>
                    </a:lnTo>
                    <a:lnTo>
                      <a:pt x="832" y="110"/>
                    </a:lnTo>
                    <a:lnTo>
                      <a:pt x="830" y="110"/>
                    </a:lnTo>
                    <a:lnTo>
                      <a:pt x="828" y="110"/>
                    </a:lnTo>
                    <a:lnTo>
                      <a:pt x="826" y="110"/>
                    </a:lnTo>
                    <a:lnTo>
                      <a:pt x="826" y="112"/>
                    </a:lnTo>
                    <a:lnTo>
                      <a:pt x="824" y="112"/>
                    </a:lnTo>
                    <a:lnTo>
                      <a:pt x="822" y="112"/>
                    </a:lnTo>
                    <a:lnTo>
                      <a:pt x="820" y="112"/>
                    </a:lnTo>
                    <a:lnTo>
                      <a:pt x="820" y="110"/>
                    </a:lnTo>
                    <a:lnTo>
                      <a:pt x="818" y="110"/>
                    </a:lnTo>
                    <a:lnTo>
                      <a:pt x="816" y="110"/>
                    </a:lnTo>
                    <a:lnTo>
                      <a:pt x="814" y="110"/>
                    </a:lnTo>
                    <a:lnTo>
                      <a:pt x="812" y="110"/>
                    </a:lnTo>
                    <a:lnTo>
                      <a:pt x="810" y="108"/>
                    </a:lnTo>
                    <a:lnTo>
                      <a:pt x="806" y="108"/>
                    </a:lnTo>
                    <a:lnTo>
                      <a:pt x="806" y="106"/>
                    </a:lnTo>
                    <a:lnTo>
                      <a:pt x="806" y="104"/>
                    </a:lnTo>
                    <a:lnTo>
                      <a:pt x="804" y="104"/>
                    </a:lnTo>
                    <a:lnTo>
                      <a:pt x="804" y="102"/>
                    </a:lnTo>
                    <a:lnTo>
                      <a:pt x="804" y="100"/>
                    </a:lnTo>
                    <a:lnTo>
                      <a:pt x="802" y="98"/>
                    </a:lnTo>
                    <a:lnTo>
                      <a:pt x="800" y="96"/>
                    </a:lnTo>
                    <a:lnTo>
                      <a:pt x="798" y="96"/>
                    </a:lnTo>
                    <a:lnTo>
                      <a:pt x="796" y="96"/>
                    </a:lnTo>
                    <a:lnTo>
                      <a:pt x="794" y="94"/>
                    </a:lnTo>
                    <a:lnTo>
                      <a:pt x="794" y="92"/>
                    </a:lnTo>
                    <a:lnTo>
                      <a:pt x="792" y="90"/>
                    </a:lnTo>
                    <a:lnTo>
                      <a:pt x="792" y="88"/>
                    </a:lnTo>
                    <a:lnTo>
                      <a:pt x="790" y="88"/>
                    </a:lnTo>
                    <a:lnTo>
                      <a:pt x="786" y="88"/>
                    </a:lnTo>
                    <a:lnTo>
                      <a:pt x="784" y="88"/>
                    </a:lnTo>
                    <a:lnTo>
                      <a:pt x="782" y="88"/>
                    </a:lnTo>
                    <a:lnTo>
                      <a:pt x="782" y="86"/>
                    </a:lnTo>
                    <a:lnTo>
                      <a:pt x="780" y="86"/>
                    </a:lnTo>
                    <a:lnTo>
                      <a:pt x="776" y="84"/>
                    </a:lnTo>
                    <a:lnTo>
                      <a:pt x="774" y="82"/>
                    </a:lnTo>
                    <a:lnTo>
                      <a:pt x="772" y="80"/>
                    </a:lnTo>
                    <a:lnTo>
                      <a:pt x="770" y="80"/>
                    </a:lnTo>
                    <a:lnTo>
                      <a:pt x="768" y="80"/>
                    </a:lnTo>
                    <a:lnTo>
                      <a:pt x="766" y="80"/>
                    </a:lnTo>
                    <a:lnTo>
                      <a:pt x="764" y="82"/>
                    </a:lnTo>
                    <a:lnTo>
                      <a:pt x="764" y="80"/>
                    </a:lnTo>
                    <a:lnTo>
                      <a:pt x="762" y="80"/>
                    </a:lnTo>
                    <a:lnTo>
                      <a:pt x="760" y="78"/>
                    </a:lnTo>
                    <a:lnTo>
                      <a:pt x="758" y="76"/>
                    </a:lnTo>
                    <a:lnTo>
                      <a:pt x="756" y="76"/>
                    </a:lnTo>
                    <a:lnTo>
                      <a:pt x="752" y="76"/>
                    </a:lnTo>
                    <a:lnTo>
                      <a:pt x="748" y="76"/>
                    </a:lnTo>
                    <a:lnTo>
                      <a:pt x="746" y="76"/>
                    </a:lnTo>
                    <a:lnTo>
                      <a:pt x="744" y="76"/>
                    </a:lnTo>
                    <a:lnTo>
                      <a:pt x="742" y="76"/>
                    </a:lnTo>
                    <a:lnTo>
                      <a:pt x="740" y="74"/>
                    </a:lnTo>
                    <a:lnTo>
                      <a:pt x="736" y="72"/>
                    </a:lnTo>
                    <a:lnTo>
                      <a:pt x="734" y="72"/>
                    </a:lnTo>
                    <a:lnTo>
                      <a:pt x="734" y="70"/>
                    </a:lnTo>
                    <a:lnTo>
                      <a:pt x="732" y="68"/>
                    </a:lnTo>
                    <a:lnTo>
                      <a:pt x="732" y="66"/>
                    </a:lnTo>
                    <a:lnTo>
                      <a:pt x="732" y="64"/>
                    </a:lnTo>
                    <a:lnTo>
                      <a:pt x="730" y="64"/>
                    </a:lnTo>
                    <a:lnTo>
                      <a:pt x="728" y="64"/>
                    </a:lnTo>
                    <a:lnTo>
                      <a:pt x="728" y="62"/>
                    </a:lnTo>
                    <a:lnTo>
                      <a:pt x="726" y="62"/>
                    </a:lnTo>
                    <a:lnTo>
                      <a:pt x="726" y="60"/>
                    </a:lnTo>
                    <a:lnTo>
                      <a:pt x="722" y="56"/>
                    </a:lnTo>
                    <a:lnTo>
                      <a:pt x="720" y="54"/>
                    </a:lnTo>
                    <a:lnTo>
                      <a:pt x="718" y="52"/>
                    </a:lnTo>
                    <a:lnTo>
                      <a:pt x="716" y="50"/>
                    </a:lnTo>
                    <a:lnTo>
                      <a:pt x="712" y="50"/>
                    </a:lnTo>
                    <a:lnTo>
                      <a:pt x="710" y="50"/>
                    </a:lnTo>
                    <a:lnTo>
                      <a:pt x="710" y="48"/>
                    </a:lnTo>
                    <a:lnTo>
                      <a:pt x="708" y="48"/>
                    </a:lnTo>
                    <a:lnTo>
                      <a:pt x="706" y="46"/>
                    </a:lnTo>
                    <a:lnTo>
                      <a:pt x="706" y="44"/>
                    </a:lnTo>
                    <a:lnTo>
                      <a:pt x="706" y="42"/>
                    </a:lnTo>
                    <a:lnTo>
                      <a:pt x="704" y="42"/>
                    </a:lnTo>
                    <a:lnTo>
                      <a:pt x="704" y="40"/>
                    </a:lnTo>
                    <a:lnTo>
                      <a:pt x="702" y="40"/>
                    </a:lnTo>
                    <a:lnTo>
                      <a:pt x="700" y="38"/>
                    </a:lnTo>
                    <a:lnTo>
                      <a:pt x="698" y="36"/>
                    </a:lnTo>
                    <a:lnTo>
                      <a:pt x="694" y="36"/>
                    </a:lnTo>
                    <a:lnTo>
                      <a:pt x="692" y="36"/>
                    </a:lnTo>
                    <a:lnTo>
                      <a:pt x="692" y="32"/>
                    </a:lnTo>
                    <a:lnTo>
                      <a:pt x="692" y="30"/>
                    </a:lnTo>
                    <a:lnTo>
                      <a:pt x="692" y="28"/>
                    </a:lnTo>
                    <a:lnTo>
                      <a:pt x="690" y="28"/>
                    </a:lnTo>
                    <a:lnTo>
                      <a:pt x="688" y="26"/>
                    </a:lnTo>
                    <a:lnTo>
                      <a:pt x="686" y="26"/>
                    </a:lnTo>
                    <a:lnTo>
                      <a:pt x="684" y="24"/>
                    </a:lnTo>
                    <a:lnTo>
                      <a:pt x="682" y="24"/>
                    </a:lnTo>
                    <a:lnTo>
                      <a:pt x="680" y="22"/>
                    </a:lnTo>
                    <a:lnTo>
                      <a:pt x="678" y="20"/>
                    </a:lnTo>
                    <a:lnTo>
                      <a:pt x="676" y="20"/>
                    </a:lnTo>
                    <a:lnTo>
                      <a:pt x="676" y="18"/>
                    </a:lnTo>
                    <a:lnTo>
                      <a:pt x="676" y="16"/>
                    </a:lnTo>
                    <a:lnTo>
                      <a:pt x="674" y="16"/>
                    </a:lnTo>
                    <a:lnTo>
                      <a:pt x="672" y="14"/>
                    </a:lnTo>
                    <a:lnTo>
                      <a:pt x="668" y="12"/>
                    </a:lnTo>
                    <a:lnTo>
                      <a:pt x="666" y="12"/>
                    </a:lnTo>
                    <a:lnTo>
                      <a:pt x="664" y="12"/>
                    </a:lnTo>
                    <a:lnTo>
                      <a:pt x="662" y="12"/>
                    </a:lnTo>
                    <a:lnTo>
                      <a:pt x="660" y="12"/>
                    </a:lnTo>
                    <a:lnTo>
                      <a:pt x="658" y="10"/>
                    </a:lnTo>
                    <a:lnTo>
                      <a:pt x="656" y="10"/>
                    </a:lnTo>
                    <a:lnTo>
                      <a:pt x="654" y="12"/>
                    </a:lnTo>
                    <a:lnTo>
                      <a:pt x="652" y="12"/>
                    </a:lnTo>
                    <a:lnTo>
                      <a:pt x="650" y="12"/>
                    </a:lnTo>
                    <a:lnTo>
                      <a:pt x="648" y="10"/>
                    </a:lnTo>
                    <a:lnTo>
                      <a:pt x="644" y="8"/>
                    </a:lnTo>
                    <a:lnTo>
                      <a:pt x="642" y="6"/>
                    </a:lnTo>
                    <a:lnTo>
                      <a:pt x="640" y="6"/>
                    </a:lnTo>
                    <a:lnTo>
                      <a:pt x="638" y="4"/>
                    </a:lnTo>
                    <a:lnTo>
                      <a:pt x="636" y="2"/>
                    </a:lnTo>
                    <a:lnTo>
                      <a:pt x="634" y="2"/>
                    </a:lnTo>
                    <a:lnTo>
                      <a:pt x="632" y="0"/>
                    </a:lnTo>
                    <a:lnTo>
                      <a:pt x="630" y="2"/>
                    </a:lnTo>
                    <a:lnTo>
                      <a:pt x="628" y="2"/>
                    </a:lnTo>
                    <a:lnTo>
                      <a:pt x="626" y="2"/>
                    </a:lnTo>
                    <a:lnTo>
                      <a:pt x="622" y="2"/>
                    </a:lnTo>
                    <a:lnTo>
                      <a:pt x="622" y="4"/>
                    </a:lnTo>
                    <a:lnTo>
                      <a:pt x="620" y="4"/>
                    </a:lnTo>
                    <a:lnTo>
                      <a:pt x="616" y="4"/>
                    </a:lnTo>
                    <a:lnTo>
                      <a:pt x="614" y="4"/>
                    </a:lnTo>
                    <a:lnTo>
                      <a:pt x="612" y="2"/>
                    </a:lnTo>
                    <a:lnTo>
                      <a:pt x="610" y="2"/>
                    </a:lnTo>
                    <a:lnTo>
                      <a:pt x="610" y="4"/>
                    </a:lnTo>
                    <a:lnTo>
                      <a:pt x="608" y="6"/>
                    </a:lnTo>
                    <a:lnTo>
                      <a:pt x="606" y="6"/>
                    </a:lnTo>
                    <a:lnTo>
                      <a:pt x="604" y="6"/>
                    </a:lnTo>
                    <a:lnTo>
                      <a:pt x="602" y="6"/>
                    </a:lnTo>
                    <a:lnTo>
                      <a:pt x="600" y="6"/>
                    </a:lnTo>
                    <a:lnTo>
                      <a:pt x="598" y="10"/>
                    </a:lnTo>
                    <a:lnTo>
                      <a:pt x="596" y="12"/>
                    </a:lnTo>
                    <a:lnTo>
                      <a:pt x="594" y="12"/>
                    </a:lnTo>
                    <a:lnTo>
                      <a:pt x="592" y="12"/>
                    </a:lnTo>
                    <a:lnTo>
                      <a:pt x="592" y="14"/>
                    </a:lnTo>
                    <a:lnTo>
                      <a:pt x="590" y="16"/>
                    </a:lnTo>
                    <a:lnTo>
                      <a:pt x="588" y="18"/>
                    </a:lnTo>
                    <a:lnTo>
                      <a:pt x="590" y="20"/>
                    </a:lnTo>
                    <a:lnTo>
                      <a:pt x="594" y="20"/>
                    </a:lnTo>
                    <a:lnTo>
                      <a:pt x="596" y="22"/>
                    </a:lnTo>
                    <a:lnTo>
                      <a:pt x="598" y="22"/>
                    </a:lnTo>
                    <a:lnTo>
                      <a:pt x="600" y="22"/>
                    </a:lnTo>
                    <a:lnTo>
                      <a:pt x="602" y="22"/>
                    </a:lnTo>
                    <a:lnTo>
                      <a:pt x="602" y="24"/>
                    </a:lnTo>
                    <a:lnTo>
                      <a:pt x="604" y="24"/>
                    </a:lnTo>
                    <a:lnTo>
                      <a:pt x="606" y="26"/>
                    </a:lnTo>
                    <a:lnTo>
                      <a:pt x="608" y="28"/>
                    </a:lnTo>
                    <a:lnTo>
                      <a:pt x="610" y="30"/>
                    </a:lnTo>
                    <a:lnTo>
                      <a:pt x="608" y="30"/>
                    </a:lnTo>
                    <a:lnTo>
                      <a:pt x="608" y="32"/>
                    </a:lnTo>
                    <a:lnTo>
                      <a:pt x="606" y="32"/>
                    </a:lnTo>
                    <a:lnTo>
                      <a:pt x="604" y="34"/>
                    </a:lnTo>
                    <a:lnTo>
                      <a:pt x="604" y="36"/>
                    </a:lnTo>
                    <a:lnTo>
                      <a:pt x="604" y="38"/>
                    </a:lnTo>
                    <a:lnTo>
                      <a:pt x="604" y="42"/>
                    </a:lnTo>
                    <a:lnTo>
                      <a:pt x="604" y="44"/>
                    </a:lnTo>
                    <a:lnTo>
                      <a:pt x="604" y="46"/>
                    </a:lnTo>
                    <a:lnTo>
                      <a:pt x="604" y="48"/>
                    </a:lnTo>
                    <a:lnTo>
                      <a:pt x="604" y="50"/>
                    </a:lnTo>
                    <a:lnTo>
                      <a:pt x="604" y="52"/>
                    </a:lnTo>
                    <a:lnTo>
                      <a:pt x="604" y="54"/>
                    </a:lnTo>
                    <a:lnTo>
                      <a:pt x="604" y="56"/>
                    </a:lnTo>
                    <a:lnTo>
                      <a:pt x="606" y="58"/>
                    </a:lnTo>
                    <a:lnTo>
                      <a:pt x="606" y="60"/>
                    </a:lnTo>
                    <a:lnTo>
                      <a:pt x="606" y="62"/>
                    </a:lnTo>
                    <a:lnTo>
                      <a:pt x="608" y="62"/>
                    </a:lnTo>
                    <a:lnTo>
                      <a:pt x="610" y="64"/>
                    </a:lnTo>
                    <a:lnTo>
                      <a:pt x="610" y="66"/>
                    </a:lnTo>
                    <a:lnTo>
                      <a:pt x="610" y="68"/>
                    </a:lnTo>
                    <a:lnTo>
                      <a:pt x="608" y="68"/>
                    </a:lnTo>
                    <a:lnTo>
                      <a:pt x="606" y="70"/>
                    </a:lnTo>
                    <a:lnTo>
                      <a:pt x="604" y="70"/>
                    </a:lnTo>
                    <a:lnTo>
                      <a:pt x="602" y="70"/>
                    </a:lnTo>
                    <a:lnTo>
                      <a:pt x="600" y="70"/>
                    </a:lnTo>
                    <a:lnTo>
                      <a:pt x="600" y="72"/>
                    </a:lnTo>
                    <a:lnTo>
                      <a:pt x="600" y="74"/>
                    </a:lnTo>
                    <a:lnTo>
                      <a:pt x="598" y="74"/>
                    </a:lnTo>
                    <a:lnTo>
                      <a:pt x="598" y="76"/>
                    </a:lnTo>
                    <a:lnTo>
                      <a:pt x="596" y="78"/>
                    </a:lnTo>
                    <a:lnTo>
                      <a:pt x="592" y="78"/>
                    </a:lnTo>
                    <a:lnTo>
                      <a:pt x="592" y="76"/>
                    </a:lnTo>
                    <a:lnTo>
                      <a:pt x="590" y="76"/>
                    </a:lnTo>
                    <a:lnTo>
                      <a:pt x="588" y="76"/>
                    </a:lnTo>
                    <a:lnTo>
                      <a:pt x="586" y="76"/>
                    </a:lnTo>
                    <a:lnTo>
                      <a:pt x="584" y="76"/>
                    </a:lnTo>
                    <a:lnTo>
                      <a:pt x="582" y="76"/>
                    </a:lnTo>
                    <a:lnTo>
                      <a:pt x="580" y="74"/>
                    </a:lnTo>
                    <a:lnTo>
                      <a:pt x="578" y="72"/>
                    </a:lnTo>
                    <a:lnTo>
                      <a:pt x="576" y="72"/>
                    </a:lnTo>
                    <a:lnTo>
                      <a:pt x="574" y="70"/>
                    </a:lnTo>
                    <a:lnTo>
                      <a:pt x="574" y="74"/>
                    </a:lnTo>
                    <a:lnTo>
                      <a:pt x="574" y="76"/>
                    </a:lnTo>
                    <a:lnTo>
                      <a:pt x="574" y="80"/>
                    </a:lnTo>
                    <a:lnTo>
                      <a:pt x="574" y="82"/>
                    </a:lnTo>
                    <a:lnTo>
                      <a:pt x="574" y="84"/>
                    </a:lnTo>
                    <a:lnTo>
                      <a:pt x="574" y="86"/>
                    </a:lnTo>
                    <a:lnTo>
                      <a:pt x="574" y="88"/>
                    </a:lnTo>
                    <a:lnTo>
                      <a:pt x="574" y="90"/>
                    </a:lnTo>
                    <a:lnTo>
                      <a:pt x="576" y="90"/>
                    </a:lnTo>
                    <a:lnTo>
                      <a:pt x="576" y="92"/>
                    </a:lnTo>
                    <a:lnTo>
                      <a:pt x="576" y="94"/>
                    </a:lnTo>
                    <a:lnTo>
                      <a:pt x="576" y="96"/>
                    </a:lnTo>
                    <a:lnTo>
                      <a:pt x="576" y="98"/>
                    </a:lnTo>
                    <a:lnTo>
                      <a:pt x="578" y="100"/>
                    </a:lnTo>
                    <a:lnTo>
                      <a:pt x="578" y="102"/>
                    </a:lnTo>
                    <a:lnTo>
                      <a:pt x="576" y="104"/>
                    </a:lnTo>
                    <a:lnTo>
                      <a:pt x="578" y="106"/>
                    </a:lnTo>
                    <a:lnTo>
                      <a:pt x="578" y="108"/>
                    </a:lnTo>
                    <a:lnTo>
                      <a:pt x="580" y="110"/>
                    </a:lnTo>
                    <a:lnTo>
                      <a:pt x="582" y="110"/>
                    </a:lnTo>
                    <a:lnTo>
                      <a:pt x="584" y="112"/>
                    </a:lnTo>
                    <a:lnTo>
                      <a:pt x="586" y="112"/>
                    </a:lnTo>
                    <a:lnTo>
                      <a:pt x="586" y="110"/>
                    </a:lnTo>
                    <a:lnTo>
                      <a:pt x="588" y="110"/>
                    </a:lnTo>
                    <a:lnTo>
                      <a:pt x="586" y="108"/>
                    </a:lnTo>
                    <a:lnTo>
                      <a:pt x="588" y="108"/>
                    </a:lnTo>
                    <a:lnTo>
                      <a:pt x="590" y="108"/>
                    </a:lnTo>
                    <a:lnTo>
                      <a:pt x="592" y="108"/>
                    </a:lnTo>
                    <a:lnTo>
                      <a:pt x="594" y="108"/>
                    </a:lnTo>
                    <a:lnTo>
                      <a:pt x="596" y="108"/>
                    </a:lnTo>
                    <a:lnTo>
                      <a:pt x="598" y="108"/>
                    </a:lnTo>
                    <a:lnTo>
                      <a:pt x="600" y="108"/>
                    </a:lnTo>
                    <a:lnTo>
                      <a:pt x="602" y="110"/>
                    </a:lnTo>
                    <a:lnTo>
                      <a:pt x="604" y="112"/>
                    </a:lnTo>
                    <a:lnTo>
                      <a:pt x="606" y="112"/>
                    </a:lnTo>
                    <a:lnTo>
                      <a:pt x="608" y="110"/>
                    </a:lnTo>
                    <a:lnTo>
                      <a:pt x="608" y="108"/>
                    </a:lnTo>
                    <a:lnTo>
                      <a:pt x="610" y="108"/>
                    </a:lnTo>
                    <a:lnTo>
                      <a:pt x="610" y="106"/>
                    </a:lnTo>
                    <a:lnTo>
                      <a:pt x="612" y="106"/>
                    </a:lnTo>
                    <a:lnTo>
                      <a:pt x="614" y="106"/>
                    </a:lnTo>
                    <a:lnTo>
                      <a:pt x="616" y="106"/>
                    </a:lnTo>
                    <a:lnTo>
                      <a:pt x="618" y="106"/>
                    </a:lnTo>
                    <a:lnTo>
                      <a:pt x="620" y="106"/>
                    </a:lnTo>
                    <a:lnTo>
                      <a:pt x="622" y="106"/>
                    </a:lnTo>
                    <a:lnTo>
                      <a:pt x="624" y="106"/>
                    </a:lnTo>
                    <a:lnTo>
                      <a:pt x="624" y="108"/>
                    </a:lnTo>
                    <a:lnTo>
                      <a:pt x="626" y="108"/>
                    </a:lnTo>
                    <a:lnTo>
                      <a:pt x="626" y="110"/>
                    </a:lnTo>
                    <a:lnTo>
                      <a:pt x="628" y="110"/>
                    </a:lnTo>
                    <a:lnTo>
                      <a:pt x="630" y="110"/>
                    </a:lnTo>
                    <a:lnTo>
                      <a:pt x="632" y="110"/>
                    </a:lnTo>
                    <a:lnTo>
                      <a:pt x="634" y="110"/>
                    </a:lnTo>
                    <a:lnTo>
                      <a:pt x="634" y="112"/>
                    </a:lnTo>
                    <a:lnTo>
                      <a:pt x="636" y="114"/>
                    </a:lnTo>
                    <a:lnTo>
                      <a:pt x="638" y="116"/>
                    </a:lnTo>
                    <a:lnTo>
                      <a:pt x="640" y="116"/>
                    </a:lnTo>
                    <a:lnTo>
                      <a:pt x="640" y="118"/>
                    </a:lnTo>
                    <a:lnTo>
                      <a:pt x="644" y="118"/>
                    </a:lnTo>
                    <a:lnTo>
                      <a:pt x="646" y="120"/>
                    </a:lnTo>
                    <a:lnTo>
                      <a:pt x="648" y="120"/>
                    </a:lnTo>
                    <a:lnTo>
                      <a:pt x="650" y="122"/>
                    </a:lnTo>
                    <a:lnTo>
                      <a:pt x="650" y="124"/>
                    </a:lnTo>
                    <a:lnTo>
                      <a:pt x="654" y="126"/>
                    </a:lnTo>
                    <a:lnTo>
                      <a:pt x="656" y="128"/>
                    </a:lnTo>
                    <a:lnTo>
                      <a:pt x="656" y="130"/>
                    </a:lnTo>
                    <a:lnTo>
                      <a:pt x="654" y="130"/>
                    </a:lnTo>
                    <a:lnTo>
                      <a:pt x="652" y="132"/>
                    </a:lnTo>
                    <a:lnTo>
                      <a:pt x="648" y="132"/>
                    </a:lnTo>
                    <a:lnTo>
                      <a:pt x="646" y="132"/>
                    </a:lnTo>
                    <a:lnTo>
                      <a:pt x="644" y="132"/>
                    </a:lnTo>
                    <a:lnTo>
                      <a:pt x="644" y="130"/>
                    </a:lnTo>
                    <a:lnTo>
                      <a:pt x="642" y="128"/>
                    </a:lnTo>
                    <a:lnTo>
                      <a:pt x="640" y="128"/>
                    </a:lnTo>
                    <a:lnTo>
                      <a:pt x="638" y="128"/>
                    </a:lnTo>
                    <a:lnTo>
                      <a:pt x="634" y="128"/>
                    </a:lnTo>
                    <a:lnTo>
                      <a:pt x="632" y="130"/>
                    </a:lnTo>
                    <a:lnTo>
                      <a:pt x="630" y="132"/>
                    </a:lnTo>
                    <a:lnTo>
                      <a:pt x="628" y="132"/>
                    </a:lnTo>
                    <a:lnTo>
                      <a:pt x="626" y="132"/>
                    </a:lnTo>
                    <a:lnTo>
                      <a:pt x="624" y="132"/>
                    </a:lnTo>
                    <a:lnTo>
                      <a:pt x="622" y="132"/>
                    </a:lnTo>
                    <a:lnTo>
                      <a:pt x="620" y="132"/>
                    </a:lnTo>
                    <a:lnTo>
                      <a:pt x="620" y="134"/>
                    </a:lnTo>
                    <a:lnTo>
                      <a:pt x="620" y="136"/>
                    </a:lnTo>
                    <a:lnTo>
                      <a:pt x="618" y="136"/>
                    </a:lnTo>
                    <a:lnTo>
                      <a:pt x="616" y="136"/>
                    </a:lnTo>
                    <a:lnTo>
                      <a:pt x="614" y="136"/>
                    </a:lnTo>
                    <a:lnTo>
                      <a:pt x="614" y="138"/>
                    </a:lnTo>
                    <a:lnTo>
                      <a:pt x="612" y="138"/>
                    </a:lnTo>
                    <a:lnTo>
                      <a:pt x="610" y="138"/>
                    </a:lnTo>
                    <a:lnTo>
                      <a:pt x="610" y="140"/>
                    </a:lnTo>
                    <a:lnTo>
                      <a:pt x="608" y="142"/>
                    </a:lnTo>
                    <a:lnTo>
                      <a:pt x="608" y="144"/>
                    </a:lnTo>
                    <a:lnTo>
                      <a:pt x="610" y="146"/>
                    </a:lnTo>
                    <a:lnTo>
                      <a:pt x="612" y="148"/>
                    </a:lnTo>
                    <a:lnTo>
                      <a:pt x="610" y="150"/>
                    </a:lnTo>
                    <a:lnTo>
                      <a:pt x="608" y="152"/>
                    </a:lnTo>
                    <a:lnTo>
                      <a:pt x="606" y="154"/>
                    </a:lnTo>
                    <a:lnTo>
                      <a:pt x="604" y="154"/>
                    </a:lnTo>
                    <a:lnTo>
                      <a:pt x="600" y="154"/>
                    </a:lnTo>
                    <a:lnTo>
                      <a:pt x="598" y="154"/>
                    </a:lnTo>
                    <a:lnTo>
                      <a:pt x="594" y="154"/>
                    </a:lnTo>
                    <a:lnTo>
                      <a:pt x="592" y="154"/>
                    </a:lnTo>
                    <a:lnTo>
                      <a:pt x="590" y="154"/>
                    </a:lnTo>
                    <a:lnTo>
                      <a:pt x="588" y="154"/>
                    </a:lnTo>
                    <a:lnTo>
                      <a:pt x="588" y="156"/>
                    </a:lnTo>
                    <a:lnTo>
                      <a:pt x="588" y="158"/>
                    </a:lnTo>
                    <a:lnTo>
                      <a:pt x="588" y="160"/>
                    </a:lnTo>
                    <a:lnTo>
                      <a:pt x="586" y="162"/>
                    </a:lnTo>
                    <a:lnTo>
                      <a:pt x="584" y="164"/>
                    </a:lnTo>
                    <a:lnTo>
                      <a:pt x="582" y="166"/>
                    </a:lnTo>
                    <a:lnTo>
                      <a:pt x="580" y="166"/>
                    </a:lnTo>
                    <a:lnTo>
                      <a:pt x="578" y="166"/>
                    </a:lnTo>
                    <a:lnTo>
                      <a:pt x="576" y="166"/>
                    </a:lnTo>
                    <a:lnTo>
                      <a:pt x="574" y="166"/>
                    </a:lnTo>
                    <a:lnTo>
                      <a:pt x="572" y="166"/>
                    </a:lnTo>
                    <a:lnTo>
                      <a:pt x="570" y="166"/>
                    </a:lnTo>
                    <a:lnTo>
                      <a:pt x="568" y="166"/>
                    </a:lnTo>
                    <a:lnTo>
                      <a:pt x="566" y="164"/>
                    </a:lnTo>
                    <a:lnTo>
                      <a:pt x="564" y="162"/>
                    </a:lnTo>
                    <a:lnTo>
                      <a:pt x="562" y="162"/>
                    </a:lnTo>
                    <a:lnTo>
                      <a:pt x="562" y="160"/>
                    </a:lnTo>
                    <a:lnTo>
                      <a:pt x="560" y="160"/>
                    </a:lnTo>
                    <a:lnTo>
                      <a:pt x="558" y="160"/>
                    </a:lnTo>
                    <a:lnTo>
                      <a:pt x="556" y="160"/>
                    </a:lnTo>
                    <a:lnTo>
                      <a:pt x="554" y="160"/>
                    </a:lnTo>
                    <a:lnTo>
                      <a:pt x="552" y="160"/>
                    </a:lnTo>
                    <a:lnTo>
                      <a:pt x="550" y="160"/>
                    </a:lnTo>
                    <a:lnTo>
                      <a:pt x="550" y="162"/>
                    </a:lnTo>
                    <a:lnTo>
                      <a:pt x="548" y="164"/>
                    </a:lnTo>
                    <a:lnTo>
                      <a:pt x="548" y="168"/>
                    </a:lnTo>
                    <a:lnTo>
                      <a:pt x="548" y="170"/>
                    </a:lnTo>
                    <a:lnTo>
                      <a:pt x="550" y="172"/>
                    </a:lnTo>
                    <a:lnTo>
                      <a:pt x="550" y="174"/>
                    </a:lnTo>
                    <a:lnTo>
                      <a:pt x="552" y="174"/>
                    </a:lnTo>
                    <a:lnTo>
                      <a:pt x="554" y="176"/>
                    </a:lnTo>
                    <a:lnTo>
                      <a:pt x="556" y="178"/>
                    </a:lnTo>
                    <a:lnTo>
                      <a:pt x="558" y="178"/>
                    </a:lnTo>
                    <a:lnTo>
                      <a:pt x="560" y="180"/>
                    </a:lnTo>
                    <a:lnTo>
                      <a:pt x="562" y="182"/>
                    </a:lnTo>
                    <a:lnTo>
                      <a:pt x="564" y="184"/>
                    </a:lnTo>
                    <a:lnTo>
                      <a:pt x="564" y="186"/>
                    </a:lnTo>
                    <a:lnTo>
                      <a:pt x="562" y="190"/>
                    </a:lnTo>
                    <a:lnTo>
                      <a:pt x="560" y="190"/>
                    </a:lnTo>
                    <a:lnTo>
                      <a:pt x="560" y="192"/>
                    </a:lnTo>
                    <a:lnTo>
                      <a:pt x="558" y="192"/>
                    </a:lnTo>
                    <a:lnTo>
                      <a:pt x="556" y="192"/>
                    </a:lnTo>
                    <a:lnTo>
                      <a:pt x="554" y="192"/>
                    </a:lnTo>
                    <a:lnTo>
                      <a:pt x="552" y="192"/>
                    </a:lnTo>
                    <a:lnTo>
                      <a:pt x="552" y="194"/>
                    </a:lnTo>
                    <a:lnTo>
                      <a:pt x="552" y="196"/>
                    </a:lnTo>
                    <a:lnTo>
                      <a:pt x="552" y="200"/>
                    </a:lnTo>
                    <a:lnTo>
                      <a:pt x="550" y="202"/>
                    </a:lnTo>
                    <a:lnTo>
                      <a:pt x="548" y="204"/>
                    </a:lnTo>
                    <a:lnTo>
                      <a:pt x="546" y="204"/>
                    </a:lnTo>
                    <a:lnTo>
                      <a:pt x="544" y="206"/>
                    </a:lnTo>
                    <a:lnTo>
                      <a:pt x="542" y="206"/>
                    </a:lnTo>
                    <a:lnTo>
                      <a:pt x="540" y="206"/>
                    </a:lnTo>
                    <a:lnTo>
                      <a:pt x="538" y="208"/>
                    </a:lnTo>
                    <a:lnTo>
                      <a:pt x="538" y="210"/>
                    </a:lnTo>
                    <a:lnTo>
                      <a:pt x="536" y="210"/>
                    </a:lnTo>
                    <a:lnTo>
                      <a:pt x="534" y="210"/>
                    </a:lnTo>
                    <a:lnTo>
                      <a:pt x="532" y="210"/>
                    </a:lnTo>
                    <a:lnTo>
                      <a:pt x="530" y="210"/>
                    </a:lnTo>
                    <a:lnTo>
                      <a:pt x="528" y="210"/>
                    </a:lnTo>
                    <a:lnTo>
                      <a:pt x="526" y="210"/>
                    </a:lnTo>
                    <a:lnTo>
                      <a:pt x="518" y="210"/>
                    </a:lnTo>
                    <a:lnTo>
                      <a:pt x="512" y="210"/>
                    </a:lnTo>
                    <a:lnTo>
                      <a:pt x="510" y="210"/>
                    </a:lnTo>
                    <a:lnTo>
                      <a:pt x="506" y="210"/>
                    </a:lnTo>
                    <a:lnTo>
                      <a:pt x="504" y="210"/>
                    </a:lnTo>
                    <a:lnTo>
                      <a:pt x="502" y="210"/>
                    </a:lnTo>
                    <a:lnTo>
                      <a:pt x="500" y="210"/>
                    </a:lnTo>
                    <a:lnTo>
                      <a:pt x="498" y="212"/>
                    </a:lnTo>
                    <a:lnTo>
                      <a:pt x="496" y="212"/>
                    </a:lnTo>
                    <a:lnTo>
                      <a:pt x="494" y="214"/>
                    </a:lnTo>
                    <a:lnTo>
                      <a:pt x="490" y="216"/>
                    </a:lnTo>
                    <a:lnTo>
                      <a:pt x="486" y="218"/>
                    </a:lnTo>
                    <a:lnTo>
                      <a:pt x="482" y="222"/>
                    </a:lnTo>
                    <a:lnTo>
                      <a:pt x="480" y="224"/>
                    </a:lnTo>
                    <a:lnTo>
                      <a:pt x="478" y="224"/>
                    </a:lnTo>
                    <a:lnTo>
                      <a:pt x="478" y="226"/>
                    </a:lnTo>
                    <a:lnTo>
                      <a:pt x="476" y="226"/>
                    </a:lnTo>
                    <a:lnTo>
                      <a:pt x="474" y="226"/>
                    </a:lnTo>
                    <a:lnTo>
                      <a:pt x="472" y="226"/>
                    </a:lnTo>
                    <a:lnTo>
                      <a:pt x="470" y="226"/>
                    </a:lnTo>
                    <a:lnTo>
                      <a:pt x="468" y="226"/>
                    </a:lnTo>
                    <a:lnTo>
                      <a:pt x="466" y="224"/>
                    </a:lnTo>
                    <a:lnTo>
                      <a:pt x="466" y="222"/>
                    </a:lnTo>
                    <a:lnTo>
                      <a:pt x="464" y="220"/>
                    </a:lnTo>
                    <a:lnTo>
                      <a:pt x="462" y="220"/>
                    </a:lnTo>
                    <a:lnTo>
                      <a:pt x="462" y="222"/>
                    </a:lnTo>
                    <a:lnTo>
                      <a:pt x="458" y="222"/>
                    </a:lnTo>
                    <a:lnTo>
                      <a:pt x="456" y="222"/>
                    </a:lnTo>
                    <a:lnTo>
                      <a:pt x="454" y="224"/>
                    </a:lnTo>
                    <a:lnTo>
                      <a:pt x="452" y="224"/>
                    </a:lnTo>
                    <a:lnTo>
                      <a:pt x="450" y="222"/>
                    </a:lnTo>
                    <a:lnTo>
                      <a:pt x="448" y="222"/>
                    </a:lnTo>
                    <a:lnTo>
                      <a:pt x="446" y="220"/>
                    </a:lnTo>
                    <a:lnTo>
                      <a:pt x="444" y="220"/>
                    </a:lnTo>
                    <a:lnTo>
                      <a:pt x="442" y="218"/>
                    </a:lnTo>
                    <a:lnTo>
                      <a:pt x="440" y="218"/>
                    </a:lnTo>
                    <a:lnTo>
                      <a:pt x="436" y="218"/>
                    </a:lnTo>
                    <a:lnTo>
                      <a:pt x="432" y="218"/>
                    </a:lnTo>
                    <a:lnTo>
                      <a:pt x="428" y="218"/>
                    </a:lnTo>
                    <a:lnTo>
                      <a:pt x="424" y="216"/>
                    </a:lnTo>
                    <a:lnTo>
                      <a:pt x="422" y="216"/>
                    </a:lnTo>
                    <a:lnTo>
                      <a:pt x="422" y="214"/>
                    </a:lnTo>
                    <a:lnTo>
                      <a:pt x="420" y="214"/>
                    </a:lnTo>
                    <a:lnTo>
                      <a:pt x="420" y="212"/>
                    </a:lnTo>
                    <a:lnTo>
                      <a:pt x="418" y="210"/>
                    </a:lnTo>
                    <a:lnTo>
                      <a:pt x="416" y="208"/>
                    </a:lnTo>
                    <a:lnTo>
                      <a:pt x="414" y="208"/>
                    </a:lnTo>
                    <a:lnTo>
                      <a:pt x="410" y="208"/>
                    </a:lnTo>
                    <a:lnTo>
                      <a:pt x="408" y="208"/>
                    </a:lnTo>
                    <a:lnTo>
                      <a:pt x="404" y="206"/>
                    </a:lnTo>
                    <a:lnTo>
                      <a:pt x="402" y="206"/>
                    </a:lnTo>
                    <a:lnTo>
                      <a:pt x="400" y="206"/>
                    </a:lnTo>
                    <a:lnTo>
                      <a:pt x="398" y="206"/>
                    </a:lnTo>
                    <a:lnTo>
                      <a:pt x="396" y="206"/>
                    </a:lnTo>
                    <a:lnTo>
                      <a:pt x="394" y="206"/>
                    </a:lnTo>
                    <a:lnTo>
                      <a:pt x="390" y="204"/>
                    </a:lnTo>
                    <a:lnTo>
                      <a:pt x="388" y="204"/>
                    </a:lnTo>
                    <a:lnTo>
                      <a:pt x="386" y="204"/>
                    </a:lnTo>
                    <a:lnTo>
                      <a:pt x="384" y="206"/>
                    </a:lnTo>
                    <a:lnTo>
                      <a:pt x="382" y="208"/>
                    </a:lnTo>
                    <a:lnTo>
                      <a:pt x="378" y="208"/>
                    </a:lnTo>
                    <a:lnTo>
                      <a:pt x="376" y="206"/>
                    </a:lnTo>
                    <a:lnTo>
                      <a:pt x="374" y="206"/>
                    </a:lnTo>
                    <a:lnTo>
                      <a:pt x="370" y="206"/>
                    </a:lnTo>
                    <a:lnTo>
                      <a:pt x="366" y="206"/>
                    </a:lnTo>
                    <a:lnTo>
                      <a:pt x="364" y="206"/>
                    </a:lnTo>
                    <a:lnTo>
                      <a:pt x="362" y="206"/>
                    </a:lnTo>
                    <a:lnTo>
                      <a:pt x="358" y="206"/>
                    </a:lnTo>
                    <a:lnTo>
                      <a:pt x="356" y="206"/>
                    </a:lnTo>
                    <a:lnTo>
                      <a:pt x="354" y="206"/>
                    </a:lnTo>
                    <a:lnTo>
                      <a:pt x="352" y="204"/>
                    </a:lnTo>
                    <a:lnTo>
                      <a:pt x="350" y="204"/>
                    </a:lnTo>
                    <a:lnTo>
                      <a:pt x="348" y="204"/>
                    </a:lnTo>
                    <a:lnTo>
                      <a:pt x="346" y="204"/>
                    </a:lnTo>
                    <a:lnTo>
                      <a:pt x="344" y="204"/>
                    </a:lnTo>
                    <a:lnTo>
                      <a:pt x="342" y="204"/>
                    </a:lnTo>
                    <a:lnTo>
                      <a:pt x="340" y="206"/>
                    </a:lnTo>
                    <a:lnTo>
                      <a:pt x="338" y="206"/>
                    </a:lnTo>
                    <a:lnTo>
                      <a:pt x="336" y="206"/>
                    </a:lnTo>
                    <a:lnTo>
                      <a:pt x="334" y="206"/>
                    </a:lnTo>
                    <a:lnTo>
                      <a:pt x="332" y="204"/>
                    </a:lnTo>
                    <a:lnTo>
                      <a:pt x="330" y="202"/>
                    </a:lnTo>
                    <a:lnTo>
                      <a:pt x="328" y="202"/>
                    </a:lnTo>
                    <a:lnTo>
                      <a:pt x="326" y="200"/>
                    </a:lnTo>
                    <a:lnTo>
                      <a:pt x="324" y="198"/>
                    </a:lnTo>
                    <a:lnTo>
                      <a:pt x="322" y="196"/>
                    </a:lnTo>
                    <a:lnTo>
                      <a:pt x="320" y="194"/>
                    </a:lnTo>
                    <a:lnTo>
                      <a:pt x="320" y="192"/>
                    </a:lnTo>
                    <a:lnTo>
                      <a:pt x="316" y="190"/>
                    </a:lnTo>
                    <a:lnTo>
                      <a:pt x="316" y="188"/>
                    </a:lnTo>
                    <a:lnTo>
                      <a:pt x="314" y="186"/>
                    </a:lnTo>
                    <a:lnTo>
                      <a:pt x="312" y="184"/>
                    </a:lnTo>
                    <a:lnTo>
                      <a:pt x="310" y="182"/>
                    </a:lnTo>
                    <a:lnTo>
                      <a:pt x="308" y="182"/>
                    </a:lnTo>
                    <a:lnTo>
                      <a:pt x="308" y="180"/>
                    </a:lnTo>
                    <a:lnTo>
                      <a:pt x="306" y="178"/>
                    </a:lnTo>
                    <a:lnTo>
                      <a:pt x="306" y="176"/>
                    </a:lnTo>
                    <a:lnTo>
                      <a:pt x="304" y="176"/>
                    </a:lnTo>
                    <a:lnTo>
                      <a:pt x="302" y="176"/>
                    </a:lnTo>
                    <a:lnTo>
                      <a:pt x="300" y="176"/>
                    </a:lnTo>
                    <a:lnTo>
                      <a:pt x="298" y="176"/>
                    </a:lnTo>
                    <a:lnTo>
                      <a:pt x="298" y="174"/>
                    </a:lnTo>
                    <a:lnTo>
                      <a:pt x="296" y="174"/>
                    </a:lnTo>
                    <a:lnTo>
                      <a:pt x="294" y="174"/>
                    </a:lnTo>
                    <a:lnTo>
                      <a:pt x="292" y="172"/>
                    </a:lnTo>
                    <a:lnTo>
                      <a:pt x="288" y="172"/>
                    </a:lnTo>
                    <a:lnTo>
                      <a:pt x="286" y="172"/>
                    </a:lnTo>
                    <a:lnTo>
                      <a:pt x="284" y="170"/>
                    </a:lnTo>
                    <a:lnTo>
                      <a:pt x="282" y="170"/>
                    </a:lnTo>
                    <a:lnTo>
                      <a:pt x="280" y="168"/>
                    </a:lnTo>
                    <a:lnTo>
                      <a:pt x="280" y="166"/>
                    </a:lnTo>
                    <a:lnTo>
                      <a:pt x="278" y="164"/>
                    </a:lnTo>
                    <a:lnTo>
                      <a:pt x="274" y="164"/>
                    </a:lnTo>
                    <a:lnTo>
                      <a:pt x="272" y="162"/>
                    </a:lnTo>
                    <a:lnTo>
                      <a:pt x="270" y="162"/>
                    </a:lnTo>
                    <a:lnTo>
                      <a:pt x="268" y="162"/>
                    </a:lnTo>
                    <a:lnTo>
                      <a:pt x="266" y="162"/>
                    </a:lnTo>
                    <a:lnTo>
                      <a:pt x="262" y="162"/>
                    </a:lnTo>
                    <a:lnTo>
                      <a:pt x="256" y="162"/>
                    </a:lnTo>
                    <a:lnTo>
                      <a:pt x="254" y="162"/>
                    </a:lnTo>
                    <a:lnTo>
                      <a:pt x="250" y="162"/>
                    </a:lnTo>
                    <a:lnTo>
                      <a:pt x="246" y="162"/>
                    </a:lnTo>
                    <a:lnTo>
                      <a:pt x="242" y="160"/>
                    </a:lnTo>
                    <a:lnTo>
                      <a:pt x="238" y="160"/>
                    </a:lnTo>
                    <a:lnTo>
                      <a:pt x="236" y="158"/>
                    </a:lnTo>
                    <a:lnTo>
                      <a:pt x="234" y="158"/>
                    </a:lnTo>
                    <a:lnTo>
                      <a:pt x="232" y="156"/>
                    </a:lnTo>
                    <a:lnTo>
                      <a:pt x="230" y="156"/>
                    </a:lnTo>
                    <a:lnTo>
                      <a:pt x="228" y="156"/>
                    </a:lnTo>
                    <a:lnTo>
                      <a:pt x="226" y="154"/>
                    </a:lnTo>
                    <a:lnTo>
                      <a:pt x="224" y="150"/>
                    </a:lnTo>
                    <a:lnTo>
                      <a:pt x="224" y="148"/>
                    </a:lnTo>
                    <a:lnTo>
                      <a:pt x="224" y="146"/>
                    </a:lnTo>
                    <a:lnTo>
                      <a:pt x="224" y="144"/>
                    </a:lnTo>
                    <a:lnTo>
                      <a:pt x="226" y="144"/>
                    </a:lnTo>
                    <a:lnTo>
                      <a:pt x="226" y="142"/>
                    </a:lnTo>
                    <a:lnTo>
                      <a:pt x="226" y="140"/>
                    </a:lnTo>
                    <a:lnTo>
                      <a:pt x="226" y="138"/>
                    </a:lnTo>
                    <a:lnTo>
                      <a:pt x="224" y="136"/>
                    </a:lnTo>
                    <a:lnTo>
                      <a:pt x="222" y="136"/>
                    </a:lnTo>
                    <a:lnTo>
                      <a:pt x="222" y="134"/>
                    </a:lnTo>
                    <a:lnTo>
                      <a:pt x="222" y="132"/>
                    </a:lnTo>
                    <a:lnTo>
                      <a:pt x="220" y="130"/>
                    </a:lnTo>
                    <a:lnTo>
                      <a:pt x="220" y="128"/>
                    </a:lnTo>
                    <a:lnTo>
                      <a:pt x="218" y="128"/>
                    </a:lnTo>
                    <a:lnTo>
                      <a:pt x="216" y="124"/>
                    </a:lnTo>
                    <a:lnTo>
                      <a:pt x="212" y="122"/>
                    </a:lnTo>
                    <a:lnTo>
                      <a:pt x="210" y="120"/>
                    </a:lnTo>
                    <a:lnTo>
                      <a:pt x="208" y="118"/>
                    </a:lnTo>
                    <a:lnTo>
                      <a:pt x="208" y="116"/>
                    </a:lnTo>
                    <a:lnTo>
                      <a:pt x="206" y="114"/>
                    </a:lnTo>
                    <a:lnTo>
                      <a:pt x="204" y="110"/>
                    </a:lnTo>
                    <a:lnTo>
                      <a:pt x="202" y="110"/>
                    </a:lnTo>
                    <a:lnTo>
                      <a:pt x="200" y="110"/>
                    </a:lnTo>
                    <a:lnTo>
                      <a:pt x="198" y="108"/>
                    </a:lnTo>
                    <a:lnTo>
                      <a:pt x="196" y="108"/>
                    </a:lnTo>
                    <a:lnTo>
                      <a:pt x="194" y="108"/>
                    </a:lnTo>
                    <a:lnTo>
                      <a:pt x="192" y="108"/>
                    </a:lnTo>
                    <a:lnTo>
                      <a:pt x="190" y="106"/>
                    </a:lnTo>
                    <a:lnTo>
                      <a:pt x="188" y="106"/>
                    </a:lnTo>
                    <a:lnTo>
                      <a:pt x="188" y="104"/>
                    </a:lnTo>
                    <a:lnTo>
                      <a:pt x="184" y="106"/>
                    </a:lnTo>
                    <a:lnTo>
                      <a:pt x="182" y="106"/>
                    </a:lnTo>
                    <a:lnTo>
                      <a:pt x="180" y="106"/>
                    </a:lnTo>
                    <a:lnTo>
                      <a:pt x="180" y="108"/>
                    </a:lnTo>
                    <a:lnTo>
                      <a:pt x="178" y="106"/>
                    </a:lnTo>
                    <a:lnTo>
                      <a:pt x="176" y="104"/>
                    </a:lnTo>
                    <a:lnTo>
                      <a:pt x="176" y="102"/>
                    </a:lnTo>
                    <a:lnTo>
                      <a:pt x="174" y="102"/>
                    </a:lnTo>
                    <a:lnTo>
                      <a:pt x="174" y="100"/>
                    </a:lnTo>
                    <a:lnTo>
                      <a:pt x="172" y="100"/>
                    </a:lnTo>
                    <a:lnTo>
                      <a:pt x="172" y="98"/>
                    </a:lnTo>
                    <a:lnTo>
                      <a:pt x="170" y="98"/>
                    </a:lnTo>
                    <a:lnTo>
                      <a:pt x="168" y="98"/>
                    </a:lnTo>
                    <a:lnTo>
                      <a:pt x="166" y="96"/>
                    </a:lnTo>
                    <a:lnTo>
                      <a:pt x="164" y="96"/>
                    </a:lnTo>
                    <a:lnTo>
                      <a:pt x="162" y="96"/>
                    </a:lnTo>
                    <a:lnTo>
                      <a:pt x="160" y="94"/>
                    </a:lnTo>
                    <a:lnTo>
                      <a:pt x="160" y="92"/>
                    </a:lnTo>
                    <a:lnTo>
                      <a:pt x="160" y="90"/>
                    </a:lnTo>
                    <a:lnTo>
                      <a:pt x="158" y="90"/>
                    </a:lnTo>
                    <a:lnTo>
                      <a:pt x="156" y="90"/>
                    </a:lnTo>
                    <a:lnTo>
                      <a:pt x="154" y="90"/>
                    </a:lnTo>
                    <a:lnTo>
                      <a:pt x="156" y="90"/>
                    </a:lnTo>
                    <a:lnTo>
                      <a:pt x="156" y="88"/>
                    </a:lnTo>
                    <a:lnTo>
                      <a:pt x="156" y="86"/>
                    </a:lnTo>
                    <a:lnTo>
                      <a:pt x="156" y="84"/>
                    </a:lnTo>
                    <a:lnTo>
                      <a:pt x="154" y="84"/>
                    </a:lnTo>
                    <a:lnTo>
                      <a:pt x="150" y="84"/>
                    </a:lnTo>
                    <a:lnTo>
                      <a:pt x="148" y="84"/>
                    </a:lnTo>
                    <a:lnTo>
                      <a:pt x="148" y="86"/>
                    </a:lnTo>
                    <a:lnTo>
                      <a:pt x="146" y="84"/>
                    </a:lnTo>
                    <a:lnTo>
                      <a:pt x="144" y="84"/>
                    </a:lnTo>
                    <a:lnTo>
                      <a:pt x="142" y="84"/>
                    </a:lnTo>
                    <a:lnTo>
                      <a:pt x="140" y="84"/>
                    </a:lnTo>
                    <a:lnTo>
                      <a:pt x="138" y="84"/>
                    </a:lnTo>
                    <a:lnTo>
                      <a:pt x="138" y="86"/>
                    </a:lnTo>
                    <a:lnTo>
                      <a:pt x="138" y="88"/>
                    </a:lnTo>
                    <a:lnTo>
                      <a:pt x="140" y="88"/>
                    </a:lnTo>
                    <a:lnTo>
                      <a:pt x="140" y="90"/>
                    </a:lnTo>
                    <a:lnTo>
                      <a:pt x="142" y="90"/>
                    </a:lnTo>
                    <a:lnTo>
                      <a:pt x="142" y="92"/>
                    </a:lnTo>
                    <a:lnTo>
                      <a:pt x="142" y="94"/>
                    </a:lnTo>
                    <a:lnTo>
                      <a:pt x="140" y="96"/>
                    </a:lnTo>
                    <a:lnTo>
                      <a:pt x="136" y="96"/>
                    </a:lnTo>
                    <a:lnTo>
                      <a:pt x="134" y="96"/>
                    </a:lnTo>
                    <a:lnTo>
                      <a:pt x="132" y="96"/>
                    </a:lnTo>
                    <a:lnTo>
                      <a:pt x="130" y="96"/>
                    </a:lnTo>
                    <a:lnTo>
                      <a:pt x="128" y="98"/>
                    </a:lnTo>
                    <a:lnTo>
                      <a:pt x="128" y="100"/>
                    </a:lnTo>
                    <a:lnTo>
                      <a:pt x="128" y="102"/>
                    </a:lnTo>
                    <a:lnTo>
                      <a:pt x="128" y="104"/>
                    </a:lnTo>
                    <a:lnTo>
                      <a:pt x="128" y="106"/>
                    </a:lnTo>
                    <a:lnTo>
                      <a:pt x="130" y="106"/>
                    </a:lnTo>
                    <a:lnTo>
                      <a:pt x="130" y="108"/>
                    </a:lnTo>
                    <a:lnTo>
                      <a:pt x="134" y="110"/>
                    </a:lnTo>
                    <a:lnTo>
                      <a:pt x="136" y="114"/>
                    </a:lnTo>
                    <a:lnTo>
                      <a:pt x="136" y="116"/>
                    </a:lnTo>
                    <a:lnTo>
                      <a:pt x="136" y="118"/>
                    </a:lnTo>
                    <a:lnTo>
                      <a:pt x="136" y="120"/>
                    </a:lnTo>
                    <a:lnTo>
                      <a:pt x="136" y="122"/>
                    </a:lnTo>
                    <a:lnTo>
                      <a:pt x="134" y="122"/>
                    </a:lnTo>
                    <a:lnTo>
                      <a:pt x="132" y="124"/>
                    </a:lnTo>
                    <a:lnTo>
                      <a:pt x="130" y="124"/>
                    </a:lnTo>
                    <a:lnTo>
                      <a:pt x="128" y="126"/>
                    </a:lnTo>
                    <a:lnTo>
                      <a:pt x="126" y="128"/>
                    </a:lnTo>
                    <a:lnTo>
                      <a:pt x="126" y="126"/>
                    </a:lnTo>
                    <a:lnTo>
                      <a:pt x="124" y="126"/>
                    </a:lnTo>
                    <a:lnTo>
                      <a:pt x="124" y="124"/>
                    </a:lnTo>
                    <a:lnTo>
                      <a:pt x="122" y="124"/>
                    </a:lnTo>
                    <a:lnTo>
                      <a:pt x="120" y="124"/>
                    </a:lnTo>
                    <a:lnTo>
                      <a:pt x="116" y="124"/>
                    </a:lnTo>
                    <a:lnTo>
                      <a:pt x="114" y="124"/>
                    </a:lnTo>
                    <a:lnTo>
                      <a:pt x="112" y="124"/>
                    </a:lnTo>
                    <a:lnTo>
                      <a:pt x="110" y="124"/>
                    </a:lnTo>
                    <a:lnTo>
                      <a:pt x="108" y="122"/>
                    </a:lnTo>
                    <a:lnTo>
                      <a:pt x="106" y="122"/>
                    </a:lnTo>
                    <a:lnTo>
                      <a:pt x="104" y="120"/>
                    </a:lnTo>
                    <a:lnTo>
                      <a:pt x="102" y="120"/>
                    </a:lnTo>
                    <a:lnTo>
                      <a:pt x="100" y="120"/>
                    </a:lnTo>
                    <a:lnTo>
                      <a:pt x="98" y="120"/>
                    </a:lnTo>
                    <a:lnTo>
                      <a:pt x="98" y="122"/>
                    </a:lnTo>
                    <a:lnTo>
                      <a:pt x="98" y="126"/>
                    </a:lnTo>
                    <a:lnTo>
                      <a:pt x="98" y="130"/>
                    </a:lnTo>
                    <a:lnTo>
                      <a:pt x="98" y="132"/>
                    </a:lnTo>
                    <a:lnTo>
                      <a:pt x="98" y="134"/>
                    </a:lnTo>
                    <a:lnTo>
                      <a:pt x="96" y="138"/>
                    </a:lnTo>
                    <a:lnTo>
                      <a:pt x="96" y="142"/>
                    </a:lnTo>
                    <a:lnTo>
                      <a:pt x="96" y="146"/>
                    </a:lnTo>
                    <a:lnTo>
                      <a:pt x="96" y="150"/>
                    </a:lnTo>
                    <a:lnTo>
                      <a:pt x="96" y="152"/>
                    </a:lnTo>
                    <a:lnTo>
                      <a:pt x="98" y="152"/>
                    </a:lnTo>
                    <a:lnTo>
                      <a:pt x="98" y="154"/>
                    </a:lnTo>
                    <a:lnTo>
                      <a:pt x="100" y="154"/>
                    </a:lnTo>
                    <a:lnTo>
                      <a:pt x="102" y="154"/>
                    </a:lnTo>
                    <a:lnTo>
                      <a:pt x="104" y="156"/>
                    </a:lnTo>
                    <a:lnTo>
                      <a:pt x="104" y="158"/>
                    </a:lnTo>
                    <a:lnTo>
                      <a:pt x="102" y="158"/>
                    </a:lnTo>
                    <a:lnTo>
                      <a:pt x="102" y="160"/>
                    </a:lnTo>
                    <a:lnTo>
                      <a:pt x="100" y="158"/>
                    </a:lnTo>
                    <a:lnTo>
                      <a:pt x="98" y="158"/>
                    </a:lnTo>
                    <a:lnTo>
                      <a:pt x="98" y="156"/>
                    </a:lnTo>
                    <a:lnTo>
                      <a:pt x="96" y="158"/>
                    </a:lnTo>
                    <a:lnTo>
                      <a:pt x="94" y="158"/>
                    </a:lnTo>
                    <a:lnTo>
                      <a:pt x="94" y="160"/>
                    </a:lnTo>
                    <a:lnTo>
                      <a:pt x="92" y="158"/>
                    </a:lnTo>
                    <a:lnTo>
                      <a:pt x="92" y="156"/>
                    </a:lnTo>
                    <a:lnTo>
                      <a:pt x="90" y="156"/>
                    </a:lnTo>
                    <a:lnTo>
                      <a:pt x="88" y="154"/>
                    </a:lnTo>
                    <a:lnTo>
                      <a:pt x="86" y="156"/>
                    </a:lnTo>
                    <a:lnTo>
                      <a:pt x="84" y="156"/>
                    </a:lnTo>
                    <a:lnTo>
                      <a:pt x="82" y="156"/>
                    </a:lnTo>
                    <a:lnTo>
                      <a:pt x="80" y="156"/>
                    </a:lnTo>
                    <a:lnTo>
                      <a:pt x="78" y="158"/>
                    </a:lnTo>
                    <a:lnTo>
                      <a:pt x="76" y="158"/>
                    </a:lnTo>
                    <a:lnTo>
                      <a:pt x="74" y="158"/>
                    </a:lnTo>
                    <a:lnTo>
                      <a:pt x="72" y="158"/>
                    </a:lnTo>
                    <a:lnTo>
                      <a:pt x="70" y="160"/>
                    </a:lnTo>
                    <a:lnTo>
                      <a:pt x="68" y="160"/>
                    </a:lnTo>
                    <a:lnTo>
                      <a:pt x="66" y="160"/>
                    </a:lnTo>
                    <a:lnTo>
                      <a:pt x="66" y="162"/>
                    </a:lnTo>
                    <a:lnTo>
                      <a:pt x="64" y="162"/>
                    </a:lnTo>
                    <a:lnTo>
                      <a:pt x="64" y="164"/>
                    </a:lnTo>
                    <a:lnTo>
                      <a:pt x="66" y="166"/>
                    </a:lnTo>
                    <a:lnTo>
                      <a:pt x="68" y="166"/>
                    </a:lnTo>
                    <a:lnTo>
                      <a:pt x="70" y="166"/>
                    </a:lnTo>
                    <a:lnTo>
                      <a:pt x="72" y="166"/>
                    </a:lnTo>
                    <a:lnTo>
                      <a:pt x="74" y="166"/>
                    </a:lnTo>
                    <a:lnTo>
                      <a:pt x="74" y="168"/>
                    </a:lnTo>
                    <a:lnTo>
                      <a:pt x="74" y="170"/>
                    </a:lnTo>
                    <a:lnTo>
                      <a:pt x="74" y="172"/>
                    </a:lnTo>
                    <a:lnTo>
                      <a:pt x="76" y="176"/>
                    </a:lnTo>
                    <a:lnTo>
                      <a:pt x="76" y="178"/>
                    </a:lnTo>
                    <a:lnTo>
                      <a:pt x="78" y="178"/>
                    </a:lnTo>
                    <a:lnTo>
                      <a:pt x="78" y="180"/>
                    </a:lnTo>
                    <a:lnTo>
                      <a:pt x="80" y="182"/>
                    </a:lnTo>
                    <a:lnTo>
                      <a:pt x="82" y="184"/>
                    </a:lnTo>
                    <a:lnTo>
                      <a:pt x="86" y="188"/>
                    </a:lnTo>
                    <a:lnTo>
                      <a:pt x="88" y="190"/>
                    </a:lnTo>
                    <a:lnTo>
                      <a:pt x="88" y="192"/>
                    </a:lnTo>
                    <a:lnTo>
                      <a:pt x="90" y="194"/>
                    </a:lnTo>
                    <a:lnTo>
                      <a:pt x="90" y="196"/>
                    </a:lnTo>
                    <a:lnTo>
                      <a:pt x="90" y="198"/>
                    </a:lnTo>
                    <a:lnTo>
                      <a:pt x="88" y="198"/>
                    </a:lnTo>
                    <a:lnTo>
                      <a:pt x="86" y="198"/>
                    </a:lnTo>
                    <a:lnTo>
                      <a:pt x="86" y="200"/>
                    </a:lnTo>
                    <a:lnTo>
                      <a:pt x="88" y="202"/>
                    </a:lnTo>
                    <a:lnTo>
                      <a:pt x="88" y="204"/>
                    </a:lnTo>
                    <a:lnTo>
                      <a:pt x="88" y="202"/>
                    </a:lnTo>
                    <a:lnTo>
                      <a:pt x="86" y="202"/>
                    </a:lnTo>
                    <a:lnTo>
                      <a:pt x="84" y="204"/>
                    </a:lnTo>
                    <a:lnTo>
                      <a:pt x="84" y="206"/>
                    </a:lnTo>
                    <a:lnTo>
                      <a:pt x="86" y="208"/>
                    </a:lnTo>
                    <a:lnTo>
                      <a:pt x="86" y="210"/>
                    </a:lnTo>
                    <a:lnTo>
                      <a:pt x="88" y="212"/>
                    </a:lnTo>
                    <a:lnTo>
                      <a:pt x="88" y="214"/>
                    </a:lnTo>
                    <a:lnTo>
                      <a:pt x="88" y="216"/>
                    </a:lnTo>
                    <a:lnTo>
                      <a:pt x="88" y="218"/>
                    </a:lnTo>
                    <a:lnTo>
                      <a:pt x="88" y="220"/>
                    </a:lnTo>
                    <a:lnTo>
                      <a:pt x="86" y="220"/>
                    </a:lnTo>
                    <a:lnTo>
                      <a:pt x="84" y="220"/>
                    </a:lnTo>
                    <a:lnTo>
                      <a:pt x="82" y="220"/>
                    </a:lnTo>
                    <a:lnTo>
                      <a:pt x="80" y="220"/>
                    </a:lnTo>
                    <a:lnTo>
                      <a:pt x="78" y="222"/>
                    </a:lnTo>
                    <a:lnTo>
                      <a:pt x="76" y="222"/>
                    </a:lnTo>
                    <a:lnTo>
                      <a:pt x="74" y="224"/>
                    </a:lnTo>
                    <a:lnTo>
                      <a:pt x="72" y="224"/>
                    </a:lnTo>
                    <a:lnTo>
                      <a:pt x="70" y="224"/>
                    </a:lnTo>
                    <a:lnTo>
                      <a:pt x="70" y="226"/>
                    </a:lnTo>
                    <a:lnTo>
                      <a:pt x="68" y="226"/>
                    </a:lnTo>
                    <a:lnTo>
                      <a:pt x="66" y="228"/>
                    </a:lnTo>
                    <a:lnTo>
                      <a:pt x="64" y="230"/>
                    </a:lnTo>
                    <a:lnTo>
                      <a:pt x="64" y="232"/>
                    </a:lnTo>
                    <a:lnTo>
                      <a:pt x="64" y="236"/>
                    </a:lnTo>
                    <a:lnTo>
                      <a:pt x="62" y="238"/>
                    </a:lnTo>
                    <a:lnTo>
                      <a:pt x="60" y="238"/>
                    </a:lnTo>
                    <a:lnTo>
                      <a:pt x="58" y="238"/>
                    </a:lnTo>
                    <a:lnTo>
                      <a:pt x="56" y="238"/>
                    </a:lnTo>
                    <a:lnTo>
                      <a:pt x="52" y="238"/>
                    </a:lnTo>
                    <a:lnTo>
                      <a:pt x="48" y="236"/>
                    </a:lnTo>
                    <a:lnTo>
                      <a:pt x="46" y="236"/>
                    </a:lnTo>
                    <a:lnTo>
                      <a:pt x="44" y="236"/>
                    </a:lnTo>
                    <a:lnTo>
                      <a:pt x="42" y="238"/>
                    </a:lnTo>
                    <a:lnTo>
                      <a:pt x="42" y="240"/>
                    </a:lnTo>
                    <a:lnTo>
                      <a:pt x="40" y="242"/>
                    </a:lnTo>
                    <a:lnTo>
                      <a:pt x="40" y="244"/>
                    </a:lnTo>
                    <a:lnTo>
                      <a:pt x="40" y="246"/>
                    </a:lnTo>
                    <a:lnTo>
                      <a:pt x="38" y="250"/>
                    </a:lnTo>
                    <a:lnTo>
                      <a:pt x="36" y="250"/>
                    </a:lnTo>
                    <a:lnTo>
                      <a:pt x="34" y="250"/>
                    </a:lnTo>
                    <a:lnTo>
                      <a:pt x="32" y="250"/>
                    </a:lnTo>
                    <a:lnTo>
                      <a:pt x="30" y="250"/>
                    </a:lnTo>
                    <a:lnTo>
                      <a:pt x="28" y="250"/>
                    </a:lnTo>
                    <a:lnTo>
                      <a:pt x="28" y="252"/>
                    </a:lnTo>
                    <a:lnTo>
                      <a:pt x="28" y="250"/>
                    </a:lnTo>
                    <a:lnTo>
                      <a:pt x="26" y="250"/>
                    </a:lnTo>
                    <a:lnTo>
                      <a:pt x="26" y="248"/>
                    </a:lnTo>
                    <a:lnTo>
                      <a:pt x="24" y="248"/>
                    </a:lnTo>
                    <a:lnTo>
                      <a:pt x="24" y="246"/>
                    </a:lnTo>
                    <a:lnTo>
                      <a:pt x="22" y="246"/>
                    </a:lnTo>
                    <a:lnTo>
                      <a:pt x="22" y="244"/>
                    </a:lnTo>
                    <a:lnTo>
                      <a:pt x="20" y="246"/>
                    </a:lnTo>
                    <a:lnTo>
                      <a:pt x="18" y="248"/>
                    </a:lnTo>
                    <a:lnTo>
                      <a:pt x="16" y="248"/>
                    </a:lnTo>
                    <a:lnTo>
                      <a:pt x="14" y="248"/>
                    </a:lnTo>
                    <a:lnTo>
                      <a:pt x="12" y="248"/>
                    </a:lnTo>
                    <a:lnTo>
                      <a:pt x="12" y="250"/>
                    </a:lnTo>
                    <a:lnTo>
                      <a:pt x="12" y="252"/>
                    </a:lnTo>
                    <a:lnTo>
                      <a:pt x="10" y="252"/>
                    </a:lnTo>
                    <a:lnTo>
                      <a:pt x="8" y="254"/>
                    </a:lnTo>
                    <a:lnTo>
                      <a:pt x="6" y="254"/>
                    </a:lnTo>
                    <a:lnTo>
                      <a:pt x="4" y="256"/>
                    </a:lnTo>
                    <a:lnTo>
                      <a:pt x="2" y="256"/>
                    </a:lnTo>
                    <a:lnTo>
                      <a:pt x="0" y="258"/>
                    </a:lnTo>
                    <a:lnTo>
                      <a:pt x="0" y="260"/>
                    </a:lnTo>
                    <a:lnTo>
                      <a:pt x="2" y="262"/>
                    </a:lnTo>
                    <a:lnTo>
                      <a:pt x="4" y="264"/>
                    </a:lnTo>
                    <a:lnTo>
                      <a:pt x="4" y="266"/>
                    </a:lnTo>
                    <a:lnTo>
                      <a:pt x="2" y="266"/>
                    </a:lnTo>
                    <a:lnTo>
                      <a:pt x="0" y="266"/>
                    </a:lnTo>
                    <a:lnTo>
                      <a:pt x="0" y="268"/>
                    </a:lnTo>
                    <a:lnTo>
                      <a:pt x="0" y="270"/>
                    </a:lnTo>
                    <a:lnTo>
                      <a:pt x="0" y="272"/>
                    </a:lnTo>
                    <a:lnTo>
                      <a:pt x="0" y="274"/>
                    </a:lnTo>
                    <a:lnTo>
                      <a:pt x="0" y="272"/>
                    </a:lnTo>
                    <a:lnTo>
                      <a:pt x="2" y="272"/>
                    </a:lnTo>
                    <a:lnTo>
                      <a:pt x="4" y="274"/>
                    </a:lnTo>
                    <a:lnTo>
                      <a:pt x="6" y="274"/>
                    </a:lnTo>
                    <a:lnTo>
                      <a:pt x="4" y="274"/>
                    </a:lnTo>
                    <a:lnTo>
                      <a:pt x="4" y="276"/>
                    </a:lnTo>
                    <a:lnTo>
                      <a:pt x="4" y="280"/>
                    </a:lnTo>
                    <a:lnTo>
                      <a:pt x="4" y="282"/>
                    </a:lnTo>
                    <a:lnTo>
                      <a:pt x="4" y="284"/>
                    </a:lnTo>
                    <a:lnTo>
                      <a:pt x="6" y="284"/>
                    </a:lnTo>
                    <a:lnTo>
                      <a:pt x="8" y="284"/>
                    </a:lnTo>
                    <a:lnTo>
                      <a:pt x="10" y="284"/>
                    </a:lnTo>
                    <a:lnTo>
                      <a:pt x="10" y="282"/>
                    </a:lnTo>
                    <a:lnTo>
                      <a:pt x="12" y="282"/>
                    </a:lnTo>
                    <a:lnTo>
                      <a:pt x="14" y="282"/>
                    </a:lnTo>
                    <a:lnTo>
                      <a:pt x="16" y="282"/>
                    </a:lnTo>
                    <a:lnTo>
                      <a:pt x="20" y="282"/>
                    </a:lnTo>
                    <a:lnTo>
                      <a:pt x="22" y="284"/>
                    </a:lnTo>
                    <a:lnTo>
                      <a:pt x="24" y="284"/>
                    </a:lnTo>
                    <a:lnTo>
                      <a:pt x="24" y="286"/>
                    </a:lnTo>
                    <a:lnTo>
                      <a:pt x="26" y="288"/>
                    </a:lnTo>
                    <a:lnTo>
                      <a:pt x="26" y="290"/>
                    </a:lnTo>
                    <a:lnTo>
                      <a:pt x="26" y="292"/>
                    </a:lnTo>
                    <a:lnTo>
                      <a:pt x="26" y="296"/>
                    </a:lnTo>
                    <a:lnTo>
                      <a:pt x="26" y="298"/>
                    </a:lnTo>
                    <a:lnTo>
                      <a:pt x="28" y="300"/>
                    </a:lnTo>
                    <a:lnTo>
                      <a:pt x="28" y="302"/>
                    </a:lnTo>
                    <a:lnTo>
                      <a:pt x="30" y="304"/>
                    </a:lnTo>
                    <a:lnTo>
                      <a:pt x="32" y="304"/>
                    </a:lnTo>
                    <a:lnTo>
                      <a:pt x="32" y="306"/>
                    </a:lnTo>
                    <a:lnTo>
                      <a:pt x="34" y="306"/>
                    </a:lnTo>
                    <a:lnTo>
                      <a:pt x="32" y="306"/>
                    </a:lnTo>
                    <a:lnTo>
                      <a:pt x="32" y="308"/>
                    </a:lnTo>
                    <a:lnTo>
                      <a:pt x="30" y="308"/>
                    </a:lnTo>
                    <a:lnTo>
                      <a:pt x="26" y="308"/>
                    </a:lnTo>
                    <a:lnTo>
                      <a:pt x="24" y="308"/>
                    </a:lnTo>
                    <a:lnTo>
                      <a:pt x="22" y="310"/>
                    </a:lnTo>
                    <a:lnTo>
                      <a:pt x="24" y="312"/>
                    </a:lnTo>
                    <a:lnTo>
                      <a:pt x="24" y="314"/>
                    </a:lnTo>
                    <a:lnTo>
                      <a:pt x="26" y="314"/>
                    </a:lnTo>
                    <a:lnTo>
                      <a:pt x="28" y="314"/>
                    </a:lnTo>
                    <a:lnTo>
                      <a:pt x="30" y="314"/>
                    </a:lnTo>
                    <a:lnTo>
                      <a:pt x="30" y="316"/>
                    </a:lnTo>
                    <a:lnTo>
                      <a:pt x="32" y="316"/>
                    </a:lnTo>
                    <a:lnTo>
                      <a:pt x="34" y="316"/>
                    </a:lnTo>
                    <a:lnTo>
                      <a:pt x="36" y="316"/>
                    </a:lnTo>
                    <a:lnTo>
                      <a:pt x="38" y="316"/>
                    </a:lnTo>
                    <a:lnTo>
                      <a:pt x="40" y="316"/>
                    </a:lnTo>
                    <a:lnTo>
                      <a:pt x="40" y="318"/>
                    </a:lnTo>
                    <a:lnTo>
                      <a:pt x="42" y="318"/>
                    </a:lnTo>
                    <a:lnTo>
                      <a:pt x="44" y="320"/>
                    </a:lnTo>
                    <a:lnTo>
                      <a:pt x="46" y="320"/>
                    </a:lnTo>
                    <a:lnTo>
                      <a:pt x="48" y="322"/>
                    </a:lnTo>
                    <a:lnTo>
                      <a:pt x="50" y="322"/>
                    </a:lnTo>
                    <a:lnTo>
                      <a:pt x="50" y="324"/>
                    </a:lnTo>
                    <a:lnTo>
                      <a:pt x="52" y="328"/>
                    </a:lnTo>
                    <a:lnTo>
                      <a:pt x="52" y="330"/>
                    </a:lnTo>
                    <a:lnTo>
                      <a:pt x="52" y="332"/>
                    </a:lnTo>
                    <a:lnTo>
                      <a:pt x="52" y="334"/>
                    </a:lnTo>
                    <a:lnTo>
                      <a:pt x="56" y="334"/>
                    </a:lnTo>
                    <a:lnTo>
                      <a:pt x="58" y="334"/>
                    </a:lnTo>
                    <a:lnTo>
                      <a:pt x="58" y="336"/>
                    </a:lnTo>
                    <a:lnTo>
                      <a:pt x="60" y="336"/>
                    </a:lnTo>
                    <a:lnTo>
                      <a:pt x="62" y="336"/>
                    </a:lnTo>
                    <a:lnTo>
                      <a:pt x="64" y="334"/>
                    </a:lnTo>
                    <a:lnTo>
                      <a:pt x="64" y="336"/>
                    </a:lnTo>
                    <a:lnTo>
                      <a:pt x="64" y="338"/>
                    </a:lnTo>
                    <a:lnTo>
                      <a:pt x="66" y="340"/>
                    </a:lnTo>
                    <a:lnTo>
                      <a:pt x="66" y="342"/>
                    </a:lnTo>
                    <a:lnTo>
                      <a:pt x="68" y="342"/>
                    </a:lnTo>
                    <a:lnTo>
                      <a:pt x="72" y="342"/>
                    </a:lnTo>
                    <a:lnTo>
                      <a:pt x="76" y="342"/>
                    </a:lnTo>
                    <a:lnTo>
                      <a:pt x="80" y="342"/>
                    </a:lnTo>
                    <a:lnTo>
                      <a:pt x="82" y="342"/>
                    </a:lnTo>
                    <a:lnTo>
                      <a:pt x="84" y="342"/>
                    </a:lnTo>
                    <a:lnTo>
                      <a:pt x="86" y="342"/>
                    </a:lnTo>
                    <a:lnTo>
                      <a:pt x="88" y="342"/>
                    </a:lnTo>
                    <a:lnTo>
                      <a:pt x="90" y="342"/>
                    </a:lnTo>
                    <a:lnTo>
                      <a:pt x="92" y="340"/>
                    </a:lnTo>
                    <a:lnTo>
                      <a:pt x="94" y="338"/>
                    </a:lnTo>
                    <a:lnTo>
                      <a:pt x="96" y="336"/>
                    </a:lnTo>
                    <a:lnTo>
                      <a:pt x="100" y="334"/>
                    </a:lnTo>
                    <a:lnTo>
                      <a:pt x="102" y="334"/>
                    </a:lnTo>
                    <a:lnTo>
                      <a:pt x="104" y="334"/>
                    </a:lnTo>
                    <a:lnTo>
                      <a:pt x="106" y="334"/>
                    </a:lnTo>
                    <a:lnTo>
                      <a:pt x="108" y="336"/>
                    </a:lnTo>
                    <a:lnTo>
                      <a:pt x="110" y="338"/>
                    </a:lnTo>
                    <a:lnTo>
                      <a:pt x="112" y="338"/>
                    </a:lnTo>
                    <a:lnTo>
                      <a:pt x="112" y="342"/>
                    </a:lnTo>
                    <a:lnTo>
                      <a:pt x="114" y="342"/>
                    </a:lnTo>
                    <a:lnTo>
                      <a:pt x="116" y="342"/>
                    </a:lnTo>
                    <a:lnTo>
                      <a:pt x="118" y="342"/>
                    </a:lnTo>
                    <a:lnTo>
                      <a:pt x="122" y="342"/>
                    </a:lnTo>
                    <a:lnTo>
                      <a:pt x="124" y="342"/>
                    </a:lnTo>
                    <a:lnTo>
                      <a:pt x="124" y="344"/>
                    </a:lnTo>
                    <a:lnTo>
                      <a:pt x="124" y="346"/>
                    </a:lnTo>
                    <a:lnTo>
                      <a:pt x="126" y="348"/>
                    </a:lnTo>
                    <a:lnTo>
                      <a:pt x="126" y="352"/>
                    </a:lnTo>
                    <a:lnTo>
                      <a:pt x="126" y="354"/>
                    </a:lnTo>
                    <a:lnTo>
                      <a:pt x="124" y="356"/>
                    </a:lnTo>
                    <a:lnTo>
                      <a:pt x="124" y="358"/>
                    </a:lnTo>
                    <a:lnTo>
                      <a:pt x="122" y="358"/>
                    </a:lnTo>
                    <a:lnTo>
                      <a:pt x="120" y="358"/>
                    </a:lnTo>
                    <a:lnTo>
                      <a:pt x="120" y="360"/>
                    </a:lnTo>
                    <a:lnTo>
                      <a:pt x="120" y="362"/>
                    </a:lnTo>
                    <a:lnTo>
                      <a:pt x="120" y="364"/>
                    </a:lnTo>
                    <a:lnTo>
                      <a:pt x="120" y="366"/>
                    </a:lnTo>
                    <a:lnTo>
                      <a:pt x="120" y="368"/>
                    </a:lnTo>
                    <a:lnTo>
                      <a:pt x="118" y="370"/>
                    </a:lnTo>
                    <a:lnTo>
                      <a:pt x="116" y="370"/>
                    </a:lnTo>
                    <a:lnTo>
                      <a:pt x="112" y="370"/>
                    </a:lnTo>
                    <a:lnTo>
                      <a:pt x="110" y="370"/>
                    </a:lnTo>
                    <a:lnTo>
                      <a:pt x="110" y="372"/>
                    </a:lnTo>
                    <a:lnTo>
                      <a:pt x="112" y="374"/>
                    </a:lnTo>
                    <a:lnTo>
                      <a:pt x="112" y="376"/>
                    </a:lnTo>
                    <a:lnTo>
                      <a:pt x="112" y="378"/>
                    </a:lnTo>
                    <a:lnTo>
                      <a:pt x="110" y="378"/>
                    </a:lnTo>
                    <a:lnTo>
                      <a:pt x="110" y="380"/>
                    </a:lnTo>
                    <a:lnTo>
                      <a:pt x="110" y="382"/>
                    </a:lnTo>
                    <a:lnTo>
                      <a:pt x="112" y="384"/>
                    </a:lnTo>
                    <a:lnTo>
                      <a:pt x="114" y="386"/>
                    </a:lnTo>
                    <a:lnTo>
                      <a:pt x="116" y="386"/>
                    </a:lnTo>
                    <a:lnTo>
                      <a:pt x="116" y="388"/>
                    </a:lnTo>
                    <a:lnTo>
                      <a:pt x="118" y="388"/>
                    </a:lnTo>
                    <a:lnTo>
                      <a:pt x="120" y="388"/>
                    </a:lnTo>
                    <a:lnTo>
                      <a:pt x="120" y="390"/>
                    </a:lnTo>
                    <a:lnTo>
                      <a:pt x="122" y="392"/>
                    </a:lnTo>
                    <a:lnTo>
                      <a:pt x="124" y="392"/>
                    </a:lnTo>
                    <a:lnTo>
                      <a:pt x="124" y="394"/>
                    </a:lnTo>
                    <a:lnTo>
                      <a:pt x="126" y="396"/>
                    </a:lnTo>
                    <a:lnTo>
                      <a:pt x="126" y="398"/>
                    </a:lnTo>
                    <a:lnTo>
                      <a:pt x="124" y="400"/>
                    </a:lnTo>
                    <a:lnTo>
                      <a:pt x="122" y="400"/>
                    </a:lnTo>
                    <a:lnTo>
                      <a:pt x="120" y="402"/>
                    </a:lnTo>
                    <a:lnTo>
                      <a:pt x="118" y="402"/>
                    </a:lnTo>
                    <a:lnTo>
                      <a:pt x="118" y="404"/>
                    </a:lnTo>
                    <a:lnTo>
                      <a:pt x="116" y="404"/>
                    </a:lnTo>
                    <a:lnTo>
                      <a:pt x="114" y="402"/>
                    </a:lnTo>
                    <a:lnTo>
                      <a:pt x="114" y="400"/>
                    </a:lnTo>
                    <a:lnTo>
                      <a:pt x="114" y="398"/>
                    </a:lnTo>
                    <a:lnTo>
                      <a:pt x="112" y="398"/>
                    </a:lnTo>
                    <a:lnTo>
                      <a:pt x="110" y="400"/>
                    </a:lnTo>
                    <a:lnTo>
                      <a:pt x="108" y="400"/>
                    </a:lnTo>
                    <a:lnTo>
                      <a:pt x="108" y="402"/>
                    </a:lnTo>
                    <a:lnTo>
                      <a:pt x="108" y="404"/>
                    </a:lnTo>
                    <a:lnTo>
                      <a:pt x="110" y="406"/>
                    </a:lnTo>
                    <a:lnTo>
                      <a:pt x="110" y="408"/>
                    </a:lnTo>
                    <a:lnTo>
                      <a:pt x="112" y="408"/>
                    </a:lnTo>
                    <a:lnTo>
                      <a:pt x="112" y="410"/>
                    </a:lnTo>
                    <a:lnTo>
                      <a:pt x="114" y="410"/>
                    </a:lnTo>
                    <a:lnTo>
                      <a:pt x="114" y="412"/>
                    </a:lnTo>
                    <a:lnTo>
                      <a:pt x="114" y="414"/>
                    </a:lnTo>
                    <a:lnTo>
                      <a:pt x="114" y="416"/>
                    </a:lnTo>
                    <a:lnTo>
                      <a:pt x="114" y="418"/>
                    </a:lnTo>
                    <a:lnTo>
                      <a:pt x="114" y="420"/>
                    </a:lnTo>
                    <a:lnTo>
                      <a:pt x="116" y="420"/>
                    </a:lnTo>
                    <a:lnTo>
                      <a:pt x="120" y="420"/>
                    </a:lnTo>
                    <a:lnTo>
                      <a:pt x="122" y="420"/>
                    </a:lnTo>
                    <a:lnTo>
                      <a:pt x="122" y="422"/>
                    </a:lnTo>
                    <a:lnTo>
                      <a:pt x="124" y="426"/>
                    </a:lnTo>
                    <a:lnTo>
                      <a:pt x="126" y="426"/>
                    </a:lnTo>
                    <a:lnTo>
                      <a:pt x="128" y="428"/>
                    </a:lnTo>
                    <a:lnTo>
                      <a:pt x="130" y="428"/>
                    </a:lnTo>
                    <a:lnTo>
                      <a:pt x="132" y="428"/>
                    </a:lnTo>
                    <a:lnTo>
                      <a:pt x="134" y="428"/>
                    </a:lnTo>
                    <a:lnTo>
                      <a:pt x="134" y="430"/>
                    </a:lnTo>
                    <a:lnTo>
                      <a:pt x="136" y="430"/>
                    </a:lnTo>
                    <a:lnTo>
                      <a:pt x="138" y="432"/>
                    </a:lnTo>
                    <a:lnTo>
                      <a:pt x="140" y="434"/>
                    </a:lnTo>
                    <a:lnTo>
                      <a:pt x="142" y="434"/>
                    </a:lnTo>
                    <a:lnTo>
                      <a:pt x="144" y="434"/>
                    </a:lnTo>
                    <a:lnTo>
                      <a:pt x="142" y="434"/>
                    </a:lnTo>
                    <a:lnTo>
                      <a:pt x="142" y="436"/>
                    </a:lnTo>
                    <a:lnTo>
                      <a:pt x="144" y="436"/>
                    </a:lnTo>
                    <a:lnTo>
                      <a:pt x="144" y="438"/>
                    </a:lnTo>
                    <a:lnTo>
                      <a:pt x="146" y="438"/>
                    </a:lnTo>
                    <a:lnTo>
                      <a:pt x="148" y="438"/>
                    </a:lnTo>
                    <a:lnTo>
                      <a:pt x="150" y="438"/>
                    </a:lnTo>
                    <a:lnTo>
                      <a:pt x="154" y="440"/>
                    </a:lnTo>
                    <a:lnTo>
                      <a:pt x="156" y="442"/>
                    </a:lnTo>
                    <a:lnTo>
                      <a:pt x="158" y="444"/>
                    </a:lnTo>
                    <a:lnTo>
                      <a:pt x="158" y="446"/>
                    </a:lnTo>
                    <a:lnTo>
                      <a:pt x="160" y="446"/>
                    </a:lnTo>
                    <a:lnTo>
                      <a:pt x="160" y="444"/>
                    </a:lnTo>
                    <a:lnTo>
                      <a:pt x="162" y="444"/>
                    </a:lnTo>
                    <a:lnTo>
                      <a:pt x="164" y="442"/>
                    </a:lnTo>
                    <a:lnTo>
                      <a:pt x="166" y="440"/>
                    </a:lnTo>
                    <a:lnTo>
                      <a:pt x="168" y="440"/>
                    </a:lnTo>
                    <a:lnTo>
                      <a:pt x="170" y="440"/>
                    </a:lnTo>
                    <a:lnTo>
                      <a:pt x="172" y="440"/>
                    </a:lnTo>
                    <a:lnTo>
                      <a:pt x="174" y="440"/>
                    </a:lnTo>
                    <a:lnTo>
                      <a:pt x="178" y="444"/>
                    </a:lnTo>
                    <a:lnTo>
                      <a:pt x="180" y="446"/>
                    </a:lnTo>
                    <a:lnTo>
                      <a:pt x="182" y="448"/>
                    </a:lnTo>
                    <a:lnTo>
                      <a:pt x="184" y="450"/>
                    </a:lnTo>
                    <a:lnTo>
                      <a:pt x="186" y="452"/>
                    </a:lnTo>
                    <a:lnTo>
                      <a:pt x="188" y="452"/>
                    </a:lnTo>
                    <a:lnTo>
                      <a:pt x="190" y="452"/>
                    </a:lnTo>
                    <a:lnTo>
                      <a:pt x="192" y="452"/>
                    </a:lnTo>
                    <a:lnTo>
                      <a:pt x="194" y="454"/>
                    </a:lnTo>
                    <a:lnTo>
                      <a:pt x="196" y="454"/>
                    </a:lnTo>
                    <a:lnTo>
                      <a:pt x="198" y="454"/>
                    </a:lnTo>
                    <a:lnTo>
                      <a:pt x="198" y="456"/>
                    </a:lnTo>
                    <a:lnTo>
                      <a:pt x="200" y="458"/>
                    </a:lnTo>
                    <a:lnTo>
                      <a:pt x="200" y="460"/>
                    </a:lnTo>
                    <a:lnTo>
                      <a:pt x="202" y="462"/>
                    </a:lnTo>
                    <a:lnTo>
                      <a:pt x="202" y="464"/>
                    </a:lnTo>
                    <a:lnTo>
                      <a:pt x="204" y="464"/>
                    </a:lnTo>
                    <a:lnTo>
                      <a:pt x="204" y="466"/>
                    </a:lnTo>
                    <a:lnTo>
                      <a:pt x="204" y="464"/>
                    </a:lnTo>
                    <a:lnTo>
                      <a:pt x="206" y="464"/>
                    </a:lnTo>
                    <a:lnTo>
                      <a:pt x="206" y="462"/>
                    </a:lnTo>
                    <a:lnTo>
                      <a:pt x="208" y="460"/>
                    </a:lnTo>
                    <a:lnTo>
                      <a:pt x="210" y="460"/>
                    </a:lnTo>
                    <a:lnTo>
                      <a:pt x="212" y="460"/>
                    </a:lnTo>
                    <a:lnTo>
                      <a:pt x="212" y="462"/>
                    </a:lnTo>
                    <a:lnTo>
                      <a:pt x="214" y="464"/>
                    </a:lnTo>
                    <a:lnTo>
                      <a:pt x="214" y="468"/>
                    </a:lnTo>
                    <a:lnTo>
                      <a:pt x="216" y="470"/>
                    </a:lnTo>
                    <a:lnTo>
                      <a:pt x="218" y="472"/>
                    </a:lnTo>
                    <a:lnTo>
                      <a:pt x="220" y="474"/>
                    </a:lnTo>
                    <a:lnTo>
                      <a:pt x="222" y="474"/>
                    </a:lnTo>
                    <a:lnTo>
                      <a:pt x="222" y="476"/>
                    </a:lnTo>
                    <a:lnTo>
                      <a:pt x="224" y="476"/>
                    </a:lnTo>
                    <a:lnTo>
                      <a:pt x="226" y="476"/>
                    </a:lnTo>
                    <a:lnTo>
                      <a:pt x="226" y="474"/>
                    </a:lnTo>
                    <a:lnTo>
                      <a:pt x="228" y="474"/>
                    </a:lnTo>
                    <a:lnTo>
                      <a:pt x="230" y="474"/>
                    </a:lnTo>
                    <a:lnTo>
                      <a:pt x="232" y="474"/>
                    </a:lnTo>
                    <a:lnTo>
                      <a:pt x="232" y="476"/>
                    </a:lnTo>
                    <a:lnTo>
                      <a:pt x="230" y="478"/>
                    </a:lnTo>
                    <a:lnTo>
                      <a:pt x="230" y="480"/>
                    </a:lnTo>
                    <a:lnTo>
                      <a:pt x="232" y="480"/>
                    </a:lnTo>
                    <a:lnTo>
                      <a:pt x="232" y="482"/>
                    </a:lnTo>
                    <a:lnTo>
                      <a:pt x="234" y="482"/>
                    </a:lnTo>
                    <a:lnTo>
                      <a:pt x="236" y="482"/>
                    </a:lnTo>
                    <a:lnTo>
                      <a:pt x="238" y="482"/>
                    </a:lnTo>
                    <a:lnTo>
                      <a:pt x="240" y="482"/>
                    </a:lnTo>
                    <a:lnTo>
                      <a:pt x="242" y="480"/>
                    </a:lnTo>
                    <a:lnTo>
                      <a:pt x="242" y="482"/>
                    </a:lnTo>
                    <a:lnTo>
                      <a:pt x="242" y="484"/>
                    </a:lnTo>
                    <a:lnTo>
                      <a:pt x="242" y="486"/>
                    </a:lnTo>
                    <a:lnTo>
                      <a:pt x="244" y="486"/>
                    </a:lnTo>
                    <a:lnTo>
                      <a:pt x="244" y="488"/>
                    </a:lnTo>
                    <a:lnTo>
                      <a:pt x="246" y="488"/>
                    </a:lnTo>
                    <a:lnTo>
                      <a:pt x="248" y="486"/>
                    </a:lnTo>
                    <a:lnTo>
                      <a:pt x="250" y="484"/>
                    </a:lnTo>
                    <a:lnTo>
                      <a:pt x="250" y="482"/>
                    </a:lnTo>
                    <a:lnTo>
                      <a:pt x="250" y="484"/>
                    </a:lnTo>
                    <a:lnTo>
                      <a:pt x="250" y="486"/>
                    </a:lnTo>
                    <a:lnTo>
                      <a:pt x="252" y="488"/>
                    </a:lnTo>
                    <a:lnTo>
                      <a:pt x="254" y="488"/>
                    </a:lnTo>
                    <a:lnTo>
                      <a:pt x="256" y="486"/>
                    </a:lnTo>
                    <a:lnTo>
                      <a:pt x="256" y="484"/>
                    </a:lnTo>
                    <a:lnTo>
                      <a:pt x="258" y="486"/>
                    </a:lnTo>
                    <a:lnTo>
                      <a:pt x="260" y="486"/>
                    </a:lnTo>
                    <a:lnTo>
                      <a:pt x="264" y="488"/>
                    </a:lnTo>
                    <a:lnTo>
                      <a:pt x="266" y="488"/>
                    </a:lnTo>
                    <a:lnTo>
                      <a:pt x="268" y="490"/>
                    </a:lnTo>
                    <a:lnTo>
                      <a:pt x="272" y="490"/>
                    </a:lnTo>
                    <a:lnTo>
                      <a:pt x="274" y="490"/>
                    </a:lnTo>
                    <a:lnTo>
                      <a:pt x="276" y="490"/>
                    </a:lnTo>
                    <a:lnTo>
                      <a:pt x="278" y="488"/>
                    </a:lnTo>
                    <a:lnTo>
                      <a:pt x="280" y="488"/>
                    </a:lnTo>
                    <a:lnTo>
                      <a:pt x="282" y="486"/>
                    </a:lnTo>
                    <a:lnTo>
                      <a:pt x="286" y="486"/>
                    </a:lnTo>
                    <a:lnTo>
                      <a:pt x="288" y="484"/>
                    </a:lnTo>
                    <a:lnTo>
                      <a:pt x="290" y="484"/>
                    </a:lnTo>
                    <a:lnTo>
                      <a:pt x="292" y="484"/>
                    </a:lnTo>
                    <a:lnTo>
                      <a:pt x="292" y="486"/>
                    </a:lnTo>
                    <a:lnTo>
                      <a:pt x="294" y="488"/>
                    </a:lnTo>
                    <a:lnTo>
                      <a:pt x="294" y="490"/>
                    </a:lnTo>
                    <a:lnTo>
                      <a:pt x="294" y="492"/>
                    </a:lnTo>
                    <a:lnTo>
                      <a:pt x="294" y="494"/>
                    </a:lnTo>
                    <a:lnTo>
                      <a:pt x="294" y="496"/>
                    </a:lnTo>
                    <a:lnTo>
                      <a:pt x="294" y="498"/>
                    </a:lnTo>
                    <a:lnTo>
                      <a:pt x="296" y="498"/>
                    </a:lnTo>
                    <a:lnTo>
                      <a:pt x="298" y="498"/>
                    </a:lnTo>
                    <a:lnTo>
                      <a:pt x="298" y="496"/>
                    </a:lnTo>
                    <a:lnTo>
                      <a:pt x="300" y="496"/>
                    </a:lnTo>
                    <a:lnTo>
                      <a:pt x="300" y="492"/>
                    </a:lnTo>
                    <a:lnTo>
                      <a:pt x="302" y="488"/>
                    </a:lnTo>
                    <a:lnTo>
                      <a:pt x="304" y="486"/>
                    </a:lnTo>
                    <a:lnTo>
                      <a:pt x="306" y="484"/>
                    </a:lnTo>
                    <a:lnTo>
                      <a:pt x="306" y="482"/>
                    </a:lnTo>
                    <a:lnTo>
                      <a:pt x="308" y="482"/>
                    </a:lnTo>
                    <a:lnTo>
                      <a:pt x="310" y="480"/>
                    </a:lnTo>
                    <a:lnTo>
                      <a:pt x="314" y="482"/>
                    </a:lnTo>
                    <a:lnTo>
                      <a:pt x="316" y="482"/>
                    </a:lnTo>
                    <a:lnTo>
                      <a:pt x="318" y="482"/>
                    </a:lnTo>
                    <a:lnTo>
                      <a:pt x="320" y="482"/>
                    </a:lnTo>
                    <a:lnTo>
                      <a:pt x="320" y="484"/>
                    </a:lnTo>
                    <a:lnTo>
                      <a:pt x="320" y="486"/>
                    </a:lnTo>
                    <a:lnTo>
                      <a:pt x="320" y="488"/>
                    </a:lnTo>
                    <a:lnTo>
                      <a:pt x="322" y="488"/>
                    </a:lnTo>
                    <a:lnTo>
                      <a:pt x="324" y="486"/>
                    </a:lnTo>
                    <a:lnTo>
                      <a:pt x="326" y="486"/>
                    </a:lnTo>
                    <a:lnTo>
                      <a:pt x="328" y="484"/>
                    </a:lnTo>
                    <a:lnTo>
                      <a:pt x="332" y="484"/>
                    </a:lnTo>
                    <a:lnTo>
                      <a:pt x="334" y="484"/>
                    </a:lnTo>
                    <a:lnTo>
                      <a:pt x="336" y="484"/>
                    </a:lnTo>
                    <a:lnTo>
                      <a:pt x="336" y="486"/>
                    </a:lnTo>
                    <a:lnTo>
                      <a:pt x="338" y="488"/>
                    </a:lnTo>
                    <a:lnTo>
                      <a:pt x="340" y="488"/>
                    </a:lnTo>
                    <a:lnTo>
                      <a:pt x="342" y="490"/>
                    </a:lnTo>
                    <a:lnTo>
                      <a:pt x="342" y="492"/>
                    </a:lnTo>
                    <a:lnTo>
                      <a:pt x="344" y="492"/>
                    </a:lnTo>
                    <a:lnTo>
                      <a:pt x="346" y="492"/>
                    </a:lnTo>
                    <a:lnTo>
                      <a:pt x="348" y="492"/>
                    </a:lnTo>
                    <a:lnTo>
                      <a:pt x="350" y="492"/>
                    </a:lnTo>
                    <a:lnTo>
                      <a:pt x="352" y="492"/>
                    </a:lnTo>
                    <a:lnTo>
                      <a:pt x="354" y="492"/>
                    </a:lnTo>
                    <a:lnTo>
                      <a:pt x="356" y="490"/>
                    </a:lnTo>
                    <a:lnTo>
                      <a:pt x="356" y="488"/>
                    </a:lnTo>
                    <a:lnTo>
                      <a:pt x="356" y="486"/>
                    </a:lnTo>
                    <a:lnTo>
                      <a:pt x="356" y="484"/>
                    </a:lnTo>
                    <a:lnTo>
                      <a:pt x="356" y="482"/>
                    </a:lnTo>
                    <a:lnTo>
                      <a:pt x="358" y="482"/>
                    </a:lnTo>
                    <a:lnTo>
                      <a:pt x="360" y="482"/>
                    </a:lnTo>
                    <a:lnTo>
                      <a:pt x="362" y="482"/>
                    </a:lnTo>
                    <a:lnTo>
                      <a:pt x="364" y="480"/>
                    </a:lnTo>
                    <a:lnTo>
                      <a:pt x="364" y="478"/>
                    </a:lnTo>
                    <a:lnTo>
                      <a:pt x="364" y="476"/>
                    </a:lnTo>
                    <a:lnTo>
                      <a:pt x="362" y="474"/>
                    </a:lnTo>
                    <a:lnTo>
                      <a:pt x="362" y="472"/>
                    </a:lnTo>
                    <a:lnTo>
                      <a:pt x="364" y="472"/>
                    </a:lnTo>
                    <a:lnTo>
                      <a:pt x="366" y="472"/>
                    </a:lnTo>
                    <a:lnTo>
                      <a:pt x="368" y="472"/>
                    </a:lnTo>
                    <a:lnTo>
                      <a:pt x="370" y="472"/>
                    </a:lnTo>
                    <a:lnTo>
                      <a:pt x="372" y="472"/>
                    </a:lnTo>
                    <a:lnTo>
                      <a:pt x="374" y="472"/>
                    </a:lnTo>
                    <a:lnTo>
                      <a:pt x="374" y="470"/>
                    </a:lnTo>
                    <a:lnTo>
                      <a:pt x="374" y="468"/>
                    </a:lnTo>
                    <a:lnTo>
                      <a:pt x="378" y="464"/>
                    </a:lnTo>
                    <a:lnTo>
                      <a:pt x="380" y="464"/>
                    </a:lnTo>
                    <a:lnTo>
                      <a:pt x="382" y="464"/>
                    </a:lnTo>
                    <a:lnTo>
                      <a:pt x="384" y="462"/>
                    </a:lnTo>
                    <a:lnTo>
                      <a:pt x="386" y="462"/>
                    </a:lnTo>
                    <a:lnTo>
                      <a:pt x="390" y="464"/>
                    </a:lnTo>
                    <a:lnTo>
                      <a:pt x="394" y="466"/>
                    </a:lnTo>
                    <a:lnTo>
                      <a:pt x="396" y="466"/>
                    </a:lnTo>
                    <a:lnTo>
                      <a:pt x="398" y="466"/>
                    </a:lnTo>
                    <a:lnTo>
                      <a:pt x="398" y="464"/>
                    </a:lnTo>
                    <a:lnTo>
                      <a:pt x="398" y="462"/>
                    </a:lnTo>
                    <a:lnTo>
                      <a:pt x="400" y="460"/>
                    </a:lnTo>
                    <a:lnTo>
                      <a:pt x="400" y="458"/>
                    </a:lnTo>
                    <a:lnTo>
                      <a:pt x="402" y="458"/>
                    </a:lnTo>
                    <a:lnTo>
                      <a:pt x="404" y="460"/>
                    </a:lnTo>
                    <a:lnTo>
                      <a:pt x="406" y="460"/>
                    </a:lnTo>
                    <a:lnTo>
                      <a:pt x="408" y="462"/>
                    </a:lnTo>
                    <a:lnTo>
                      <a:pt x="410" y="462"/>
                    </a:lnTo>
                    <a:lnTo>
                      <a:pt x="410" y="464"/>
                    </a:lnTo>
                    <a:lnTo>
                      <a:pt x="408" y="464"/>
                    </a:lnTo>
                    <a:lnTo>
                      <a:pt x="408" y="466"/>
                    </a:lnTo>
                    <a:lnTo>
                      <a:pt x="406" y="466"/>
                    </a:lnTo>
                    <a:lnTo>
                      <a:pt x="408" y="466"/>
                    </a:lnTo>
                    <a:lnTo>
                      <a:pt x="408" y="468"/>
                    </a:lnTo>
                    <a:lnTo>
                      <a:pt x="410" y="468"/>
                    </a:lnTo>
                    <a:lnTo>
                      <a:pt x="412" y="468"/>
                    </a:lnTo>
                    <a:lnTo>
                      <a:pt x="414" y="468"/>
                    </a:lnTo>
                    <a:lnTo>
                      <a:pt x="416" y="468"/>
                    </a:lnTo>
                    <a:lnTo>
                      <a:pt x="416" y="470"/>
                    </a:lnTo>
                    <a:lnTo>
                      <a:pt x="418" y="472"/>
                    </a:lnTo>
                    <a:lnTo>
                      <a:pt x="420" y="474"/>
                    </a:lnTo>
                    <a:lnTo>
                      <a:pt x="418" y="476"/>
                    </a:lnTo>
                    <a:lnTo>
                      <a:pt x="416" y="476"/>
                    </a:lnTo>
                    <a:lnTo>
                      <a:pt x="416" y="478"/>
                    </a:lnTo>
                    <a:lnTo>
                      <a:pt x="414" y="478"/>
                    </a:lnTo>
                    <a:lnTo>
                      <a:pt x="416" y="478"/>
                    </a:lnTo>
                    <a:lnTo>
                      <a:pt x="418" y="480"/>
                    </a:lnTo>
                    <a:lnTo>
                      <a:pt x="420" y="480"/>
                    </a:lnTo>
                    <a:lnTo>
                      <a:pt x="422" y="480"/>
                    </a:lnTo>
                    <a:lnTo>
                      <a:pt x="424" y="480"/>
                    </a:lnTo>
                    <a:lnTo>
                      <a:pt x="426" y="480"/>
                    </a:lnTo>
                    <a:lnTo>
                      <a:pt x="428" y="480"/>
                    </a:lnTo>
                    <a:lnTo>
                      <a:pt x="430" y="480"/>
                    </a:lnTo>
                    <a:lnTo>
                      <a:pt x="432" y="480"/>
                    </a:lnTo>
                    <a:lnTo>
                      <a:pt x="434" y="480"/>
                    </a:lnTo>
                    <a:lnTo>
                      <a:pt x="434" y="482"/>
                    </a:lnTo>
                    <a:lnTo>
                      <a:pt x="434" y="480"/>
                    </a:lnTo>
                    <a:lnTo>
                      <a:pt x="434" y="478"/>
                    </a:lnTo>
                    <a:lnTo>
                      <a:pt x="434" y="476"/>
                    </a:lnTo>
                    <a:lnTo>
                      <a:pt x="436" y="476"/>
                    </a:lnTo>
                    <a:lnTo>
                      <a:pt x="436" y="478"/>
                    </a:lnTo>
                    <a:lnTo>
                      <a:pt x="438" y="478"/>
                    </a:lnTo>
                    <a:lnTo>
                      <a:pt x="440" y="480"/>
                    </a:lnTo>
                    <a:lnTo>
                      <a:pt x="444" y="482"/>
                    </a:lnTo>
                    <a:lnTo>
                      <a:pt x="444" y="484"/>
                    </a:lnTo>
                    <a:lnTo>
                      <a:pt x="446" y="486"/>
                    </a:lnTo>
                    <a:lnTo>
                      <a:pt x="446" y="488"/>
                    </a:lnTo>
                    <a:lnTo>
                      <a:pt x="448" y="490"/>
                    </a:lnTo>
                    <a:lnTo>
                      <a:pt x="448" y="492"/>
                    </a:lnTo>
                    <a:lnTo>
                      <a:pt x="448" y="494"/>
                    </a:lnTo>
                    <a:lnTo>
                      <a:pt x="450" y="494"/>
                    </a:lnTo>
                    <a:lnTo>
                      <a:pt x="452" y="494"/>
                    </a:lnTo>
                    <a:lnTo>
                      <a:pt x="454" y="494"/>
                    </a:lnTo>
                    <a:lnTo>
                      <a:pt x="456" y="494"/>
                    </a:lnTo>
                    <a:lnTo>
                      <a:pt x="458" y="494"/>
                    </a:lnTo>
                    <a:lnTo>
                      <a:pt x="458" y="496"/>
                    </a:lnTo>
                    <a:lnTo>
                      <a:pt x="458" y="498"/>
                    </a:lnTo>
                    <a:lnTo>
                      <a:pt x="458" y="500"/>
                    </a:lnTo>
                    <a:lnTo>
                      <a:pt x="458" y="502"/>
                    </a:lnTo>
                    <a:lnTo>
                      <a:pt x="460" y="504"/>
                    </a:lnTo>
                    <a:lnTo>
                      <a:pt x="460" y="506"/>
                    </a:lnTo>
                    <a:lnTo>
                      <a:pt x="460" y="508"/>
                    </a:lnTo>
                    <a:lnTo>
                      <a:pt x="462" y="508"/>
                    </a:lnTo>
                    <a:lnTo>
                      <a:pt x="462" y="512"/>
                    </a:lnTo>
                    <a:lnTo>
                      <a:pt x="462" y="514"/>
                    </a:lnTo>
                    <a:lnTo>
                      <a:pt x="462" y="516"/>
                    </a:lnTo>
                    <a:lnTo>
                      <a:pt x="464" y="518"/>
                    </a:lnTo>
                    <a:lnTo>
                      <a:pt x="464" y="520"/>
                    </a:lnTo>
                    <a:lnTo>
                      <a:pt x="464" y="522"/>
                    </a:lnTo>
                    <a:lnTo>
                      <a:pt x="462" y="522"/>
                    </a:lnTo>
                    <a:lnTo>
                      <a:pt x="460" y="524"/>
                    </a:lnTo>
                    <a:lnTo>
                      <a:pt x="458" y="524"/>
                    </a:lnTo>
                    <a:lnTo>
                      <a:pt x="458" y="526"/>
                    </a:lnTo>
                    <a:lnTo>
                      <a:pt x="460" y="528"/>
                    </a:lnTo>
                    <a:lnTo>
                      <a:pt x="462" y="528"/>
                    </a:lnTo>
                    <a:lnTo>
                      <a:pt x="460" y="528"/>
                    </a:lnTo>
                    <a:lnTo>
                      <a:pt x="460" y="530"/>
                    </a:lnTo>
                    <a:lnTo>
                      <a:pt x="460" y="532"/>
                    </a:lnTo>
                    <a:lnTo>
                      <a:pt x="458" y="534"/>
                    </a:lnTo>
                    <a:lnTo>
                      <a:pt x="456" y="534"/>
                    </a:lnTo>
                    <a:lnTo>
                      <a:pt x="454" y="532"/>
                    </a:lnTo>
                    <a:lnTo>
                      <a:pt x="454" y="534"/>
                    </a:lnTo>
                    <a:lnTo>
                      <a:pt x="454" y="536"/>
                    </a:lnTo>
                    <a:lnTo>
                      <a:pt x="454" y="538"/>
                    </a:lnTo>
                    <a:lnTo>
                      <a:pt x="454" y="540"/>
                    </a:lnTo>
                    <a:lnTo>
                      <a:pt x="452" y="542"/>
                    </a:lnTo>
                    <a:lnTo>
                      <a:pt x="450" y="542"/>
                    </a:lnTo>
                    <a:lnTo>
                      <a:pt x="450" y="544"/>
                    </a:lnTo>
                    <a:lnTo>
                      <a:pt x="450" y="546"/>
                    </a:lnTo>
                    <a:lnTo>
                      <a:pt x="450" y="548"/>
                    </a:lnTo>
                    <a:lnTo>
                      <a:pt x="448" y="550"/>
                    </a:lnTo>
                    <a:lnTo>
                      <a:pt x="448" y="552"/>
                    </a:lnTo>
                    <a:lnTo>
                      <a:pt x="448" y="554"/>
                    </a:lnTo>
                    <a:lnTo>
                      <a:pt x="450" y="556"/>
                    </a:lnTo>
                    <a:lnTo>
                      <a:pt x="452" y="556"/>
                    </a:lnTo>
                    <a:lnTo>
                      <a:pt x="452" y="558"/>
                    </a:lnTo>
                    <a:lnTo>
                      <a:pt x="454" y="560"/>
                    </a:lnTo>
                    <a:lnTo>
                      <a:pt x="452" y="562"/>
                    </a:lnTo>
                    <a:lnTo>
                      <a:pt x="452" y="564"/>
                    </a:lnTo>
                    <a:lnTo>
                      <a:pt x="454" y="564"/>
                    </a:lnTo>
                    <a:lnTo>
                      <a:pt x="454" y="562"/>
                    </a:lnTo>
                    <a:lnTo>
                      <a:pt x="458" y="562"/>
                    </a:lnTo>
                    <a:lnTo>
                      <a:pt x="460" y="562"/>
                    </a:lnTo>
                    <a:lnTo>
                      <a:pt x="460" y="560"/>
                    </a:lnTo>
                    <a:lnTo>
                      <a:pt x="462" y="560"/>
                    </a:lnTo>
                    <a:lnTo>
                      <a:pt x="464" y="560"/>
                    </a:lnTo>
                    <a:lnTo>
                      <a:pt x="466" y="560"/>
                    </a:lnTo>
                    <a:lnTo>
                      <a:pt x="468" y="560"/>
                    </a:lnTo>
                    <a:lnTo>
                      <a:pt x="470" y="560"/>
                    </a:lnTo>
                    <a:lnTo>
                      <a:pt x="472" y="560"/>
                    </a:lnTo>
                    <a:lnTo>
                      <a:pt x="474" y="560"/>
                    </a:lnTo>
                    <a:lnTo>
                      <a:pt x="470" y="562"/>
                    </a:lnTo>
                    <a:lnTo>
                      <a:pt x="470" y="564"/>
                    </a:lnTo>
                    <a:lnTo>
                      <a:pt x="468" y="566"/>
                    </a:lnTo>
                    <a:lnTo>
                      <a:pt x="470" y="568"/>
                    </a:lnTo>
                    <a:lnTo>
                      <a:pt x="472" y="570"/>
                    </a:lnTo>
                    <a:lnTo>
                      <a:pt x="474" y="574"/>
                    </a:lnTo>
                    <a:lnTo>
                      <a:pt x="474" y="576"/>
                    </a:lnTo>
                    <a:lnTo>
                      <a:pt x="474" y="578"/>
                    </a:lnTo>
                    <a:lnTo>
                      <a:pt x="474" y="580"/>
                    </a:lnTo>
                    <a:lnTo>
                      <a:pt x="476" y="580"/>
                    </a:lnTo>
                    <a:lnTo>
                      <a:pt x="478" y="582"/>
                    </a:lnTo>
                    <a:lnTo>
                      <a:pt x="480" y="582"/>
                    </a:lnTo>
                    <a:lnTo>
                      <a:pt x="482" y="582"/>
                    </a:lnTo>
                    <a:lnTo>
                      <a:pt x="484" y="582"/>
                    </a:lnTo>
                    <a:lnTo>
                      <a:pt x="486" y="582"/>
                    </a:lnTo>
                    <a:lnTo>
                      <a:pt x="488" y="584"/>
                    </a:lnTo>
                    <a:lnTo>
                      <a:pt x="486" y="586"/>
                    </a:lnTo>
                    <a:lnTo>
                      <a:pt x="484" y="586"/>
                    </a:lnTo>
                    <a:lnTo>
                      <a:pt x="484" y="588"/>
                    </a:lnTo>
                    <a:lnTo>
                      <a:pt x="482" y="588"/>
                    </a:lnTo>
                    <a:lnTo>
                      <a:pt x="484" y="590"/>
                    </a:lnTo>
                    <a:lnTo>
                      <a:pt x="484" y="592"/>
                    </a:lnTo>
                    <a:lnTo>
                      <a:pt x="484" y="594"/>
                    </a:lnTo>
                    <a:lnTo>
                      <a:pt x="482" y="596"/>
                    </a:lnTo>
                    <a:lnTo>
                      <a:pt x="482" y="598"/>
                    </a:lnTo>
                    <a:lnTo>
                      <a:pt x="480" y="600"/>
                    </a:lnTo>
                    <a:lnTo>
                      <a:pt x="484" y="600"/>
                    </a:lnTo>
                    <a:lnTo>
                      <a:pt x="486" y="600"/>
                    </a:lnTo>
                    <a:lnTo>
                      <a:pt x="488" y="600"/>
                    </a:lnTo>
                    <a:lnTo>
                      <a:pt x="490" y="602"/>
                    </a:lnTo>
                    <a:lnTo>
                      <a:pt x="492" y="602"/>
                    </a:lnTo>
                    <a:lnTo>
                      <a:pt x="494" y="602"/>
                    </a:lnTo>
                    <a:lnTo>
                      <a:pt x="494" y="604"/>
                    </a:lnTo>
                    <a:lnTo>
                      <a:pt x="496" y="606"/>
                    </a:lnTo>
                    <a:lnTo>
                      <a:pt x="496" y="608"/>
                    </a:lnTo>
                    <a:lnTo>
                      <a:pt x="498" y="608"/>
                    </a:lnTo>
                    <a:lnTo>
                      <a:pt x="500" y="608"/>
                    </a:lnTo>
                    <a:lnTo>
                      <a:pt x="500" y="610"/>
                    </a:lnTo>
                    <a:lnTo>
                      <a:pt x="500" y="612"/>
                    </a:lnTo>
                    <a:lnTo>
                      <a:pt x="502" y="612"/>
                    </a:lnTo>
                    <a:lnTo>
                      <a:pt x="504" y="612"/>
                    </a:lnTo>
                    <a:lnTo>
                      <a:pt x="506" y="612"/>
                    </a:lnTo>
                    <a:lnTo>
                      <a:pt x="508" y="612"/>
                    </a:lnTo>
                    <a:lnTo>
                      <a:pt x="510" y="612"/>
                    </a:lnTo>
                    <a:lnTo>
                      <a:pt x="510" y="610"/>
                    </a:lnTo>
                    <a:lnTo>
                      <a:pt x="512" y="608"/>
                    </a:lnTo>
                    <a:lnTo>
                      <a:pt x="514" y="606"/>
                    </a:lnTo>
                    <a:lnTo>
                      <a:pt x="516" y="606"/>
                    </a:lnTo>
                    <a:lnTo>
                      <a:pt x="518" y="606"/>
                    </a:lnTo>
                    <a:lnTo>
                      <a:pt x="518" y="608"/>
                    </a:lnTo>
                    <a:lnTo>
                      <a:pt x="518" y="610"/>
                    </a:lnTo>
                    <a:lnTo>
                      <a:pt x="518" y="612"/>
                    </a:lnTo>
                    <a:lnTo>
                      <a:pt x="518" y="614"/>
                    </a:lnTo>
                    <a:lnTo>
                      <a:pt x="518" y="616"/>
                    </a:lnTo>
                    <a:lnTo>
                      <a:pt x="518" y="618"/>
                    </a:lnTo>
                    <a:lnTo>
                      <a:pt x="520" y="618"/>
                    </a:lnTo>
                    <a:lnTo>
                      <a:pt x="522" y="618"/>
                    </a:lnTo>
                    <a:lnTo>
                      <a:pt x="524" y="618"/>
                    </a:lnTo>
                    <a:lnTo>
                      <a:pt x="526" y="618"/>
                    </a:lnTo>
                    <a:lnTo>
                      <a:pt x="528" y="618"/>
                    </a:lnTo>
                    <a:lnTo>
                      <a:pt x="528" y="614"/>
                    </a:lnTo>
                    <a:lnTo>
                      <a:pt x="528" y="612"/>
                    </a:lnTo>
                    <a:lnTo>
                      <a:pt x="528" y="610"/>
                    </a:lnTo>
                    <a:lnTo>
                      <a:pt x="528" y="608"/>
                    </a:lnTo>
                    <a:lnTo>
                      <a:pt x="526" y="606"/>
                    </a:lnTo>
                    <a:lnTo>
                      <a:pt x="524" y="606"/>
                    </a:lnTo>
                    <a:lnTo>
                      <a:pt x="524" y="604"/>
                    </a:lnTo>
                    <a:lnTo>
                      <a:pt x="522" y="602"/>
                    </a:lnTo>
                    <a:lnTo>
                      <a:pt x="522" y="600"/>
                    </a:lnTo>
                    <a:lnTo>
                      <a:pt x="522" y="598"/>
                    </a:lnTo>
                    <a:lnTo>
                      <a:pt x="524" y="594"/>
                    </a:lnTo>
                    <a:lnTo>
                      <a:pt x="524" y="592"/>
                    </a:lnTo>
                    <a:lnTo>
                      <a:pt x="528" y="592"/>
                    </a:lnTo>
                    <a:lnTo>
                      <a:pt x="530" y="592"/>
                    </a:lnTo>
                    <a:lnTo>
                      <a:pt x="532" y="592"/>
                    </a:lnTo>
                    <a:lnTo>
                      <a:pt x="534" y="594"/>
                    </a:lnTo>
                    <a:lnTo>
                      <a:pt x="534" y="590"/>
                    </a:lnTo>
                    <a:lnTo>
                      <a:pt x="534" y="588"/>
                    </a:lnTo>
                    <a:lnTo>
                      <a:pt x="534" y="586"/>
                    </a:lnTo>
                    <a:lnTo>
                      <a:pt x="536" y="586"/>
                    </a:lnTo>
                    <a:lnTo>
                      <a:pt x="538" y="588"/>
                    </a:lnTo>
                    <a:lnTo>
                      <a:pt x="540" y="588"/>
                    </a:lnTo>
                    <a:lnTo>
                      <a:pt x="542" y="590"/>
                    </a:lnTo>
                    <a:lnTo>
                      <a:pt x="544" y="592"/>
                    </a:lnTo>
                    <a:lnTo>
                      <a:pt x="546" y="592"/>
                    </a:lnTo>
                    <a:lnTo>
                      <a:pt x="546" y="590"/>
                    </a:lnTo>
                    <a:lnTo>
                      <a:pt x="548" y="590"/>
                    </a:lnTo>
                    <a:lnTo>
                      <a:pt x="548" y="588"/>
                    </a:lnTo>
                    <a:lnTo>
                      <a:pt x="550" y="588"/>
                    </a:lnTo>
                    <a:lnTo>
                      <a:pt x="550" y="586"/>
                    </a:lnTo>
                    <a:lnTo>
                      <a:pt x="552" y="588"/>
                    </a:lnTo>
                    <a:lnTo>
                      <a:pt x="552" y="590"/>
                    </a:lnTo>
                    <a:lnTo>
                      <a:pt x="554" y="590"/>
                    </a:lnTo>
                    <a:lnTo>
                      <a:pt x="554" y="588"/>
                    </a:lnTo>
                    <a:lnTo>
                      <a:pt x="554" y="586"/>
                    </a:lnTo>
                    <a:lnTo>
                      <a:pt x="556" y="586"/>
                    </a:lnTo>
                    <a:lnTo>
                      <a:pt x="556" y="588"/>
                    </a:lnTo>
                    <a:lnTo>
                      <a:pt x="558" y="588"/>
                    </a:lnTo>
                    <a:lnTo>
                      <a:pt x="558" y="590"/>
                    </a:lnTo>
                    <a:lnTo>
                      <a:pt x="560" y="592"/>
                    </a:lnTo>
                    <a:lnTo>
                      <a:pt x="562" y="592"/>
                    </a:lnTo>
                    <a:lnTo>
                      <a:pt x="564" y="592"/>
                    </a:lnTo>
                    <a:lnTo>
                      <a:pt x="566" y="590"/>
                    </a:lnTo>
                    <a:lnTo>
                      <a:pt x="564" y="590"/>
                    </a:lnTo>
                    <a:lnTo>
                      <a:pt x="564" y="588"/>
                    </a:lnTo>
                    <a:lnTo>
                      <a:pt x="562" y="586"/>
                    </a:lnTo>
                    <a:lnTo>
                      <a:pt x="564" y="586"/>
                    </a:lnTo>
                    <a:lnTo>
                      <a:pt x="566" y="586"/>
                    </a:lnTo>
                    <a:lnTo>
                      <a:pt x="566" y="588"/>
                    </a:lnTo>
                    <a:lnTo>
                      <a:pt x="568" y="588"/>
                    </a:lnTo>
                    <a:lnTo>
                      <a:pt x="570" y="586"/>
                    </a:lnTo>
                    <a:lnTo>
                      <a:pt x="572" y="586"/>
                    </a:lnTo>
                    <a:lnTo>
                      <a:pt x="574" y="584"/>
                    </a:lnTo>
                    <a:lnTo>
                      <a:pt x="574" y="580"/>
                    </a:lnTo>
                    <a:lnTo>
                      <a:pt x="574" y="578"/>
                    </a:lnTo>
                    <a:lnTo>
                      <a:pt x="576" y="578"/>
                    </a:lnTo>
                    <a:lnTo>
                      <a:pt x="578" y="576"/>
                    </a:lnTo>
                    <a:lnTo>
                      <a:pt x="580" y="576"/>
                    </a:lnTo>
                    <a:lnTo>
                      <a:pt x="584" y="578"/>
                    </a:lnTo>
                    <a:lnTo>
                      <a:pt x="586" y="580"/>
                    </a:lnTo>
                    <a:lnTo>
                      <a:pt x="588" y="582"/>
                    </a:lnTo>
                    <a:lnTo>
                      <a:pt x="588" y="584"/>
                    </a:lnTo>
                    <a:lnTo>
                      <a:pt x="590" y="584"/>
                    </a:lnTo>
                    <a:lnTo>
                      <a:pt x="592" y="582"/>
                    </a:lnTo>
                    <a:lnTo>
                      <a:pt x="594" y="582"/>
                    </a:lnTo>
                    <a:lnTo>
                      <a:pt x="596" y="582"/>
                    </a:lnTo>
                    <a:lnTo>
                      <a:pt x="596" y="584"/>
                    </a:lnTo>
                    <a:lnTo>
                      <a:pt x="598" y="584"/>
                    </a:lnTo>
                    <a:lnTo>
                      <a:pt x="600" y="584"/>
                    </a:lnTo>
                    <a:lnTo>
                      <a:pt x="602" y="584"/>
                    </a:lnTo>
                    <a:lnTo>
                      <a:pt x="604" y="584"/>
                    </a:lnTo>
                    <a:lnTo>
                      <a:pt x="606" y="586"/>
                    </a:lnTo>
                    <a:lnTo>
                      <a:pt x="608" y="586"/>
                    </a:lnTo>
                    <a:lnTo>
                      <a:pt x="608" y="588"/>
                    </a:lnTo>
                    <a:lnTo>
                      <a:pt x="606" y="590"/>
                    </a:lnTo>
                    <a:lnTo>
                      <a:pt x="604" y="592"/>
                    </a:lnTo>
                    <a:lnTo>
                      <a:pt x="604" y="594"/>
                    </a:lnTo>
                    <a:lnTo>
                      <a:pt x="604" y="596"/>
                    </a:lnTo>
                    <a:lnTo>
                      <a:pt x="606" y="596"/>
                    </a:lnTo>
                    <a:lnTo>
                      <a:pt x="606" y="598"/>
                    </a:lnTo>
                    <a:lnTo>
                      <a:pt x="608" y="598"/>
                    </a:lnTo>
                    <a:lnTo>
                      <a:pt x="608" y="600"/>
                    </a:lnTo>
                    <a:lnTo>
                      <a:pt x="608" y="602"/>
                    </a:lnTo>
                    <a:lnTo>
                      <a:pt x="610" y="602"/>
                    </a:lnTo>
                    <a:lnTo>
                      <a:pt x="612" y="602"/>
                    </a:lnTo>
                    <a:lnTo>
                      <a:pt x="612" y="604"/>
                    </a:lnTo>
                    <a:lnTo>
                      <a:pt x="614" y="606"/>
                    </a:lnTo>
                    <a:lnTo>
                      <a:pt x="616" y="606"/>
                    </a:lnTo>
                    <a:lnTo>
                      <a:pt x="616" y="608"/>
                    </a:lnTo>
                    <a:lnTo>
                      <a:pt x="620" y="608"/>
                    </a:lnTo>
                    <a:lnTo>
                      <a:pt x="622" y="608"/>
                    </a:lnTo>
                    <a:lnTo>
                      <a:pt x="624" y="608"/>
                    </a:lnTo>
                    <a:lnTo>
                      <a:pt x="626" y="608"/>
                    </a:lnTo>
                    <a:lnTo>
                      <a:pt x="628" y="610"/>
                    </a:lnTo>
                    <a:lnTo>
                      <a:pt x="630" y="608"/>
                    </a:lnTo>
                    <a:lnTo>
                      <a:pt x="632" y="606"/>
                    </a:lnTo>
                    <a:lnTo>
                      <a:pt x="634" y="606"/>
                    </a:lnTo>
                    <a:lnTo>
                      <a:pt x="636" y="604"/>
                    </a:lnTo>
                    <a:lnTo>
                      <a:pt x="638" y="604"/>
                    </a:lnTo>
                    <a:lnTo>
                      <a:pt x="640" y="604"/>
                    </a:lnTo>
                    <a:lnTo>
                      <a:pt x="642" y="606"/>
                    </a:lnTo>
                    <a:lnTo>
                      <a:pt x="644" y="606"/>
                    </a:lnTo>
                    <a:lnTo>
                      <a:pt x="648" y="606"/>
                    </a:lnTo>
                    <a:lnTo>
                      <a:pt x="650" y="606"/>
                    </a:lnTo>
                    <a:lnTo>
                      <a:pt x="654" y="606"/>
                    </a:lnTo>
                    <a:lnTo>
                      <a:pt x="658" y="606"/>
                    </a:lnTo>
                    <a:lnTo>
                      <a:pt x="660" y="608"/>
                    </a:lnTo>
                    <a:lnTo>
                      <a:pt x="662" y="610"/>
                    </a:lnTo>
                    <a:lnTo>
                      <a:pt x="662" y="612"/>
                    </a:lnTo>
                    <a:lnTo>
                      <a:pt x="662" y="616"/>
                    </a:lnTo>
                    <a:lnTo>
                      <a:pt x="660" y="618"/>
                    </a:lnTo>
                    <a:lnTo>
                      <a:pt x="660" y="620"/>
                    </a:lnTo>
                    <a:lnTo>
                      <a:pt x="660" y="622"/>
                    </a:lnTo>
                    <a:lnTo>
                      <a:pt x="660" y="624"/>
                    </a:lnTo>
                    <a:lnTo>
                      <a:pt x="660" y="626"/>
                    </a:lnTo>
                    <a:lnTo>
                      <a:pt x="662" y="628"/>
                    </a:lnTo>
                    <a:lnTo>
                      <a:pt x="666" y="632"/>
                    </a:lnTo>
                    <a:lnTo>
                      <a:pt x="668" y="632"/>
                    </a:lnTo>
                    <a:lnTo>
                      <a:pt x="668" y="634"/>
                    </a:lnTo>
                    <a:lnTo>
                      <a:pt x="670" y="634"/>
                    </a:lnTo>
                    <a:lnTo>
                      <a:pt x="672" y="634"/>
                    </a:lnTo>
                    <a:lnTo>
                      <a:pt x="674" y="634"/>
                    </a:lnTo>
                    <a:lnTo>
                      <a:pt x="676" y="634"/>
                    </a:lnTo>
                    <a:lnTo>
                      <a:pt x="676" y="632"/>
                    </a:lnTo>
                    <a:lnTo>
                      <a:pt x="676" y="630"/>
                    </a:lnTo>
                    <a:lnTo>
                      <a:pt x="674" y="628"/>
                    </a:lnTo>
                    <a:lnTo>
                      <a:pt x="674" y="626"/>
                    </a:lnTo>
                    <a:lnTo>
                      <a:pt x="674" y="624"/>
                    </a:lnTo>
                    <a:lnTo>
                      <a:pt x="674" y="620"/>
                    </a:lnTo>
                    <a:lnTo>
                      <a:pt x="674" y="618"/>
                    </a:lnTo>
                    <a:lnTo>
                      <a:pt x="674" y="614"/>
                    </a:lnTo>
                    <a:lnTo>
                      <a:pt x="676" y="612"/>
                    </a:lnTo>
                    <a:lnTo>
                      <a:pt x="678" y="610"/>
                    </a:lnTo>
                    <a:lnTo>
                      <a:pt x="680" y="608"/>
                    </a:lnTo>
                    <a:lnTo>
                      <a:pt x="684" y="608"/>
                    </a:lnTo>
                    <a:lnTo>
                      <a:pt x="686" y="608"/>
                    </a:lnTo>
                    <a:lnTo>
                      <a:pt x="690" y="606"/>
                    </a:lnTo>
                    <a:lnTo>
                      <a:pt x="692" y="606"/>
                    </a:lnTo>
                    <a:lnTo>
                      <a:pt x="696" y="606"/>
                    </a:lnTo>
                    <a:lnTo>
                      <a:pt x="698" y="606"/>
                    </a:lnTo>
                    <a:lnTo>
                      <a:pt x="700" y="606"/>
                    </a:lnTo>
                    <a:lnTo>
                      <a:pt x="704" y="604"/>
                    </a:lnTo>
                    <a:lnTo>
                      <a:pt x="708" y="604"/>
                    </a:lnTo>
                    <a:lnTo>
                      <a:pt x="710" y="602"/>
                    </a:lnTo>
                    <a:lnTo>
                      <a:pt x="712" y="602"/>
                    </a:lnTo>
                    <a:lnTo>
                      <a:pt x="714" y="600"/>
                    </a:lnTo>
                    <a:lnTo>
                      <a:pt x="716" y="598"/>
                    </a:lnTo>
                    <a:lnTo>
                      <a:pt x="716" y="596"/>
                    </a:lnTo>
                    <a:lnTo>
                      <a:pt x="716" y="594"/>
                    </a:lnTo>
                    <a:lnTo>
                      <a:pt x="716" y="592"/>
                    </a:lnTo>
                    <a:lnTo>
                      <a:pt x="716" y="590"/>
                    </a:lnTo>
                    <a:lnTo>
                      <a:pt x="716" y="588"/>
                    </a:lnTo>
                    <a:lnTo>
                      <a:pt x="716" y="586"/>
                    </a:lnTo>
                    <a:lnTo>
                      <a:pt x="718" y="584"/>
                    </a:lnTo>
                    <a:lnTo>
                      <a:pt x="720" y="584"/>
                    </a:lnTo>
                    <a:lnTo>
                      <a:pt x="722" y="584"/>
                    </a:lnTo>
                    <a:lnTo>
                      <a:pt x="722" y="586"/>
                    </a:lnTo>
                    <a:lnTo>
                      <a:pt x="724" y="588"/>
                    </a:lnTo>
                    <a:lnTo>
                      <a:pt x="724" y="590"/>
                    </a:lnTo>
                    <a:lnTo>
                      <a:pt x="726" y="592"/>
                    </a:lnTo>
                    <a:lnTo>
                      <a:pt x="726" y="594"/>
                    </a:lnTo>
                    <a:lnTo>
                      <a:pt x="728" y="594"/>
                    </a:lnTo>
                    <a:lnTo>
                      <a:pt x="728" y="592"/>
                    </a:lnTo>
                    <a:lnTo>
                      <a:pt x="730" y="592"/>
                    </a:lnTo>
                    <a:lnTo>
                      <a:pt x="732" y="590"/>
                    </a:lnTo>
                    <a:lnTo>
                      <a:pt x="734" y="588"/>
                    </a:lnTo>
                    <a:lnTo>
                      <a:pt x="734" y="586"/>
                    </a:lnTo>
                    <a:lnTo>
                      <a:pt x="736" y="584"/>
                    </a:lnTo>
                    <a:lnTo>
                      <a:pt x="738" y="584"/>
                    </a:lnTo>
                    <a:lnTo>
                      <a:pt x="738" y="582"/>
                    </a:lnTo>
                    <a:lnTo>
                      <a:pt x="740" y="582"/>
                    </a:lnTo>
                    <a:lnTo>
                      <a:pt x="740" y="584"/>
                    </a:lnTo>
                    <a:lnTo>
                      <a:pt x="742" y="584"/>
                    </a:lnTo>
                    <a:lnTo>
                      <a:pt x="744" y="584"/>
                    </a:lnTo>
                    <a:lnTo>
                      <a:pt x="748" y="584"/>
                    </a:lnTo>
                    <a:lnTo>
                      <a:pt x="750" y="584"/>
                    </a:lnTo>
                    <a:lnTo>
                      <a:pt x="750" y="582"/>
                    </a:lnTo>
                    <a:lnTo>
                      <a:pt x="752" y="584"/>
                    </a:lnTo>
                    <a:lnTo>
                      <a:pt x="754" y="584"/>
                    </a:lnTo>
                    <a:lnTo>
                      <a:pt x="756" y="584"/>
                    </a:lnTo>
                    <a:lnTo>
                      <a:pt x="758" y="584"/>
                    </a:lnTo>
                    <a:lnTo>
                      <a:pt x="760" y="584"/>
                    </a:lnTo>
                    <a:lnTo>
                      <a:pt x="762" y="584"/>
                    </a:lnTo>
                    <a:lnTo>
                      <a:pt x="764" y="582"/>
                    </a:lnTo>
                    <a:lnTo>
                      <a:pt x="766" y="580"/>
                    </a:lnTo>
                    <a:lnTo>
                      <a:pt x="768" y="580"/>
                    </a:lnTo>
                    <a:lnTo>
                      <a:pt x="770" y="578"/>
                    </a:lnTo>
                    <a:lnTo>
                      <a:pt x="772" y="578"/>
                    </a:lnTo>
                    <a:lnTo>
                      <a:pt x="774" y="576"/>
                    </a:lnTo>
                    <a:lnTo>
                      <a:pt x="776" y="574"/>
                    </a:lnTo>
                    <a:lnTo>
                      <a:pt x="778" y="572"/>
                    </a:lnTo>
                    <a:lnTo>
                      <a:pt x="780" y="570"/>
                    </a:lnTo>
                    <a:lnTo>
                      <a:pt x="782" y="568"/>
                    </a:lnTo>
                    <a:lnTo>
                      <a:pt x="784" y="566"/>
                    </a:lnTo>
                    <a:lnTo>
                      <a:pt x="786" y="564"/>
                    </a:lnTo>
                    <a:lnTo>
                      <a:pt x="786" y="562"/>
                    </a:lnTo>
                    <a:lnTo>
                      <a:pt x="786" y="560"/>
                    </a:lnTo>
                    <a:lnTo>
                      <a:pt x="786" y="558"/>
                    </a:lnTo>
                    <a:lnTo>
                      <a:pt x="786" y="556"/>
                    </a:lnTo>
                    <a:lnTo>
                      <a:pt x="784" y="554"/>
                    </a:lnTo>
                    <a:lnTo>
                      <a:pt x="784" y="552"/>
                    </a:lnTo>
                    <a:lnTo>
                      <a:pt x="786" y="552"/>
                    </a:lnTo>
                    <a:lnTo>
                      <a:pt x="788" y="552"/>
                    </a:lnTo>
                    <a:lnTo>
                      <a:pt x="788" y="550"/>
                    </a:lnTo>
                    <a:lnTo>
                      <a:pt x="790" y="548"/>
                    </a:lnTo>
                    <a:lnTo>
                      <a:pt x="790" y="546"/>
                    </a:lnTo>
                    <a:lnTo>
                      <a:pt x="790" y="544"/>
                    </a:lnTo>
                    <a:lnTo>
                      <a:pt x="792" y="544"/>
                    </a:lnTo>
                    <a:lnTo>
                      <a:pt x="794" y="544"/>
                    </a:lnTo>
                    <a:lnTo>
                      <a:pt x="796" y="544"/>
                    </a:lnTo>
                    <a:lnTo>
                      <a:pt x="796" y="546"/>
                    </a:lnTo>
                    <a:lnTo>
                      <a:pt x="796" y="542"/>
                    </a:lnTo>
                    <a:lnTo>
                      <a:pt x="798" y="540"/>
                    </a:lnTo>
                    <a:lnTo>
                      <a:pt x="798" y="538"/>
                    </a:lnTo>
                    <a:lnTo>
                      <a:pt x="798" y="536"/>
                    </a:lnTo>
                    <a:lnTo>
                      <a:pt x="800" y="536"/>
                    </a:lnTo>
                    <a:lnTo>
                      <a:pt x="802" y="536"/>
                    </a:lnTo>
                    <a:lnTo>
                      <a:pt x="802" y="534"/>
                    </a:lnTo>
                    <a:lnTo>
                      <a:pt x="802" y="530"/>
                    </a:lnTo>
                    <a:lnTo>
                      <a:pt x="802" y="528"/>
                    </a:lnTo>
                    <a:lnTo>
                      <a:pt x="802" y="526"/>
                    </a:lnTo>
                    <a:lnTo>
                      <a:pt x="804" y="526"/>
                    </a:lnTo>
                    <a:lnTo>
                      <a:pt x="806" y="526"/>
                    </a:lnTo>
                    <a:lnTo>
                      <a:pt x="806" y="524"/>
                    </a:lnTo>
                    <a:lnTo>
                      <a:pt x="808" y="520"/>
                    </a:lnTo>
                    <a:lnTo>
                      <a:pt x="806" y="518"/>
                    </a:lnTo>
                    <a:lnTo>
                      <a:pt x="806" y="516"/>
                    </a:lnTo>
                    <a:lnTo>
                      <a:pt x="806" y="514"/>
                    </a:lnTo>
                    <a:lnTo>
                      <a:pt x="806" y="512"/>
                    </a:lnTo>
                    <a:lnTo>
                      <a:pt x="804" y="512"/>
                    </a:lnTo>
                    <a:lnTo>
                      <a:pt x="806" y="512"/>
                    </a:lnTo>
                    <a:lnTo>
                      <a:pt x="806" y="510"/>
                    </a:lnTo>
                    <a:lnTo>
                      <a:pt x="808" y="508"/>
                    </a:lnTo>
                    <a:lnTo>
                      <a:pt x="810" y="508"/>
                    </a:lnTo>
                    <a:lnTo>
                      <a:pt x="812" y="506"/>
                    </a:lnTo>
                    <a:lnTo>
                      <a:pt x="812" y="504"/>
                    </a:lnTo>
                    <a:lnTo>
                      <a:pt x="812" y="502"/>
                    </a:lnTo>
                    <a:lnTo>
                      <a:pt x="812" y="500"/>
                    </a:lnTo>
                    <a:lnTo>
                      <a:pt x="812" y="498"/>
                    </a:lnTo>
                    <a:lnTo>
                      <a:pt x="810" y="496"/>
                    </a:lnTo>
                    <a:lnTo>
                      <a:pt x="810" y="494"/>
                    </a:lnTo>
                    <a:lnTo>
                      <a:pt x="810" y="492"/>
                    </a:lnTo>
                    <a:lnTo>
                      <a:pt x="812" y="490"/>
                    </a:lnTo>
                    <a:lnTo>
                      <a:pt x="814" y="490"/>
                    </a:lnTo>
                    <a:lnTo>
                      <a:pt x="814" y="488"/>
                    </a:lnTo>
                    <a:lnTo>
                      <a:pt x="814" y="484"/>
                    </a:lnTo>
                    <a:lnTo>
                      <a:pt x="814" y="482"/>
                    </a:lnTo>
                    <a:lnTo>
                      <a:pt x="814" y="480"/>
                    </a:lnTo>
                    <a:lnTo>
                      <a:pt x="816" y="480"/>
                    </a:lnTo>
                    <a:lnTo>
                      <a:pt x="818" y="478"/>
                    </a:lnTo>
                    <a:lnTo>
                      <a:pt x="820" y="478"/>
                    </a:lnTo>
                    <a:lnTo>
                      <a:pt x="824" y="476"/>
                    </a:lnTo>
                    <a:lnTo>
                      <a:pt x="824" y="474"/>
                    </a:lnTo>
                    <a:lnTo>
                      <a:pt x="826" y="472"/>
                    </a:lnTo>
                    <a:lnTo>
                      <a:pt x="826" y="470"/>
                    </a:lnTo>
                    <a:lnTo>
                      <a:pt x="826" y="468"/>
                    </a:lnTo>
                    <a:lnTo>
                      <a:pt x="826" y="466"/>
                    </a:lnTo>
                    <a:lnTo>
                      <a:pt x="824" y="466"/>
                    </a:lnTo>
                    <a:lnTo>
                      <a:pt x="822" y="466"/>
                    </a:lnTo>
                    <a:lnTo>
                      <a:pt x="824" y="466"/>
                    </a:lnTo>
                    <a:lnTo>
                      <a:pt x="826" y="464"/>
                    </a:lnTo>
                    <a:lnTo>
                      <a:pt x="828" y="464"/>
                    </a:lnTo>
                    <a:lnTo>
                      <a:pt x="830" y="464"/>
                    </a:lnTo>
                    <a:lnTo>
                      <a:pt x="832" y="464"/>
                    </a:lnTo>
                    <a:lnTo>
                      <a:pt x="832" y="462"/>
                    </a:lnTo>
                    <a:lnTo>
                      <a:pt x="834" y="462"/>
                    </a:lnTo>
                    <a:lnTo>
                      <a:pt x="834" y="460"/>
                    </a:lnTo>
                    <a:lnTo>
                      <a:pt x="832" y="460"/>
                    </a:lnTo>
                    <a:lnTo>
                      <a:pt x="832" y="458"/>
                    </a:lnTo>
                    <a:lnTo>
                      <a:pt x="830" y="458"/>
                    </a:lnTo>
                    <a:lnTo>
                      <a:pt x="830" y="456"/>
                    </a:lnTo>
                    <a:lnTo>
                      <a:pt x="828" y="456"/>
                    </a:lnTo>
                    <a:lnTo>
                      <a:pt x="830" y="454"/>
                    </a:lnTo>
                    <a:lnTo>
                      <a:pt x="830" y="452"/>
                    </a:lnTo>
                    <a:lnTo>
                      <a:pt x="832" y="450"/>
                    </a:lnTo>
                    <a:lnTo>
                      <a:pt x="834" y="446"/>
                    </a:lnTo>
                    <a:lnTo>
                      <a:pt x="836" y="446"/>
                    </a:lnTo>
                    <a:lnTo>
                      <a:pt x="836" y="444"/>
                    </a:lnTo>
                    <a:lnTo>
                      <a:pt x="836" y="442"/>
                    </a:lnTo>
                    <a:lnTo>
                      <a:pt x="836" y="440"/>
                    </a:lnTo>
                    <a:lnTo>
                      <a:pt x="834" y="440"/>
                    </a:lnTo>
                    <a:lnTo>
                      <a:pt x="832" y="440"/>
                    </a:lnTo>
                    <a:lnTo>
                      <a:pt x="830" y="440"/>
                    </a:lnTo>
                    <a:lnTo>
                      <a:pt x="828" y="440"/>
                    </a:lnTo>
                    <a:lnTo>
                      <a:pt x="822" y="440"/>
                    </a:lnTo>
                    <a:lnTo>
                      <a:pt x="814" y="440"/>
                    </a:lnTo>
                    <a:lnTo>
                      <a:pt x="810" y="442"/>
                    </a:lnTo>
                    <a:lnTo>
                      <a:pt x="806" y="442"/>
                    </a:lnTo>
                    <a:lnTo>
                      <a:pt x="806" y="444"/>
                    </a:lnTo>
                    <a:lnTo>
                      <a:pt x="804" y="444"/>
                    </a:lnTo>
                    <a:lnTo>
                      <a:pt x="802" y="444"/>
                    </a:lnTo>
                    <a:lnTo>
                      <a:pt x="800" y="444"/>
                    </a:lnTo>
                    <a:lnTo>
                      <a:pt x="798" y="442"/>
                    </a:lnTo>
                    <a:lnTo>
                      <a:pt x="796" y="442"/>
                    </a:lnTo>
                    <a:lnTo>
                      <a:pt x="796" y="440"/>
                    </a:lnTo>
                    <a:lnTo>
                      <a:pt x="800" y="440"/>
                    </a:lnTo>
                    <a:lnTo>
                      <a:pt x="802" y="440"/>
                    </a:lnTo>
                    <a:lnTo>
                      <a:pt x="804" y="440"/>
                    </a:lnTo>
                    <a:lnTo>
                      <a:pt x="806" y="440"/>
                    </a:lnTo>
                    <a:lnTo>
                      <a:pt x="806" y="438"/>
                    </a:lnTo>
                    <a:lnTo>
                      <a:pt x="806" y="436"/>
                    </a:lnTo>
                    <a:lnTo>
                      <a:pt x="808" y="434"/>
                    </a:lnTo>
                    <a:lnTo>
                      <a:pt x="810" y="434"/>
                    </a:lnTo>
                    <a:lnTo>
                      <a:pt x="812" y="434"/>
                    </a:lnTo>
                    <a:lnTo>
                      <a:pt x="816" y="432"/>
                    </a:lnTo>
                    <a:lnTo>
                      <a:pt x="818" y="432"/>
                    </a:lnTo>
                    <a:lnTo>
                      <a:pt x="820" y="432"/>
                    </a:lnTo>
                    <a:lnTo>
                      <a:pt x="818" y="430"/>
                    </a:lnTo>
                    <a:lnTo>
                      <a:pt x="818" y="428"/>
                    </a:lnTo>
                    <a:lnTo>
                      <a:pt x="816" y="428"/>
                    </a:lnTo>
                    <a:lnTo>
                      <a:pt x="816" y="426"/>
                    </a:lnTo>
                    <a:lnTo>
                      <a:pt x="814" y="424"/>
                    </a:lnTo>
                    <a:lnTo>
                      <a:pt x="814" y="422"/>
                    </a:lnTo>
                    <a:lnTo>
                      <a:pt x="812" y="422"/>
                    </a:lnTo>
                    <a:lnTo>
                      <a:pt x="810" y="422"/>
                    </a:lnTo>
                    <a:lnTo>
                      <a:pt x="808" y="420"/>
                    </a:lnTo>
                    <a:lnTo>
                      <a:pt x="806" y="420"/>
                    </a:lnTo>
                    <a:lnTo>
                      <a:pt x="804" y="420"/>
                    </a:lnTo>
                    <a:lnTo>
                      <a:pt x="804" y="418"/>
                    </a:lnTo>
                    <a:lnTo>
                      <a:pt x="802" y="418"/>
                    </a:lnTo>
                    <a:lnTo>
                      <a:pt x="802" y="416"/>
                    </a:lnTo>
                    <a:lnTo>
                      <a:pt x="800" y="416"/>
                    </a:lnTo>
                    <a:lnTo>
                      <a:pt x="798" y="416"/>
                    </a:lnTo>
                    <a:lnTo>
                      <a:pt x="796" y="414"/>
                    </a:lnTo>
                    <a:lnTo>
                      <a:pt x="794" y="414"/>
                    </a:lnTo>
                    <a:lnTo>
                      <a:pt x="792" y="412"/>
                    </a:lnTo>
                    <a:lnTo>
                      <a:pt x="790" y="412"/>
                    </a:lnTo>
                    <a:lnTo>
                      <a:pt x="786" y="414"/>
                    </a:lnTo>
                    <a:lnTo>
                      <a:pt x="784" y="414"/>
                    </a:lnTo>
                    <a:lnTo>
                      <a:pt x="782" y="414"/>
                    </a:lnTo>
                    <a:lnTo>
                      <a:pt x="782" y="412"/>
                    </a:lnTo>
                    <a:lnTo>
                      <a:pt x="780" y="410"/>
                    </a:lnTo>
                    <a:lnTo>
                      <a:pt x="778" y="408"/>
                    </a:lnTo>
                    <a:lnTo>
                      <a:pt x="776" y="406"/>
                    </a:lnTo>
                    <a:lnTo>
                      <a:pt x="776" y="404"/>
                    </a:lnTo>
                    <a:lnTo>
                      <a:pt x="774" y="402"/>
                    </a:lnTo>
                    <a:lnTo>
                      <a:pt x="776" y="404"/>
                    </a:lnTo>
                    <a:lnTo>
                      <a:pt x="778" y="406"/>
                    </a:lnTo>
                    <a:lnTo>
                      <a:pt x="780" y="408"/>
                    </a:lnTo>
                    <a:lnTo>
                      <a:pt x="782" y="408"/>
                    </a:lnTo>
                    <a:lnTo>
                      <a:pt x="782" y="410"/>
                    </a:lnTo>
                    <a:lnTo>
                      <a:pt x="784" y="410"/>
                    </a:lnTo>
                    <a:lnTo>
                      <a:pt x="786" y="410"/>
                    </a:lnTo>
                    <a:lnTo>
                      <a:pt x="788" y="408"/>
                    </a:lnTo>
                    <a:lnTo>
                      <a:pt x="792" y="408"/>
                    </a:lnTo>
                    <a:lnTo>
                      <a:pt x="794" y="408"/>
                    </a:lnTo>
                    <a:lnTo>
                      <a:pt x="794" y="410"/>
                    </a:lnTo>
                    <a:lnTo>
                      <a:pt x="796" y="410"/>
                    </a:lnTo>
                    <a:lnTo>
                      <a:pt x="798" y="410"/>
                    </a:lnTo>
                    <a:lnTo>
                      <a:pt x="798" y="412"/>
                    </a:lnTo>
                    <a:lnTo>
                      <a:pt x="800" y="412"/>
                    </a:lnTo>
                    <a:lnTo>
                      <a:pt x="800" y="414"/>
                    </a:lnTo>
                    <a:lnTo>
                      <a:pt x="802" y="412"/>
                    </a:lnTo>
                    <a:lnTo>
                      <a:pt x="804" y="412"/>
                    </a:lnTo>
                    <a:lnTo>
                      <a:pt x="806" y="414"/>
                    </a:lnTo>
                    <a:lnTo>
                      <a:pt x="808" y="414"/>
                    </a:lnTo>
                    <a:lnTo>
                      <a:pt x="810" y="414"/>
                    </a:lnTo>
                    <a:lnTo>
                      <a:pt x="812" y="416"/>
                    </a:lnTo>
                    <a:lnTo>
                      <a:pt x="814" y="416"/>
                    </a:lnTo>
                    <a:lnTo>
                      <a:pt x="812" y="414"/>
                    </a:lnTo>
                    <a:lnTo>
                      <a:pt x="810" y="412"/>
                    </a:lnTo>
                    <a:lnTo>
                      <a:pt x="810" y="410"/>
                    </a:lnTo>
                    <a:lnTo>
                      <a:pt x="808" y="410"/>
                    </a:lnTo>
                    <a:lnTo>
                      <a:pt x="806" y="408"/>
                    </a:lnTo>
                    <a:lnTo>
                      <a:pt x="806" y="406"/>
                    </a:lnTo>
                    <a:lnTo>
                      <a:pt x="804" y="404"/>
                    </a:lnTo>
                    <a:lnTo>
                      <a:pt x="804" y="402"/>
                    </a:lnTo>
                    <a:lnTo>
                      <a:pt x="804" y="400"/>
                    </a:lnTo>
                    <a:lnTo>
                      <a:pt x="802" y="400"/>
                    </a:lnTo>
                    <a:lnTo>
                      <a:pt x="800" y="400"/>
                    </a:lnTo>
                    <a:lnTo>
                      <a:pt x="798" y="398"/>
                    </a:lnTo>
                    <a:lnTo>
                      <a:pt x="794" y="398"/>
                    </a:lnTo>
                    <a:lnTo>
                      <a:pt x="792" y="398"/>
                    </a:lnTo>
                    <a:lnTo>
                      <a:pt x="792" y="396"/>
                    </a:lnTo>
                    <a:lnTo>
                      <a:pt x="790" y="392"/>
                    </a:lnTo>
                    <a:lnTo>
                      <a:pt x="790" y="390"/>
                    </a:lnTo>
                    <a:lnTo>
                      <a:pt x="786" y="386"/>
                    </a:lnTo>
                    <a:lnTo>
                      <a:pt x="784" y="382"/>
                    </a:lnTo>
                    <a:lnTo>
                      <a:pt x="782" y="378"/>
                    </a:lnTo>
                    <a:lnTo>
                      <a:pt x="780" y="376"/>
                    </a:lnTo>
                    <a:lnTo>
                      <a:pt x="778" y="372"/>
                    </a:lnTo>
                    <a:lnTo>
                      <a:pt x="776" y="372"/>
                    </a:lnTo>
                    <a:lnTo>
                      <a:pt x="774" y="370"/>
                    </a:lnTo>
                    <a:lnTo>
                      <a:pt x="772" y="368"/>
                    </a:lnTo>
                    <a:lnTo>
                      <a:pt x="772" y="366"/>
                    </a:lnTo>
                    <a:lnTo>
                      <a:pt x="768" y="366"/>
                    </a:lnTo>
                    <a:lnTo>
                      <a:pt x="766" y="364"/>
                    </a:lnTo>
                    <a:lnTo>
                      <a:pt x="764" y="364"/>
                    </a:lnTo>
                    <a:lnTo>
                      <a:pt x="762" y="364"/>
                    </a:lnTo>
                    <a:lnTo>
                      <a:pt x="760" y="362"/>
                    </a:lnTo>
                    <a:lnTo>
                      <a:pt x="758" y="360"/>
                    </a:lnTo>
                    <a:lnTo>
                      <a:pt x="758" y="358"/>
                    </a:lnTo>
                    <a:lnTo>
                      <a:pt x="756" y="358"/>
                    </a:lnTo>
                    <a:lnTo>
                      <a:pt x="754" y="358"/>
                    </a:lnTo>
                    <a:lnTo>
                      <a:pt x="752" y="358"/>
                    </a:lnTo>
                    <a:lnTo>
                      <a:pt x="750" y="358"/>
                    </a:lnTo>
                    <a:lnTo>
                      <a:pt x="750" y="356"/>
                    </a:lnTo>
                    <a:lnTo>
                      <a:pt x="748" y="354"/>
                    </a:lnTo>
                    <a:lnTo>
                      <a:pt x="748" y="352"/>
                    </a:lnTo>
                    <a:lnTo>
                      <a:pt x="746" y="352"/>
                    </a:lnTo>
                    <a:lnTo>
                      <a:pt x="746" y="350"/>
                    </a:lnTo>
                    <a:lnTo>
                      <a:pt x="746" y="348"/>
                    </a:lnTo>
                    <a:lnTo>
                      <a:pt x="748" y="348"/>
                    </a:lnTo>
                    <a:lnTo>
                      <a:pt x="748" y="346"/>
                    </a:lnTo>
                    <a:lnTo>
                      <a:pt x="750" y="346"/>
                    </a:lnTo>
                    <a:lnTo>
                      <a:pt x="752" y="344"/>
                    </a:lnTo>
                    <a:lnTo>
                      <a:pt x="754" y="342"/>
                    </a:lnTo>
                    <a:lnTo>
                      <a:pt x="756" y="340"/>
                    </a:lnTo>
                    <a:lnTo>
                      <a:pt x="756" y="338"/>
                    </a:lnTo>
                    <a:lnTo>
                      <a:pt x="756" y="336"/>
                    </a:lnTo>
                    <a:lnTo>
                      <a:pt x="754" y="332"/>
                    </a:lnTo>
                    <a:lnTo>
                      <a:pt x="754" y="330"/>
                    </a:lnTo>
                    <a:lnTo>
                      <a:pt x="754" y="328"/>
                    </a:lnTo>
                    <a:lnTo>
                      <a:pt x="754" y="330"/>
                    </a:lnTo>
                    <a:lnTo>
                      <a:pt x="756" y="330"/>
                    </a:lnTo>
                    <a:lnTo>
                      <a:pt x="758" y="332"/>
                    </a:lnTo>
                    <a:lnTo>
                      <a:pt x="760" y="334"/>
                    </a:lnTo>
                    <a:lnTo>
                      <a:pt x="762" y="332"/>
                    </a:lnTo>
                    <a:lnTo>
                      <a:pt x="762" y="330"/>
                    </a:lnTo>
                    <a:lnTo>
                      <a:pt x="764" y="328"/>
                    </a:lnTo>
                    <a:lnTo>
                      <a:pt x="762" y="326"/>
                    </a:lnTo>
                    <a:lnTo>
                      <a:pt x="762" y="324"/>
                    </a:lnTo>
                    <a:lnTo>
                      <a:pt x="762" y="322"/>
                    </a:lnTo>
                    <a:lnTo>
                      <a:pt x="764" y="322"/>
                    </a:lnTo>
                    <a:lnTo>
                      <a:pt x="766" y="322"/>
                    </a:lnTo>
                    <a:lnTo>
                      <a:pt x="768" y="322"/>
                    </a:lnTo>
                    <a:lnTo>
                      <a:pt x="770" y="320"/>
                    </a:lnTo>
                    <a:lnTo>
                      <a:pt x="772" y="318"/>
                    </a:lnTo>
                    <a:lnTo>
                      <a:pt x="774" y="316"/>
                    </a:lnTo>
                    <a:lnTo>
                      <a:pt x="776" y="316"/>
                    </a:lnTo>
                    <a:lnTo>
                      <a:pt x="776" y="314"/>
                    </a:lnTo>
                    <a:lnTo>
                      <a:pt x="778" y="316"/>
                    </a:lnTo>
                    <a:lnTo>
                      <a:pt x="780" y="316"/>
                    </a:lnTo>
                    <a:lnTo>
                      <a:pt x="782" y="316"/>
                    </a:lnTo>
                    <a:lnTo>
                      <a:pt x="784" y="316"/>
                    </a:lnTo>
                    <a:lnTo>
                      <a:pt x="786" y="316"/>
                    </a:lnTo>
                    <a:lnTo>
                      <a:pt x="784" y="314"/>
                    </a:lnTo>
                    <a:lnTo>
                      <a:pt x="784" y="312"/>
                    </a:lnTo>
                    <a:lnTo>
                      <a:pt x="784" y="310"/>
                    </a:lnTo>
                    <a:lnTo>
                      <a:pt x="784" y="308"/>
                    </a:lnTo>
                    <a:lnTo>
                      <a:pt x="784" y="306"/>
                    </a:lnTo>
                    <a:lnTo>
                      <a:pt x="782" y="306"/>
                    </a:lnTo>
                    <a:lnTo>
                      <a:pt x="780" y="306"/>
                    </a:lnTo>
                    <a:lnTo>
                      <a:pt x="778" y="306"/>
                    </a:lnTo>
                    <a:lnTo>
                      <a:pt x="776" y="304"/>
                    </a:lnTo>
                    <a:lnTo>
                      <a:pt x="774" y="302"/>
                    </a:lnTo>
                    <a:lnTo>
                      <a:pt x="774" y="304"/>
                    </a:lnTo>
                    <a:lnTo>
                      <a:pt x="772" y="306"/>
                    </a:lnTo>
                    <a:lnTo>
                      <a:pt x="770" y="306"/>
                    </a:lnTo>
                    <a:lnTo>
                      <a:pt x="768" y="304"/>
                    </a:lnTo>
                    <a:lnTo>
                      <a:pt x="766" y="304"/>
                    </a:lnTo>
                    <a:lnTo>
                      <a:pt x="764" y="304"/>
                    </a:lnTo>
                    <a:lnTo>
                      <a:pt x="762" y="302"/>
                    </a:lnTo>
                    <a:lnTo>
                      <a:pt x="760" y="300"/>
                    </a:lnTo>
                    <a:lnTo>
                      <a:pt x="758" y="298"/>
                    </a:lnTo>
                    <a:lnTo>
                      <a:pt x="756" y="298"/>
                    </a:lnTo>
                    <a:lnTo>
                      <a:pt x="754" y="298"/>
                    </a:lnTo>
                    <a:lnTo>
                      <a:pt x="752" y="300"/>
                    </a:lnTo>
                    <a:lnTo>
                      <a:pt x="750" y="300"/>
                    </a:lnTo>
                    <a:lnTo>
                      <a:pt x="748" y="302"/>
                    </a:lnTo>
                    <a:lnTo>
                      <a:pt x="746" y="304"/>
                    </a:lnTo>
                    <a:lnTo>
                      <a:pt x="744" y="306"/>
                    </a:lnTo>
                    <a:lnTo>
                      <a:pt x="744" y="308"/>
                    </a:lnTo>
                    <a:lnTo>
                      <a:pt x="742" y="310"/>
                    </a:lnTo>
                    <a:lnTo>
                      <a:pt x="742" y="312"/>
                    </a:lnTo>
                    <a:lnTo>
                      <a:pt x="740" y="312"/>
                    </a:lnTo>
                    <a:lnTo>
                      <a:pt x="738" y="312"/>
                    </a:lnTo>
                    <a:lnTo>
                      <a:pt x="736" y="312"/>
                    </a:lnTo>
                    <a:lnTo>
                      <a:pt x="734" y="312"/>
                    </a:lnTo>
                    <a:lnTo>
                      <a:pt x="732" y="310"/>
                    </a:lnTo>
                    <a:lnTo>
                      <a:pt x="730" y="308"/>
                    </a:lnTo>
                    <a:lnTo>
                      <a:pt x="728" y="308"/>
                    </a:lnTo>
                    <a:lnTo>
                      <a:pt x="726" y="306"/>
                    </a:lnTo>
                    <a:lnTo>
                      <a:pt x="726" y="304"/>
                    </a:lnTo>
                    <a:lnTo>
                      <a:pt x="724" y="300"/>
                    </a:lnTo>
                    <a:lnTo>
                      <a:pt x="724" y="298"/>
                    </a:lnTo>
                    <a:lnTo>
                      <a:pt x="722" y="296"/>
                    </a:lnTo>
                    <a:lnTo>
                      <a:pt x="722" y="294"/>
                    </a:lnTo>
                    <a:lnTo>
                      <a:pt x="720" y="294"/>
                    </a:lnTo>
                    <a:lnTo>
                      <a:pt x="720" y="292"/>
                    </a:lnTo>
                    <a:lnTo>
                      <a:pt x="718" y="292"/>
                    </a:lnTo>
                    <a:lnTo>
                      <a:pt x="716" y="294"/>
                    </a:lnTo>
                    <a:lnTo>
                      <a:pt x="716" y="296"/>
                    </a:lnTo>
                    <a:lnTo>
                      <a:pt x="714" y="294"/>
                    </a:lnTo>
                    <a:lnTo>
                      <a:pt x="714" y="292"/>
                    </a:lnTo>
                    <a:lnTo>
                      <a:pt x="712" y="292"/>
                    </a:lnTo>
                    <a:lnTo>
                      <a:pt x="710" y="292"/>
                    </a:lnTo>
                    <a:lnTo>
                      <a:pt x="708" y="292"/>
                    </a:lnTo>
                    <a:lnTo>
                      <a:pt x="706" y="292"/>
                    </a:lnTo>
                    <a:lnTo>
                      <a:pt x="704" y="292"/>
                    </a:lnTo>
                    <a:lnTo>
                      <a:pt x="702" y="292"/>
                    </a:lnTo>
                    <a:lnTo>
                      <a:pt x="700" y="290"/>
                    </a:lnTo>
                    <a:lnTo>
                      <a:pt x="700" y="288"/>
                    </a:lnTo>
                    <a:lnTo>
                      <a:pt x="698" y="288"/>
                    </a:lnTo>
                    <a:lnTo>
                      <a:pt x="696" y="284"/>
                    </a:lnTo>
                    <a:lnTo>
                      <a:pt x="694" y="282"/>
                    </a:lnTo>
                    <a:lnTo>
                      <a:pt x="694" y="280"/>
                    </a:lnTo>
                    <a:lnTo>
                      <a:pt x="694" y="278"/>
                    </a:lnTo>
                    <a:lnTo>
                      <a:pt x="694" y="276"/>
                    </a:lnTo>
                    <a:lnTo>
                      <a:pt x="694" y="274"/>
                    </a:lnTo>
                    <a:lnTo>
                      <a:pt x="694" y="272"/>
                    </a:lnTo>
                    <a:lnTo>
                      <a:pt x="696" y="272"/>
                    </a:lnTo>
                    <a:lnTo>
                      <a:pt x="698" y="272"/>
                    </a:lnTo>
                    <a:lnTo>
                      <a:pt x="700" y="272"/>
                    </a:lnTo>
                    <a:lnTo>
                      <a:pt x="700" y="274"/>
                    </a:lnTo>
                    <a:lnTo>
                      <a:pt x="702" y="274"/>
                    </a:lnTo>
                    <a:lnTo>
                      <a:pt x="704" y="274"/>
                    </a:lnTo>
                    <a:lnTo>
                      <a:pt x="706" y="272"/>
                    </a:lnTo>
                    <a:lnTo>
                      <a:pt x="708" y="272"/>
                    </a:lnTo>
                    <a:lnTo>
                      <a:pt x="710" y="272"/>
                    </a:lnTo>
                    <a:lnTo>
                      <a:pt x="710" y="274"/>
                    </a:lnTo>
                    <a:lnTo>
                      <a:pt x="712" y="272"/>
                    </a:lnTo>
                    <a:lnTo>
                      <a:pt x="714" y="272"/>
                    </a:lnTo>
                    <a:lnTo>
                      <a:pt x="714" y="270"/>
                    </a:lnTo>
                    <a:lnTo>
                      <a:pt x="716" y="268"/>
                    </a:lnTo>
                    <a:lnTo>
                      <a:pt x="714" y="268"/>
                    </a:lnTo>
                    <a:lnTo>
                      <a:pt x="714" y="266"/>
                    </a:lnTo>
                    <a:lnTo>
                      <a:pt x="714" y="264"/>
                    </a:lnTo>
                    <a:lnTo>
                      <a:pt x="714" y="262"/>
                    </a:lnTo>
                    <a:lnTo>
                      <a:pt x="714" y="260"/>
                    </a:lnTo>
                    <a:lnTo>
                      <a:pt x="714" y="258"/>
                    </a:lnTo>
                    <a:lnTo>
                      <a:pt x="716" y="256"/>
                    </a:lnTo>
                    <a:lnTo>
                      <a:pt x="718" y="256"/>
                    </a:lnTo>
                    <a:lnTo>
                      <a:pt x="722" y="256"/>
                    </a:lnTo>
                    <a:lnTo>
                      <a:pt x="724" y="256"/>
                    </a:lnTo>
                    <a:lnTo>
                      <a:pt x="724" y="254"/>
                    </a:lnTo>
                    <a:lnTo>
                      <a:pt x="726" y="254"/>
                    </a:lnTo>
                    <a:lnTo>
                      <a:pt x="726" y="252"/>
                    </a:lnTo>
                    <a:lnTo>
                      <a:pt x="728" y="250"/>
                    </a:lnTo>
                    <a:lnTo>
                      <a:pt x="728" y="248"/>
                    </a:lnTo>
                    <a:lnTo>
                      <a:pt x="728" y="246"/>
                    </a:lnTo>
                    <a:lnTo>
                      <a:pt x="728" y="244"/>
                    </a:lnTo>
                    <a:lnTo>
                      <a:pt x="730" y="244"/>
                    </a:lnTo>
                    <a:lnTo>
                      <a:pt x="732" y="242"/>
                    </a:lnTo>
                    <a:lnTo>
                      <a:pt x="732" y="240"/>
                    </a:lnTo>
                    <a:lnTo>
                      <a:pt x="730" y="240"/>
                    </a:lnTo>
                    <a:lnTo>
                      <a:pt x="734" y="240"/>
                    </a:lnTo>
                    <a:lnTo>
                      <a:pt x="736" y="240"/>
                    </a:lnTo>
                    <a:lnTo>
                      <a:pt x="736" y="242"/>
                    </a:lnTo>
                    <a:lnTo>
                      <a:pt x="738" y="242"/>
                    </a:lnTo>
                    <a:lnTo>
                      <a:pt x="740" y="242"/>
                    </a:lnTo>
                    <a:lnTo>
                      <a:pt x="740" y="240"/>
                    </a:lnTo>
                    <a:lnTo>
                      <a:pt x="742" y="240"/>
                    </a:lnTo>
                    <a:lnTo>
                      <a:pt x="742" y="238"/>
                    </a:lnTo>
                    <a:lnTo>
                      <a:pt x="744" y="238"/>
                    </a:lnTo>
                    <a:lnTo>
                      <a:pt x="744" y="240"/>
                    </a:lnTo>
                    <a:lnTo>
                      <a:pt x="746" y="242"/>
                    </a:lnTo>
                    <a:lnTo>
                      <a:pt x="748" y="244"/>
                    </a:lnTo>
                    <a:lnTo>
                      <a:pt x="750" y="246"/>
                    </a:lnTo>
                    <a:lnTo>
                      <a:pt x="752" y="248"/>
                    </a:lnTo>
                    <a:lnTo>
                      <a:pt x="754" y="250"/>
                    </a:lnTo>
                    <a:lnTo>
                      <a:pt x="754" y="252"/>
                    </a:lnTo>
                    <a:lnTo>
                      <a:pt x="752" y="254"/>
                    </a:lnTo>
                    <a:lnTo>
                      <a:pt x="752" y="256"/>
                    </a:lnTo>
                    <a:lnTo>
                      <a:pt x="750" y="256"/>
                    </a:lnTo>
                    <a:lnTo>
                      <a:pt x="748" y="258"/>
                    </a:lnTo>
                    <a:lnTo>
                      <a:pt x="746" y="260"/>
                    </a:lnTo>
                    <a:lnTo>
                      <a:pt x="746" y="264"/>
                    </a:lnTo>
                    <a:lnTo>
                      <a:pt x="746" y="266"/>
                    </a:lnTo>
                    <a:lnTo>
                      <a:pt x="748" y="268"/>
                    </a:lnTo>
                    <a:lnTo>
                      <a:pt x="750" y="270"/>
                    </a:lnTo>
                    <a:lnTo>
                      <a:pt x="752" y="270"/>
                    </a:lnTo>
                    <a:lnTo>
                      <a:pt x="754" y="270"/>
                    </a:lnTo>
                    <a:lnTo>
                      <a:pt x="756" y="268"/>
                    </a:lnTo>
                    <a:lnTo>
                      <a:pt x="756" y="270"/>
                    </a:lnTo>
                    <a:lnTo>
                      <a:pt x="756" y="272"/>
                    </a:lnTo>
                    <a:lnTo>
                      <a:pt x="754" y="274"/>
                    </a:lnTo>
                    <a:lnTo>
                      <a:pt x="754" y="276"/>
                    </a:lnTo>
                    <a:lnTo>
                      <a:pt x="752" y="276"/>
                    </a:lnTo>
                    <a:lnTo>
                      <a:pt x="752" y="278"/>
                    </a:lnTo>
                    <a:lnTo>
                      <a:pt x="750" y="278"/>
                    </a:lnTo>
                    <a:lnTo>
                      <a:pt x="750" y="280"/>
                    </a:lnTo>
                    <a:lnTo>
                      <a:pt x="750" y="282"/>
                    </a:lnTo>
                    <a:lnTo>
                      <a:pt x="752" y="282"/>
                    </a:lnTo>
                    <a:lnTo>
                      <a:pt x="754" y="280"/>
                    </a:lnTo>
                    <a:lnTo>
                      <a:pt x="756" y="280"/>
                    </a:lnTo>
                    <a:lnTo>
                      <a:pt x="758" y="278"/>
                    </a:lnTo>
                    <a:lnTo>
                      <a:pt x="758" y="276"/>
                    </a:lnTo>
                    <a:lnTo>
                      <a:pt x="760" y="276"/>
                    </a:lnTo>
                    <a:lnTo>
                      <a:pt x="762" y="276"/>
                    </a:lnTo>
                    <a:lnTo>
                      <a:pt x="762" y="274"/>
                    </a:lnTo>
                    <a:lnTo>
                      <a:pt x="762" y="272"/>
                    </a:lnTo>
                    <a:lnTo>
                      <a:pt x="762" y="270"/>
                    </a:lnTo>
                    <a:lnTo>
                      <a:pt x="762" y="268"/>
                    </a:lnTo>
                    <a:lnTo>
                      <a:pt x="764" y="268"/>
                    </a:lnTo>
                    <a:lnTo>
                      <a:pt x="766" y="268"/>
                    </a:lnTo>
                    <a:lnTo>
                      <a:pt x="768" y="266"/>
                    </a:lnTo>
                    <a:lnTo>
                      <a:pt x="770" y="264"/>
                    </a:lnTo>
                    <a:lnTo>
                      <a:pt x="774" y="264"/>
                    </a:lnTo>
                    <a:lnTo>
                      <a:pt x="776" y="262"/>
                    </a:lnTo>
                    <a:lnTo>
                      <a:pt x="778" y="260"/>
                    </a:lnTo>
                    <a:lnTo>
                      <a:pt x="780" y="260"/>
                    </a:lnTo>
                    <a:lnTo>
                      <a:pt x="782" y="260"/>
                    </a:lnTo>
                    <a:lnTo>
                      <a:pt x="784" y="260"/>
                    </a:lnTo>
                    <a:lnTo>
                      <a:pt x="786" y="260"/>
                    </a:lnTo>
                    <a:lnTo>
                      <a:pt x="788" y="260"/>
                    </a:lnTo>
                    <a:lnTo>
                      <a:pt x="788" y="258"/>
                    </a:lnTo>
                    <a:lnTo>
                      <a:pt x="790" y="258"/>
                    </a:lnTo>
                    <a:lnTo>
                      <a:pt x="790" y="256"/>
                    </a:lnTo>
                    <a:lnTo>
                      <a:pt x="790" y="254"/>
                    </a:lnTo>
                    <a:lnTo>
                      <a:pt x="790" y="252"/>
                    </a:lnTo>
                    <a:lnTo>
                      <a:pt x="792" y="250"/>
                    </a:lnTo>
                    <a:lnTo>
                      <a:pt x="794" y="250"/>
                    </a:lnTo>
                    <a:lnTo>
                      <a:pt x="796" y="248"/>
                    </a:lnTo>
                    <a:lnTo>
                      <a:pt x="798" y="246"/>
                    </a:lnTo>
                    <a:lnTo>
                      <a:pt x="802" y="244"/>
                    </a:lnTo>
                    <a:lnTo>
                      <a:pt x="804" y="244"/>
                    </a:lnTo>
                    <a:lnTo>
                      <a:pt x="806" y="242"/>
                    </a:lnTo>
                    <a:lnTo>
                      <a:pt x="806" y="240"/>
                    </a:lnTo>
                    <a:lnTo>
                      <a:pt x="808" y="238"/>
                    </a:lnTo>
                    <a:lnTo>
                      <a:pt x="808" y="234"/>
                    </a:lnTo>
                    <a:lnTo>
                      <a:pt x="808" y="230"/>
                    </a:lnTo>
                    <a:lnTo>
                      <a:pt x="808" y="228"/>
                    </a:lnTo>
                    <a:lnTo>
                      <a:pt x="810" y="226"/>
                    </a:lnTo>
                    <a:lnTo>
                      <a:pt x="810" y="224"/>
                    </a:lnTo>
                    <a:lnTo>
                      <a:pt x="812" y="224"/>
                    </a:lnTo>
                    <a:lnTo>
                      <a:pt x="814" y="226"/>
                    </a:lnTo>
                    <a:lnTo>
                      <a:pt x="816" y="226"/>
                    </a:lnTo>
                    <a:lnTo>
                      <a:pt x="818" y="228"/>
                    </a:lnTo>
                    <a:lnTo>
                      <a:pt x="820" y="228"/>
                    </a:lnTo>
                    <a:lnTo>
                      <a:pt x="824" y="228"/>
                    </a:lnTo>
                    <a:lnTo>
                      <a:pt x="826" y="230"/>
                    </a:lnTo>
                    <a:lnTo>
                      <a:pt x="830" y="230"/>
                    </a:lnTo>
                    <a:lnTo>
                      <a:pt x="834" y="230"/>
                    </a:lnTo>
                    <a:lnTo>
                      <a:pt x="836" y="230"/>
                    </a:lnTo>
                    <a:lnTo>
                      <a:pt x="836" y="228"/>
                    </a:lnTo>
                    <a:lnTo>
                      <a:pt x="836" y="226"/>
                    </a:lnTo>
                    <a:lnTo>
                      <a:pt x="834" y="226"/>
                    </a:lnTo>
                    <a:lnTo>
                      <a:pt x="834" y="224"/>
                    </a:lnTo>
                    <a:lnTo>
                      <a:pt x="832" y="224"/>
                    </a:lnTo>
                    <a:lnTo>
                      <a:pt x="830" y="222"/>
                    </a:lnTo>
                    <a:lnTo>
                      <a:pt x="828" y="220"/>
                    </a:lnTo>
                    <a:lnTo>
                      <a:pt x="830" y="218"/>
                    </a:lnTo>
                    <a:lnTo>
                      <a:pt x="832" y="218"/>
                    </a:lnTo>
                    <a:lnTo>
                      <a:pt x="834" y="218"/>
                    </a:lnTo>
                    <a:lnTo>
                      <a:pt x="838" y="220"/>
                    </a:lnTo>
                    <a:lnTo>
                      <a:pt x="840" y="220"/>
                    </a:lnTo>
                    <a:lnTo>
                      <a:pt x="842" y="220"/>
                    </a:lnTo>
                    <a:lnTo>
                      <a:pt x="844" y="218"/>
                    </a:lnTo>
                    <a:lnTo>
                      <a:pt x="844" y="216"/>
                    </a:lnTo>
                    <a:lnTo>
                      <a:pt x="844" y="214"/>
                    </a:lnTo>
                    <a:lnTo>
                      <a:pt x="844" y="212"/>
                    </a:lnTo>
                    <a:lnTo>
                      <a:pt x="844" y="210"/>
                    </a:lnTo>
                    <a:lnTo>
                      <a:pt x="846" y="212"/>
                    </a:lnTo>
                    <a:lnTo>
                      <a:pt x="848" y="212"/>
                    </a:lnTo>
                    <a:lnTo>
                      <a:pt x="850" y="210"/>
                    </a:lnTo>
                    <a:lnTo>
                      <a:pt x="850" y="208"/>
                    </a:lnTo>
                    <a:lnTo>
                      <a:pt x="848" y="206"/>
                    </a:lnTo>
                    <a:lnTo>
                      <a:pt x="848" y="204"/>
                    </a:lnTo>
                    <a:lnTo>
                      <a:pt x="848" y="202"/>
                    </a:lnTo>
                    <a:lnTo>
                      <a:pt x="846" y="202"/>
                    </a:lnTo>
                    <a:lnTo>
                      <a:pt x="848" y="202"/>
                    </a:lnTo>
                    <a:lnTo>
                      <a:pt x="850" y="202"/>
                    </a:lnTo>
                    <a:lnTo>
                      <a:pt x="852" y="202"/>
                    </a:lnTo>
                    <a:lnTo>
                      <a:pt x="854" y="202"/>
                    </a:lnTo>
                    <a:lnTo>
                      <a:pt x="854" y="204"/>
                    </a:lnTo>
                    <a:lnTo>
                      <a:pt x="856" y="204"/>
                    </a:lnTo>
                    <a:lnTo>
                      <a:pt x="856" y="206"/>
                    </a:lnTo>
                    <a:lnTo>
                      <a:pt x="858" y="204"/>
                    </a:lnTo>
                    <a:lnTo>
                      <a:pt x="858" y="202"/>
                    </a:lnTo>
                    <a:lnTo>
                      <a:pt x="858" y="200"/>
                    </a:lnTo>
                    <a:lnTo>
                      <a:pt x="860" y="200"/>
                    </a:lnTo>
                    <a:lnTo>
                      <a:pt x="862" y="202"/>
                    </a:lnTo>
                    <a:lnTo>
                      <a:pt x="864" y="202"/>
                    </a:lnTo>
                    <a:lnTo>
                      <a:pt x="866" y="202"/>
                    </a:lnTo>
                    <a:lnTo>
                      <a:pt x="866" y="200"/>
                    </a:lnTo>
                    <a:lnTo>
                      <a:pt x="866" y="198"/>
                    </a:lnTo>
                    <a:lnTo>
                      <a:pt x="866" y="196"/>
                    </a:lnTo>
                    <a:lnTo>
                      <a:pt x="866" y="194"/>
                    </a:lnTo>
                    <a:lnTo>
                      <a:pt x="864" y="194"/>
                    </a:lnTo>
                    <a:lnTo>
                      <a:pt x="864" y="192"/>
                    </a:lnTo>
                    <a:lnTo>
                      <a:pt x="862" y="192"/>
                    </a:lnTo>
                    <a:lnTo>
                      <a:pt x="862" y="190"/>
                    </a:lnTo>
                    <a:lnTo>
                      <a:pt x="860" y="188"/>
                    </a:lnTo>
                    <a:lnTo>
                      <a:pt x="860" y="186"/>
                    </a:lnTo>
                    <a:lnTo>
                      <a:pt x="860" y="184"/>
                    </a:lnTo>
                    <a:lnTo>
                      <a:pt x="858" y="184"/>
                    </a:lnTo>
                    <a:lnTo>
                      <a:pt x="858" y="182"/>
                    </a:lnTo>
                    <a:lnTo>
                      <a:pt x="858" y="180"/>
                    </a:lnTo>
                    <a:lnTo>
                      <a:pt x="856" y="178"/>
                    </a:lnTo>
                    <a:lnTo>
                      <a:pt x="854" y="176"/>
                    </a:lnTo>
                    <a:lnTo>
                      <a:pt x="854" y="174"/>
                    </a:lnTo>
                    <a:lnTo>
                      <a:pt x="852" y="172"/>
                    </a:lnTo>
                    <a:lnTo>
                      <a:pt x="850" y="172"/>
                    </a:lnTo>
                    <a:lnTo>
                      <a:pt x="848" y="170"/>
                    </a:lnTo>
                    <a:lnTo>
                      <a:pt x="846" y="170"/>
                    </a:lnTo>
                    <a:lnTo>
                      <a:pt x="846" y="168"/>
                    </a:lnTo>
                    <a:lnTo>
                      <a:pt x="844" y="168"/>
                    </a:lnTo>
                    <a:lnTo>
                      <a:pt x="844" y="166"/>
                    </a:lnTo>
                    <a:lnTo>
                      <a:pt x="844" y="164"/>
                    </a:lnTo>
                    <a:lnTo>
                      <a:pt x="846" y="164"/>
                    </a:lnTo>
                    <a:lnTo>
                      <a:pt x="848" y="164"/>
                    </a:lnTo>
                    <a:lnTo>
                      <a:pt x="850" y="164"/>
                    </a:lnTo>
                    <a:lnTo>
                      <a:pt x="850" y="162"/>
                    </a:lnTo>
                    <a:lnTo>
                      <a:pt x="850" y="160"/>
                    </a:lnTo>
                    <a:lnTo>
                      <a:pt x="850" y="158"/>
                    </a:lnTo>
                    <a:lnTo>
                      <a:pt x="852" y="158"/>
                    </a:lnTo>
                    <a:lnTo>
                      <a:pt x="854" y="156"/>
                    </a:lnTo>
                    <a:lnTo>
                      <a:pt x="854" y="158"/>
                    </a:lnTo>
                    <a:lnTo>
                      <a:pt x="858" y="158"/>
                    </a:lnTo>
                    <a:lnTo>
                      <a:pt x="860" y="160"/>
                    </a:lnTo>
                    <a:lnTo>
                      <a:pt x="864" y="160"/>
                    </a:lnTo>
                    <a:lnTo>
                      <a:pt x="866" y="162"/>
                    </a:lnTo>
                    <a:lnTo>
                      <a:pt x="868" y="162"/>
                    </a:lnTo>
                    <a:lnTo>
                      <a:pt x="870" y="162"/>
                    </a:lnTo>
                    <a:lnTo>
                      <a:pt x="872" y="160"/>
                    </a:lnTo>
                    <a:lnTo>
                      <a:pt x="872" y="158"/>
                    </a:lnTo>
                    <a:lnTo>
                      <a:pt x="870" y="156"/>
                    </a:lnTo>
                    <a:lnTo>
                      <a:pt x="870" y="154"/>
                    </a:lnTo>
                    <a:lnTo>
                      <a:pt x="870" y="152"/>
                    </a:lnTo>
                    <a:lnTo>
                      <a:pt x="870" y="150"/>
                    </a:lnTo>
                    <a:lnTo>
                      <a:pt x="872" y="150"/>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7" name="Freeform 228">
                <a:extLst>
                  <a:ext uri="{FF2B5EF4-FFF2-40B4-BE49-F238E27FC236}">
                    <a16:creationId xmlns:a16="http://schemas.microsoft.com/office/drawing/2014/main" id="{AF39B4F4-A686-4814-8352-0791466585EB}"/>
                  </a:ext>
                </a:extLst>
              </p:cNvPr>
              <p:cNvSpPr>
                <a:spLocks noChangeAspect="1" noEditPoints="1"/>
              </p:cNvSpPr>
              <p:nvPr/>
            </p:nvSpPr>
            <p:spPr bwMode="auto">
              <a:xfrm>
                <a:off x="7861940" y="2557526"/>
                <a:ext cx="363404" cy="653986"/>
              </a:xfrm>
              <a:custGeom>
                <a:avLst/>
                <a:gdLst/>
                <a:ahLst/>
                <a:cxnLst>
                  <a:cxn ang="0">
                    <a:pos x="162" y="114"/>
                  </a:cxn>
                  <a:cxn ang="0">
                    <a:pos x="174" y="106"/>
                  </a:cxn>
                  <a:cxn ang="0">
                    <a:pos x="156" y="122"/>
                  </a:cxn>
                  <a:cxn ang="0">
                    <a:pos x="192" y="98"/>
                  </a:cxn>
                  <a:cxn ang="0">
                    <a:pos x="216" y="30"/>
                  </a:cxn>
                  <a:cxn ang="0">
                    <a:pos x="208" y="72"/>
                  </a:cxn>
                  <a:cxn ang="0">
                    <a:pos x="212" y="4"/>
                  </a:cxn>
                  <a:cxn ang="0">
                    <a:pos x="218" y="12"/>
                  </a:cxn>
                  <a:cxn ang="0">
                    <a:pos x="154" y="282"/>
                  </a:cxn>
                  <a:cxn ang="0">
                    <a:pos x="138" y="240"/>
                  </a:cxn>
                  <a:cxn ang="0">
                    <a:pos x="144" y="222"/>
                  </a:cxn>
                  <a:cxn ang="0">
                    <a:pos x="136" y="204"/>
                  </a:cxn>
                  <a:cxn ang="0">
                    <a:pos x="116" y="186"/>
                  </a:cxn>
                  <a:cxn ang="0">
                    <a:pos x="110" y="182"/>
                  </a:cxn>
                  <a:cxn ang="0">
                    <a:pos x="108" y="188"/>
                  </a:cxn>
                  <a:cxn ang="0">
                    <a:pos x="100" y="190"/>
                  </a:cxn>
                  <a:cxn ang="0">
                    <a:pos x="106" y="206"/>
                  </a:cxn>
                  <a:cxn ang="0">
                    <a:pos x="114" y="238"/>
                  </a:cxn>
                  <a:cxn ang="0">
                    <a:pos x="110" y="254"/>
                  </a:cxn>
                  <a:cxn ang="0">
                    <a:pos x="88" y="262"/>
                  </a:cxn>
                  <a:cxn ang="0">
                    <a:pos x="84" y="264"/>
                  </a:cxn>
                  <a:cxn ang="0">
                    <a:pos x="84" y="286"/>
                  </a:cxn>
                  <a:cxn ang="0">
                    <a:pos x="58" y="288"/>
                  </a:cxn>
                  <a:cxn ang="0">
                    <a:pos x="32" y="294"/>
                  </a:cxn>
                  <a:cxn ang="0">
                    <a:pos x="14" y="314"/>
                  </a:cxn>
                  <a:cxn ang="0">
                    <a:pos x="30" y="320"/>
                  </a:cxn>
                  <a:cxn ang="0">
                    <a:pos x="42" y="316"/>
                  </a:cxn>
                  <a:cxn ang="0">
                    <a:pos x="66" y="306"/>
                  </a:cxn>
                  <a:cxn ang="0">
                    <a:pos x="84" y="306"/>
                  </a:cxn>
                  <a:cxn ang="0">
                    <a:pos x="88" y="326"/>
                  </a:cxn>
                  <a:cxn ang="0">
                    <a:pos x="110" y="316"/>
                  </a:cxn>
                  <a:cxn ang="0">
                    <a:pos x="100" y="302"/>
                  </a:cxn>
                  <a:cxn ang="0">
                    <a:pos x="112" y="308"/>
                  </a:cxn>
                  <a:cxn ang="0">
                    <a:pos x="128" y="304"/>
                  </a:cxn>
                  <a:cxn ang="0">
                    <a:pos x="140" y="302"/>
                  </a:cxn>
                  <a:cxn ang="0">
                    <a:pos x="148" y="288"/>
                  </a:cxn>
                  <a:cxn ang="0">
                    <a:pos x="160" y="286"/>
                  </a:cxn>
                  <a:cxn ang="0">
                    <a:pos x="56" y="316"/>
                  </a:cxn>
                  <a:cxn ang="0">
                    <a:pos x="46" y="328"/>
                  </a:cxn>
                  <a:cxn ang="0">
                    <a:pos x="54" y="342"/>
                  </a:cxn>
                  <a:cxn ang="0">
                    <a:pos x="74" y="336"/>
                  </a:cxn>
                  <a:cxn ang="0">
                    <a:pos x="34" y="334"/>
                  </a:cxn>
                  <a:cxn ang="0">
                    <a:pos x="14" y="322"/>
                  </a:cxn>
                  <a:cxn ang="0">
                    <a:pos x="6" y="340"/>
                  </a:cxn>
                  <a:cxn ang="0">
                    <a:pos x="16" y="340"/>
                  </a:cxn>
                  <a:cxn ang="0">
                    <a:pos x="20" y="372"/>
                  </a:cxn>
                  <a:cxn ang="0">
                    <a:pos x="32" y="368"/>
                  </a:cxn>
                  <a:cxn ang="0">
                    <a:pos x="38" y="362"/>
                  </a:cxn>
                  <a:cxn ang="0">
                    <a:pos x="70" y="104"/>
                  </a:cxn>
                  <a:cxn ang="0">
                    <a:pos x="88" y="126"/>
                  </a:cxn>
                  <a:cxn ang="0">
                    <a:pos x="92" y="144"/>
                  </a:cxn>
                  <a:cxn ang="0">
                    <a:pos x="80" y="148"/>
                  </a:cxn>
                  <a:cxn ang="0">
                    <a:pos x="86" y="166"/>
                  </a:cxn>
                  <a:cxn ang="0">
                    <a:pos x="106" y="170"/>
                  </a:cxn>
                  <a:cxn ang="0">
                    <a:pos x="92" y="158"/>
                  </a:cxn>
                  <a:cxn ang="0">
                    <a:pos x="120" y="162"/>
                  </a:cxn>
                  <a:cxn ang="0">
                    <a:pos x="136" y="150"/>
                  </a:cxn>
                  <a:cxn ang="0">
                    <a:pos x="154" y="142"/>
                  </a:cxn>
                  <a:cxn ang="0">
                    <a:pos x="138" y="126"/>
                  </a:cxn>
                  <a:cxn ang="0">
                    <a:pos x="108" y="122"/>
                  </a:cxn>
                  <a:cxn ang="0">
                    <a:pos x="72" y="100"/>
                  </a:cxn>
                </a:cxnLst>
                <a:rect l="0" t="0" r="r" b="b"/>
                <a:pathLst>
                  <a:path w="220" h="374">
                    <a:moveTo>
                      <a:pt x="178" y="102"/>
                    </a:moveTo>
                    <a:lnTo>
                      <a:pt x="178" y="100"/>
                    </a:lnTo>
                    <a:lnTo>
                      <a:pt x="176" y="100"/>
                    </a:lnTo>
                    <a:lnTo>
                      <a:pt x="176" y="104"/>
                    </a:lnTo>
                    <a:lnTo>
                      <a:pt x="170" y="104"/>
                    </a:lnTo>
                    <a:lnTo>
                      <a:pt x="168" y="102"/>
                    </a:lnTo>
                    <a:lnTo>
                      <a:pt x="166" y="102"/>
                    </a:lnTo>
                    <a:lnTo>
                      <a:pt x="164" y="108"/>
                    </a:lnTo>
                    <a:lnTo>
                      <a:pt x="164" y="110"/>
                    </a:lnTo>
                    <a:lnTo>
                      <a:pt x="164" y="112"/>
                    </a:lnTo>
                    <a:lnTo>
                      <a:pt x="164" y="114"/>
                    </a:lnTo>
                    <a:lnTo>
                      <a:pt x="162" y="114"/>
                    </a:lnTo>
                    <a:lnTo>
                      <a:pt x="162" y="118"/>
                    </a:lnTo>
                    <a:lnTo>
                      <a:pt x="162" y="120"/>
                    </a:lnTo>
                    <a:lnTo>
                      <a:pt x="164" y="120"/>
                    </a:lnTo>
                    <a:lnTo>
                      <a:pt x="164" y="116"/>
                    </a:lnTo>
                    <a:lnTo>
                      <a:pt x="166" y="114"/>
                    </a:lnTo>
                    <a:lnTo>
                      <a:pt x="166" y="112"/>
                    </a:lnTo>
                    <a:lnTo>
                      <a:pt x="168" y="112"/>
                    </a:lnTo>
                    <a:lnTo>
                      <a:pt x="168" y="110"/>
                    </a:lnTo>
                    <a:lnTo>
                      <a:pt x="170" y="110"/>
                    </a:lnTo>
                    <a:lnTo>
                      <a:pt x="172" y="108"/>
                    </a:lnTo>
                    <a:lnTo>
                      <a:pt x="174" y="108"/>
                    </a:lnTo>
                    <a:lnTo>
                      <a:pt x="174" y="106"/>
                    </a:lnTo>
                    <a:lnTo>
                      <a:pt x="178" y="106"/>
                    </a:lnTo>
                    <a:lnTo>
                      <a:pt x="178" y="104"/>
                    </a:lnTo>
                    <a:lnTo>
                      <a:pt x="180" y="104"/>
                    </a:lnTo>
                    <a:lnTo>
                      <a:pt x="178" y="104"/>
                    </a:lnTo>
                    <a:lnTo>
                      <a:pt x="178" y="102"/>
                    </a:lnTo>
                    <a:close/>
                    <a:moveTo>
                      <a:pt x="150" y="132"/>
                    </a:moveTo>
                    <a:lnTo>
                      <a:pt x="152" y="132"/>
                    </a:lnTo>
                    <a:lnTo>
                      <a:pt x="154" y="128"/>
                    </a:lnTo>
                    <a:lnTo>
                      <a:pt x="156" y="126"/>
                    </a:lnTo>
                    <a:lnTo>
                      <a:pt x="156" y="124"/>
                    </a:lnTo>
                    <a:lnTo>
                      <a:pt x="158" y="124"/>
                    </a:lnTo>
                    <a:lnTo>
                      <a:pt x="158" y="122"/>
                    </a:lnTo>
                    <a:lnTo>
                      <a:pt x="156" y="122"/>
                    </a:lnTo>
                    <a:lnTo>
                      <a:pt x="154" y="120"/>
                    </a:lnTo>
                    <a:lnTo>
                      <a:pt x="152" y="120"/>
                    </a:lnTo>
                    <a:lnTo>
                      <a:pt x="148" y="132"/>
                    </a:lnTo>
                    <a:lnTo>
                      <a:pt x="150" y="132"/>
                    </a:lnTo>
                    <a:close/>
                    <a:moveTo>
                      <a:pt x="190" y="92"/>
                    </a:moveTo>
                    <a:lnTo>
                      <a:pt x="190" y="92"/>
                    </a:lnTo>
                    <a:lnTo>
                      <a:pt x="188" y="94"/>
                    </a:lnTo>
                    <a:lnTo>
                      <a:pt x="188" y="96"/>
                    </a:lnTo>
                    <a:lnTo>
                      <a:pt x="190" y="98"/>
                    </a:lnTo>
                    <a:lnTo>
                      <a:pt x="192" y="98"/>
                    </a:lnTo>
                    <a:lnTo>
                      <a:pt x="194" y="96"/>
                    </a:lnTo>
                    <a:lnTo>
                      <a:pt x="194" y="94"/>
                    </a:lnTo>
                    <a:lnTo>
                      <a:pt x="196" y="92"/>
                    </a:lnTo>
                    <a:lnTo>
                      <a:pt x="196" y="90"/>
                    </a:lnTo>
                    <a:lnTo>
                      <a:pt x="192" y="90"/>
                    </a:lnTo>
                    <a:lnTo>
                      <a:pt x="190" y="92"/>
                    </a:lnTo>
                    <a:close/>
                    <a:moveTo>
                      <a:pt x="214" y="24"/>
                    </a:moveTo>
                    <a:lnTo>
                      <a:pt x="212" y="22"/>
                    </a:lnTo>
                    <a:lnTo>
                      <a:pt x="214" y="32"/>
                    </a:lnTo>
                    <a:lnTo>
                      <a:pt x="216" y="30"/>
                    </a:lnTo>
                    <a:lnTo>
                      <a:pt x="216" y="28"/>
                    </a:lnTo>
                    <a:lnTo>
                      <a:pt x="218" y="28"/>
                    </a:lnTo>
                    <a:lnTo>
                      <a:pt x="216" y="26"/>
                    </a:lnTo>
                    <a:lnTo>
                      <a:pt x="214" y="24"/>
                    </a:lnTo>
                    <a:close/>
                    <a:moveTo>
                      <a:pt x="208" y="72"/>
                    </a:moveTo>
                    <a:lnTo>
                      <a:pt x="208" y="74"/>
                    </a:lnTo>
                    <a:lnTo>
                      <a:pt x="206" y="74"/>
                    </a:lnTo>
                    <a:lnTo>
                      <a:pt x="206" y="76"/>
                    </a:lnTo>
                    <a:lnTo>
                      <a:pt x="210" y="76"/>
                    </a:lnTo>
                    <a:lnTo>
                      <a:pt x="210" y="70"/>
                    </a:lnTo>
                    <a:lnTo>
                      <a:pt x="210" y="68"/>
                    </a:lnTo>
                    <a:lnTo>
                      <a:pt x="208" y="70"/>
                    </a:lnTo>
                    <a:lnTo>
                      <a:pt x="208" y="72"/>
                    </a:lnTo>
                    <a:close/>
                    <a:moveTo>
                      <a:pt x="216" y="8"/>
                    </a:moveTo>
                    <a:lnTo>
                      <a:pt x="216" y="6"/>
                    </a:lnTo>
                    <a:lnTo>
                      <a:pt x="218" y="4"/>
                    </a:lnTo>
                    <a:lnTo>
                      <a:pt x="220" y="4"/>
                    </a:lnTo>
                    <a:lnTo>
                      <a:pt x="216" y="0"/>
                    </a:lnTo>
                    <a:lnTo>
                      <a:pt x="214" y="2"/>
                    </a:lnTo>
                    <a:lnTo>
                      <a:pt x="212" y="4"/>
                    </a:lnTo>
                    <a:lnTo>
                      <a:pt x="212" y="6"/>
                    </a:lnTo>
                    <a:lnTo>
                      <a:pt x="212" y="8"/>
                    </a:lnTo>
                    <a:lnTo>
                      <a:pt x="214" y="8"/>
                    </a:lnTo>
                    <a:lnTo>
                      <a:pt x="210" y="8"/>
                    </a:lnTo>
                    <a:lnTo>
                      <a:pt x="210" y="16"/>
                    </a:lnTo>
                    <a:lnTo>
                      <a:pt x="212" y="16"/>
                    </a:lnTo>
                    <a:lnTo>
                      <a:pt x="214" y="16"/>
                    </a:lnTo>
                    <a:lnTo>
                      <a:pt x="216" y="16"/>
                    </a:lnTo>
                    <a:lnTo>
                      <a:pt x="216" y="14"/>
                    </a:lnTo>
                    <a:lnTo>
                      <a:pt x="218" y="14"/>
                    </a:lnTo>
                    <a:lnTo>
                      <a:pt x="218" y="12"/>
                    </a:lnTo>
                    <a:lnTo>
                      <a:pt x="220" y="12"/>
                    </a:lnTo>
                    <a:lnTo>
                      <a:pt x="218" y="8"/>
                    </a:lnTo>
                    <a:lnTo>
                      <a:pt x="216" y="8"/>
                    </a:lnTo>
                    <a:close/>
                    <a:moveTo>
                      <a:pt x="212" y="50"/>
                    </a:moveTo>
                    <a:lnTo>
                      <a:pt x="210" y="50"/>
                    </a:lnTo>
                    <a:lnTo>
                      <a:pt x="210" y="54"/>
                    </a:lnTo>
                    <a:lnTo>
                      <a:pt x="212" y="54"/>
                    </a:lnTo>
                    <a:lnTo>
                      <a:pt x="212" y="52"/>
                    </a:lnTo>
                    <a:lnTo>
                      <a:pt x="212" y="50"/>
                    </a:lnTo>
                    <a:close/>
                    <a:moveTo>
                      <a:pt x="158" y="284"/>
                    </a:moveTo>
                    <a:lnTo>
                      <a:pt x="154" y="282"/>
                    </a:lnTo>
                    <a:lnTo>
                      <a:pt x="152" y="280"/>
                    </a:lnTo>
                    <a:lnTo>
                      <a:pt x="150" y="278"/>
                    </a:lnTo>
                    <a:lnTo>
                      <a:pt x="150" y="276"/>
                    </a:lnTo>
                    <a:lnTo>
                      <a:pt x="150" y="260"/>
                    </a:lnTo>
                    <a:lnTo>
                      <a:pt x="148" y="258"/>
                    </a:lnTo>
                    <a:lnTo>
                      <a:pt x="148" y="256"/>
                    </a:lnTo>
                    <a:lnTo>
                      <a:pt x="146" y="254"/>
                    </a:lnTo>
                    <a:lnTo>
                      <a:pt x="146" y="252"/>
                    </a:lnTo>
                    <a:lnTo>
                      <a:pt x="142" y="248"/>
                    </a:lnTo>
                    <a:lnTo>
                      <a:pt x="140" y="246"/>
                    </a:lnTo>
                    <a:lnTo>
                      <a:pt x="140" y="244"/>
                    </a:lnTo>
                    <a:lnTo>
                      <a:pt x="138" y="242"/>
                    </a:lnTo>
                    <a:lnTo>
                      <a:pt x="138" y="240"/>
                    </a:lnTo>
                    <a:lnTo>
                      <a:pt x="140" y="238"/>
                    </a:lnTo>
                    <a:lnTo>
                      <a:pt x="140" y="236"/>
                    </a:lnTo>
                    <a:lnTo>
                      <a:pt x="144" y="236"/>
                    </a:lnTo>
                    <a:lnTo>
                      <a:pt x="144" y="228"/>
                    </a:lnTo>
                    <a:lnTo>
                      <a:pt x="144" y="226"/>
                    </a:lnTo>
                    <a:lnTo>
                      <a:pt x="142" y="224"/>
                    </a:lnTo>
                    <a:lnTo>
                      <a:pt x="140" y="224"/>
                    </a:lnTo>
                    <a:lnTo>
                      <a:pt x="142" y="222"/>
                    </a:lnTo>
                    <a:lnTo>
                      <a:pt x="144" y="222"/>
                    </a:lnTo>
                    <a:lnTo>
                      <a:pt x="144" y="220"/>
                    </a:lnTo>
                    <a:lnTo>
                      <a:pt x="144" y="218"/>
                    </a:lnTo>
                    <a:lnTo>
                      <a:pt x="142" y="214"/>
                    </a:lnTo>
                    <a:lnTo>
                      <a:pt x="142" y="212"/>
                    </a:lnTo>
                    <a:lnTo>
                      <a:pt x="140" y="210"/>
                    </a:lnTo>
                    <a:lnTo>
                      <a:pt x="140" y="208"/>
                    </a:lnTo>
                    <a:lnTo>
                      <a:pt x="138" y="206"/>
                    </a:lnTo>
                    <a:lnTo>
                      <a:pt x="136" y="206"/>
                    </a:lnTo>
                    <a:lnTo>
                      <a:pt x="136" y="204"/>
                    </a:lnTo>
                    <a:lnTo>
                      <a:pt x="136" y="202"/>
                    </a:lnTo>
                    <a:lnTo>
                      <a:pt x="134" y="202"/>
                    </a:lnTo>
                    <a:lnTo>
                      <a:pt x="134" y="200"/>
                    </a:lnTo>
                    <a:lnTo>
                      <a:pt x="132" y="198"/>
                    </a:lnTo>
                    <a:lnTo>
                      <a:pt x="130" y="198"/>
                    </a:lnTo>
                    <a:lnTo>
                      <a:pt x="128" y="198"/>
                    </a:lnTo>
                    <a:lnTo>
                      <a:pt x="126" y="196"/>
                    </a:lnTo>
                    <a:lnTo>
                      <a:pt x="124" y="194"/>
                    </a:lnTo>
                    <a:lnTo>
                      <a:pt x="122" y="192"/>
                    </a:lnTo>
                    <a:lnTo>
                      <a:pt x="120" y="190"/>
                    </a:lnTo>
                    <a:lnTo>
                      <a:pt x="118" y="188"/>
                    </a:lnTo>
                    <a:lnTo>
                      <a:pt x="116" y="186"/>
                    </a:lnTo>
                    <a:lnTo>
                      <a:pt x="116" y="184"/>
                    </a:lnTo>
                    <a:lnTo>
                      <a:pt x="116" y="182"/>
                    </a:lnTo>
                    <a:lnTo>
                      <a:pt x="116" y="178"/>
                    </a:lnTo>
                    <a:lnTo>
                      <a:pt x="114" y="178"/>
                    </a:lnTo>
                    <a:lnTo>
                      <a:pt x="112" y="176"/>
                    </a:lnTo>
                    <a:lnTo>
                      <a:pt x="110" y="176"/>
                    </a:lnTo>
                    <a:lnTo>
                      <a:pt x="108" y="176"/>
                    </a:lnTo>
                    <a:lnTo>
                      <a:pt x="106" y="176"/>
                    </a:lnTo>
                    <a:lnTo>
                      <a:pt x="106" y="180"/>
                    </a:lnTo>
                    <a:lnTo>
                      <a:pt x="108" y="182"/>
                    </a:lnTo>
                    <a:lnTo>
                      <a:pt x="110" y="182"/>
                    </a:lnTo>
                    <a:lnTo>
                      <a:pt x="112" y="182"/>
                    </a:lnTo>
                    <a:lnTo>
                      <a:pt x="114" y="184"/>
                    </a:lnTo>
                    <a:lnTo>
                      <a:pt x="114" y="186"/>
                    </a:lnTo>
                    <a:lnTo>
                      <a:pt x="114" y="188"/>
                    </a:lnTo>
                    <a:lnTo>
                      <a:pt x="112" y="188"/>
                    </a:lnTo>
                    <a:lnTo>
                      <a:pt x="112" y="186"/>
                    </a:lnTo>
                    <a:lnTo>
                      <a:pt x="110" y="186"/>
                    </a:lnTo>
                    <a:lnTo>
                      <a:pt x="108" y="188"/>
                    </a:lnTo>
                    <a:lnTo>
                      <a:pt x="106" y="186"/>
                    </a:lnTo>
                    <a:lnTo>
                      <a:pt x="104" y="184"/>
                    </a:lnTo>
                    <a:lnTo>
                      <a:pt x="104" y="182"/>
                    </a:lnTo>
                    <a:lnTo>
                      <a:pt x="102" y="182"/>
                    </a:lnTo>
                    <a:lnTo>
                      <a:pt x="98" y="182"/>
                    </a:lnTo>
                    <a:lnTo>
                      <a:pt x="100" y="184"/>
                    </a:lnTo>
                    <a:lnTo>
                      <a:pt x="100" y="186"/>
                    </a:lnTo>
                    <a:lnTo>
                      <a:pt x="102" y="188"/>
                    </a:lnTo>
                    <a:lnTo>
                      <a:pt x="102" y="190"/>
                    </a:lnTo>
                    <a:lnTo>
                      <a:pt x="104" y="190"/>
                    </a:lnTo>
                    <a:lnTo>
                      <a:pt x="100" y="190"/>
                    </a:lnTo>
                    <a:lnTo>
                      <a:pt x="98" y="192"/>
                    </a:lnTo>
                    <a:lnTo>
                      <a:pt x="100" y="194"/>
                    </a:lnTo>
                    <a:lnTo>
                      <a:pt x="102" y="198"/>
                    </a:lnTo>
                    <a:lnTo>
                      <a:pt x="104" y="200"/>
                    </a:lnTo>
                    <a:lnTo>
                      <a:pt x="106" y="202"/>
                    </a:lnTo>
                    <a:lnTo>
                      <a:pt x="104" y="202"/>
                    </a:lnTo>
                    <a:lnTo>
                      <a:pt x="104" y="204"/>
                    </a:lnTo>
                    <a:lnTo>
                      <a:pt x="104" y="206"/>
                    </a:lnTo>
                    <a:lnTo>
                      <a:pt x="106" y="206"/>
                    </a:lnTo>
                    <a:lnTo>
                      <a:pt x="108" y="208"/>
                    </a:lnTo>
                    <a:lnTo>
                      <a:pt x="110" y="208"/>
                    </a:lnTo>
                    <a:lnTo>
                      <a:pt x="112" y="210"/>
                    </a:lnTo>
                    <a:lnTo>
                      <a:pt x="114" y="212"/>
                    </a:lnTo>
                    <a:lnTo>
                      <a:pt x="116" y="214"/>
                    </a:lnTo>
                    <a:lnTo>
                      <a:pt x="116" y="218"/>
                    </a:lnTo>
                    <a:lnTo>
                      <a:pt x="114" y="222"/>
                    </a:lnTo>
                    <a:lnTo>
                      <a:pt x="114" y="224"/>
                    </a:lnTo>
                    <a:lnTo>
                      <a:pt x="114" y="228"/>
                    </a:lnTo>
                    <a:lnTo>
                      <a:pt x="112" y="230"/>
                    </a:lnTo>
                    <a:lnTo>
                      <a:pt x="112" y="236"/>
                    </a:lnTo>
                    <a:lnTo>
                      <a:pt x="114" y="238"/>
                    </a:lnTo>
                    <a:lnTo>
                      <a:pt x="116" y="238"/>
                    </a:lnTo>
                    <a:lnTo>
                      <a:pt x="116" y="240"/>
                    </a:lnTo>
                    <a:lnTo>
                      <a:pt x="116" y="244"/>
                    </a:lnTo>
                    <a:lnTo>
                      <a:pt x="114" y="244"/>
                    </a:lnTo>
                    <a:lnTo>
                      <a:pt x="112" y="246"/>
                    </a:lnTo>
                    <a:lnTo>
                      <a:pt x="110" y="244"/>
                    </a:lnTo>
                    <a:lnTo>
                      <a:pt x="110" y="248"/>
                    </a:lnTo>
                    <a:lnTo>
                      <a:pt x="110" y="250"/>
                    </a:lnTo>
                    <a:lnTo>
                      <a:pt x="110" y="252"/>
                    </a:lnTo>
                    <a:lnTo>
                      <a:pt x="110" y="254"/>
                    </a:lnTo>
                    <a:lnTo>
                      <a:pt x="110" y="256"/>
                    </a:lnTo>
                    <a:lnTo>
                      <a:pt x="108" y="258"/>
                    </a:lnTo>
                    <a:lnTo>
                      <a:pt x="106" y="258"/>
                    </a:lnTo>
                    <a:lnTo>
                      <a:pt x="104" y="258"/>
                    </a:lnTo>
                    <a:lnTo>
                      <a:pt x="100" y="260"/>
                    </a:lnTo>
                    <a:lnTo>
                      <a:pt x="98" y="262"/>
                    </a:lnTo>
                    <a:lnTo>
                      <a:pt x="96" y="262"/>
                    </a:lnTo>
                    <a:lnTo>
                      <a:pt x="96" y="266"/>
                    </a:lnTo>
                    <a:lnTo>
                      <a:pt x="92" y="266"/>
                    </a:lnTo>
                    <a:lnTo>
                      <a:pt x="90" y="264"/>
                    </a:lnTo>
                    <a:lnTo>
                      <a:pt x="88" y="264"/>
                    </a:lnTo>
                    <a:lnTo>
                      <a:pt x="88" y="262"/>
                    </a:lnTo>
                    <a:lnTo>
                      <a:pt x="86" y="260"/>
                    </a:lnTo>
                    <a:lnTo>
                      <a:pt x="86" y="254"/>
                    </a:lnTo>
                    <a:lnTo>
                      <a:pt x="88" y="254"/>
                    </a:lnTo>
                    <a:lnTo>
                      <a:pt x="88" y="252"/>
                    </a:lnTo>
                    <a:lnTo>
                      <a:pt x="86" y="252"/>
                    </a:lnTo>
                    <a:lnTo>
                      <a:pt x="84" y="252"/>
                    </a:lnTo>
                    <a:lnTo>
                      <a:pt x="82" y="252"/>
                    </a:lnTo>
                    <a:lnTo>
                      <a:pt x="82" y="254"/>
                    </a:lnTo>
                    <a:lnTo>
                      <a:pt x="80" y="256"/>
                    </a:lnTo>
                    <a:lnTo>
                      <a:pt x="80" y="258"/>
                    </a:lnTo>
                    <a:lnTo>
                      <a:pt x="82" y="260"/>
                    </a:lnTo>
                    <a:lnTo>
                      <a:pt x="84" y="264"/>
                    </a:lnTo>
                    <a:lnTo>
                      <a:pt x="84" y="266"/>
                    </a:lnTo>
                    <a:lnTo>
                      <a:pt x="86" y="268"/>
                    </a:lnTo>
                    <a:lnTo>
                      <a:pt x="84" y="270"/>
                    </a:lnTo>
                    <a:lnTo>
                      <a:pt x="82" y="274"/>
                    </a:lnTo>
                    <a:lnTo>
                      <a:pt x="80" y="276"/>
                    </a:lnTo>
                    <a:lnTo>
                      <a:pt x="80" y="280"/>
                    </a:lnTo>
                    <a:lnTo>
                      <a:pt x="82" y="282"/>
                    </a:lnTo>
                    <a:lnTo>
                      <a:pt x="84" y="286"/>
                    </a:lnTo>
                    <a:lnTo>
                      <a:pt x="84" y="288"/>
                    </a:lnTo>
                    <a:lnTo>
                      <a:pt x="84" y="290"/>
                    </a:lnTo>
                    <a:lnTo>
                      <a:pt x="80" y="290"/>
                    </a:lnTo>
                    <a:lnTo>
                      <a:pt x="78" y="288"/>
                    </a:lnTo>
                    <a:lnTo>
                      <a:pt x="74" y="288"/>
                    </a:lnTo>
                    <a:lnTo>
                      <a:pt x="72" y="286"/>
                    </a:lnTo>
                    <a:lnTo>
                      <a:pt x="70" y="286"/>
                    </a:lnTo>
                    <a:lnTo>
                      <a:pt x="68" y="286"/>
                    </a:lnTo>
                    <a:lnTo>
                      <a:pt x="66" y="286"/>
                    </a:lnTo>
                    <a:lnTo>
                      <a:pt x="64" y="286"/>
                    </a:lnTo>
                    <a:lnTo>
                      <a:pt x="60" y="288"/>
                    </a:lnTo>
                    <a:lnTo>
                      <a:pt x="58" y="288"/>
                    </a:lnTo>
                    <a:lnTo>
                      <a:pt x="54" y="290"/>
                    </a:lnTo>
                    <a:lnTo>
                      <a:pt x="52" y="290"/>
                    </a:lnTo>
                    <a:lnTo>
                      <a:pt x="50" y="292"/>
                    </a:lnTo>
                    <a:lnTo>
                      <a:pt x="42" y="292"/>
                    </a:lnTo>
                    <a:lnTo>
                      <a:pt x="42" y="290"/>
                    </a:lnTo>
                    <a:lnTo>
                      <a:pt x="40" y="290"/>
                    </a:lnTo>
                    <a:lnTo>
                      <a:pt x="40" y="288"/>
                    </a:lnTo>
                    <a:lnTo>
                      <a:pt x="36" y="290"/>
                    </a:lnTo>
                    <a:lnTo>
                      <a:pt x="34" y="292"/>
                    </a:lnTo>
                    <a:lnTo>
                      <a:pt x="32" y="294"/>
                    </a:lnTo>
                    <a:lnTo>
                      <a:pt x="30" y="294"/>
                    </a:lnTo>
                    <a:lnTo>
                      <a:pt x="30" y="296"/>
                    </a:lnTo>
                    <a:lnTo>
                      <a:pt x="28" y="300"/>
                    </a:lnTo>
                    <a:lnTo>
                      <a:pt x="26" y="302"/>
                    </a:lnTo>
                    <a:lnTo>
                      <a:pt x="24" y="306"/>
                    </a:lnTo>
                    <a:lnTo>
                      <a:pt x="22" y="308"/>
                    </a:lnTo>
                    <a:lnTo>
                      <a:pt x="22" y="310"/>
                    </a:lnTo>
                    <a:lnTo>
                      <a:pt x="20" y="310"/>
                    </a:lnTo>
                    <a:lnTo>
                      <a:pt x="14" y="310"/>
                    </a:lnTo>
                    <a:lnTo>
                      <a:pt x="14" y="312"/>
                    </a:lnTo>
                    <a:lnTo>
                      <a:pt x="14" y="314"/>
                    </a:lnTo>
                    <a:lnTo>
                      <a:pt x="14" y="316"/>
                    </a:lnTo>
                    <a:lnTo>
                      <a:pt x="16" y="318"/>
                    </a:lnTo>
                    <a:lnTo>
                      <a:pt x="18" y="318"/>
                    </a:lnTo>
                    <a:lnTo>
                      <a:pt x="18" y="320"/>
                    </a:lnTo>
                    <a:lnTo>
                      <a:pt x="20" y="318"/>
                    </a:lnTo>
                    <a:lnTo>
                      <a:pt x="22" y="318"/>
                    </a:lnTo>
                    <a:lnTo>
                      <a:pt x="24" y="318"/>
                    </a:lnTo>
                    <a:lnTo>
                      <a:pt x="26" y="318"/>
                    </a:lnTo>
                    <a:lnTo>
                      <a:pt x="28" y="320"/>
                    </a:lnTo>
                    <a:lnTo>
                      <a:pt x="30" y="320"/>
                    </a:lnTo>
                    <a:lnTo>
                      <a:pt x="32" y="322"/>
                    </a:lnTo>
                    <a:lnTo>
                      <a:pt x="34" y="322"/>
                    </a:lnTo>
                    <a:lnTo>
                      <a:pt x="34" y="320"/>
                    </a:lnTo>
                    <a:lnTo>
                      <a:pt x="34" y="318"/>
                    </a:lnTo>
                    <a:lnTo>
                      <a:pt x="36" y="318"/>
                    </a:lnTo>
                    <a:lnTo>
                      <a:pt x="36" y="314"/>
                    </a:lnTo>
                    <a:lnTo>
                      <a:pt x="38" y="314"/>
                    </a:lnTo>
                    <a:lnTo>
                      <a:pt x="38" y="316"/>
                    </a:lnTo>
                    <a:lnTo>
                      <a:pt x="40" y="316"/>
                    </a:lnTo>
                    <a:lnTo>
                      <a:pt x="42" y="316"/>
                    </a:lnTo>
                    <a:lnTo>
                      <a:pt x="44" y="316"/>
                    </a:lnTo>
                    <a:lnTo>
                      <a:pt x="44" y="314"/>
                    </a:lnTo>
                    <a:lnTo>
                      <a:pt x="46" y="314"/>
                    </a:lnTo>
                    <a:lnTo>
                      <a:pt x="50" y="312"/>
                    </a:lnTo>
                    <a:lnTo>
                      <a:pt x="54" y="310"/>
                    </a:lnTo>
                    <a:lnTo>
                      <a:pt x="56" y="308"/>
                    </a:lnTo>
                    <a:lnTo>
                      <a:pt x="60" y="310"/>
                    </a:lnTo>
                    <a:lnTo>
                      <a:pt x="62" y="310"/>
                    </a:lnTo>
                    <a:lnTo>
                      <a:pt x="66" y="310"/>
                    </a:lnTo>
                    <a:lnTo>
                      <a:pt x="66" y="306"/>
                    </a:lnTo>
                    <a:lnTo>
                      <a:pt x="68" y="304"/>
                    </a:lnTo>
                    <a:lnTo>
                      <a:pt x="70" y="304"/>
                    </a:lnTo>
                    <a:lnTo>
                      <a:pt x="72" y="306"/>
                    </a:lnTo>
                    <a:lnTo>
                      <a:pt x="74" y="306"/>
                    </a:lnTo>
                    <a:lnTo>
                      <a:pt x="74" y="308"/>
                    </a:lnTo>
                    <a:lnTo>
                      <a:pt x="76" y="308"/>
                    </a:lnTo>
                    <a:lnTo>
                      <a:pt x="78" y="306"/>
                    </a:lnTo>
                    <a:lnTo>
                      <a:pt x="80" y="306"/>
                    </a:lnTo>
                    <a:lnTo>
                      <a:pt x="84" y="306"/>
                    </a:lnTo>
                    <a:lnTo>
                      <a:pt x="84" y="310"/>
                    </a:lnTo>
                    <a:lnTo>
                      <a:pt x="82" y="312"/>
                    </a:lnTo>
                    <a:lnTo>
                      <a:pt x="82" y="314"/>
                    </a:lnTo>
                    <a:lnTo>
                      <a:pt x="82" y="316"/>
                    </a:lnTo>
                    <a:lnTo>
                      <a:pt x="80" y="316"/>
                    </a:lnTo>
                    <a:lnTo>
                      <a:pt x="82" y="318"/>
                    </a:lnTo>
                    <a:lnTo>
                      <a:pt x="84" y="320"/>
                    </a:lnTo>
                    <a:lnTo>
                      <a:pt x="86" y="322"/>
                    </a:lnTo>
                    <a:lnTo>
                      <a:pt x="88" y="326"/>
                    </a:lnTo>
                    <a:lnTo>
                      <a:pt x="90" y="328"/>
                    </a:lnTo>
                    <a:lnTo>
                      <a:pt x="92" y="328"/>
                    </a:lnTo>
                    <a:lnTo>
                      <a:pt x="92" y="330"/>
                    </a:lnTo>
                    <a:lnTo>
                      <a:pt x="96" y="330"/>
                    </a:lnTo>
                    <a:lnTo>
                      <a:pt x="98" y="328"/>
                    </a:lnTo>
                    <a:lnTo>
                      <a:pt x="100" y="326"/>
                    </a:lnTo>
                    <a:lnTo>
                      <a:pt x="100" y="322"/>
                    </a:lnTo>
                    <a:lnTo>
                      <a:pt x="100" y="320"/>
                    </a:lnTo>
                    <a:lnTo>
                      <a:pt x="102" y="318"/>
                    </a:lnTo>
                    <a:lnTo>
                      <a:pt x="102" y="316"/>
                    </a:lnTo>
                    <a:lnTo>
                      <a:pt x="104" y="316"/>
                    </a:lnTo>
                    <a:lnTo>
                      <a:pt x="106" y="316"/>
                    </a:lnTo>
                    <a:lnTo>
                      <a:pt x="110" y="316"/>
                    </a:lnTo>
                    <a:lnTo>
                      <a:pt x="108" y="314"/>
                    </a:lnTo>
                    <a:lnTo>
                      <a:pt x="108" y="312"/>
                    </a:lnTo>
                    <a:lnTo>
                      <a:pt x="106" y="312"/>
                    </a:lnTo>
                    <a:lnTo>
                      <a:pt x="104" y="310"/>
                    </a:lnTo>
                    <a:lnTo>
                      <a:pt x="104" y="308"/>
                    </a:lnTo>
                    <a:lnTo>
                      <a:pt x="102" y="308"/>
                    </a:lnTo>
                    <a:lnTo>
                      <a:pt x="100" y="306"/>
                    </a:lnTo>
                    <a:lnTo>
                      <a:pt x="98" y="304"/>
                    </a:lnTo>
                    <a:lnTo>
                      <a:pt x="98" y="302"/>
                    </a:lnTo>
                    <a:lnTo>
                      <a:pt x="100" y="302"/>
                    </a:lnTo>
                    <a:lnTo>
                      <a:pt x="100" y="300"/>
                    </a:lnTo>
                    <a:lnTo>
                      <a:pt x="102" y="300"/>
                    </a:lnTo>
                    <a:lnTo>
                      <a:pt x="102" y="298"/>
                    </a:lnTo>
                    <a:lnTo>
                      <a:pt x="104" y="300"/>
                    </a:lnTo>
                    <a:lnTo>
                      <a:pt x="104" y="302"/>
                    </a:lnTo>
                    <a:lnTo>
                      <a:pt x="106" y="304"/>
                    </a:lnTo>
                    <a:lnTo>
                      <a:pt x="108" y="304"/>
                    </a:lnTo>
                    <a:lnTo>
                      <a:pt x="110" y="306"/>
                    </a:lnTo>
                    <a:lnTo>
                      <a:pt x="112" y="308"/>
                    </a:lnTo>
                    <a:lnTo>
                      <a:pt x="114" y="306"/>
                    </a:lnTo>
                    <a:lnTo>
                      <a:pt x="116" y="306"/>
                    </a:lnTo>
                    <a:lnTo>
                      <a:pt x="120" y="306"/>
                    </a:lnTo>
                    <a:lnTo>
                      <a:pt x="122" y="308"/>
                    </a:lnTo>
                    <a:lnTo>
                      <a:pt x="124" y="308"/>
                    </a:lnTo>
                    <a:lnTo>
                      <a:pt x="126" y="306"/>
                    </a:lnTo>
                    <a:lnTo>
                      <a:pt x="128" y="306"/>
                    </a:lnTo>
                    <a:lnTo>
                      <a:pt x="128" y="304"/>
                    </a:lnTo>
                    <a:lnTo>
                      <a:pt x="128" y="300"/>
                    </a:lnTo>
                    <a:lnTo>
                      <a:pt x="130" y="298"/>
                    </a:lnTo>
                    <a:lnTo>
                      <a:pt x="132" y="298"/>
                    </a:lnTo>
                    <a:lnTo>
                      <a:pt x="134" y="300"/>
                    </a:lnTo>
                    <a:lnTo>
                      <a:pt x="134" y="302"/>
                    </a:lnTo>
                    <a:lnTo>
                      <a:pt x="136" y="304"/>
                    </a:lnTo>
                    <a:lnTo>
                      <a:pt x="136" y="306"/>
                    </a:lnTo>
                    <a:lnTo>
                      <a:pt x="136" y="308"/>
                    </a:lnTo>
                    <a:lnTo>
                      <a:pt x="138" y="308"/>
                    </a:lnTo>
                    <a:lnTo>
                      <a:pt x="138" y="306"/>
                    </a:lnTo>
                    <a:lnTo>
                      <a:pt x="140" y="306"/>
                    </a:lnTo>
                    <a:lnTo>
                      <a:pt x="140" y="302"/>
                    </a:lnTo>
                    <a:lnTo>
                      <a:pt x="138" y="300"/>
                    </a:lnTo>
                    <a:lnTo>
                      <a:pt x="138" y="298"/>
                    </a:lnTo>
                    <a:lnTo>
                      <a:pt x="138" y="296"/>
                    </a:lnTo>
                    <a:lnTo>
                      <a:pt x="138" y="294"/>
                    </a:lnTo>
                    <a:lnTo>
                      <a:pt x="140" y="294"/>
                    </a:lnTo>
                    <a:lnTo>
                      <a:pt x="142" y="294"/>
                    </a:lnTo>
                    <a:lnTo>
                      <a:pt x="142" y="290"/>
                    </a:lnTo>
                    <a:lnTo>
                      <a:pt x="144" y="290"/>
                    </a:lnTo>
                    <a:lnTo>
                      <a:pt x="144" y="288"/>
                    </a:lnTo>
                    <a:lnTo>
                      <a:pt x="144" y="286"/>
                    </a:lnTo>
                    <a:lnTo>
                      <a:pt x="146" y="286"/>
                    </a:lnTo>
                    <a:lnTo>
                      <a:pt x="148" y="288"/>
                    </a:lnTo>
                    <a:lnTo>
                      <a:pt x="148" y="290"/>
                    </a:lnTo>
                    <a:lnTo>
                      <a:pt x="150" y="292"/>
                    </a:lnTo>
                    <a:lnTo>
                      <a:pt x="150" y="294"/>
                    </a:lnTo>
                    <a:lnTo>
                      <a:pt x="148" y="294"/>
                    </a:lnTo>
                    <a:lnTo>
                      <a:pt x="148" y="298"/>
                    </a:lnTo>
                    <a:lnTo>
                      <a:pt x="150" y="298"/>
                    </a:lnTo>
                    <a:lnTo>
                      <a:pt x="150" y="300"/>
                    </a:lnTo>
                    <a:lnTo>
                      <a:pt x="154" y="300"/>
                    </a:lnTo>
                    <a:lnTo>
                      <a:pt x="154" y="298"/>
                    </a:lnTo>
                    <a:lnTo>
                      <a:pt x="156" y="298"/>
                    </a:lnTo>
                    <a:lnTo>
                      <a:pt x="156" y="288"/>
                    </a:lnTo>
                    <a:lnTo>
                      <a:pt x="160" y="286"/>
                    </a:lnTo>
                    <a:lnTo>
                      <a:pt x="158" y="286"/>
                    </a:lnTo>
                    <a:lnTo>
                      <a:pt x="158" y="284"/>
                    </a:lnTo>
                    <a:close/>
                    <a:moveTo>
                      <a:pt x="76" y="318"/>
                    </a:moveTo>
                    <a:lnTo>
                      <a:pt x="74" y="316"/>
                    </a:lnTo>
                    <a:lnTo>
                      <a:pt x="70" y="318"/>
                    </a:lnTo>
                    <a:lnTo>
                      <a:pt x="68" y="316"/>
                    </a:lnTo>
                    <a:lnTo>
                      <a:pt x="66" y="314"/>
                    </a:lnTo>
                    <a:lnTo>
                      <a:pt x="64" y="314"/>
                    </a:lnTo>
                    <a:lnTo>
                      <a:pt x="58" y="314"/>
                    </a:lnTo>
                    <a:lnTo>
                      <a:pt x="56" y="316"/>
                    </a:lnTo>
                    <a:lnTo>
                      <a:pt x="56" y="318"/>
                    </a:lnTo>
                    <a:lnTo>
                      <a:pt x="56" y="320"/>
                    </a:lnTo>
                    <a:lnTo>
                      <a:pt x="52" y="320"/>
                    </a:lnTo>
                    <a:lnTo>
                      <a:pt x="50" y="318"/>
                    </a:lnTo>
                    <a:lnTo>
                      <a:pt x="46" y="318"/>
                    </a:lnTo>
                    <a:lnTo>
                      <a:pt x="46" y="320"/>
                    </a:lnTo>
                    <a:lnTo>
                      <a:pt x="44" y="320"/>
                    </a:lnTo>
                    <a:lnTo>
                      <a:pt x="44" y="328"/>
                    </a:lnTo>
                    <a:lnTo>
                      <a:pt x="46" y="328"/>
                    </a:lnTo>
                    <a:lnTo>
                      <a:pt x="44" y="328"/>
                    </a:lnTo>
                    <a:lnTo>
                      <a:pt x="44" y="330"/>
                    </a:lnTo>
                    <a:lnTo>
                      <a:pt x="42" y="330"/>
                    </a:lnTo>
                    <a:lnTo>
                      <a:pt x="42" y="332"/>
                    </a:lnTo>
                    <a:lnTo>
                      <a:pt x="44" y="332"/>
                    </a:lnTo>
                    <a:lnTo>
                      <a:pt x="44" y="334"/>
                    </a:lnTo>
                    <a:lnTo>
                      <a:pt x="46" y="336"/>
                    </a:lnTo>
                    <a:lnTo>
                      <a:pt x="48" y="338"/>
                    </a:lnTo>
                    <a:lnTo>
                      <a:pt x="50" y="340"/>
                    </a:lnTo>
                    <a:lnTo>
                      <a:pt x="54" y="342"/>
                    </a:lnTo>
                    <a:lnTo>
                      <a:pt x="58" y="344"/>
                    </a:lnTo>
                    <a:lnTo>
                      <a:pt x="58" y="334"/>
                    </a:lnTo>
                    <a:lnTo>
                      <a:pt x="60" y="332"/>
                    </a:lnTo>
                    <a:lnTo>
                      <a:pt x="62" y="330"/>
                    </a:lnTo>
                    <a:lnTo>
                      <a:pt x="64" y="328"/>
                    </a:lnTo>
                    <a:lnTo>
                      <a:pt x="66" y="330"/>
                    </a:lnTo>
                    <a:lnTo>
                      <a:pt x="70" y="332"/>
                    </a:lnTo>
                    <a:lnTo>
                      <a:pt x="72" y="334"/>
                    </a:lnTo>
                    <a:lnTo>
                      <a:pt x="74" y="334"/>
                    </a:lnTo>
                    <a:lnTo>
                      <a:pt x="74" y="336"/>
                    </a:lnTo>
                    <a:lnTo>
                      <a:pt x="76" y="334"/>
                    </a:lnTo>
                    <a:lnTo>
                      <a:pt x="76" y="332"/>
                    </a:lnTo>
                    <a:lnTo>
                      <a:pt x="76" y="328"/>
                    </a:lnTo>
                    <a:lnTo>
                      <a:pt x="76" y="326"/>
                    </a:lnTo>
                    <a:lnTo>
                      <a:pt x="78" y="324"/>
                    </a:lnTo>
                    <a:lnTo>
                      <a:pt x="78" y="320"/>
                    </a:lnTo>
                    <a:lnTo>
                      <a:pt x="76" y="318"/>
                    </a:lnTo>
                    <a:close/>
                    <a:moveTo>
                      <a:pt x="38" y="338"/>
                    </a:moveTo>
                    <a:lnTo>
                      <a:pt x="36" y="336"/>
                    </a:lnTo>
                    <a:lnTo>
                      <a:pt x="34" y="334"/>
                    </a:lnTo>
                    <a:lnTo>
                      <a:pt x="32" y="334"/>
                    </a:lnTo>
                    <a:lnTo>
                      <a:pt x="32" y="332"/>
                    </a:lnTo>
                    <a:lnTo>
                      <a:pt x="32" y="330"/>
                    </a:lnTo>
                    <a:lnTo>
                      <a:pt x="30" y="330"/>
                    </a:lnTo>
                    <a:lnTo>
                      <a:pt x="30" y="328"/>
                    </a:lnTo>
                    <a:lnTo>
                      <a:pt x="28" y="328"/>
                    </a:lnTo>
                    <a:lnTo>
                      <a:pt x="24" y="328"/>
                    </a:lnTo>
                    <a:lnTo>
                      <a:pt x="22" y="326"/>
                    </a:lnTo>
                    <a:lnTo>
                      <a:pt x="20" y="324"/>
                    </a:lnTo>
                    <a:lnTo>
                      <a:pt x="18" y="324"/>
                    </a:lnTo>
                    <a:lnTo>
                      <a:pt x="16" y="322"/>
                    </a:lnTo>
                    <a:lnTo>
                      <a:pt x="14" y="322"/>
                    </a:lnTo>
                    <a:lnTo>
                      <a:pt x="12" y="324"/>
                    </a:lnTo>
                    <a:lnTo>
                      <a:pt x="10" y="326"/>
                    </a:lnTo>
                    <a:lnTo>
                      <a:pt x="6" y="328"/>
                    </a:lnTo>
                    <a:lnTo>
                      <a:pt x="4" y="330"/>
                    </a:lnTo>
                    <a:lnTo>
                      <a:pt x="2" y="330"/>
                    </a:lnTo>
                    <a:lnTo>
                      <a:pt x="2" y="332"/>
                    </a:lnTo>
                    <a:lnTo>
                      <a:pt x="0" y="332"/>
                    </a:lnTo>
                    <a:lnTo>
                      <a:pt x="2" y="334"/>
                    </a:lnTo>
                    <a:lnTo>
                      <a:pt x="2" y="336"/>
                    </a:lnTo>
                    <a:lnTo>
                      <a:pt x="4" y="338"/>
                    </a:lnTo>
                    <a:lnTo>
                      <a:pt x="6" y="340"/>
                    </a:lnTo>
                    <a:lnTo>
                      <a:pt x="6" y="342"/>
                    </a:lnTo>
                    <a:lnTo>
                      <a:pt x="8" y="344"/>
                    </a:lnTo>
                    <a:lnTo>
                      <a:pt x="8" y="342"/>
                    </a:lnTo>
                    <a:lnTo>
                      <a:pt x="10" y="342"/>
                    </a:lnTo>
                    <a:lnTo>
                      <a:pt x="12" y="342"/>
                    </a:lnTo>
                    <a:lnTo>
                      <a:pt x="12" y="340"/>
                    </a:lnTo>
                    <a:lnTo>
                      <a:pt x="10" y="338"/>
                    </a:lnTo>
                    <a:lnTo>
                      <a:pt x="10" y="336"/>
                    </a:lnTo>
                    <a:lnTo>
                      <a:pt x="12" y="336"/>
                    </a:lnTo>
                    <a:lnTo>
                      <a:pt x="14" y="338"/>
                    </a:lnTo>
                    <a:lnTo>
                      <a:pt x="16" y="340"/>
                    </a:lnTo>
                    <a:lnTo>
                      <a:pt x="18" y="342"/>
                    </a:lnTo>
                    <a:lnTo>
                      <a:pt x="18" y="344"/>
                    </a:lnTo>
                    <a:lnTo>
                      <a:pt x="20" y="344"/>
                    </a:lnTo>
                    <a:lnTo>
                      <a:pt x="20" y="354"/>
                    </a:lnTo>
                    <a:lnTo>
                      <a:pt x="18" y="354"/>
                    </a:lnTo>
                    <a:lnTo>
                      <a:pt x="16" y="356"/>
                    </a:lnTo>
                    <a:lnTo>
                      <a:pt x="14" y="356"/>
                    </a:lnTo>
                    <a:lnTo>
                      <a:pt x="16" y="358"/>
                    </a:lnTo>
                    <a:lnTo>
                      <a:pt x="20" y="370"/>
                    </a:lnTo>
                    <a:lnTo>
                      <a:pt x="20" y="372"/>
                    </a:lnTo>
                    <a:lnTo>
                      <a:pt x="22" y="374"/>
                    </a:lnTo>
                    <a:lnTo>
                      <a:pt x="22" y="372"/>
                    </a:lnTo>
                    <a:lnTo>
                      <a:pt x="24" y="372"/>
                    </a:lnTo>
                    <a:lnTo>
                      <a:pt x="24" y="370"/>
                    </a:lnTo>
                    <a:lnTo>
                      <a:pt x="24" y="364"/>
                    </a:lnTo>
                    <a:lnTo>
                      <a:pt x="28" y="364"/>
                    </a:lnTo>
                    <a:lnTo>
                      <a:pt x="30" y="364"/>
                    </a:lnTo>
                    <a:lnTo>
                      <a:pt x="32" y="364"/>
                    </a:lnTo>
                    <a:lnTo>
                      <a:pt x="32" y="368"/>
                    </a:lnTo>
                    <a:lnTo>
                      <a:pt x="32" y="370"/>
                    </a:lnTo>
                    <a:lnTo>
                      <a:pt x="32" y="372"/>
                    </a:lnTo>
                    <a:lnTo>
                      <a:pt x="32" y="374"/>
                    </a:lnTo>
                    <a:lnTo>
                      <a:pt x="34" y="374"/>
                    </a:lnTo>
                    <a:lnTo>
                      <a:pt x="36" y="372"/>
                    </a:lnTo>
                    <a:lnTo>
                      <a:pt x="36" y="370"/>
                    </a:lnTo>
                    <a:lnTo>
                      <a:pt x="38" y="368"/>
                    </a:lnTo>
                    <a:lnTo>
                      <a:pt x="40" y="366"/>
                    </a:lnTo>
                    <a:lnTo>
                      <a:pt x="38" y="364"/>
                    </a:lnTo>
                    <a:lnTo>
                      <a:pt x="38" y="362"/>
                    </a:lnTo>
                    <a:lnTo>
                      <a:pt x="36" y="356"/>
                    </a:lnTo>
                    <a:lnTo>
                      <a:pt x="36" y="354"/>
                    </a:lnTo>
                    <a:lnTo>
                      <a:pt x="36" y="352"/>
                    </a:lnTo>
                    <a:lnTo>
                      <a:pt x="36" y="350"/>
                    </a:lnTo>
                    <a:lnTo>
                      <a:pt x="36" y="348"/>
                    </a:lnTo>
                    <a:lnTo>
                      <a:pt x="36" y="346"/>
                    </a:lnTo>
                    <a:lnTo>
                      <a:pt x="38" y="346"/>
                    </a:lnTo>
                    <a:lnTo>
                      <a:pt x="40" y="344"/>
                    </a:lnTo>
                    <a:lnTo>
                      <a:pt x="40" y="342"/>
                    </a:lnTo>
                    <a:lnTo>
                      <a:pt x="42" y="342"/>
                    </a:lnTo>
                    <a:lnTo>
                      <a:pt x="40" y="340"/>
                    </a:lnTo>
                    <a:lnTo>
                      <a:pt x="38" y="338"/>
                    </a:lnTo>
                    <a:close/>
                    <a:moveTo>
                      <a:pt x="70" y="104"/>
                    </a:moveTo>
                    <a:lnTo>
                      <a:pt x="72" y="106"/>
                    </a:lnTo>
                    <a:lnTo>
                      <a:pt x="72" y="108"/>
                    </a:lnTo>
                    <a:lnTo>
                      <a:pt x="76" y="110"/>
                    </a:lnTo>
                    <a:lnTo>
                      <a:pt x="78" y="112"/>
                    </a:lnTo>
                    <a:lnTo>
                      <a:pt x="80" y="116"/>
                    </a:lnTo>
                    <a:lnTo>
                      <a:pt x="82" y="118"/>
                    </a:lnTo>
                    <a:lnTo>
                      <a:pt x="82" y="120"/>
                    </a:lnTo>
                    <a:lnTo>
                      <a:pt x="84" y="122"/>
                    </a:lnTo>
                    <a:lnTo>
                      <a:pt x="84" y="124"/>
                    </a:lnTo>
                    <a:lnTo>
                      <a:pt x="86" y="124"/>
                    </a:lnTo>
                    <a:lnTo>
                      <a:pt x="88" y="126"/>
                    </a:lnTo>
                    <a:lnTo>
                      <a:pt x="90" y="128"/>
                    </a:lnTo>
                    <a:lnTo>
                      <a:pt x="90" y="130"/>
                    </a:lnTo>
                    <a:lnTo>
                      <a:pt x="88" y="134"/>
                    </a:lnTo>
                    <a:lnTo>
                      <a:pt x="86" y="136"/>
                    </a:lnTo>
                    <a:lnTo>
                      <a:pt x="88" y="136"/>
                    </a:lnTo>
                    <a:lnTo>
                      <a:pt x="88" y="138"/>
                    </a:lnTo>
                    <a:lnTo>
                      <a:pt x="90" y="140"/>
                    </a:lnTo>
                    <a:lnTo>
                      <a:pt x="90" y="142"/>
                    </a:lnTo>
                    <a:lnTo>
                      <a:pt x="92" y="142"/>
                    </a:lnTo>
                    <a:lnTo>
                      <a:pt x="92" y="144"/>
                    </a:lnTo>
                    <a:lnTo>
                      <a:pt x="88" y="144"/>
                    </a:lnTo>
                    <a:lnTo>
                      <a:pt x="86" y="144"/>
                    </a:lnTo>
                    <a:lnTo>
                      <a:pt x="84" y="142"/>
                    </a:lnTo>
                    <a:lnTo>
                      <a:pt x="82" y="142"/>
                    </a:lnTo>
                    <a:lnTo>
                      <a:pt x="78" y="142"/>
                    </a:lnTo>
                    <a:lnTo>
                      <a:pt x="76" y="142"/>
                    </a:lnTo>
                    <a:lnTo>
                      <a:pt x="76" y="140"/>
                    </a:lnTo>
                    <a:lnTo>
                      <a:pt x="76" y="142"/>
                    </a:lnTo>
                    <a:lnTo>
                      <a:pt x="78" y="144"/>
                    </a:lnTo>
                    <a:lnTo>
                      <a:pt x="78" y="146"/>
                    </a:lnTo>
                    <a:lnTo>
                      <a:pt x="80" y="146"/>
                    </a:lnTo>
                    <a:lnTo>
                      <a:pt x="80" y="148"/>
                    </a:lnTo>
                    <a:lnTo>
                      <a:pt x="82" y="148"/>
                    </a:lnTo>
                    <a:lnTo>
                      <a:pt x="80" y="150"/>
                    </a:lnTo>
                    <a:lnTo>
                      <a:pt x="78" y="150"/>
                    </a:lnTo>
                    <a:lnTo>
                      <a:pt x="76" y="152"/>
                    </a:lnTo>
                    <a:lnTo>
                      <a:pt x="76" y="156"/>
                    </a:lnTo>
                    <a:lnTo>
                      <a:pt x="78" y="158"/>
                    </a:lnTo>
                    <a:lnTo>
                      <a:pt x="78" y="160"/>
                    </a:lnTo>
                    <a:lnTo>
                      <a:pt x="78" y="162"/>
                    </a:lnTo>
                    <a:lnTo>
                      <a:pt x="82" y="164"/>
                    </a:lnTo>
                    <a:lnTo>
                      <a:pt x="84" y="164"/>
                    </a:lnTo>
                    <a:lnTo>
                      <a:pt x="86" y="166"/>
                    </a:lnTo>
                    <a:lnTo>
                      <a:pt x="88" y="166"/>
                    </a:lnTo>
                    <a:lnTo>
                      <a:pt x="88" y="168"/>
                    </a:lnTo>
                    <a:lnTo>
                      <a:pt x="88" y="174"/>
                    </a:lnTo>
                    <a:lnTo>
                      <a:pt x="90" y="176"/>
                    </a:lnTo>
                    <a:lnTo>
                      <a:pt x="92" y="178"/>
                    </a:lnTo>
                    <a:lnTo>
                      <a:pt x="94" y="178"/>
                    </a:lnTo>
                    <a:lnTo>
                      <a:pt x="94" y="174"/>
                    </a:lnTo>
                    <a:lnTo>
                      <a:pt x="94" y="172"/>
                    </a:lnTo>
                    <a:lnTo>
                      <a:pt x="104" y="172"/>
                    </a:lnTo>
                    <a:lnTo>
                      <a:pt x="104" y="170"/>
                    </a:lnTo>
                    <a:lnTo>
                      <a:pt x="106" y="170"/>
                    </a:lnTo>
                    <a:lnTo>
                      <a:pt x="102" y="168"/>
                    </a:lnTo>
                    <a:lnTo>
                      <a:pt x="100" y="166"/>
                    </a:lnTo>
                    <a:lnTo>
                      <a:pt x="98" y="166"/>
                    </a:lnTo>
                    <a:lnTo>
                      <a:pt x="98" y="164"/>
                    </a:lnTo>
                    <a:lnTo>
                      <a:pt x="92" y="164"/>
                    </a:lnTo>
                    <a:lnTo>
                      <a:pt x="90" y="164"/>
                    </a:lnTo>
                    <a:lnTo>
                      <a:pt x="86" y="162"/>
                    </a:lnTo>
                    <a:lnTo>
                      <a:pt x="86" y="160"/>
                    </a:lnTo>
                    <a:lnTo>
                      <a:pt x="84" y="160"/>
                    </a:lnTo>
                    <a:lnTo>
                      <a:pt x="84" y="158"/>
                    </a:lnTo>
                    <a:lnTo>
                      <a:pt x="86" y="156"/>
                    </a:lnTo>
                    <a:lnTo>
                      <a:pt x="92" y="156"/>
                    </a:lnTo>
                    <a:lnTo>
                      <a:pt x="92" y="158"/>
                    </a:lnTo>
                    <a:lnTo>
                      <a:pt x="94" y="158"/>
                    </a:lnTo>
                    <a:lnTo>
                      <a:pt x="96" y="160"/>
                    </a:lnTo>
                    <a:lnTo>
                      <a:pt x="98" y="160"/>
                    </a:lnTo>
                    <a:lnTo>
                      <a:pt x="98" y="158"/>
                    </a:lnTo>
                    <a:lnTo>
                      <a:pt x="102" y="156"/>
                    </a:lnTo>
                    <a:lnTo>
                      <a:pt x="104" y="156"/>
                    </a:lnTo>
                    <a:lnTo>
                      <a:pt x="106" y="156"/>
                    </a:lnTo>
                    <a:lnTo>
                      <a:pt x="108" y="156"/>
                    </a:lnTo>
                    <a:lnTo>
                      <a:pt x="112" y="158"/>
                    </a:lnTo>
                    <a:lnTo>
                      <a:pt x="116" y="160"/>
                    </a:lnTo>
                    <a:lnTo>
                      <a:pt x="120" y="162"/>
                    </a:lnTo>
                    <a:lnTo>
                      <a:pt x="124" y="164"/>
                    </a:lnTo>
                    <a:lnTo>
                      <a:pt x="128" y="166"/>
                    </a:lnTo>
                    <a:lnTo>
                      <a:pt x="130" y="166"/>
                    </a:lnTo>
                    <a:lnTo>
                      <a:pt x="132" y="166"/>
                    </a:lnTo>
                    <a:lnTo>
                      <a:pt x="134" y="168"/>
                    </a:lnTo>
                    <a:lnTo>
                      <a:pt x="136" y="168"/>
                    </a:lnTo>
                    <a:lnTo>
                      <a:pt x="136" y="164"/>
                    </a:lnTo>
                    <a:lnTo>
                      <a:pt x="134" y="162"/>
                    </a:lnTo>
                    <a:lnTo>
                      <a:pt x="134" y="158"/>
                    </a:lnTo>
                    <a:lnTo>
                      <a:pt x="134" y="152"/>
                    </a:lnTo>
                    <a:lnTo>
                      <a:pt x="134" y="150"/>
                    </a:lnTo>
                    <a:lnTo>
                      <a:pt x="136" y="150"/>
                    </a:lnTo>
                    <a:lnTo>
                      <a:pt x="138" y="150"/>
                    </a:lnTo>
                    <a:lnTo>
                      <a:pt x="140" y="150"/>
                    </a:lnTo>
                    <a:lnTo>
                      <a:pt x="142" y="150"/>
                    </a:lnTo>
                    <a:lnTo>
                      <a:pt x="146" y="150"/>
                    </a:lnTo>
                    <a:lnTo>
                      <a:pt x="150" y="148"/>
                    </a:lnTo>
                    <a:lnTo>
                      <a:pt x="152" y="146"/>
                    </a:lnTo>
                    <a:lnTo>
                      <a:pt x="154" y="146"/>
                    </a:lnTo>
                    <a:lnTo>
                      <a:pt x="154" y="144"/>
                    </a:lnTo>
                    <a:lnTo>
                      <a:pt x="156" y="144"/>
                    </a:lnTo>
                    <a:lnTo>
                      <a:pt x="154" y="142"/>
                    </a:lnTo>
                    <a:lnTo>
                      <a:pt x="152" y="140"/>
                    </a:lnTo>
                    <a:lnTo>
                      <a:pt x="150" y="140"/>
                    </a:lnTo>
                    <a:lnTo>
                      <a:pt x="148" y="138"/>
                    </a:lnTo>
                    <a:lnTo>
                      <a:pt x="146" y="136"/>
                    </a:lnTo>
                    <a:lnTo>
                      <a:pt x="144" y="136"/>
                    </a:lnTo>
                    <a:lnTo>
                      <a:pt x="142" y="134"/>
                    </a:lnTo>
                    <a:lnTo>
                      <a:pt x="142" y="128"/>
                    </a:lnTo>
                    <a:lnTo>
                      <a:pt x="142" y="126"/>
                    </a:lnTo>
                    <a:lnTo>
                      <a:pt x="140" y="126"/>
                    </a:lnTo>
                    <a:lnTo>
                      <a:pt x="140" y="124"/>
                    </a:lnTo>
                    <a:lnTo>
                      <a:pt x="138" y="126"/>
                    </a:lnTo>
                    <a:lnTo>
                      <a:pt x="138" y="128"/>
                    </a:lnTo>
                    <a:lnTo>
                      <a:pt x="136" y="130"/>
                    </a:lnTo>
                    <a:lnTo>
                      <a:pt x="134" y="130"/>
                    </a:lnTo>
                    <a:lnTo>
                      <a:pt x="132" y="130"/>
                    </a:lnTo>
                    <a:lnTo>
                      <a:pt x="130" y="130"/>
                    </a:lnTo>
                    <a:lnTo>
                      <a:pt x="128" y="128"/>
                    </a:lnTo>
                    <a:lnTo>
                      <a:pt x="124" y="128"/>
                    </a:lnTo>
                    <a:lnTo>
                      <a:pt x="118" y="126"/>
                    </a:lnTo>
                    <a:lnTo>
                      <a:pt x="114" y="124"/>
                    </a:lnTo>
                    <a:lnTo>
                      <a:pt x="112" y="124"/>
                    </a:lnTo>
                    <a:lnTo>
                      <a:pt x="110" y="124"/>
                    </a:lnTo>
                    <a:lnTo>
                      <a:pt x="108" y="122"/>
                    </a:lnTo>
                    <a:lnTo>
                      <a:pt x="106" y="122"/>
                    </a:lnTo>
                    <a:lnTo>
                      <a:pt x="106" y="120"/>
                    </a:lnTo>
                    <a:lnTo>
                      <a:pt x="104" y="120"/>
                    </a:lnTo>
                    <a:lnTo>
                      <a:pt x="102" y="118"/>
                    </a:lnTo>
                    <a:lnTo>
                      <a:pt x="98" y="116"/>
                    </a:lnTo>
                    <a:lnTo>
                      <a:pt x="94" y="112"/>
                    </a:lnTo>
                    <a:lnTo>
                      <a:pt x="88" y="108"/>
                    </a:lnTo>
                    <a:lnTo>
                      <a:pt x="82" y="104"/>
                    </a:lnTo>
                    <a:lnTo>
                      <a:pt x="80" y="104"/>
                    </a:lnTo>
                    <a:lnTo>
                      <a:pt x="78" y="102"/>
                    </a:lnTo>
                    <a:lnTo>
                      <a:pt x="74" y="102"/>
                    </a:lnTo>
                    <a:lnTo>
                      <a:pt x="72" y="100"/>
                    </a:lnTo>
                    <a:lnTo>
                      <a:pt x="70" y="102"/>
                    </a:lnTo>
                    <a:lnTo>
                      <a:pt x="70" y="104"/>
                    </a:lnTo>
                    <a:close/>
                  </a:path>
                </a:pathLst>
              </a:custGeom>
              <a:grpFill/>
              <a:ln w="3175">
                <a:noFill/>
                <a:round/>
                <a:headEnd/>
                <a:tailEnd/>
              </a:ln>
            </p:spPr>
            <p:txBody>
              <a:bodyPr/>
              <a:lstStyle/>
              <a:p>
                <a:pPr defTabSz="914400" fontAlgn="base">
                  <a:spcBef>
                    <a:spcPts val="390"/>
                  </a:spcBef>
                  <a:spcAft>
                    <a:spcPts val="390"/>
                  </a:spcAft>
                  <a:buClr>
                    <a:srgbClr val="003781"/>
                  </a:buClr>
                  <a:tabLst>
                    <a:tab pos="194331" algn="l"/>
                  </a:tabLst>
                </a:pPr>
                <a:endParaRPr lang="en-US" sz="1300" kern="0">
                  <a:solidFill>
                    <a:srgbClr val="000000"/>
                  </a:solidFill>
                  <a:latin typeface="Arial"/>
                </a:endParaRPr>
              </a:p>
            </p:txBody>
          </p:sp>
          <p:sp>
            <p:nvSpPr>
              <p:cNvPr id="128" name="Oval 127">
                <a:extLst>
                  <a:ext uri="{FF2B5EF4-FFF2-40B4-BE49-F238E27FC236}">
                    <a16:creationId xmlns:a16="http://schemas.microsoft.com/office/drawing/2014/main" id="{00A23DE2-B471-41ED-B874-4AB7A1EDBFC4}"/>
                  </a:ext>
                </a:extLst>
              </p:cNvPr>
              <p:cNvSpPr/>
              <p:nvPr/>
            </p:nvSpPr>
            <p:spPr bwMode="auto">
              <a:xfrm>
                <a:off x="4598316" y="2542680"/>
                <a:ext cx="116845" cy="116845"/>
              </a:xfrm>
              <a:prstGeom prst="ellipse">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60"/>
                  </a:spcBef>
                  <a:spcAft>
                    <a:spcPct val="25000"/>
                  </a:spcAft>
                  <a:buClr>
                    <a:srgbClr val="003781"/>
                  </a:buClr>
                </a:pPr>
                <a:endParaRPr lang="en-US" sz="1300" kern="0">
                  <a:solidFill>
                    <a:srgbClr val="FFFFFF"/>
                  </a:solidFill>
                  <a:latin typeface="Arial" charset="0"/>
                </a:endParaRPr>
              </a:p>
            </p:txBody>
          </p:sp>
          <p:sp>
            <p:nvSpPr>
              <p:cNvPr id="129" name="Oval 128">
                <a:extLst>
                  <a:ext uri="{FF2B5EF4-FFF2-40B4-BE49-F238E27FC236}">
                    <a16:creationId xmlns:a16="http://schemas.microsoft.com/office/drawing/2014/main" id="{85B7A9F1-7263-45E5-AFA5-033B151439B8}"/>
                  </a:ext>
                </a:extLst>
              </p:cNvPr>
              <p:cNvSpPr/>
              <p:nvPr/>
            </p:nvSpPr>
            <p:spPr bwMode="auto">
              <a:xfrm>
                <a:off x="7183440" y="4209370"/>
                <a:ext cx="116845" cy="116845"/>
              </a:xfrm>
              <a:prstGeom prst="ellipse">
                <a:avLst/>
              </a:prstGeom>
              <a:grp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t" anchorCtr="0" forceAA="0" compatLnSpc="1">
                <a:prstTxWarp prst="textNoShape">
                  <a:avLst/>
                </a:prstTxWarp>
                <a:noAutofit/>
              </a:bodyPr>
              <a:lstStyle/>
              <a:p>
                <a:pPr defTabSz="990570" fontAlgn="base">
                  <a:spcBef>
                    <a:spcPts val="360"/>
                  </a:spcBef>
                  <a:spcAft>
                    <a:spcPct val="25000"/>
                  </a:spcAft>
                  <a:buClr>
                    <a:srgbClr val="003781"/>
                  </a:buClr>
                </a:pPr>
                <a:endParaRPr lang="en-US" sz="1300" kern="0">
                  <a:solidFill>
                    <a:srgbClr val="FFFFFF"/>
                  </a:solidFill>
                  <a:latin typeface="Arial" charset="0"/>
                </a:endParaRPr>
              </a:p>
            </p:txBody>
          </p:sp>
        </p:grpSp>
      </p:grpSp>
      <p:sp>
        <p:nvSpPr>
          <p:cNvPr id="2" name="Title 1">
            <a:extLst>
              <a:ext uri="{FF2B5EF4-FFF2-40B4-BE49-F238E27FC236}">
                <a16:creationId xmlns:a16="http://schemas.microsoft.com/office/drawing/2014/main" id="{EFB6F287-F01E-4518-B46B-112CEA9A6F95}"/>
              </a:ext>
            </a:extLst>
          </p:cNvPr>
          <p:cNvSpPr>
            <a:spLocks noGrp="1"/>
          </p:cNvSpPr>
          <p:nvPr>
            <p:ph type="title"/>
          </p:nvPr>
        </p:nvSpPr>
        <p:spPr/>
        <p:txBody>
          <a:bodyPr/>
          <a:lstStyle/>
          <a:p>
            <a:r>
              <a:rPr lang="en-US" dirty="0"/>
              <a:t>It Seems to be the Right Time to Implement a Risk Management Framework!</a:t>
            </a:r>
            <a:endParaRPr lang="en-GB" dirty="0"/>
          </a:p>
        </p:txBody>
      </p:sp>
      <p:sp>
        <p:nvSpPr>
          <p:cNvPr id="248" name="TextBox 7">
            <a:extLst>
              <a:ext uri="{FF2B5EF4-FFF2-40B4-BE49-F238E27FC236}">
                <a16:creationId xmlns:a16="http://schemas.microsoft.com/office/drawing/2014/main" id="{1574B498-B0F7-4499-97B1-100159291403}"/>
              </a:ext>
            </a:extLst>
          </p:cNvPr>
          <p:cNvSpPr txBox="1"/>
          <p:nvPr/>
        </p:nvSpPr>
        <p:spPr bwMode="gray">
          <a:xfrm>
            <a:off x="1143001" y="4804834"/>
            <a:ext cx="9906000" cy="700047"/>
          </a:xfrm>
          <a:prstGeom prst="rect">
            <a:avLst/>
          </a:prstGeom>
          <a:gradFill>
            <a:gsLst>
              <a:gs pos="0">
                <a:schemeClr val="accent3">
                  <a:alpha val="50000"/>
                </a:schemeClr>
              </a:gs>
              <a:gs pos="100000">
                <a:schemeClr val="accent3">
                  <a:alpha val="50000"/>
                </a:schemeClr>
              </a:gs>
              <a:gs pos="75000">
                <a:schemeClr val="accent3"/>
              </a:gs>
              <a:gs pos="25000">
                <a:schemeClr val="accent3"/>
              </a:gs>
            </a:gsLst>
            <a:lin ang="0" scaled="0"/>
          </a:grad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ctr" anchorCtr="0" forceAA="0" compatLnSpc="1">
            <a:prstTxWarp prst="textNoShape">
              <a:avLst/>
            </a:prstTxWarp>
            <a:noAutofit/>
          </a:bodyPr>
          <a:lstStyle>
            <a:defPPr>
              <a:defRPr lang="de-DE"/>
            </a:defPPr>
            <a:lvl1pPr algn="ctr">
              <a:spcAft>
                <a:spcPct val="25000"/>
              </a:spcAft>
              <a:tabLst/>
              <a:defRPr kumimoji="0" sz="1600" b="1" i="0" u="none" strike="noStrike" cap="none" normalizeH="0">
                <a:ln>
                  <a:noFill/>
                </a:ln>
                <a:solidFill>
                  <a:schemeClr val="bg1"/>
                </a:solidFill>
                <a:effectLst/>
                <a:latin typeface="+mn-lt"/>
              </a:defRPr>
            </a:lvl1pPr>
          </a:lstStyle>
          <a:p>
            <a:pPr defTabSz="914400" fontAlgn="base">
              <a:spcBef>
                <a:spcPts val="650"/>
              </a:spcBef>
              <a:spcAft>
                <a:spcPts val="0"/>
              </a:spcAft>
              <a:buClr>
                <a:srgbClr val="FFFFFF"/>
              </a:buClr>
            </a:pPr>
            <a:r>
              <a:rPr lang="en-GB" sz="1400" kern="0" dirty="0">
                <a:solidFill>
                  <a:srgbClr val="FFFFFF"/>
                </a:solidFill>
                <a:latin typeface="Arial"/>
              </a:rPr>
              <a:t>Risk Management is not just about de-risking.</a:t>
            </a:r>
          </a:p>
          <a:p>
            <a:pPr defTabSz="914400" fontAlgn="base">
              <a:spcBef>
                <a:spcPts val="650"/>
              </a:spcBef>
              <a:spcAft>
                <a:spcPts val="0"/>
              </a:spcAft>
              <a:buClr>
                <a:srgbClr val="FFFFFF"/>
              </a:buClr>
            </a:pPr>
            <a:r>
              <a:rPr lang="en-GB" sz="1400" kern="0" dirty="0">
                <a:solidFill>
                  <a:srgbClr val="FFFFFF"/>
                </a:solidFill>
                <a:latin typeface="Arial"/>
              </a:rPr>
              <a:t>With an effective risk management solution in place you stay in control of your portfolio at any time.</a:t>
            </a:r>
          </a:p>
        </p:txBody>
      </p:sp>
      <p:sp>
        <p:nvSpPr>
          <p:cNvPr id="261" name="Rechteck 17">
            <a:extLst>
              <a:ext uri="{FF2B5EF4-FFF2-40B4-BE49-F238E27FC236}">
                <a16:creationId xmlns:a16="http://schemas.microsoft.com/office/drawing/2014/main" id="{BA09FFD8-B36E-4A3C-9D5E-1C8D0226F7C9}"/>
              </a:ext>
            </a:extLst>
          </p:cNvPr>
          <p:cNvSpPr/>
          <p:nvPr/>
        </p:nvSpPr>
        <p:spPr>
          <a:xfrm>
            <a:off x="1468484" y="2685225"/>
            <a:ext cx="2674620" cy="200055"/>
          </a:xfrm>
          <a:prstGeom prst="rect">
            <a:avLst/>
          </a:prstGeom>
        </p:spPr>
        <p:txBody>
          <a:bodyPr wrap="square" lIns="0" tIns="0" rIns="0" bIns="0">
            <a:spAutoFit/>
          </a:bodyPr>
          <a:lstStyle/>
          <a:p>
            <a:pPr algn="ctr" defTabSz="914400" fontAlgn="base">
              <a:spcBef>
                <a:spcPts val="360"/>
              </a:spcBef>
              <a:spcAft>
                <a:spcPts val="360"/>
              </a:spcAft>
              <a:buClr>
                <a:srgbClr val="003781"/>
              </a:buClr>
              <a:tabLst>
                <a:tab pos="179388" algn="l"/>
              </a:tabLst>
            </a:pPr>
            <a:r>
              <a:rPr lang="en-GB" sz="1300" b="1" kern="0" dirty="0">
                <a:solidFill>
                  <a:srgbClr val="7E5475"/>
                </a:solidFill>
                <a:latin typeface="Arial"/>
              </a:rPr>
              <a:t>Defend</a:t>
            </a:r>
            <a:r>
              <a:rPr lang="en-GB" sz="1300" b="1" kern="0" dirty="0">
                <a:solidFill>
                  <a:srgbClr val="2A5B6C"/>
                </a:solidFill>
                <a:latin typeface="Arial"/>
              </a:rPr>
              <a:t> </a:t>
            </a:r>
            <a:r>
              <a:rPr lang="en-GB" sz="1300" b="1" kern="0" dirty="0">
                <a:solidFill>
                  <a:srgbClr val="7E5475"/>
                </a:solidFill>
                <a:latin typeface="Arial"/>
              </a:rPr>
              <a:t>your</a:t>
            </a:r>
            <a:r>
              <a:rPr lang="en-GB" sz="1300" b="1" kern="0" dirty="0">
                <a:solidFill>
                  <a:srgbClr val="2A5B6C"/>
                </a:solidFill>
                <a:latin typeface="Arial"/>
              </a:rPr>
              <a:t> </a:t>
            </a:r>
            <a:r>
              <a:rPr lang="en-GB" sz="1300" b="1" kern="0" dirty="0">
                <a:solidFill>
                  <a:srgbClr val="7E5475"/>
                </a:solidFill>
                <a:latin typeface="Arial"/>
              </a:rPr>
              <a:t>assets</a:t>
            </a:r>
          </a:p>
        </p:txBody>
      </p:sp>
      <p:sp>
        <p:nvSpPr>
          <p:cNvPr id="262" name="Rechteck 18">
            <a:extLst>
              <a:ext uri="{FF2B5EF4-FFF2-40B4-BE49-F238E27FC236}">
                <a16:creationId xmlns:a16="http://schemas.microsoft.com/office/drawing/2014/main" id="{ED0040F6-565B-4B36-ABA4-8F67A1CC2695}"/>
              </a:ext>
            </a:extLst>
          </p:cNvPr>
          <p:cNvSpPr/>
          <p:nvPr/>
        </p:nvSpPr>
        <p:spPr>
          <a:xfrm>
            <a:off x="1462881" y="3014430"/>
            <a:ext cx="2674620" cy="780184"/>
          </a:xfrm>
          <a:prstGeom prst="rect">
            <a:avLst/>
          </a:prstGeom>
          <a:gradFill flip="none" rotWithShape="1">
            <a:gsLst>
              <a:gs pos="0">
                <a:schemeClr val="bg1">
                  <a:alpha val="0"/>
                </a:schemeClr>
              </a:gs>
              <a:gs pos="100000">
                <a:srgbClr val="E1D4DE"/>
              </a:gs>
              <a:gs pos="100000">
                <a:schemeClr val="accent1">
                  <a:lumMod val="30000"/>
                  <a:lumOff val="70000"/>
                </a:schemeClr>
              </a:gs>
            </a:gsLst>
            <a:lin ang="16200000" scaled="1"/>
            <a:tileRect/>
          </a:gradFill>
        </p:spPr>
        <p:txBody>
          <a:bodyPr/>
          <a:lstStyle/>
          <a:p>
            <a:pPr algn="ctr" defTabSz="914400" fontAlgn="base">
              <a:spcBef>
                <a:spcPts val="360"/>
              </a:spcBef>
              <a:spcAft>
                <a:spcPts val="360"/>
              </a:spcAft>
              <a:buClr>
                <a:srgbClr val="003781"/>
              </a:buClr>
              <a:tabLst>
                <a:tab pos="179388" algn="l"/>
              </a:tabLst>
            </a:pPr>
            <a:r>
              <a:rPr lang="en-US" sz="1300" kern="0" dirty="0">
                <a:solidFill>
                  <a:srgbClr val="000000"/>
                </a:solidFill>
                <a:latin typeface="Arial" panose="020B0604020202020204" pitchFamily="34" charset="0"/>
              </a:rPr>
              <a:t>DTRM helps to smoothly float your DB scheme into the Transition FTK.</a:t>
            </a:r>
          </a:p>
          <a:p>
            <a:pPr algn="ctr" defTabSz="914400" fontAlgn="base">
              <a:spcBef>
                <a:spcPts val="360"/>
              </a:spcBef>
              <a:spcAft>
                <a:spcPts val="360"/>
              </a:spcAft>
              <a:buClr>
                <a:srgbClr val="003781"/>
              </a:buClr>
              <a:tabLst>
                <a:tab pos="179388" algn="l"/>
              </a:tabLst>
            </a:pPr>
            <a:r>
              <a:rPr lang="en-US" sz="1300" kern="0" dirty="0">
                <a:solidFill>
                  <a:srgbClr val="000000"/>
                </a:solidFill>
                <a:latin typeface="Arial" panose="020B0604020202020204" pitchFamily="34" charset="0"/>
              </a:rPr>
              <a:t>Under new pension law DTRM has significant advantages as the pension result for the worst-case scenario (5% percentile) will increase due to the hedge.</a:t>
            </a:r>
            <a:endParaRPr lang="en-GB" sz="1300" kern="0" dirty="0">
              <a:solidFill>
                <a:srgbClr val="000000"/>
              </a:solidFill>
              <a:latin typeface="Arial" panose="020B0604020202020204" pitchFamily="34" charset="0"/>
            </a:endParaRPr>
          </a:p>
        </p:txBody>
      </p:sp>
      <p:sp>
        <p:nvSpPr>
          <p:cNvPr id="263" name="Rechteck 22">
            <a:extLst>
              <a:ext uri="{FF2B5EF4-FFF2-40B4-BE49-F238E27FC236}">
                <a16:creationId xmlns:a16="http://schemas.microsoft.com/office/drawing/2014/main" id="{4C941CCB-32D1-4ED6-A656-9DE0121C45B9}"/>
              </a:ext>
            </a:extLst>
          </p:cNvPr>
          <p:cNvSpPr/>
          <p:nvPr/>
        </p:nvSpPr>
        <p:spPr>
          <a:xfrm>
            <a:off x="4748896" y="2685225"/>
            <a:ext cx="2674620" cy="200055"/>
          </a:xfrm>
          <a:prstGeom prst="rect">
            <a:avLst/>
          </a:prstGeom>
        </p:spPr>
        <p:txBody>
          <a:bodyPr wrap="square" lIns="0" tIns="0" rIns="0" bIns="0">
            <a:spAutoFit/>
          </a:bodyPr>
          <a:lstStyle/>
          <a:p>
            <a:pPr algn="ctr" defTabSz="914400" fontAlgn="base">
              <a:spcBef>
                <a:spcPts val="360"/>
              </a:spcBef>
              <a:buClr>
                <a:srgbClr val="003781"/>
              </a:buClr>
            </a:pPr>
            <a:r>
              <a:rPr lang="en-GB" sz="1300" b="1" kern="0" dirty="0">
                <a:solidFill>
                  <a:srgbClr val="2A5B6C"/>
                </a:solidFill>
                <a:latin typeface="Arial"/>
              </a:rPr>
              <a:t>Balance risk and return</a:t>
            </a:r>
          </a:p>
        </p:txBody>
      </p:sp>
      <p:sp>
        <p:nvSpPr>
          <p:cNvPr id="264" name="Rechteck 23">
            <a:extLst>
              <a:ext uri="{FF2B5EF4-FFF2-40B4-BE49-F238E27FC236}">
                <a16:creationId xmlns:a16="http://schemas.microsoft.com/office/drawing/2014/main" id="{9DEC4E6F-CC4F-44AD-8B9B-FA84CF1999BA}"/>
              </a:ext>
            </a:extLst>
          </p:cNvPr>
          <p:cNvSpPr/>
          <p:nvPr/>
        </p:nvSpPr>
        <p:spPr>
          <a:xfrm>
            <a:off x="4456003" y="3014431"/>
            <a:ext cx="3229142" cy="1572291"/>
          </a:xfrm>
          <a:prstGeom prst="rect">
            <a:avLst/>
          </a:prstGeom>
          <a:gradFill flip="none" rotWithShape="1">
            <a:gsLst>
              <a:gs pos="0">
                <a:schemeClr val="bg1">
                  <a:alpha val="0"/>
                </a:schemeClr>
              </a:gs>
              <a:gs pos="100000">
                <a:srgbClr val="E1E9EB"/>
              </a:gs>
              <a:gs pos="100000">
                <a:schemeClr val="accent1">
                  <a:lumMod val="30000"/>
                  <a:lumOff val="70000"/>
                </a:schemeClr>
              </a:gs>
            </a:gsLst>
            <a:lin ang="16200000" scaled="1"/>
            <a:tileRect/>
          </a:gradFill>
        </p:spPr>
        <p:txBody>
          <a:bodyPr/>
          <a:lstStyle/>
          <a:p>
            <a:pPr algn="ctr" defTabSz="914400" fontAlgn="base">
              <a:spcBef>
                <a:spcPts val="360"/>
              </a:spcBef>
              <a:spcAft>
                <a:spcPts val="360"/>
              </a:spcAft>
              <a:buClr>
                <a:srgbClr val="003781"/>
              </a:buClr>
              <a:tabLst>
                <a:tab pos="179388" algn="l"/>
              </a:tabLst>
            </a:pPr>
            <a:r>
              <a:rPr lang="en-GB" sz="1300" kern="0" dirty="0">
                <a:solidFill>
                  <a:srgbClr val="000000"/>
                </a:solidFill>
                <a:latin typeface="Arial" panose="020B0604020202020204" pitchFamily="34" charset="0"/>
              </a:rPr>
              <a:t>DTRM </a:t>
            </a:r>
            <a:r>
              <a:rPr lang="en-US" sz="1300" kern="0" dirty="0">
                <a:solidFill>
                  <a:srgbClr val="000000"/>
                </a:solidFill>
                <a:latin typeface="Arial" panose="020B0604020202020204" pitchFamily="34" charset="0"/>
              </a:rPr>
              <a:t>improves your portfolio efficiency. Depending on your ambitions it can reduce risk and/or improve returns through a more </a:t>
            </a:r>
            <a:r>
              <a:rPr lang="en-GB" sz="1300" kern="0" dirty="0">
                <a:solidFill>
                  <a:srgbClr val="000000"/>
                </a:solidFill>
                <a:latin typeface="Arial" panose="020B0604020202020204" pitchFamily="34" charset="0"/>
              </a:rPr>
              <a:t>efficient use of your risk budget. This applies today (VEV-terms) as well as under the new pension law.</a:t>
            </a:r>
          </a:p>
        </p:txBody>
      </p:sp>
      <p:sp>
        <p:nvSpPr>
          <p:cNvPr id="265" name="Rechteck 25">
            <a:extLst>
              <a:ext uri="{FF2B5EF4-FFF2-40B4-BE49-F238E27FC236}">
                <a16:creationId xmlns:a16="http://schemas.microsoft.com/office/drawing/2014/main" id="{EA32C412-4253-4D1F-923C-69E535243ECE}"/>
              </a:ext>
            </a:extLst>
          </p:cNvPr>
          <p:cNvSpPr/>
          <p:nvPr/>
        </p:nvSpPr>
        <p:spPr>
          <a:xfrm>
            <a:off x="8041837" y="2685225"/>
            <a:ext cx="2674620" cy="200055"/>
          </a:xfrm>
          <a:prstGeom prst="rect">
            <a:avLst/>
          </a:prstGeom>
        </p:spPr>
        <p:txBody>
          <a:bodyPr wrap="square" lIns="0" tIns="0" rIns="0" bIns="0">
            <a:spAutoFit/>
          </a:bodyPr>
          <a:lstStyle/>
          <a:p>
            <a:pPr algn="ctr" defTabSz="914400" fontAlgn="base">
              <a:spcBef>
                <a:spcPts val="360"/>
              </a:spcBef>
              <a:spcAft>
                <a:spcPts val="360"/>
              </a:spcAft>
              <a:buClr>
                <a:srgbClr val="003781"/>
              </a:buClr>
              <a:tabLst>
                <a:tab pos="179388" algn="l"/>
              </a:tabLst>
            </a:pPr>
            <a:r>
              <a:rPr lang="en-GB" sz="1300" b="1" kern="0" dirty="0">
                <a:solidFill>
                  <a:srgbClr val="326295"/>
                </a:solidFill>
                <a:latin typeface="Arial"/>
              </a:rPr>
              <a:t>Seize Opportunities</a:t>
            </a:r>
          </a:p>
        </p:txBody>
      </p:sp>
      <p:sp>
        <p:nvSpPr>
          <p:cNvPr id="266" name="Rechteck 31">
            <a:extLst>
              <a:ext uri="{FF2B5EF4-FFF2-40B4-BE49-F238E27FC236}">
                <a16:creationId xmlns:a16="http://schemas.microsoft.com/office/drawing/2014/main" id="{0AAA5056-2B0D-4A9D-AE27-9CE23F04844D}"/>
              </a:ext>
            </a:extLst>
          </p:cNvPr>
          <p:cNvSpPr/>
          <p:nvPr/>
        </p:nvSpPr>
        <p:spPr>
          <a:xfrm>
            <a:off x="8039128" y="3014431"/>
            <a:ext cx="2674620" cy="1572291"/>
          </a:xfrm>
          <a:prstGeom prst="rect">
            <a:avLst/>
          </a:prstGeom>
          <a:gradFill flip="none" rotWithShape="1">
            <a:gsLst>
              <a:gs pos="0">
                <a:schemeClr val="bg1">
                  <a:alpha val="0"/>
                </a:schemeClr>
              </a:gs>
              <a:gs pos="100000">
                <a:srgbClr val="D6E0EA"/>
              </a:gs>
              <a:gs pos="100000">
                <a:schemeClr val="accent1">
                  <a:lumMod val="30000"/>
                  <a:lumOff val="70000"/>
                </a:schemeClr>
              </a:gs>
            </a:gsLst>
            <a:lin ang="16200000" scaled="1"/>
            <a:tileRect/>
          </a:gradFill>
        </p:spPr>
        <p:txBody>
          <a:bodyPr/>
          <a:lstStyle/>
          <a:p>
            <a:pPr algn="ctr" defTabSz="914400" fontAlgn="base">
              <a:spcBef>
                <a:spcPts val="360"/>
              </a:spcBef>
              <a:spcAft>
                <a:spcPts val="360"/>
              </a:spcAft>
              <a:buClr>
                <a:srgbClr val="003781"/>
              </a:buClr>
              <a:tabLst>
                <a:tab pos="179388" algn="l"/>
              </a:tabLst>
            </a:pPr>
            <a:r>
              <a:rPr lang="en-US" sz="1300" kern="0" dirty="0">
                <a:solidFill>
                  <a:srgbClr val="000000"/>
                </a:solidFill>
                <a:latin typeface="Arial" panose="020B0604020202020204" pitchFamily="34" charset="0"/>
              </a:rPr>
              <a:t>Successful risk mitigation enables the pursuit of opportunities even when markets are in distress.</a:t>
            </a:r>
            <a:br>
              <a:rPr lang="en-US" sz="1300" kern="0" dirty="0">
                <a:solidFill>
                  <a:srgbClr val="000000"/>
                </a:solidFill>
                <a:latin typeface="Arial" panose="020B0604020202020204" pitchFamily="34" charset="0"/>
              </a:rPr>
            </a:br>
            <a:endParaRPr lang="en-US" sz="1300" kern="0" dirty="0">
              <a:solidFill>
                <a:srgbClr val="000000"/>
              </a:solidFill>
              <a:latin typeface="Arial" panose="020B0604020202020204" pitchFamily="34" charset="0"/>
            </a:endParaRPr>
          </a:p>
          <a:p>
            <a:pPr algn="ctr" defTabSz="914400" fontAlgn="base">
              <a:spcBef>
                <a:spcPts val="360"/>
              </a:spcBef>
              <a:spcAft>
                <a:spcPts val="360"/>
              </a:spcAft>
              <a:buClr>
                <a:srgbClr val="003781"/>
              </a:buClr>
              <a:tabLst>
                <a:tab pos="179388" algn="l"/>
              </a:tabLst>
            </a:pPr>
            <a:r>
              <a:rPr lang="en-US" sz="1300" kern="0" dirty="0">
                <a:solidFill>
                  <a:srgbClr val="000000"/>
                </a:solidFill>
                <a:latin typeface="Arial" panose="020B0604020202020204" pitchFamily="34" charset="0"/>
              </a:rPr>
              <a:t>No de-risking discussions or actions necessary during future market </a:t>
            </a:r>
            <a:r>
              <a:rPr lang="en-US" sz="1300" kern="0" dirty="0" err="1">
                <a:solidFill>
                  <a:srgbClr val="000000"/>
                </a:solidFill>
                <a:latin typeface="Arial" panose="020B0604020202020204" pitchFamily="34" charset="0"/>
              </a:rPr>
              <a:t>turmoils</a:t>
            </a:r>
            <a:r>
              <a:rPr lang="en-US" sz="1300" kern="0" dirty="0">
                <a:solidFill>
                  <a:srgbClr val="000000"/>
                </a:solidFill>
                <a:latin typeface="Arial" panose="020B0604020202020204" pitchFamily="34" charset="0"/>
              </a:rPr>
              <a:t>.</a:t>
            </a:r>
          </a:p>
        </p:txBody>
      </p:sp>
      <p:sp>
        <p:nvSpPr>
          <p:cNvPr id="267" name="Ellipse 29">
            <a:extLst>
              <a:ext uri="{FF2B5EF4-FFF2-40B4-BE49-F238E27FC236}">
                <a16:creationId xmlns:a16="http://schemas.microsoft.com/office/drawing/2014/main" id="{2A4A867F-9964-419F-AAD2-C7BD742EDDC5}"/>
              </a:ext>
            </a:extLst>
          </p:cNvPr>
          <p:cNvSpPr>
            <a:spLocks noChangeAspect="1"/>
          </p:cNvSpPr>
          <p:nvPr/>
        </p:nvSpPr>
        <p:spPr bwMode="auto">
          <a:xfrm>
            <a:off x="8898349" y="1694466"/>
            <a:ext cx="854472" cy="854472"/>
          </a:xfrm>
          <a:prstGeom prst="ellipse">
            <a:avLst/>
          </a:prstGeom>
          <a:solidFill>
            <a:srgbClr val="7091B5"/>
          </a:solidFill>
          <a:ln w="6350" cap="flat" cmpd="sng" algn="ctr">
            <a:noFill/>
            <a:prstDash val="solid"/>
            <a:round/>
            <a:headEnd type="none" w="med" len="med"/>
            <a:tailEnd type="none" w="med" len="med"/>
          </a:ln>
          <a:effectLst/>
        </p:spPr>
        <p:txBody>
          <a:bodyPr rot="0" spcFirstLastPara="0" vertOverflow="overflow" horzOverflow="overflow" vert="horz" wrap="square" lIns="84500" tIns="84500" rIns="84500" bIns="84500" numCol="1" spcCol="0" rtlCol="0" fromWordArt="0" anchor="t" anchorCtr="0" forceAA="0" compatLnSpc="1">
            <a:prstTxWarp prst="textNoShape">
              <a:avLst/>
            </a:prstTxWarp>
            <a:noAutofit/>
          </a:bodyPr>
          <a:lstStyle/>
          <a:p>
            <a:pPr defTabSz="1073084" fontAlgn="base">
              <a:spcBef>
                <a:spcPts val="422"/>
              </a:spcBef>
              <a:spcAft>
                <a:spcPts val="422"/>
              </a:spcAft>
              <a:buClr>
                <a:srgbClr val="003781"/>
              </a:buClr>
            </a:pPr>
            <a:endParaRPr lang="en-GB" sz="1408" kern="0" dirty="0">
              <a:solidFill>
                <a:srgbClr val="FFFFFF"/>
              </a:solidFill>
              <a:latin typeface="Arial" charset="0"/>
            </a:endParaRPr>
          </a:p>
        </p:txBody>
      </p:sp>
      <p:pic>
        <p:nvPicPr>
          <p:cNvPr id="268" name="Grafik 278">
            <a:extLst>
              <a:ext uri="{FF2B5EF4-FFF2-40B4-BE49-F238E27FC236}">
                <a16:creationId xmlns:a16="http://schemas.microsoft.com/office/drawing/2014/main" id="{06A5DC95-71FA-4C34-8175-EFE21FE0D3EC}"/>
              </a:ext>
            </a:extLst>
          </p:cNvPr>
          <p:cNvPicPr>
            <a:picLocks noChangeAspect="1"/>
          </p:cNvPicPr>
          <p:nvPr/>
        </p:nvPicPr>
        <p:blipFill>
          <a:blip r:embed="rId2"/>
          <a:stretch>
            <a:fillRect/>
          </a:stretch>
        </p:blipFill>
        <p:spPr>
          <a:xfrm>
            <a:off x="9059166" y="1923152"/>
            <a:ext cx="532839" cy="397098"/>
          </a:xfrm>
          <a:prstGeom prst="rect">
            <a:avLst/>
          </a:prstGeom>
        </p:spPr>
      </p:pic>
      <p:sp>
        <p:nvSpPr>
          <p:cNvPr id="269" name="Ellipse 26">
            <a:extLst>
              <a:ext uri="{FF2B5EF4-FFF2-40B4-BE49-F238E27FC236}">
                <a16:creationId xmlns:a16="http://schemas.microsoft.com/office/drawing/2014/main" id="{9B5607A6-565C-48AC-BC5A-02B53357D480}"/>
              </a:ext>
            </a:extLst>
          </p:cNvPr>
          <p:cNvSpPr>
            <a:spLocks noChangeAspect="1"/>
          </p:cNvSpPr>
          <p:nvPr/>
        </p:nvSpPr>
        <p:spPr bwMode="auto">
          <a:xfrm>
            <a:off x="5718321" y="1694466"/>
            <a:ext cx="854472" cy="854472"/>
          </a:xfrm>
          <a:prstGeom prst="ellipse">
            <a:avLst/>
          </a:prstGeom>
          <a:solidFill>
            <a:srgbClr val="6A8C98"/>
          </a:solidFill>
          <a:ln w="6350" cap="flat" cmpd="sng" algn="ctr">
            <a:noFill/>
            <a:prstDash val="solid"/>
            <a:round/>
            <a:headEnd type="none" w="med" len="med"/>
            <a:tailEnd type="none" w="med" len="med"/>
          </a:ln>
          <a:effectLst/>
        </p:spPr>
        <p:txBody>
          <a:bodyPr rot="0" spcFirstLastPara="0" vertOverflow="overflow" horzOverflow="overflow" vert="horz" wrap="square" lIns="84500" tIns="84500" rIns="84500" bIns="84500" numCol="1" spcCol="0" rtlCol="0" fromWordArt="0" anchor="t" anchorCtr="0" forceAA="0" compatLnSpc="1">
            <a:prstTxWarp prst="textNoShape">
              <a:avLst/>
            </a:prstTxWarp>
            <a:noAutofit/>
          </a:bodyPr>
          <a:lstStyle/>
          <a:p>
            <a:pPr defTabSz="1073084" fontAlgn="base">
              <a:spcBef>
                <a:spcPts val="422"/>
              </a:spcBef>
              <a:spcAft>
                <a:spcPts val="422"/>
              </a:spcAft>
              <a:buClr>
                <a:srgbClr val="003781"/>
              </a:buClr>
            </a:pPr>
            <a:endParaRPr lang="en-GB" sz="1408" kern="0" dirty="0">
              <a:solidFill>
                <a:srgbClr val="FFFFFF"/>
              </a:solidFill>
              <a:latin typeface="Arial" charset="0"/>
            </a:endParaRPr>
          </a:p>
        </p:txBody>
      </p:sp>
      <p:pic>
        <p:nvPicPr>
          <p:cNvPr id="270" name="Grafik 23">
            <a:extLst>
              <a:ext uri="{FF2B5EF4-FFF2-40B4-BE49-F238E27FC236}">
                <a16:creationId xmlns:a16="http://schemas.microsoft.com/office/drawing/2014/main" id="{C76A0159-6128-43AD-8F7B-6626CB1CDF12}"/>
              </a:ext>
            </a:extLst>
          </p:cNvPr>
          <p:cNvPicPr>
            <a:picLocks noChangeAspect="1"/>
          </p:cNvPicPr>
          <p:nvPr/>
        </p:nvPicPr>
        <p:blipFill>
          <a:blip r:embed="rId3"/>
          <a:stretch>
            <a:fillRect/>
          </a:stretch>
        </p:blipFill>
        <p:spPr>
          <a:xfrm>
            <a:off x="5942410" y="1905103"/>
            <a:ext cx="406294" cy="433198"/>
          </a:xfrm>
          <a:prstGeom prst="rect">
            <a:avLst/>
          </a:prstGeom>
        </p:spPr>
      </p:pic>
      <p:sp>
        <p:nvSpPr>
          <p:cNvPr id="271" name="Ellipse 20">
            <a:extLst>
              <a:ext uri="{FF2B5EF4-FFF2-40B4-BE49-F238E27FC236}">
                <a16:creationId xmlns:a16="http://schemas.microsoft.com/office/drawing/2014/main" id="{9E4DD6E1-3AC7-41F7-BEA9-5351B5543304}"/>
              </a:ext>
            </a:extLst>
          </p:cNvPr>
          <p:cNvSpPr>
            <a:spLocks noChangeAspect="1"/>
          </p:cNvSpPr>
          <p:nvPr/>
        </p:nvSpPr>
        <p:spPr bwMode="auto">
          <a:xfrm>
            <a:off x="2340997" y="1694466"/>
            <a:ext cx="854472" cy="854472"/>
          </a:xfrm>
          <a:prstGeom prst="ellipse">
            <a:avLst/>
          </a:prstGeom>
          <a:solidFill>
            <a:srgbClr val="A5879E"/>
          </a:solidFill>
          <a:ln w="6350" cap="flat" cmpd="sng" algn="ctr">
            <a:noFill/>
            <a:prstDash val="solid"/>
            <a:round/>
            <a:headEnd type="none" w="med" len="med"/>
            <a:tailEnd type="none" w="med" len="med"/>
          </a:ln>
          <a:effectLst/>
        </p:spPr>
        <p:txBody>
          <a:bodyPr rot="0" spcFirstLastPara="0" vertOverflow="overflow" horzOverflow="overflow" vert="horz" wrap="square" lIns="84500" tIns="84500" rIns="84500" bIns="84500" numCol="1" spcCol="0" rtlCol="0" fromWordArt="0" anchor="t" anchorCtr="0" forceAA="0" compatLnSpc="1">
            <a:prstTxWarp prst="textNoShape">
              <a:avLst/>
            </a:prstTxWarp>
            <a:noAutofit/>
          </a:bodyPr>
          <a:lstStyle/>
          <a:p>
            <a:pPr defTabSz="1073084" fontAlgn="base">
              <a:spcBef>
                <a:spcPts val="422"/>
              </a:spcBef>
              <a:spcAft>
                <a:spcPts val="422"/>
              </a:spcAft>
              <a:buClr>
                <a:srgbClr val="003781"/>
              </a:buClr>
            </a:pPr>
            <a:endParaRPr lang="en-GB" sz="1408" kern="0" dirty="0">
              <a:solidFill>
                <a:srgbClr val="FFFFFF"/>
              </a:solidFill>
              <a:latin typeface="Arial" charset="0"/>
            </a:endParaRPr>
          </a:p>
        </p:txBody>
      </p:sp>
      <p:pic>
        <p:nvPicPr>
          <p:cNvPr id="272" name="Grafik 111">
            <a:extLst>
              <a:ext uri="{FF2B5EF4-FFF2-40B4-BE49-F238E27FC236}">
                <a16:creationId xmlns:a16="http://schemas.microsoft.com/office/drawing/2014/main" id="{DD0C67DF-E11E-4904-A9C5-9D4BEF3AE425}"/>
              </a:ext>
            </a:extLst>
          </p:cNvPr>
          <p:cNvPicPr>
            <a:picLocks noChangeAspect="1"/>
          </p:cNvPicPr>
          <p:nvPr/>
        </p:nvPicPr>
        <p:blipFill>
          <a:blip r:embed="rId4"/>
          <a:stretch>
            <a:fillRect/>
          </a:stretch>
        </p:blipFill>
        <p:spPr>
          <a:xfrm>
            <a:off x="2524034" y="1850952"/>
            <a:ext cx="504439" cy="541498"/>
          </a:xfrm>
          <a:prstGeom prst="rect">
            <a:avLst/>
          </a:prstGeom>
        </p:spPr>
      </p:pic>
      <p:sp>
        <p:nvSpPr>
          <p:cNvPr id="273" name="Text Placeholder 2">
            <a:extLst>
              <a:ext uri="{FF2B5EF4-FFF2-40B4-BE49-F238E27FC236}">
                <a16:creationId xmlns:a16="http://schemas.microsoft.com/office/drawing/2014/main" id="{E298594D-BCE1-4DCB-B4D9-47AF0A4FD7AF}"/>
              </a:ext>
            </a:extLst>
          </p:cNvPr>
          <p:cNvSpPr txBox="1">
            <a:spLocks/>
          </p:cNvSpPr>
          <p:nvPr/>
        </p:nvSpPr>
        <p:spPr>
          <a:xfrm>
            <a:off x="1467001" y="6235340"/>
            <a:ext cx="8640000" cy="373805"/>
          </a:xfrm>
          <a:prstGeom prst="rect">
            <a:avLst/>
          </a:prstGeom>
        </p:spPr>
        <p:txBody>
          <a:bodyPr lIns="0" tIns="0" rIns="0" bIns="0" anchor="b"/>
          <a:lstStyle>
            <a:lvl1pPr marL="171450" marR="0" indent="-171450" algn="l" defTabSz="914400" rtl="0" eaLnBrk="1" fontAlgn="base" latinLnBrk="0" hangingPunct="1">
              <a:lnSpc>
                <a:spcPct val="100000"/>
              </a:lnSpc>
              <a:spcBef>
                <a:spcPts val="360"/>
              </a:spcBef>
              <a:spcAft>
                <a:spcPts val="360"/>
              </a:spcAft>
              <a:buClr>
                <a:schemeClr val="tx2"/>
              </a:buClr>
              <a:buSzTx/>
              <a:buFont typeface="Wingdings" panose="05000000000000000000" pitchFamily="2" charset="2"/>
              <a:buChar char="§"/>
              <a:tabLst>
                <a:tab pos="179388" algn="l"/>
              </a:tabLst>
              <a:defRPr sz="1200" baseline="0">
                <a:solidFill>
                  <a:schemeClr val="tx1"/>
                </a:solidFill>
                <a:latin typeface="Arial" panose="020B0604020202020204" pitchFamily="34" charset="0"/>
                <a:ea typeface="+mn-ea"/>
                <a:cs typeface="+mn-cs"/>
              </a:defRPr>
            </a:lvl1pPr>
            <a:lvl2pPr marL="3556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2pPr>
            <a:lvl3pPr marL="531812"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3pPr>
            <a:lvl4pPr marL="711200" indent="-171450"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4pPr>
            <a:lvl5pPr marL="900113" indent="-179388" algn="l" rtl="0" eaLnBrk="1" fontAlgn="base" hangingPunct="1">
              <a:lnSpc>
                <a:spcPct val="100000"/>
              </a:lnSpc>
              <a:spcBef>
                <a:spcPts val="360"/>
              </a:spcBef>
              <a:spcAft>
                <a:spcPts val="360"/>
              </a:spcAft>
              <a:buClr>
                <a:schemeClr val="tx2"/>
              </a:buClr>
              <a:buFont typeface="Arial" panose="020B0604020202020204" pitchFamily="34" charset="0"/>
              <a:buChar char="-"/>
              <a:tabLst>
                <a:tab pos="182563" algn="l"/>
              </a:tabLst>
              <a:defRPr sz="1200" baseline="0">
                <a:solidFill>
                  <a:schemeClr val="tx1"/>
                </a:solidFill>
                <a:latin typeface="Arial" panose="020B0604020202020204" pitchFamily="34" charset="0"/>
              </a:defRPr>
            </a:lvl5pPr>
            <a:lvl6pPr marL="11350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6pPr>
            <a:lvl7pPr marL="15922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7pPr>
            <a:lvl8pPr marL="20494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8pPr>
            <a:lvl9pPr marL="2506663" indent="-128588" algn="l" rtl="0" eaLnBrk="1" fontAlgn="base" hangingPunct="1">
              <a:spcBef>
                <a:spcPct val="25000"/>
              </a:spcBef>
              <a:spcAft>
                <a:spcPct val="25000"/>
              </a:spcAft>
              <a:buClr>
                <a:schemeClr val="tx2"/>
              </a:buClr>
              <a:buChar char="-"/>
              <a:tabLst>
                <a:tab pos="182563" algn="l"/>
              </a:tabLst>
              <a:defRPr sz="1400">
                <a:solidFill>
                  <a:schemeClr val="tx1"/>
                </a:solidFill>
                <a:latin typeface="+mn-lt"/>
              </a:defRPr>
            </a:lvl9pPr>
          </a:lstStyle>
          <a:p>
            <a:pPr marL="0" indent="0">
              <a:buClr>
                <a:srgbClr val="003781"/>
              </a:buClr>
              <a:buNone/>
            </a:pPr>
            <a:r>
              <a:rPr lang="en-US" sz="800" kern="0" dirty="0">
                <a:solidFill>
                  <a:srgbClr val="000000"/>
                </a:solidFill>
                <a:latin typeface="Arial Narrow" panose="020B0606020202030204" pitchFamily="34" charset="0"/>
              </a:rPr>
              <a:t>Source: Allianz Global Investors. A performance of the strategy is not guaranteed, and losses remain possible.</a:t>
            </a:r>
          </a:p>
        </p:txBody>
      </p:sp>
      <p:sp>
        <p:nvSpPr>
          <p:cNvPr id="260" name="TextBox 7">
            <a:extLst>
              <a:ext uri="{FF2B5EF4-FFF2-40B4-BE49-F238E27FC236}">
                <a16:creationId xmlns:a16="http://schemas.microsoft.com/office/drawing/2014/main" id="{EC7D6BBF-5E0E-40EA-85B1-14993D1A8FD7}"/>
              </a:ext>
            </a:extLst>
          </p:cNvPr>
          <p:cNvSpPr txBox="1"/>
          <p:nvPr/>
        </p:nvSpPr>
        <p:spPr bwMode="gray">
          <a:xfrm>
            <a:off x="1138816" y="5544626"/>
            <a:ext cx="9906000" cy="700047"/>
          </a:xfrm>
          <a:prstGeom prst="rect">
            <a:avLst/>
          </a:prstGeom>
          <a:gradFill>
            <a:gsLst>
              <a:gs pos="0">
                <a:schemeClr val="accent3">
                  <a:alpha val="50000"/>
                </a:schemeClr>
              </a:gs>
              <a:gs pos="100000">
                <a:schemeClr val="accent3">
                  <a:alpha val="50000"/>
                </a:schemeClr>
              </a:gs>
              <a:gs pos="75000">
                <a:schemeClr val="accent3"/>
              </a:gs>
              <a:gs pos="25000">
                <a:schemeClr val="accent3"/>
              </a:gs>
            </a:gsLst>
            <a:lin ang="0" scaled="0"/>
          </a:gradFill>
          <a:ln w="6350" cap="flat" cmpd="sng" algn="ctr">
            <a:noFill/>
            <a:prstDash val="solid"/>
            <a:round/>
            <a:headEnd type="none" w="med" len="med"/>
            <a:tailEnd type="none" w="med" len="med"/>
          </a:ln>
          <a:effectLst/>
        </p:spPr>
        <p:txBody>
          <a:bodyPr rot="0" spcFirstLastPara="0" vertOverflow="overflow" horzOverflow="overflow" vert="horz" wrap="square" lIns="78000" tIns="78000" rIns="78000" bIns="78000" numCol="1" spcCol="0" rtlCol="0" fromWordArt="0" anchor="ctr" anchorCtr="0" forceAA="0" compatLnSpc="1">
            <a:prstTxWarp prst="textNoShape">
              <a:avLst/>
            </a:prstTxWarp>
            <a:noAutofit/>
          </a:bodyPr>
          <a:lstStyle>
            <a:defPPr>
              <a:defRPr lang="de-DE"/>
            </a:defPPr>
            <a:lvl1pPr algn="ctr">
              <a:spcAft>
                <a:spcPct val="25000"/>
              </a:spcAft>
              <a:tabLst/>
              <a:defRPr kumimoji="0" sz="1600" b="1" i="0" u="none" strike="noStrike" cap="none" normalizeH="0">
                <a:ln>
                  <a:noFill/>
                </a:ln>
                <a:solidFill>
                  <a:schemeClr val="bg1"/>
                </a:solidFill>
                <a:effectLst/>
                <a:latin typeface="+mn-lt"/>
              </a:defRPr>
            </a:lvl1pPr>
          </a:lstStyle>
          <a:p>
            <a:pPr defTabSz="914400" fontAlgn="base">
              <a:spcBef>
                <a:spcPts val="650"/>
              </a:spcBef>
              <a:spcAft>
                <a:spcPts val="0"/>
              </a:spcAft>
              <a:buClr>
                <a:srgbClr val="FFFFFF"/>
              </a:buClr>
            </a:pPr>
            <a:r>
              <a:rPr lang="en-US" sz="1400" kern="0" dirty="0">
                <a:solidFill>
                  <a:srgbClr val="FFFFFF"/>
                </a:solidFill>
                <a:latin typeface="Arial"/>
              </a:rPr>
              <a:t>Our risk management strategies do not intervene in your asset allocation but rather functions at the background, adapting to your asset allocation decisions.</a:t>
            </a:r>
          </a:p>
        </p:txBody>
      </p:sp>
    </p:spTree>
    <p:extLst>
      <p:ext uri="{BB962C8B-B14F-4D97-AF65-F5344CB8AC3E}">
        <p14:creationId xmlns:p14="http://schemas.microsoft.com/office/powerpoint/2010/main" val="130715058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11ADF11-C87B-4021-A6E7-F7238C02F015}"/>
              </a:ext>
            </a:extLst>
          </p:cNvPr>
          <p:cNvSpPr>
            <a:spLocks noGrp="1"/>
          </p:cNvSpPr>
          <p:nvPr>
            <p:ph sz="quarter" idx="25"/>
          </p:nvPr>
        </p:nvSpPr>
        <p:spPr>
          <a:xfrm>
            <a:off x="1467000" y="1099977"/>
            <a:ext cx="9237600" cy="5427823"/>
          </a:xfrm>
        </p:spPr>
        <p:txBody>
          <a:bodyPr/>
          <a:lstStyle/>
          <a:p>
            <a:pPr marL="0" indent="0">
              <a:spcBef>
                <a:spcPts val="200"/>
              </a:spcBef>
              <a:spcAft>
                <a:spcPts val="0"/>
              </a:spcAft>
              <a:buNone/>
            </a:pPr>
            <a:r>
              <a:rPr lang="en-GB" sz="800" dirty="0"/>
              <a:t>Investing involves risk. The value of an investment and the income from it may fall as well as rise and investors might not get back the full amount invested. Investing in fixed income instruments may expose investors to various risks, including but not limited to creditworthiness, interest rate, liquidity and restricted flexibility risks. Changes to the economic environment and market conditions may affect these risks, resulting in an adverse effect to the value of the investment. During periods of rising nominal interest rates, the values of fixed income instruments (including short positions with respect to fixed income instruments) are generally expected to decline. Conversely, during periods of declining interest rates, the values of these instruments are generally expected to rise. Liquidity risk may possibly delay or prevent account withdrawals or redemptions. The volatility of fund unit/share prices may be increased or even strongly increased. Past performance is not a reliable indicator of future results. If the currency in which the past performance is displayed differs from the currency of the country in which the investor resides, then the investor should be aware that due to the exchange rate fluctuations the performance shown may be higher or lower if converted into the investor’s local currency. This is for information only and not to be construed as a solicitation or an invitation to make an offer, to conclude a contract, or to buy or sell any securities. The products or securities described herein may not be available for sale in all jurisdictions or to certain categories of investors. This is for distribution only as permitted by applicable law and in particular not available to residents and/or nationals of the USA. The investment opportunities described herein do not take into account the specific investment objectives, financial situation, knowledge, experience or specific needs of any particular person and are not guaranteed. The views and opinions expressed herein, which are subject to change without notice, are those of the issuer companies at the time of publication. The data used is derived from various sources, and assumed to be correct and reliable, but it has not been independently verified; its accuracy or completeness is not guaranteed, and no liability is assumed for any direct or consequential losses arising from its use, unless caused by gross negligence or wilful misconduct. The conditions of any underlying offer or contract that may have been, or will be, made or concluded, shall prevail. </a:t>
            </a:r>
            <a:r>
              <a:rPr lang="en-US" sz="800" dirty="0"/>
              <a:t>Information on Investor Rights Summary in English are available here (www.regulatory.allianzgi.com). </a:t>
            </a:r>
            <a:r>
              <a:rPr lang="en-GB" sz="800" dirty="0"/>
              <a:t>The duplication, publication, or transmission of the contents, irrespective of the form, is not permitted; except for the case of explicit permission by Allianz Global Investors GmbH.</a:t>
            </a:r>
          </a:p>
          <a:p>
            <a:pPr marL="0" indent="0">
              <a:spcBef>
                <a:spcPts val="200"/>
              </a:spcBef>
              <a:spcAft>
                <a:spcPts val="0"/>
              </a:spcAft>
              <a:buNone/>
            </a:pPr>
            <a:endParaRPr lang="en-GB" sz="800" dirty="0"/>
          </a:p>
          <a:p>
            <a:pPr marL="0" indent="0">
              <a:spcBef>
                <a:spcPts val="200"/>
              </a:spcBef>
              <a:spcAft>
                <a:spcPts val="0"/>
              </a:spcAft>
              <a:buNone/>
            </a:pPr>
            <a:r>
              <a:rPr lang="en-GB" sz="800" dirty="0"/>
              <a:t>The statements contained herein may include statements of future expectations and other forward-looking statements that are based on management's current views and assumptions and involve known and unknown risks and uncertainties that could cause actual results, performance or events to differ materially from those expressed or implied in such statements. We assume no obligation to update any forward-looking statement.</a:t>
            </a:r>
          </a:p>
          <a:p>
            <a:pPr marL="0" indent="0">
              <a:spcBef>
                <a:spcPts val="200"/>
              </a:spcBef>
              <a:spcAft>
                <a:spcPts val="0"/>
              </a:spcAft>
              <a:buNone/>
            </a:pPr>
            <a:r>
              <a:rPr lang="en-GB" sz="800" dirty="0"/>
              <a:t>Back-</a:t>
            </a:r>
            <a:r>
              <a:rPr lang="en-GB" sz="800" dirty="0" err="1"/>
              <a:t>testings</a:t>
            </a:r>
            <a:r>
              <a:rPr lang="en-GB" sz="800" dirty="0"/>
              <a:t> and hypothetical or simulated performance data have many inherent limitations, only some of which are described as follows:(</a:t>
            </a:r>
            <a:r>
              <a:rPr lang="en-GB" sz="800" dirty="0" err="1"/>
              <a:t>i</a:t>
            </a:r>
            <a:r>
              <a:rPr lang="en-GB" sz="800" dirty="0"/>
              <a:t>) They are designed with the benefit of hindsight, based on historical data, and do not reflect the impact that certain economic and market factors might have had on the decision-making process, if a client’s portfolio had actually been managed. No back-</a:t>
            </a:r>
            <a:r>
              <a:rPr lang="en-GB" sz="800" dirty="0" err="1"/>
              <a:t>testings</a:t>
            </a:r>
            <a:r>
              <a:rPr lang="en-GB" sz="800" dirty="0"/>
              <a:t>, hypothetical or simulated performance can completely account for the impact of financial risk in actual performance.(ii) They do not reflect actual transactions and cannot accurately account for the ability to withstand losses.(iii) The information is based, in part, on hypothetical assumptions made for modelling purposes that may not be realised in the actual management of portfolios. No representation or warranty is made as to the reasonableness of the assumptions made or that all assumptions used in achieving the returns have been stated or fully considered. Assumption changes may have a material impact on the model returns presented. The back-testing of performance differs from actual portfolio performance because the investment strategy may be adjusted at any time, for any reason. Investors should not assume that they will experience a performance similar to the back-</a:t>
            </a:r>
            <a:r>
              <a:rPr lang="en-GB" sz="800" dirty="0" err="1"/>
              <a:t>testings</a:t>
            </a:r>
            <a:r>
              <a:rPr lang="en-GB" sz="800" dirty="0"/>
              <a:t>, hypothetical or simulated performance shown. Material differences between back-</a:t>
            </a:r>
            <a:r>
              <a:rPr lang="en-GB" sz="800" dirty="0" err="1"/>
              <a:t>testings</a:t>
            </a:r>
            <a:r>
              <a:rPr lang="en-GB" sz="800" dirty="0"/>
              <a:t>, hypothetical or simulated performance results and actual results subsequently achieved by any investment strategy are possible.</a:t>
            </a:r>
          </a:p>
          <a:p>
            <a:pPr marL="0" indent="0">
              <a:spcBef>
                <a:spcPts val="200"/>
              </a:spcBef>
              <a:spcAft>
                <a:spcPts val="0"/>
              </a:spcAft>
              <a:buNone/>
            </a:pPr>
            <a:r>
              <a:rPr lang="en-GB" sz="800" dirty="0"/>
              <a:t>Unlike actual performance data, simulations are not based on actual transactions; thus, their significance underlies inherent limitations. Simulations are not able to account for the impact of actual portfolio trading, which may be affected by economic and market factors, such as a lack of liquidity.</a:t>
            </a:r>
          </a:p>
          <a:p>
            <a:pPr marL="0" indent="0">
              <a:spcBef>
                <a:spcPts val="200"/>
              </a:spcBef>
              <a:spcAft>
                <a:spcPts val="0"/>
              </a:spcAft>
              <a:buNone/>
            </a:pPr>
            <a:r>
              <a:rPr lang="en-GB" sz="800" dirty="0"/>
              <a:t>For professional investors in Europe (ex. Switzerland)</a:t>
            </a:r>
          </a:p>
          <a:p>
            <a:pPr marL="0" indent="0">
              <a:spcBef>
                <a:spcPts val="200"/>
              </a:spcBef>
              <a:spcAft>
                <a:spcPts val="0"/>
              </a:spcAft>
              <a:buNone/>
            </a:pPr>
            <a:r>
              <a:rPr lang="en-GB" sz="800" dirty="0"/>
              <a:t>This is a marketing communication issued by Allianz Global Investors GmbH, www.allianzgi.com, an investment company with limited liability, incorporated in Germany, with its registered office at </a:t>
            </a:r>
            <a:r>
              <a:rPr lang="en-GB" sz="800" dirty="0" err="1"/>
              <a:t>Bockenheimer</a:t>
            </a:r>
            <a:r>
              <a:rPr lang="en-GB" sz="800" dirty="0"/>
              <a:t> </a:t>
            </a:r>
            <a:r>
              <a:rPr lang="en-GB" sz="800" dirty="0" err="1"/>
              <a:t>Landstrasse</a:t>
            </a:r>
            <a:r>
              <a:rPr lang="en-GB" sz="800" dirty="0"/>
              <a:t> 42-44, 60323 Frankfurt/M, registered with the local court Frankfurt/M under HRB 9340, authorised by </a:t>
            </a:r>
            <a:r>
              <a:rPr lang="en-GB" sz="800" dirty="0" err="1"/>
              <a:t>Bundesanstalt</a:t>
            </a:r>
            <a:r>
              <a:rPr lang="en-GB" sz="800" dirty="0"/>
              <a:t> </a:t>
            </a:r>
            <a:r>
              <a:rPr lang="en-GB" sz="800" dirty="0" err="1"/>
              <a:t>für</a:t>
            </a:r>
            <a:r>
              <a:rPr lang="en-GB" sz="800" dirty="0"/>
              <a:t> </a:t>
            </a:r>
            <a:r>
              <a:rPr lang="en-GB" sz="800" dirty="0" err="1"/>
              <a:t>Finanzdienstleistungsaufsicht</a:t>
            </a:r>
            <a:r>
              <a:rPr lang="en-GB" sz="800" dirty="0"/>
              <a:t> (www.bafin.de). Allianz Global Investors GmbH has established branches in the United Kingdom, France, Italy, Spain, Luxembourg, Sweden, Belgium and the Netherlands. Contact details and information on the local regulation are available here (www.allianzgi.com/Info)</a:t>
            </a:r>
          </a:p>
          <a:p>
            <a:pPr marL="0" indent="0">
              <a:spcBef>
                <a:spcPts val="200"/>
              </a:spcBef>
              <a:spcAft>
                <a:spcPts val="0"/>
              </a:spcAft>
              <a:buNone/>
            </a:pPr>
            <a:r>
              <a:rPr lang="en-GB" sz="800" dirty="0"/>
              <a:t>For professional/qualified investors in Switzerland</a:t>
            </a:r>
          </a:p>
          <a:p>
            <a:pPr marL="0" indent="0">
              <a:spcBef>
                <a:spcPts val="200"/>
              </a:spcBef>
              <a:spcAft>
                <a:spcPts val="0"/>
              </a:spcAft>
              <a:buNone/>
            </a:pPr>
            <a:r>
              <a:rPr lang="en-GB" sz="800" dirty="0"/>
              <a:t>This is a marketing communication issued by Allianz Global Investors (Schweiz) AG, a 100% subsidiary of Allianz Global Investors GmbH.</a:t>
            </a:r>
          </a:p>
          <a:p>
            <a:pPr marL="0" indent="0">
              <a:spcBef>
                <a:spcPts val="200"/>
              </a:spcBef>
              <a:spcAft>
                <a:spcPts val="0"/>
              </a:spcAft>
              <a:buNone/>
            </a:pPr>
            <a:endParaRPr lang="en-GB" sz="800" dirty="0"/>
          </a:p>
          <a:p>
            <a:pPr marL="0" indent="0">
              <a:spcBef>
                <a:spcPts val="200"/>
              </a:spcBef>
              <a:spcAft>
                <a:spcPts val="0"/>
              </a:spcAft>
              <a:buNone/>
            </a:pPr>
            <a:r>
              <a:rPr lang="en-GB" sz="800" dirty="0"/>
              <a:t>“</a:t>
            </a:r>
            <a:r>
              <a:rPr lang="en-GB" sz="800" dirty="0" err="1"/>
              <a:t>risklab</a:t>
            </a:r>
            <a:r>
              <a:rPr lang="en-GB" sz="800" dirty="0"/>
              <a:t> /                 “ are trademarks which are registered in the United States of America (USA), the European Union (EU), Hong Kong and various other jurisdictions. Legal owner of the aforementioned trademarks is Allianz Global Investors GmbH, a German capital management company (</a:t>
            </a:r>
            <a:r>
              <a:rPr lang="en-GB" sz="800" dirty="0" err="1"/>
              <a:t>Kapitalverwaltungsgesellschaft</a:t>
            </a:r>
            <a:r>
              <a:rPr lang="en-GB" sz="800" dirty="0"/>
              <a:t>) registered with </a:t>
            </a:r>
            <a:r>
              <a:rPr lang="en-GB" sz="800" dirty="0" err="1"/>
              <a:t>Bundesanstalt</a:t>
            </a:r>
            <a:r>
              <a:rPr lang="en-GB" sz="800" dirty="0"/>
              <a:t> </a:t>
            </a:r>
            <a:r>
              <a:rPr lang="en-GB" sz="800" dirty="0" err="1"/>
              <a:t>für</a:t>
            </a:r>
            <a:r>
              <a:rPr lang="en-GB" sz="800" dirty="0"/>
              <a:t> </a:t>
            </a:r>
            <a:r>
              <a:rPr lang="en-GB" sz="800" dirty="0" err="1"/>
              <a:t>Finanzdienstleistungsaufsicht</a:t>
            </a:r>
            <a:r>
              <a:rPr lang="en-GB" sz="800" dirty="0"/>
              <a:t> (</a:t>
            </a:r>
            <a:r>
              <a:rPr lang="en-GB" sz="800" dirty="0" err="1"/>
              <a:t>BaFin</a:t>
            </a:r>
            <a:r>
              <a:rPr lang="en-GB" sz="800" dirty="0"/>
              <a:t>) under the German Capital Management Act (KAGB) which is also licensed as a provider of financial services in Germany. Registration of this trademark shall give no right to the exclusive use of the word RISK, or of the word LAB, each separately and apart from the mark.</a:t>
            </a:r>
          </a:p>
          <a:p>
            <a:pPr marL="0" indent="0">
              <a:spcBef>
                <a:spcPts val="200"/>
              </a:spcBef>
              <a:spcAft>
                <a:spcPts val="0"/>
              </a:spcAft>
              <a:buNone/>
            </a:pPr>
            <a:endParaRPr lang="en-GB" sz="800" dirty="0"/>
          </a:p>
          <a:p>
            <a:pPr marL="0" indent="0">
              <a:spcBef>
                <a:spcPts val="200"/>
              </a:spcBef>
              <a:spcAft>
                <a:spcPts val="0"/>
              </a:spcAft>
              <a:buNone/>
            </a:pPr>
            <a:r>
              <a:rPr lang="en-GB" sz="800" dirty="0"/>
              <a:t>AdMaster </a:t>
            </a:r>
            <a:r>
              <a:rPr lang="it-IT" sz="800" dirty="0"/>
              <a:t>1894064</a:t>
            </a:r>
            <a:endParaRPr lang="en-GB" sz="800" dirty="0"/>
          </a:p>
          <a:p>
            <a:endParaRPr lang="en-GB" sz="800" dirty="0"/>
          </a:p>
        </p:txBody>
      </p:sp>
      <p:sp>
        <p:nvSpPr>
          <p:cNvPr id="4" name="Title 3">
            <a:extLst>
              <a:ext uri="{FF2B5EF4-FFF2-40B4-BE49-F238E27FC236}">
                <a16:creationId xmlns:a16="http://schemas.microsoft.com/office/drawing/2014/main" id="{06598842-F91E-4BD3-B585-D31431091F15}"/>
              </a:ext>
            </a:extLst>
          </p:cNvPr>
          <p:cNvSpPr>
            <a:spLocks noGrp="1"/>
          </p:cNvSpPr>
          <p:nvPr>
            <p:ph type="title"/>
          </p:nvPr>
        </p:nvSpPr>
        <p:spPr/>
        <p:txBody>
          <a:bodyPr/>
          <a:lstStyle/>
          <a:p>
            <a:r>
              <a:rPr lang="en-GB" dirty="0"/>
              <a:t>Disclaimer</a:t>
            </a:r>
          </a:p>
        </p:txBody>
      </p:sp>
      <p:pic>
        <p:nvPicPr>
          <p:cNvPr id="5" name="Picture 83" descr="risklab_logo_1c">
            <a:extLst>
              <a:ext uri="{FF2B5EF4-FFF2-40B4-BE49-F238E27FC236}">
                <a16:creationId xmlns:a16="http://schemas.microsoft.com/office/drawing/2014/main" id="{11FC3282-D0CB-4467-95DB-1FD479B2F883}"/>
              </a:ext>
            </a:extLst>
          </p:cNvPr>
          <p:cNvPicPr>
            <a:picLocks noChangeAspect="1" noChangeArrowheads="1"/>
          </p:cNvPicPr>
          <p:nvPr/>
        </p:nvPicPr>
        <p:blipFill>
          <a:blip r:embed="rId2" cstate="print">
            <a:clrChange>
              <a:clrFrom>
                <a:srgbClr val="FFFFFF"/>
              </a:clrFrom>
              <a:clrTo>
                <a:srgbClr val="FFFFFF">
                  <a:alpha val="0"/>
                </a:srgbClr>
              </a:clrTo>
            </a:clrChange>
          </a:blip>
          <a:srcRect/>
          <a:stretch>
            <a:fillRect/>
          </a:stretch>
        </p:blipFill>
        <p:spPr bwMode="auto">
          <a:xfrm>
            <a:off x="1824852" y="5691870"/>
            <a:ext cx="519580" cy="196390"/>
          </a:xfrm>
          <a:prstGeom prst="rect">
            <a:avLst/>
          </a:prstGeom>
          <a:noFill/>
        </p:spPr>
      </p:pic>
    </p:spTree>
    <p:extLst>
      <p:ext uri="{BB962C8B-B14F-4D97-AF65-F5344CB8AC3E}">
        <p14:creationId xmlns:p14="http://schemas.microsoft.com/office/powerpoint/2010/main" val="126113748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95264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inhoud 1"/>
          <p:cNvSpPr>
            <a:spLocks noGrp="1"/>
          </p:cNvSpPr>
          <p:nvPr>
            <p:ph idx="1"/>
          </p:nvPr>
        </p:nvSpPr>
        <p:spPr/>
        <p:txBody>
          <a:bodyPr/>
          <a:lstStyle/>
          <a:p>
            <a:pPr marL="243410" lvl="1" indent="0">
              <a:buNone/>
            </a:pPr>
            <a:endParaRPr lang="en-US" dirty="0" smtClean="0"/>
          </a:p>
          <a:p>
            <a:pPr lvl="1"/>
            <a:endParaRPr lang="en-US" dirty="0" smtClean="0"/>
          </a:p>
        </p:txBody>
      </p:sp>
      <p:sp>
        <p:nvSpPr>
          <p:cNvPr id="3" name="Tijdelijke aanduiding voor voettekst 2"/>
          <p:cNvSpPr>
            <a:spLocks noGrp="1"/>
          </p:cNvSpPr>
          <p:nvPr>
            <p:ph type="ftr" sz="quarter" idx="11"/>
          </p:nvPr>
        </p:nvSpPr>
        <p:spPr/>
        <p:txBody>
          <a:bodyPr/>
          <a:lstStyle/>
          <a:p>
            <a:r>
              <a:rPr lang="nl-NL" dirty="0" smtClean="0"/>
              <a:t>Webinar Wet Toekomst Pensioenen</a:t>
            </a:r>
            <a:endParaRPr lang="nl-NL" dirty="0"/>
          </a:p>
        </p:txBody>
      </p:sp>
      <p:sp>
        <p:nvSpPr>
          <p:cNvPr id="4" name="Tijdelijke aanduiding voor dianummer 3"/>
          <p:cNvSpPr>
            <a:spLocks noGrp="1"/>
          </p:cNvSpPr>
          <p:nvPr>
            <p:ph type="sldNum" sz="quarter" idx="12"/>
          </p:nvPr>
        </p:nvSpPr>
        <p:spPr/>
        <p:txBody>
          <a:bodyPr/>
          <a:lstStyle/>
          <a:p>
            <a:fld id="{FFDD6BF4-F398-43E8-ACFA-0A2EC6044D72}" type="slidenum">
              <a:rPr lang="nl-NL" smtClean="0"/>
              <a:t>7</a:t>
            </a:fld>
            <a:endParaRPr lang="nl-NL"/>
          </a:p>
        </p:txBody>
      </p:sp>
      <p:sp>
        <p:nvSpPr>
          <p:cNvPr id="5" name="Tijdelijke aanduiding voor tekst 4"/>
          <p:cNvSpPr>
            <a:spLocks noGrp="1"/>
          </p:cNvSpPr>
          <p:nvPr>
            <p:ph type="body" sz="quarter" idx="13"/>
          </p:nvPr>
        </p:nvSpPr>
        <p:spPr/>
        <p:txBody>
          <a:bodyPr/>
          <a:lstStyle/>
          <a:p>
            <a:endParaRPr lang="nl-NL"/>
          </a:p>
        </p:txBody>
      </p:sp>
      <p:sp>
        <p:nvSpPr>
          <p:cNvPr id="6" name="Titel 5"/>
          <p:cNvSpPr>
            <a:spLocks noGrp="1"/>
          </p:cNvSpPr>
          <p:nvPr>
            <p:ph type="title"/>
          </p:nvPr>
        </p:nvSpPr>
        <p:spPr/>
        <p:txBody>
          <a:bodyPr/>
          <a:lstStyle/>
          <a:p>
            <a:r>
              <a:rPr lang="en-US" dirty="0" err="1" smtClean="0"/>
              <a:t>Contractkeuze</a:t>
            </a:r>
            <a:r>
              <a:rPr lang="en-US" dirty="0" smtClean="0"/>
              <a:t> </a:t>
            </a:r>
            <a:r>
              <a:rPr lang="en-US" dirty="0" err="1" smtClean="0"/>
              <a:t>en</a:t>
            </a:r>
            <a:r>
              <a:rPr lang="en-US" dirty="0" smtClean="0"/>
              <a:t> </a:t>
            </a:r>
            <a:r>
              <a:rPr lang="en-US" dirty="0" err="1" smtClean="0"/>
              <a:t>overwegingen</a:t>
            </a:r>
            <a:endParaRPr lang="nl-NL" dirty="0"/>
          </a:p>
        </p:txBody>
      </p:sp>
      <p:sp>
        <p:nvSpPr>
          <p:cNvPr id="7" name="Tijdelijke aanduiding voor tekst 6"/>
          <p:cNvSpPr>
            <a:spLocks noGrp="1"/>
          </p:cNvSpPr>
          <p:nvPr>
            <p:ph type="body" sz="quarter" idx="16"/>
          </p:nvPr>
        </p:nvSpPr>
        <p:spPr/>
        <p:txBody>
          <a:bodyPr/>
          <a:lstStyle/>
          <a:p>
            <a:endParaRPr lang="nl-NL"/>
          </a:p>
        </p:txBody>
      </p:sp>
      <p:pic>
        <p:nvPicPr>
          <p:cNvPr id="10" name="Afbeelding 9"/>
          <p:cNvPicPr>
            <a:picLocks noChangeAspect="1"/>
          </p:cNvPicPr>
          <p:nvPr/>
        </p:nvPicPr>
        <p:blipFill>
          <a:blip r:embed="rId2"/>
          <a:stretch>
            <a:fillRect/>
          </a:stretch>
        </p:blipFill>
        <p:spPr>
          <a:xfrm>
            <a:off x="760741" y="958653"/>
            <a:ext cx="8832438" cy="5437765"/>
          </a:xfrm>
          <a:prstGeom prst="rect">
            <a:avLst/>
          </a:prstGeom>
        </p:spPr>
      </p:pic>
    </p:spTree>
    <p:extLst>
      <p:ext uri="{BB962C8B-B14F-4D97-AF65-F5344CB8AC3E}">
        <p14:creationId xmlns:p14="http://schemas.microsoft.com/office/powerpoint/2010/main" val="2179323405"/>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nl-NL" dirty="0" smtClean="0"/>
              <a:t>Bedankt voor uw aandacht</a:t>
            </a:r>
            <a:endParaRPr lang="nl-NL" dirty="0"/>
          </a:p>
        </p:txBody>
      </p:sp>
      <p:sp>
        <p:nvSpPr>
          <p:cNvPr id="3" name="Ondertitel 2"/>
          <p:cNvSpPr>
            <a:spLocks noGrp="1"/>
          </p:cNvSpPr>
          <p:nvPr>
            <p:ph type="subTitle" idx="1"/>
          </p:nvPr>
        </p:nvSpPr>
        <p:spPr>
          <a:xfrm>
            <a:off x="2383367" y="2960568"/>
            <a:ext cx="7046384" cy="2714589"/>
          </a:xfrm>
        </p:spPr>
        <p:txBody>
          <a:bodyPr/>
          <a:lstStyle/>
          <a:p>
            <a:r>
              <a:rPr lang="nl-NL" dirty="0" smtClean="0"/>
              <a:t>Bezoekadres:</a:t>
            </a:r>
          </a:p>
          <a:p>
            <a:r>
              <a:rPr lang="nl-NL" sz="1600" dirty="0" err="1" smtClean="0"/>
              <a:t>Hoogoorddreef</a:t>
            </a:r>
            <a:r>
              <a:rPr lang="nl-NL" sz="1600" dirty="0" smtClean="0"/>
              <a:t> 54</a:t>
            </a:r>
          </a:p>
          <a:p>
            <a:r>
              <a:rPr lang="nl-NL" sz="1600" dirty="0" smtClean="0"/>
              <a:t>1101 BE Amsterdam Zuidoost</a:t>
            </a:r>
          </a:p>
          <a:p>
            <a:endParaRPr lang="nl-NL" dirty="0"/>
          </a:p>
          <a:p>
            <a:r>
              <a:rPr lang="nl-NL" dirty="0" smtClean="0"/>
              <a:t>Contact</a:t>
            </a:r>
          </a:p>
          <a:p>
            <a:r>
              <a:rPr lang="nl-NL" sz="1600" dirty="0" smtClean="0"/>
              <a:t>+31 20 707 3640</a:t>
            </a:r>
          </a:p>
          <a:p>
            <a:r>
              <a:rPr lang="nl-NL" sz="1600" dirty="0" smtClean="0"/>
              <a:t>info@aaa-riskfinance.nl</a:t>
            </a:r>
            <a:endParaRPr lang="nl-NL" sz="1600" dirty="0"/>
          </a:p>
        </p:txBody>
      </p:sp>
    </p:spTree>
    <p:extLst>
      <p:ext uri="{BB962C8B-B14F-4D97-AF65-F5344CB8AC3E}">
        <p14:creationId xmlns:p14="http://schemas.microsoft.com/office/powerpoint/2010/main" val="26014521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EB29D81-824D-4180-ADD7-3A1932B37DE5}"/>
              </a:ext>
            </a:extLst>
          </p:cNvPr>
          <p:cNvSpPr>
            <a:spLocks noGrp="1"/>
          </p:cNvSpPr>
          <p:nvPr>
            <p:ph type="sldNum" sz="quarter" idx="12"/>
          </p:nvPr>
        </p:nvSpPr>
        <p:spPr/>
        <p:txBody>
          <a:bodyPr/>
          <a:lstStyle/>
          <a:p>
            <a:fld id="{3DB5CD4A-C15F-49D5-8EDA-2339ABBB057D}" type="slidenum">
              <a:rPr lang="nl-NL" smtClean="0"/>
              <a:pPr/>
              <a:t>8</a:t>
            </a:fld>
            <a:endParaRPr lang="nl-NL" dirty="0"/>
          </a:p>
        </p:txBody>
      </p:sp>
      <p:sp>
        <p:nvSpPr>
          <p:cNvPr id="9" name="Titel 8">
            <a:extLst>
              <a:ext uri="{FF2B5EF4-FFF2-40B4-BE49-F238E27FC236}">
                <a16:creationId xmlns:a16="http://schemas.microsoft.com/office/drawing/2014/main" id="{EDE5623E-DE20-439B-810E-B9553C4C119E}"/>
              </a:ext>
            </a:extLst>
          </p:cNvPr>
          <p:cNvSpPr>
            <a:spLocks noGrp="1"/>
          </p:cNvSpPr>
          <p:nvPr>
            <p:ph type="ctrTitle"/>
          </p:nvPr>
        </p:nvSpPr>
        <p:spPr>
          <a:xfrm>
            <a:off x="700892" y="4909676"/>
            <a:ext cx="11043776" cy="906915"/>
          </a:xfrm>
        </p:spPr>
        <p:txBody>
          <a:bodyPr/>
          <a:lstStyle/>
          <a:p>
            <a:r>
              <a:rPr lang="nl-NL" dirty="0" smtClean="0"/>
              <a:t>TRANSITIE EN AANDACHTSPUNTEN</a:t>
            </a:r>
            <a:br>
              <a:rPr lang="nl-NL" dirty="0" smtClean="0"/>
            </a:br>
            <a:endParaRPr lang="nl-NL" dirty="0"/>
          </a:p>
        </p:txBody>
      </p:sp>
      <p:pic>
        <p:nvPicPr>
          <p:cNvPr id="4" name="Tijdelijke aanduiding voor afbeelding 3"/>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352" b="25352"/>
          <a:stretch>
            <a:fillRect/>
          </a:stretch>
        </p:blipFill>
        <p:spPr/>
      </p:pic>
    </p:spTree>
    <p:extLst>
      <p:ext uri="{BB962C8B-B14F-4D97-AF65-F5344CB8AC3E}">
        <p14:creationId xmlns:p14="http://schemas.microsoft.com/office/powerpoint/2010/main" val="31476196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el 25"/>
          <p:cNvSpPr>
            <a:spLocks noGrp="1"/>
          </p:cNvSpPr>
          <p:nvPr>
            <p:ph type="title"/>
          </p:nvPr>
        </p:nvSpPr>
        <p:spPr/>
        <p:txBody>
          <a:bodyPr/>
          <a:lstStyle/>
          <a:p>
            <a:r>
              <a:rPr lang="nl-NL" dirty="0" smtClean="0"/>
              <a:t>STAPPENPLAN ONDERSTEUNING PENSIOENFONDSEN</a:t>
            </a:r>
            <a:endParaRPr lang="nl-NL" dirty="0"/>
          </a:p>
        </p:txBody>
      </p:sp>
      <p:sp>
        <p:nvSpPr>
          <p:cNvPr id="30" name="Tijdelijke aanduiding voor tekst 29"/>
          <p:cNvSpPr>
            <a:spLocks noGrp="1"/>
          </p:cNvSpPr>
          <p:nvPr>
            <p:ph type="body" sz="quarter" idx="26"/>
          </p:nvPr>
        </p:nvSpPr>
        <p:spPr/>
        <p:txBody>
          <a:bodyPr/>
          <a:lstStyle/>
          <a:p>
            <a:r>
              <a:rPr lang="nl-NL" dirty="0" smtClean="0"/>
              <a:t>Opleiden en toelichten van de techniek van de berekeningen:</a:t>
            </a:r>
          </a:p>
          <a:p>
            <a:pPr marL="285750" indent="-285750">
              <a:buFontTx/>
              <a:buChar char="-"/>
            </a:pPr>
            <a:r>
              <a:rPr lang="nl-NL" dirty="0" smtClean="0"/>
              <a:t>Inclusieve marktwaarde</a:t>
            </a:r>
          </a:p>
          <a:p>
            <a:pPr marL="285750" indent="-285750">
              <a:buFontTx/>
              <a:buChar char="-"/>
            </a:pPr>
            <a:r>
              <a:rPr lang="nl-NL" dirty="0" smtClean="0"/>
              <a:t>Netto profijt</a:t>
            </a:r>
          </a:p>
          <a:p>
            <a:pPr marL="285750" indent="-285750">
              <a:buFontTx/>
              <a:buChar char="-"/>
            </a:pPr>
            <a:r>
              <a:rPr lang="nl-NL" dirty="0" smtClean="0"/>
              <a:t>Biometrisch rendement</a:t>
            </a:r>
          </a:p>
          <a:p>
            <a:pPr marL="285750" indent="-285750">
              <a:buFontTx/>
              <a:buChar char="-"/>
            </a:pPr>
            <a:r>
              <a:rPr lang="nl-NL" dirty="0" smtClean="0"/>
              <a:t>Projectierendement</a:t>
            </a:r>
          </a:p>
          <a:p>
            <a:pPr marL="285750" indent="-285750">
              <a:buFontTx/>
              <a:buChar char="-"/>
            </a:pPr>
            <a:r>
              <a:rPr lang="nl-NL" dirty="0" smtClean="0"/>
              <a:t>…</a:t>
            </a:r>
          </a:p>
          <a:p>
            <a:pPr marL="285750" indent="-285750">
              <a:buFontTx/>
              <a:buChar char="-"/>
            </a:pPr>
            <a:endParaRPr lang="nl-NL" dirty="0"/>
          </a:p>
        </p:txBody>
      </p:sp>
      <p:sp>
        <p:nvSpPr>
          <p:cNvPr id="29" name="Tijdelijke aanduiding voor tekst 28"/>
          <p:cNvSpPr>
            <a:spLocks noGrp="1"/>
          </p:cNvSpPr>
          <p:nvPr>
            <p:ph type="body" sz="quarter" idx="19"/>
          </p:nvPr>
        </p:nvSpPr>
        <p:spPr>
          <a:solidFill>
            <a:schemeClr val="accent3"/>
          </a:solidFill>
        </p:spPr>
        <p:txBody>
          <a:bodyPr/>
          <a:lstStyle/>
          <a:p>
            <a:r>
              <a:rPr lang="nl-NL" dirty="0" smtClean="0"/>
              <a:t>Kennissessies</a:t>
            </a:r>
            <a:endParaRPr lang="nl-NL" dirty="0"/>
          </a:p>
        </p:txBody>
      </p:sp>
      <p:sp>
        <p:nvSpPr>
          <p:cNvPr id="31" name="Tijdelijke aanduiding voor tekst 30"/>
          <p:cNvSpPr>
            <a:spLocks noGrp="1"/>
          </p:cNvSpPr>
          <p:nvPr>
            <p:ph type="body" sz="quarter" idx="27"/>
          </p:nvPr>
        </p:nvSpPr>
        <p:spPr/>
        <p:txBody>
          <a:bodyPr/>
          <a:lstStyle/>
          <a:p>
            <a:r>
              <a:rPr lang="nl-NL" dirty="0" smtClean="0"/>
              <a:t>Uitgangspunten van de berekeningen plus </a:t>
            </a:r>
            <a:r>
              <a:rPr lang="nl-NL" dirty="0" err="1" smtClean="0"/>
              <a:t>outputs</a:t>
            </a:r>
            <a:r>
              <a:rPr lang="nl-NL" dirty="0" smtClean="0"/>
              <a:t> vaststellen:</a:t>
            </a:r>
          </a:p>
          <a:p>
            <a:pPr marL="285750" indent="-285750">
              <a:buFontTx/>
              <a:buChar char="-"/>
            </a:pPr>
            <a:r>
              <a:rPr lang="nl-NL" dirty="0" smtClean="0"/>
              <a:t>Werkafspraken over </a:t>
            </a:r>
            <a:r>
              <a:rPr lang="nl-NL" dirty="0" err="1" smtClean="0"/>
              <a:t>inputs</a:t>
            </a:r>
            <a:r>
              <a:rPr lang="nl-NL" dirty="0" smtClean="0"/>
              <a:t> afstemmen</a:t>
            </a:r>
          </a:p>
          <a:p>
            <a:pPr marL="285750" indent="-285750">
              <a:buFontTx/>
              <a:buChar char="-"/>
            </a:pPr>
            <a:r>
              <a:rPr lang="nl-NL" dirty="0" smtClean="0"/>
              <a:t>Werkafspraken over beleid huidig FTK-contract afstemmen </a:t>
            </a:r>
          </a:p>
          <a:p>
            <a:pPr marL="285750" indent="-285750">
              <a:buFontTx/>
              <a:buChar char="-"/>
            </a:pPr>
            <a:r>
              <a:rPr lang="nl-NL" dirty="0" smtClean="0"/>
              <a:t>Werkafspraken over aanvangsbeleid SPR/FPR afstemmen</a:t>
            </a:r>
          </a:p>
          <a:p>
            <a:pPr marL="285750" indent="-285750">
              <a:buFontTx/>
              <a:buChar char="-"/>
            </a:pPr>
            <a:r>
              <a:rPr lang="nl-NL" dirty="0" smtClean="0"/>
              <a:t>Afspraken over output berekeningen</a:t>
            </a:r>
            <a:endParaRPr lang="nl-NL" dirty="0"/>
          </a:p>
        </p:txBody>
      </p:sp>
      <p:sp>
        <p:nvSpPr>
          <p:cNvPr id="32" name="Tijdelijke aanduiding voor tekst 31"/>
          <p:cNvSpPr>
            <a:spLocks noGrp="1"/>
          </p:cNvSpPr>
          <p:nvPr>
            <p:ph type="body" sz="quarter" idx="28"/>
          </p:nvPr>
        </p:nvSpPr>
        <p:spPr>
          <a:solidFill>
            <a:schemeClr val="accent3"/>
          </a:solidFill>
        </p:spPr>
        <p:txBody>
          <a:bodyPr/>
          <a:lstStyle/>
          <a:p>
            <a:r>
              <a:rPr lang="nl-NL" dirty="0" smtClean="0"/>
              <a:t>Kaderstelling berekeningen</a:t>
            </a:r>
            <a:endParaRPr lang="nl-NL" dirty="0"/>
          </a:p>
        </p:txBody>
      </p:sp>
      <p:sp>
        <p:nvSpPr>
          <p:cNvPr id="33" name="Tijdelijke aanduiding voor tekst 32"/>
          <p:cNvSpPr>
            <a:spLocks noGrp="1"/>
          </p:cNvSpPr>
          <p:nvPr>
            <p:ph type="body" sz="quarter" idx="29"/>
          </p:nvPr>
        </p:nvSpPr>
        <p:spPr/>
        <p:txBody>
          <a:bodyPr vert="horz" wrap="square" lIns="0" tIns="0" rIns="0" bIns="0" rtlCol="0">
            <a:noAutofit/>
          </a:bodyPr>
          <a:lstStyle/>
          <a:p>
            <a:r>
              <a:rPr lang="nl-NL" dirty="0" smtClean="0"/>
              <a:t>Doorrekening van de initiële invulling van de SPR/FPR:</a:t>
            </a:r>
          </a:p>
          <a:p>
            <a:pPr marL="285750" indent="-285750">
              <a:buFontTx/>
              <a:buChar char="-"/>
            </a:pPr>
            <a:r>
              <a:rPr lang="nl-NL" dirty="0" smtClean="0"/>
              <a:t>Exclusief solidariteits-reserve</a:t>
            </a:r>
          </a:p>
          <a:p>
            <a:pPr marL="285750" indent="-285750">
              <a:buFontTx/>
              <a:buChar char="-"/>
            </a:pPr>
            <a:r>
              <a:rPr lang="nl-NL" dirty="0" smtClean="0"/>
              <a:t>Wel leenrestrictie</a:t>
            </a:r>
          </a:p>
          <a:p>
            <a:pPr marL="285750" indent="-285750">
              <a:buFontTx/>
              <a:buChar char="-"/>
            </a:pPr>
            <a:r>
              <a:rPr lang="nl-NL" dirty="0" smtClean="0"/>
              <a:t>Wel/niet invaren</a:t>
            </a:r>
          </a:p>
          <a:p>
            <a:pPr marL="285750" indent="-285750">
              <a:buFontTx/>
              <a:buChar char="-"/>
            </a:pPr>
            <a:endParaRPr lang="nl-NL" dirty="0"/>
          </a:p>
        </p:txBody>
      </p:sp>
      <p:sp>
        <p:nvSpPr>
          <p:cNvPr id="34" name="Tijdelijke aanduiding voor tekst 33"/>
          <p:cNvSpPr>
            <a:spLocks noGrp="1"/>
          </p:cNvSpPr>
          <p:nvPr>
            <p:ph type="body" sz="quarter" idx="30"/>
          </p:nvPr>
        </p:nvSpPr>
        <p:spPr>
          <a:solidFill>
            <a:schemeClr val="accent3"/>
          </a:solidFill>
        </p:spPr>
        <p:txBody>
          <a:bodyPr/>
          <a:lstStyle/>
          <a:p>
            <a:r>
              <a:rPr lang="nl-NL" dirty="0" smtClean="0"/>
              <a:t>Doorrekening initiële invulling</a:t>
            </a:r>
            <a:endParaRPr lang="nl-NL" dirty="0"/>
          </a:p>
        </p:txBody>
      </p:sp>
      <p:sp>
        <p:nvSpPr>
          <p:cNvPr id="35" name="Tijdelijke aanduiding voor tekst 34"/>
          <p:cNvSpPr>
            <a:spLocks noGrp="1"/>
          </p:cNvSpPr>
          <p:nvPr>
            <p:ph type="body" sz="quarter" idx="31"/>
          </p:nvPr>
        </p:nvSpPr>
        <p:spPr/>
        <p:txBody>
          <a:bodyPr/>
          <a:lstStyle/>
          <a:p>
            <a:r>
              <a:rPr lang="nl-NL" dirty="0" smtClean="0"/>
              <a:t>Doorrekening aangepaste invulling regelingen:</a:t>
            </a:r>
          </a:p>
          <a:p>
            <a:pPr marL="285750" indent="-285750">
              <a:buFontTx/>
              <a:buChar char="-"/>
            </a:pPr>
            <a:r>
              <a:rPr lang="nl-NL" dirty="0" smtClean="0"/>
              <a:t>Inclusief solidariteits-reserve</a:t>
            </a:r>
          </a:p>
          <a:p>
            <a:pPr marL="285750" indent="-285750">
              <a:buFontTx/>
              <a:buChar char="-"/>
            </a:pPr>
            <a:r>
              <a:rPr lang="nl-NL" dirty="0" smtClean="0"/>
              <a:t>Opheffen leenrestrictie</a:t>
            </a:r>
          </a:p>
          <a:p>
            <a:pPr marL="285750" indent="-285750">
              <a:buFontTx/>
              <a:buChar char="-"/>
            </a:pPr>
            <a:r>
              <a:rPr lang="nl-NL" dirty="0" smtClean="0"/>
              <a:t>Impact aanpassing verdeelregels</a:t>
            </a:r>
          </a:p>
          <a:p>
            <a:pPr marL="285750" indent="-285750">
              <a:buFontTx/>
              <a:buChar char="-"/>
            </a:pPr>
            <a:r>
              <a:rPr lang="nl-NL" dirty="0" smtClean="0"/>
              <a:t>Impact aanpassing </a:t>
            </a:r>
            <a:r>
              <a:rPr lang="nl-NL" dirty="0" err="1" smtClean="0"/>
              <a:t>lifecycle</a:t>
            </a:r>
            <a:endParaRPr lang="nl-NL" dirty="0" smtClean="0"/>
          </a:p>
          <a:p>
            <a:pPr marL="285750" indent="-285750">
              <a:buFontTx/>
              <a:buChar char="-"/>
            </a:pPr>
            <a:r>
              <a:rPr lang="nl-NL" dirty="0" smtClean="0"/>
              <a:t>Richtdekkingsgraad </a:t>
            </a:r>
          </a:p>
          <a:p>
            <a:pPr marL="285750" indent="-285750">
              <a:buFontTx/>
              <a:buChar char="-"/>
            </a:pPr>
            <a:endParaRPr lang="nl-NL" dirty="0"/>
          </a:p>
        </p:txBody>
      </p:sp>
      <p:sp>
        <p:nvSpPr>
          <p:cNvPr id="36" name="Tijdelijke aanduiding voor tekst 35"/>
          <p:cNvSpPr>
            <a:spLocks noGrp="1"/>
          </p:cNvSpPr>
          <p:nvPr>
            <p:ph type="body" sz="quarter" idx="32"/>
          </p:nvPr>
        </p:nvSpPr>
        <p:spPr>
          <a:xfrm>
            <a:off x="7128594" y="1387771"/>
            <a:ext cx="2349247" cy="989557"/>
          </a:xfrm>
          <a:solidFill>
            <a:schemeClr val="accent3"/>
          </a:solidFill>
        </p:spPr>
        <p:txBody>
          <a:bodyPr/>
          <a:lstStyle/>
          <a:p>
            <a:r>
              <a:rPr lang="nl-NL" dirty="0" smtClean="0"/>
              <a:t>Doorrekening aanpassingen</a:t>
            </a:r>
            <a:endParaRPr lang="nl-NL" dirty="0"/>
          </a:p>
        </p:txBody>
      </p:sp>
      <p:sp>
        <p:nvSpPr>
          <p:cNvPr id="37" name="Tijdelijke aanduiding voor tekst 36"/>
          <p:cNvSpPr>
            <a:spLocks noGrp="1"/>
          </p:cNvSpPr>
          <p:nvPr>
            <p:ph type="body" sz="quarter" idx="33"/>
          </p:nvPr>
        </p:nvSpPr>
        <p:spPr/>
        <p:txBody>
          <a:bodyPr/>
          <a:lstStyle/>
          <a:p>
            <a:r>
              <a:rPr lang="nl-NL" dirty="0" smtClean="0"/>
              <a:t>Voorkeur voor type premieregeling en voorkeur voor de initiële invulling ervan:</a:t>
            </a:r>
          </a:p>
          <a:p>
            <a:pPr marL="285750" indent="-285750">
              <a:buFontTx/>
              <a:buChar char="-"/>
            </a:pPr>
            <a:r>
              <a:rPr lang="nl-NL" dirty="0" smtClean="0"/>
              <a:t>SPR of FPR</a:t>
            </a:r>
            <a:endParaRPr lang="nl-NL" dirty="0"/>
          </a:p>
          <a:p>
            <a:pPr marL="285750" indent="-285750">
              <a:buFontTx/>
              <a:buChar char="-"/>
            </a:pPr>
            <a:r>
              <a:rPr lang="nl-NL" dirty="0" smtClean="0"/>
              <a:t>Wel/niet invaren</a:t>
            </a:r>
          </a:p>
          <a:p>
            <a:pPr marL="285750" indent="-285750">
              <a:buFontTx/>
              <a:buChar char="-"/>
            </a:pPr>
            <a:r>
              <a:rPr lang="nl-NL" dirty="0" smtClean="0"/>
              <a:t>Wel/niet solidariteitsreserve</a:t>
            </a:r>
          </a:p>
          <a:p>
            <a:pPr marL="285750" indent="-285750">
              <a:buFontTx/>
              <a:buChar char="-"/>
            </a:pPr>
            <a:r>
              <a:rPr lang="nl-NL" dirty="0" smtClean="0"/>
              <a:t>Wel/niet opheffen leenrestrictie</a:t>
            </a:r>
          </a:p>
          <a:p>
            <a:pPr marL="285750" indent="-285750">
              <a:buFontTx/>
              <a:buChar char="-"/>
            </a:pPr>
            <a:r>
              <a:rPr lang="nl-NL" dirty="0" smtClean="0"/>
              <a:t>…</a:t>
            </a:r>
          </a:p>
        </p:txBody>
      </p:sp>
      <p:sp>
        <p:nvSpPr>
          <p:cNvPr id="38" name="Tijdelijke aanduiding voor tekst 37"/>
          <p:cNvSpPr>
            <a:spLocks noGrp="1"/>
          </p:cNvSpPr>
          <p:nvPr>
            <p:ph type="body" sz="quarter" idx="34"/>
          </p:nvPr>
        </p:nvSpPr>
        <p:spPr/>
        <p:txBody>
          <a:bodyPr/>
          <a:lstStyle/>
          <a:p>
            <a:r>
              <a:rPr lang="nl-NL" dirty="0" smtClean="0"/>
              <a:t>Voorkeur premieregeling</a:t>
            </a:r>
            <a:endParaRPr lang="nl-NL" dirty="0"/>
          </a:p>
        </p:txBody>
      </p:sp>
      <p:sp>
        <p:nvSpPr>
          <p:cNvPr id="41" name="Tijdelijke aanduiding voor tekst 40"/>
          <p:cNvSpPr>
            <a:spLocks noGrp="1"/>
          </p:cNvSpPr>
          <p:nvPr>
            <p:ph type="body" sz="quarter" idx="37"/>
          </p:nvPr>
        </p:nvSpPr>
        <p:spPr/>
        <p:txBody>
          <a:bodyPr/>
          <a:lstStyle/>
          <a:p>
            <a:endParaRPr lang="nl-NL"/>
          </a:p>
        </p:txBody>
      </p:sp>
      <p:sp>
        <p:nvSpPr>
          <p:cNvPr id="28" name="Tijdelijke aanduiding voor tekst 27"/>
          <p:cNvSpPr>
            <a:spLocks noGrp="1"/>
          </p:cNvSpPr>
          <p:nvPr>
            <p:ph type="body" sz="quarter" idx="16"/>
          </p:nvPr>
        </p:nvSpPr>
        <p:spPr/>
        <p:txBody>
          <a:bodyPr/>
          <a:lstStyle/>
          <a:p>
            <a:endParaRPr lang="nl-NL"/>
          </a:p>
        </p:txBody>
      </p:sp>
      <p:sp>
        <p:nvSpPr>
          <p:cNvPr id="43" name="Tijdelijke aanduiding voor voettekst 42"/>
          <p:cNvSpPr>
            <a:spLocks noGrp="1"/>
          </p:cNvSpPr>
          <p:nvPr>
            <p:ph type="ftr" sz="quarter" idx="10"/>
          </p:nvPr>
        </p:nvSpPr>
        <p:spPr/>
        <p: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t>Webinar Wet Toekomst Pensioenen</a:t>
            </a:r>
            <a:endParaRPr kumimoji="0" lang="nl-NL" sz="1067" b="0" i="0" u="none" strike="noStrike" kern="1200" cap="none" spc="0" normalizeH="0" baseline="0" noProof="0" dirty="0">
              <a:ln>
                <a:noFill/>
              </a:ln>
              <a:solidFill>
                <a:prstClr val="black">
                  <a:tint val="75000"/>
                </a:prstClr>
              </a:solidFill>
              <a:effectLst/>
              <a:uLnTx/>
              <a:uFillTx/>
              <a:latin typeface="Ubuntu Light"/>
              <a:ea typeface="+mn-ea"/>
              <a:cs typeface="+mn-cs"/>
            </a:endParaRPr>
          </a:p>
        </p:txBody>
      </p:sp>
      <p:sp>
        <p:nvSpPr>
          <p:cNvPr id="2" name="Tijdelijke aanduiding voor dianummer 1"/>
          <p:cNvSpPr>
            <a:spLocks noGrp="1"/>
          </p:cNvSpPr>
          <p:nvPr>
            <p:ph type="sldNum" sz="quarter" idx="11"/>
          </p:nvPr>
        </p:nvSpPr>
        <p:spPr/>
        <p:txBody>
          <a:bodyPr/>
          <a:lstStyle/>
          <a:p>
            <a:pPr marL="0" marR="0" lvl="0" indent="0" algn="r" defTabSz="609585" rtl="0" eaLnBrk="1" fontAlgn="auto" latinLnBrk="0" hangingPunct="1">
              <a:lnSpc>
                <a:spcPct val="100000"/>
              </a:lnSpc>
              <a:spcBef>
                <a:spcPts val="0"/>
              </a:spcBef>
              <a:spcAft>
                <a:spcPts val="0"/>
              </a:spcAft>
              <a:buClrTx/>
              <a:buSzTx/>
              <a:buFontTx/>
              <a:buNone/>
              <a:tabLst/>
              <a:defRPr/>
            </a:pPr>
            <a:fld id="{FFDD6BF4-F398-43E8-ACFA-0A2EC6044D72}" type="slidenum">
              <a:rPr kumimoji="0" lang="nl-NL" sz="1067" b="0" i="0" u="none" strike="noStrike" kern="1200" cap="none" spc="0" normalizeH="0" baseline="0" noProof="0" smtClean="0">
                <a:ln>
                  <a:noFill/>
                </a:ln>
                <a:solidFill>
                  <a:prstClr val="black">
                    <a:tint val="75000"/>
                  </a:prstClr>
                </a:solidFill>
                <a:effectLst/>
                <a:uLnTx/>
                <a:uFillTx/>
                <a:latin typeface="Ubuntu Light"/>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9</a:t>
            </a:fld>
            <a:endParaRPr kumimoji="0" lang="nl-NL" sz="1067" b="0" i="0" u="none" strike="noStrike" kern="1200" cap="none" spc="0" normalizeH="0" baseline="0" noProof="0">
              <a:ln>
                <a:noFill/>
              </a:ln>
              <a:solidFill>
                <a:prstClr val="black">
                  <a:tint val="75000"/>
                </a:prstClr>
              </a:solidFill>
              <a:effectLst/>
              <a:uLnTx/>
              <a:uFillTx/>
              <a:latin typeface="Ubuntu Light"/>
              <a:ea typeface="+mn-ea"/>
              <a:cs typeface="+mn-cs"/>
            </a:endParaRPr>
          </a:p>
        </p:txBody>
      </p:sp>
      <p:sp>
        <p:nvSpPr>
          <p:cNvPr id="22" name="Tijdelijke aanduiding voor tekst 39"/>
          <p:cNvSpPr>
            <a:spLocks noGrp="1"/>
          </p:cNvSpPr>
          <p:nvPr>
            <p:ph type="body" sz="quarter" idx="36"/>
          </p:nvPr>
        </p:nvSpPr>
        <p:spPr/>
        <p:txBody>
          <a:bodyPr/>
          <a:lstStyle/>
          <a:p>
            <a:endParaRPr lang="nl-NL"/>
          </a:p>
        </p:txBody>
      </p:sp>
      <p:sp>
        <p:nvSpPr>
          <p:cNvPr id="24" name="Tijdelijke aanduiding voor tekst 39"/>
          <p:cNvSpPr>
            <a:spLocks noGrp="1"/>
          </p:cNvSpPr>
          <p:nvPr>
            <p:ph type="body" sz="quarter" idx="36"/>
          </p:nvPr>
        </p:nvSpPr>
        <p:spPr>
          <a:xfrm rot="16200000">
            <a:off x="7463927" y="4340239"/>
            <a:ext cx="3646800" cy="3600"/>
          </a:xfrm>
        </p:spPr>
        <p:txBody>
          <a:bodyPr/>
          <a:lstStyle/>
          <a:p>
            <a:endParaRPr lang="nl-NL"/>
          </a:p>
        </p:txBody>
      </p:sp>
      <p:sp>
        <p:nvSpPr>
          <p:cNvPr id="25" name="Tijdelijke aanduiding voor tekst 39"/>
          <p:cNvSpPr>
            <a:spLocks noGrp="1"/>
          </p:cNvSpPr>
          <p:nvPr>
            <p:ph type="body" sz="quarter" idx="36"/>
          </p:nvPr>
        </p:nvSpPr>
        <p:spPr>
          <a:xfrm rot="16200000">
            <a:off x="806206" y="4325539"/>
            <a:ext cx="3646800" cy="3600"/>
          </a:xfrm>
        </p:spPr>
        <p:txBody>
          <a:bodyPr/>
          <a:lstStyle/>
          <a:p>
            <a:endParaRPr lang="nl-NL"/>
          </a:p>
        </p:txBody>
      </p:sp>
    </p:spTree>
    <p:extLst>
      <p:ext uri="{BB962C8B-B14F-4D97-AF65-F5344CB8AC3E}">
        <p14:creationId xmlns:p14="http://schemas.microsoft.com/office/powerpoint/2010/main" val="4893705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z.pf2MPgzkSFxHcYv4Oc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uL1Vdy2vv0uuHDqFhrJL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CsfcJHwE06FTW2yYsKq_Q"/>
</p:tagLst>
</file>

<file path=ppt/tags/tag9.xml><?xml version="1.0" encoding="utf-8"?>
<p:tagLst xmlns:a="http://schemas.openxmlformats.org/drawingml/2006/main" xmlns:r="http://schemas.openxmlformats.org/officeDocument/2006/relationships" xmlns:p="http://schemas.openxmlformats.org/presentationml/2006/main">
  <p:tag name="ANCHORPOINT" val="NO VALUE"/>
  <p:tag name="CHARTLIBVERSION" val="NO VALUE"/>
  <p:tag name="DDVERSION" val="2.0"/>
  <p:tag name="LINECOLOR" val="NO VALUE"/>
  <p:tag name="PLACEHOLDERSIZE" val="NO VALUE"/>
  <p:tag name="SOURCE" val="NO VALUE"/>
  <p:tag name="TYPE" val="ProjectName"/>
  <p:tag name="FILLFORECOLOR" val="Transparent"/>
  <p:tag name="SUBOBJECTID" val="ProjectNameText"/>
  <p:tag name="OBJECTID" val="ProjectName"/>
  <p:tag name="HEIGHT" val="24"/>
  <p:tag name="WIDTH" val="154.75"/>
  <p:tag name="LEFT" val="43.13"/>
  <p:tag name="TOP" val="57.63"/>
  <p:tag name="FONTCOLOR" val="Project Name Font"/>
  <p:tag name="DEVICE" val="Canon Colorpass 1000"/>
</p:tagLst>
</file>

<file path=ppt/theme/theme1.xml><?xml version="1.0" encoding="utf-8"?>
<a:theme xmlns:a="http://schemas.openxmlformats.org/drawingml/2006/main" name="Tripple A 16-9">
  <a:themeElements>
    <a:clrScheme name="Triple A">
      <a:dk1>
        <a:sysClr val="windowText" lastClr="000000"/>
      </a:dk1>
      <a:lt1>
        <a:sysClr val="window" lastClr="FFFFFF"/>
      </a:lt1>
      <a:dk2>
        <a:srgbClr val="7F7F7F"/>
      </a:dk2>
      <a:lt2>
        <a:srgbClr val="FFFFFF"/>
      </a:lt2>
      <a:accent1>
        <a:srgbClr val="00365E"/>
      </a:accent1>
      <a:accent2>
        <a:srgbClr val="D39F27"/>
      </a:accent2>
      <a:accent3>
        <a:srgbClr val="0073AB"/>
      </a:accent3>
      <a:accent4>
        <a:srgbClr val="0092FF"/>
      </a:accent4>
      <a:accent5>
        <a:srgbClr val="E2EEF5"/>
      </a:accent5>
      <a:accent6>
        <a:srgbClr val="C6C6C6"/>
      </a:accent6>
      <a:hlink>
        <a:srgbClr val="000000"/>
      </a:hlink>
      <a:folHlink>
        <a:srgbClr val="000000"/>
      </a:folHlink>
    </a:clrScheme>
    <a:fontScheme name="Triple A">
      <a:majorFont>
        <a:latin typeface="Ubuntu"/>
        <a:ea typeface=""/>
        <a:cs typeface=""/>
      </a:majorFont>
      <a:minorFont>
        <a:latin typeface="Ubuntu Light"/>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72000" tIns="72000" rIns="72000" bIns="72000" rtlCol="0" anchor="ctr"/>
      <a:lstStyle>
        <a:defPPr algn="ctr">
          <a:lnSpc>
            <a:spcPct val="114000"/>
          </a:lnSpc>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4000"/>
          </a:lnSpc>
          <a:defRPr sz="1500" dirty="0" err="1" smtClean="0"/>
        </a:defPPr>
      </a:lstStyle>
    </a:txDef>
  </a:objectDefaults>
  <a:extraClrSchemeLst/>
  <a:extLst>
    <a:ext uri="{05A4C25C-085E-4340-85A3-A5531E510DB2}">
      <thm15:themeFamily xmlns:thm15="http://schemas.microsoft.com/office/thememl/2012/main" name="template-2021-v5.potx" id="{D43FAC67-1CBC-4E39-A7D4-11F71E96A04B}" vid="{9A96ED20-92AA-4AF6-B6EC-31DC91170371}"/>
    </a:ext>
  </a:extLst>
</a:theme>
</file>

<file path=ppt/theme/theme2.xml><?xml version="1.0" encoding="utf-8"?>
<a:theme xmlns:a="http://schemas.openxmlformats.org/drawingml/2006/main" name="Slidedocs">
  <a:themeElements>
    <a:clrScheme name="Triple A">
      <a:dk1>
        <a:sysClr val="windowText" lastClr="000000"/>
      </a:dk1>
      <a:lt1>
        <a:sysClr val="window" lastClr="FFFFFF"/>
      </a:lt1>
      <a:dk2>
        <a:srgbClr val="7F7F7F"/>
      </a:dk2>
      <a:lt2>
        <a:srgbClr val="FFFFFF"/>
      </a:lt2>
      <a:accent1>
        <a:srgbClr val="00365E"/>
      </a:accent1>
      <a:accent2>
        <a:srgbClr val="D39F27"/>
      </a:accent2>
      <a:accent3>
        <a:srgbClr val="0073AB"/>
      </a:accent3>
      <a:accent4>
        <a:srgbClr val="0092FF"/>
      </a:accent4>
      <a:accent5>
        <a:srgbClr val="E2EEF5"/>
      </a:accent5>
      <a:accent6>
        <a:srgbClr val="C6C6C6"/>
      </a:accent6>
      <a:hlink>
        <a:srgbClr val="000000"/>
      </a:hlink>
      <a:folHlink>
        <a:srgbClr val="000000"/>
      </a:folHlink>
    </a:clrScheme>
    <a:fontScheme name="Triple A">
      <a:majorFont>
        <a:latin typeface="Ubuntu"/>
        <a:ea typeface=""/>
        <a:cs typeface=""/>
      </a:majorFont>
      <a:minorFont>
        <a:latin typeface="Ubuntu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72000" tIns="72000" rIns="72000" bIns="72000" rtlCol="0" anchor="ctr"/>
      <a:lstStyle>
        <a:defPPr algn="ctr">
          <a:lnSpc>
            <a:spcPct val="114000"/>
          </a:lnSpc>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4000"/>
          </a:lnSpc>
          <a:defRPr sz="1500" dirty="0" err="1" smtClean="0"/>
        </a:defPPr>
      </a:lstStyle>
    </a:txDef>
  </a:objectDefaults>
  <a:extraClrSchemeLst/>
  <a:extLst>
    <a:ext uri="{05A4C25C-085E-4340-85A3-A5531E510DB2}">
      <thm15:themeFamily xmlns:thm15="http://schemas.microsoft.com/office/thememl/2012/main" name="template-2021-v5.potx" id="{D43FAC67-1CBC-4E39-A7D4-11F71E96A04B}" vid="{AC9AE643-0BF5-4E6D-A152-4290692D2F49}"/>
    </a:ext>
  </a:extLst>
</a:theme>
</file>

<file path=ppt/theme/theme3.xml><?xml version="1.0" encoding="utf-8"?>
<a:theme xmlns:a="http://schemas.openxmlformats.org/drawingml/2006/main" name="1_Tripple A 16-9">
  <a:themeElements>
    <a:clrScheme name="Triple A">
      <a:dk1>
        <a:sysClr val="windowText" lastClr="000000"/>
      </a:dk1>
      <a:lt1>
        <a:sysClr val="window" lastClr="FFFFFF"/>
      </a:lt1>
      <a:dk2>
        <a:srgbClr val="7F7F7F"/>
      </a:dk2>
      <a:lt2>
        <a:srgbClr val="FFFFFF"/>
      </a:lt2>
      <a:accent1>
        <a:srgbClr val="00365E"/>
      </a:accent1>
      <a:accent2>
        <a:srgbClr val="D39F27"/>
      </a:accent2>
      <a:accent3>
        <a:srgbClr val="0073AB"/>
      </a:accent3>
      <a:accent4>
        <a:srgbClr val="0092FF"/>
      </a:accent4>
      <a:accent5>
        <a:srgbClr val="E2EEF5"/>
      </a:accent5>
      <a:accent6>
        <a:srgbClr val="C6C6C6"/>
      </a:accent6>
      <a:hlink>
        <a:srgbClr val="000000"/>
      </a:hlink>
      <a:folHlink>
        <a:srgbClr val="000000"/>
      </a:folHlink>
    </a:clrScheme>
    <a:fontScheme name="Triple A">
      <a:majorFont>
        <a:latin typeface="Ubuntu"/>
        <a:ea typeface=""/>
        <a:cs typeface=""/>
      </a:majorFont>
      <a:minorFont>
        <a:latin typeface="Ubuntu Light"/>
        <a:ea typeface=""/>
        <a:cs typeface=""/>
      </a:minorFont>
    </a:fontScheme>
    <a:fmtScheme name="Kantoorthem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lIns="72000" tIns="72000" rIns="72000" bIns="72000" rtlCol="0" anchor="ctr"/>
      <a:lstStyle>
        <a:defPPr algn="ctr">
          <a:lnSpc>
            <a:spcPct val="114000"/>
          </a:lnSpc>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14000"/>
          </a:lnSpc>
          <a:defRPr sz="1500" dirty="0" err="1" smtClean="0"/>
        </a:defPPr>
      </a:lstStyle>
    </a:txDef>
  </a:objectDefaults>
  <a:extraClrSchemeLst/>
  <a:extLst>
    <a:ext uri="{05A4C25C-085E-4340-85A3-A5531E510DB2}">
      <thm15:themeFamily xmlns:thm15="http://schemas.microsoft.com/office/thememl/2012/main" name="template-2021-v5.potx" id="{D43FAC67-1CBC-4E39-A7D4-11F71E96A04B}" vid="{9A96ED20-92AA-4AF6-B6EC-31DC91170371}"/>
    </a:ext>
  </a:extLst>
</a:theme>
</file>

<file path=ppt/theme/theme4.xml><?xml version="1.0" encoding="utf-8"?>
<a:theme xmlns:a="http://schemas.openxmlformats.org/drawingml/2006/main" name="Terugblik">
  <a:themeElements>
    <a:clrScheme name="Terugblik">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Terugbli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rugbli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5.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English_DINA4_example_template_AllianzGI_05-18">
  <a:themeElements>
    <a:clrScheme name="AllianzGI">
      <a:dk1>
        <a:srgbClr val="000000"/>
      </a:dk1>
      <a:lt1>
        <a:srgbClr val="FFFFFF"/>
      </a:lt1>
      <a:dk2>
        <a:srgbClr val="003781"/>
      </a:dk2>
      <a:lt2>
        <a:srgbClr val="9E5330"/>
      </a:lt2>
      <a:accent1>
        <a:srgbClr val="964661"/>
      </a:accent1>
      <a:accent2>
        <a:srgbClr val="7E5475"/>
      </a:accent2>
      <a:accent3>
        <a:srgbClr val="007396"/>
      </a:accent3>
      <a:accent4>
        <a:srgbClr val="275D38"/>
      </a:accent4>
      <a:accent5>
        <a:srgbClr val="2A5B6C"/>
      </a:accent5>
      <a:accent6>
        <a:srgbClr val="D0822F"/>
      </a:accent6>
      <a:hlink>
        <a:srgbClr val="003781"/>
      </a:hlink>
      <a:folHlink>
        <a:srgbClr val="7F7F7F"/>
      </a:folHlink>
    </a:clrScheme>
    <a:fontScheme name="AllianzG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326295"/>
        </a:solidFill>
        <a:ln w="6350" cap="flat" cmpd="sng" algn="ctr">
          <a:noFill/>
          <a:prstDash val="solid"/>
          <a:round/>
          <a:headEnd type="none" w="med" len="med"/>
          <a:tailEnd type="none" w="med" len="me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marR="0" indent="0" algn="l" defTabSz="914400" rtl="0" eaLnBrk="1" fontAlgn="base" latinLnBrk="0" hangingPunct="1">
          <a:spcAft>
            <a:spcPct val="25000"/>
          </a:spcAft>
          <a:buClr>
            <a:schemeClr val="tx2"/>
          </a:buClr>
          <a:buSzTx/>
          <a:buFont typeface="Wingdings" pitchFamily="2" charset="2"/>
          <a:buNone/>
          <a:tabLst/>
          <a:defRPr kumimoji="0" sz="1200" b="0" i="0" u="none" strike="noStrike" cap="none" normalizeH="0" baseline="0" dirty="0" err="1" smtClean="0">
            <a:ln>
              <a:noFill/>
            </a:ln>
            <a:solidFill>
              <a:schemeClr val="bg1"/>
            </a:solidFill>
            <a:effectLst/>
            <a:latin typeface="Arial" charset="0"/>
          </a:defRPr>
        </a:defPPr>
      </a:lstStyle>
    </a:spDef>
    <a:lnDef>
      <a:spPr bwMode="auto">
        <a:noFill/>
        <a:ln w="12700" cap="flat" cmpd="sng" algn="ctr">
          <a:solidFill>
            <a:srgbClr val="326295"/>
          </a:solidFill>
          <a:prstDash val="solid"/>
          <a:round/>
          <a:headEnd type="none" w="med" len="med"/>
          <a:tailEnd type="none" w="med" len="med"/>
        </a:ln>
        <a:effectLst/>
      </a:spPr>
      <a:bodyPr/>
      <a:lstStyle/>
    </a:lnDef>
    <a:txDef>
      <a:spPr>
        <a:noFill/>
      </a:spPr>
      <a:bodyPr wrap="square" lIns="0" tIns="0" rIns="0" bIns="0" rtlCol="0">
        <a:spAutoFit/>
      </a:bodyPr>
      <a:lstStyle>
        <a:defPPr algn="l">
          <a:spcBef>
            <a:spcPts val="360"/>
          </a:spcBef>
          <a:spcAft>
            <a:spcPts val="360"/>
          </a:spcAft>
          <a:buClr>
            <a:schemeClr val="tx2"/>
          </a:buClr>
          <a:tabLst/>
          <a:defRPr sz="1200" dirty="0" err="1" smtClean="0"/>
        </a:defPPr>
      </a:lstStyle>
    </a:txDef>
  </a:objectDefaults>
  <a:extraClrSchemeLst/>
  <a:custClrLst>
    <a:custClr name="Light Gray">
      <a:srgbClr val="EDEDED"/>
    </a:custClr>
    <a:custClr name="Black 75%">
      <a:srgbClr val="4C4C4C"/>
    </a:custClr>
    <a:custClr name="Maron 70%">
      <a:srgbClr val="BB876E"/>
    </a:custClr>
    <a:custClr name="Corp Blue">
      <a:srgbClr val="326295"/>
    </a:custClr>
    <a:custClr name="Wine 70%">
      <a:srgbClr val="B57D90"/>
    </a:custClr>
    <a:custClr name="Plum 70%">
      <a:srgbClr val="A5879E"/>
    </a:custClr>
    <a:custClr name="Petrol 70%">
      <a:srgbClr val="4D9DB6"/>
    </a:custClr>
    <a:custClr name="Dark Green 70%">
      <a:srgbClr val="688E74"/>
    </a:custClr>
    <a:custClr name="Ocean 70%">
      <a:srgbClr val="6A8C98"/>
    </a:custClr>
    <a:custClr name="Butterscotch 70%">
      <a:srgbClr val="DEA86D"/>
    </a:custClr>
    <a:custClr name="Royal 100%">
      <a:srgbClr val="3583C9"/>
    </a:custClr>
    <a:custClr name="Black 60%">
      <a:srgbClr val="878787"/>
    </a:custClr>
    <a:custClr name="Maron 50%">
      <a:srgbClr val="CEA997"/>
    </a:custClr>
    <a:custClr name="Corp Blue 70%">
      <a:srgbClr val="7091B5"/>
    </a:custClr>
    <a:custClr name="Wine 50%">
      <a:srgbClr val="CAA2B0"/>
    </a:custClr>
    <a:custClr name="Plum 50%">
      <a:srgbClr val="BEA9BA"/>
    </a:custClr>
    <a:custClr name="Petrol 50%">
      <a:srgbClr val="80B9CB"/>
    </a:custClr>
    <a:custClr name="Dark Green 50%">
      <a:srgbClr val="93AE9C"/>
    </a:custClr>
    <a:custClr name="Ocean 50%">
      <a:srgbClr val="95ADB6"/>
    </a:custClr>
    <a:custClr name="Butterscotch 50%">
      <a:srgbClr val="E8C197"/>
    </a:custClr>
    <a:custClr name="Royal 50%">
      <a:srgbClr val="9AC1E4"/>
    </a:custClr>
    <a:custClr name="Black 40%">
      <a:srgbClr val="B2B2B2"/>
    </a:custClr>
    <a:custClr name="Orange 100%">
      <a:srgbClr val="E8610C"/>
    </a:custClr>
    <a:custClr name="Corp Blue 50%">
      <a:srgbClr val="99B1CA"/>
    </a:custClr>
    <a:custClr name="Berry 100%">
      <a:srgbClr val="861F41"/>
    </a:custClr>
    <a:custClr name="Purple 100%">
      <a:srgbClr val="6A2A5B"/>
    </a:custClr>
    <a:custClr name="Cyan 100%">
      <a:srgbClr val="0093B2"/>
    </a:custClr>
    <a:custClr name="Light Green 100%">
      <a:srgbClr val="007A33"/>
    </a:custClr>
    <a:custClr name="Steel 100%">
      <a:srgbClr val="6B8F9C"/>
    </a:custClr>
    <a:custClr name="Yellow 100%">
      <a:srgbClr val="F7A919"/>
    </a:custClr>
    <a:custClr name="Royal 20%">
      <a:srgbClr val="D7E6F4"/>
    </a:custClr>
    <a:custClr name="Black 20%">
      <a:srgbClr val="DADADA"/>
    </a:custClr>
    <a:custClr name="Orange 50%">
      <a:srgbClr val="F3B085"/>
    </a:custClr>
    <a:custClr name="Corp Blue 20%">
      <a:srgbClr val="D6E0EA"/>
    </a:custClr>
    <a:custClr name="Berry 50%">
      <a:srgbClr val="C28FA0"/>
    </a:custClr>
    <a:custClr name="Purple 50%">
      <a:srgbClr val="B594AD"/>
    </a:custClr>
    <a:custClr name="Cyan 50%">
      <a:srgbClr val="80C9D8"/>
    </a:custClr>
    <a:custClr name="Light Green 50%">
      <a:srgbClr val="80BC99"/>
    </a:custClr>
    <a:custClr name="Steel 50%">
      <a:srgbClr val="B5C7CD"/>
    </a:custClr>
    <a:custClr name="Yellow 50%">
      <a:srgbClr val="FBD48C"/>
    </a:custClr>
    <a:custClr name="Highlight Red">
      <a:srgbClr val="DD0031"/>
    </a:custClr>
    <a:custClr name="Highlight Green">
      <a:srgbClr val="007E62"/>
    </a:custClr>
    <a:custClr name="Orange 20%">
      <a:srgbClr val="FADFCE"/>
    </a:custClr>
    <a:custClr name="Dark Gray">
      <a:srgbClr val="3C3C3C"/>
    </a:custClr>
    <a:custClr name="Berry 20%">
      <a:srgbClr val="E7D2D9"/>
    </a:custClr>
    <a:custClr name="Purple 20%">
      <a:srgbClr val="E1D4DE"/>
    </a:custClr>
    <a:custClr name="Cyan 20%">
      <a:srgbClr val="CCE9F0"/>
    </a:custClr>
    <a:custClr name="Light Green 20%">
      <a:srgbClr val="CCE4D6"/>
    </a:custClr>
    <a:custClr name="Steel 20%">
      <a:srgbClr val="E1E9EB"/>
    </a:custClr>
    <a:custClr name="Yellow 20%">
      <a:srgbClr val="FDEED1"/>
    </a:custClr>
  </a:custClrLst>
</a:theme>
</file>

<file path=ppt/theme/theme7.xml><?xml version="1.0" encoding="utf-8"?>
<a:theme xmlns:a="http://schemas.openxmlformats.org/drawingml/2006/main" name="New_AGI">
  <a:themeElements>
    <a:clrScheme name="AllianzGI">
      <a:dk1>
        <a:srgbClr val="000000"/>
      </a:dk1>
      <a:lt1>
        <a:srgbClr val="FFFFFF"/>
      </a:lt1>
      <a:dk2>
        <a:srgbClr val="003781"/>
      </a:dk2>
      <a:lt2>
        <a:srgbClr val="9E5330"/>
      </a:lt2>
      <a:accent1>
        <a:srgbClr val="964661"/>
      </a:accent1>
      <a:accent2>
        <a:srgbClr val="7E5475"/>
      </a:accent2>
      <a:accent3>
        <a:srgbClr val="007396"/>
      </a:accent3>
      <a:accent4>
        <a:srgbClr val="275D38"/>
      </a:accent4>
      <a:accent5>
        <a:srgbClr val="2A5B6C"/>
      </a:accent5>
      <a:accent6>
        <a:srgbClr val="D0822F"/>
      </a:accent6>
      <a:hlink>
        <a:srgbClr val="003781"/>
      </a:hlink>
      <a:folHlink>
        <a:srgbClr val="7F7F7F"/>
      </a:folHlink>
    </a:clrScheme>
    <a:fontScheme name="AllianzG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326295"/>
        </a:solidFill>
        <a:ln w="6350" cap="flat" cmpd="sng" algn="ctr">
          <a:noFill/>
          <a:prstDash val="solid"/>
          <a:round/>
          <a:headEnd type="none" w="med" len="med"/>
          <a:tailEnd type="none" w="med" len="me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marR="0" indent="0" algn="l" defTabSz="914400" rtl="0" eaLnBrk="1" fontAlgn="base" latinLnBrk="0" hangingPunct="1">
          <a:spcAft>
            <a:spcPct val="25000"/>
          </a:spcAft>
          <a:buClr>
            <a:schemeClr val="tx2"/>
          </a:buClr>
          <a:buSzTx/>
          <a:buFont typeface="Wingdings" pitchFamily="2" charset="2"/>
          <a:buNone/>
          <a:tabLst/>
          <a:defRPr kumimoji="0" sz="1200" b="0" i="0" u="none" strike="noStrike" cap="none" normalizeH="0" baseline="0" dirty="0" err="1" smtClean="0">
            <a:ln>
              <a:noFill/>
            </a:ln>
            <a:solidFill>
              <a:schemeClr val="bg1"/>
            </a:solidFill>
            <a:effectLst/>
            <a:latin typeface="Arial" charset="0"/>
          </a:defRPr>
        </a:defPPr>
      </a:lstStyle>
    </a:spDef>
    <a:lnDef>
      <a:spPr bwMode="auto">
        <a:noFill/>
        <a:ln w="12700" cap="flat" cmpd="sng" algn="ctr">
          <a:solidFill>
            <a:srgbClr val="326295"/>
          </a:solidFill>
          <a:prstDash val="solid"/>
          <a:round/>
          <a:headEnd type="none" w="med" len="med"/>
          <a:tailEnd type="none" w="med" len="med"/>
        </a:ln>
        <a:effectLst/>
      </a:spPr>
      <a:bodyPr/>
      <a:lstStyle/>
    </a:lnDef>
    <a:txDef>
      <a:spPr>
        <a:noFill/>
      </a:spPr>
      <a:bodyPr wrap="square" lIns="0" tIns="0" rIns="0" bIns="0" rtlCol="0">
        <a:spAutoFit/>
      </a:bodyPr>
      <a:lstStyle>
        <a:defPPr algn="l">
          <a:spcBef>
            <a:spcPts val="360"/>
          </a:spcBef>
          <a:spcAft>
            <a:spcPts val="360"/>
          </a:spcAft>
          <a:buClr>
            <a:schemeClr val="tx2"/>
          </a:buClr>
          <a:tabLst/>
          <a:defRPr sz="1200" dirty="0" err="1" smtClean="0"/>
        </a:defPPr>
      </a:lstStyle>
    </a:txDef>
  </a:objectDefaults>
  <a:extraClrSchemeLst/>
  <a:custClrLst>
    <a:custClr name="Light Gray">
      <a:srgbClr val="EDEDED"/>
    </a:custClr>
    <a:custClr name="Black 75%">
      <a:srgbClr val="4C4C4C"/>
    </a:custClr>
    <a:custClr name="Maron 70%">
      <a:srgbClr val="BB876E"/>
    </a:custClr>
    <a:custClr name="Corp Blue">
      <a:srgbClr val="326295"/>
    </a:custClr>
    <a:custClr name="Wine 70%">
      <a:srgbClr val="B57D90"/>
    </a:custClr>
    <a:custClr name="Plum 70%">
      <a:srgbClr val="A5879E"/>
    </a:custClr>
    <a:custClr name="Petrol 70%">
      <a:srgbClr val="4D9DB6"/>
    </a:custClr>
    <a:custClr name="Dark Green 70%">
      <a:srgbClr val="688E74"/>
    </a:custClr>
    <a:custClr name="Ocean 70%">
      <a:srgbClr val="6A8C98"/>
    </a:custClr>
    <a:custClr name="Butterscotch 70%">
      <a:srgbClr val="DEA86D"/>
    </a:custClr>
    <a:custClr name="Royal 100%">
      <a:srgbClr val="3583C9"/>
    </a:custClr>
    <a:custClr name="Black 60%">
      <a:srgbClr val="878787"/>
    </a:custClr>
    <a:custClr name="Maron 50%">
      <a:srgbClr val="CEA997"/>
    </a:custClr>
    <a:custClr name="Corp Blue 70%">
      <a:srgbClr val="7091B5"/>
    </a:custClr>
    <a:custClr name="Wine 50%">
      <a:srgbClr val="CAA2B0"/>
    </a:custClr>
    <a:custClr name="Plum 50%">
      <a:srgbClr val="BEA9BA"/>
    </a:custClr>
    <a:custClr name="Petrol 50%">
      <a:srgbClr val="80B9CB"/>
    </a:custClr>
    <a:custClr name="Dark Green 50%">
      <a:srgbClr val="93AE9C"/>
    </a:custClr>
    <a:custClr name="Ocean 50%">
      <a:srgbClr val="95ADB6"/>
    </a:custClr>
    <a:custClr name="Butterscotch 50%">
      <a:srgbClr val="E8C197"/>
    </a:custClr>
    <a:custClr name="Royal 50%">
      <a:srgbClr val="9AC1E4"/>
    </a:custClr>
    <a:custClr name="Black 40%">
      <a:srgbClr val="B2B2B2"/>
    </a:custClr>
    <a:custClr name="Orange 100%">
      <a:srgbClr val="E8610C"/>
    </a:custClr>
    <a:custClr name="Corp Blue 50%">
      <a:srgbClr val="99B1CA"/>
    </a:custClr>
    <a:custClr name="Berry 100%">
      <a:srgbClr val="861F41"/>
    </a:custClr>
    <a:custClr name="Purple 100%">
      <a:srgbClr val="6A2A5B"/>
    </a:custClr>
    <a:custClr name="Cyan 100%">
      <a:srgbClr val="0093B2"/>
    </a:custClr>
    <a:custClr name="Light Green 100%">
      <a:srgbClr val="007A33"/>
    </a:custClr>
    <a:custClr name="Steel 100%">
      <a:srgbClr val="6B8F9C"/>
    </a:custClr>
    <a:custClr name="Yellow 100%">
      <a:srgbClr val="F7A919"/>
    </a:custClr>
    <a:custClr name="Royal 20%">
      <a:srgbClr val="D7E6F4"/>
    </a:custClr>
    <a:custClr name="Black 20%">
      <a:srgbClr val="DADADA"/>
    </a:custClr>
    <a:custClr name="Orange 50%">
      <a:srgbClr val="F3B085"/>
    </a:custClr>
    <a:custClr name="Corp Blue 20%">
      <a:srgbClr val="D6E0EA"/>
    </a:custClr>
    <a:custClr name="Berry 50%">
      <a:srgbClr val="C28FA0"/>
    </a:custClr>
    <a:custClr name="Purple 50%">
      <a:srgbClr val="B594AD"/>
    </a:custClr>
    <a:custClr name="Cyan 50%">
      <a:srgbClr val="80C9D8"/>
    </a:custClr>
    <a:custClr name="Light Green 50%">
      <a:srgbClr val="80BC99"/>
    </a:custClr>
    <a:custClr name="Steel 50%">
      <a:srgbClr val="B5C7CD"/>
    </a:custClr>
    <a:custClr name="Yellow 50%">
      <a:srgbClr val="FBD48C"/>
    </a:custClr>
    <a:custClr name="Highlight Red">
      <a:srgbClr val="DD0031"/>
    </a:custClr>
    <a:custClr name="Highlight Green">
      <a:srgbClr val="007E62"/>
    </a:custClr>
    <a:custClr name="Orange 20%">
      <a:srgbClr val="FADFCE"/>
    </a:custClr>
    <a:custClr name="Dark Gray">
      <a:srgbClr val="3C3C3C"/>
    </a:custClr>
    <a:custClr name="Berry 20%">
      <a:srgbClr val="E7D2D9"/>
    </a:custClr>
    <a:custClr name="Purple 20%">
      <a:srgbClr val="E1D4DE"/>
    </a:custClr>
    <a:custClr name="Cyan 20%">
      <a:srgbClr val="CCE9F0"/>
    </a:custClr>
    <a:custClr name="Light Green 20%">
      <a:srgbClr val="CCE4D6"/>
    </a:custClr>
    <a:custClr name="Steel 20%">
      <a:srgbClr val="E1E9EB"/>
    </a:custClr>
    <a:custClr name="Yellow 20%">
      <a:srgbClr val="FDEED1"/>
    </a:custClr>
  </a:custClrLst>
</a:theme>
</file>

<file path=ppt/theme/theme8.xml><?xml version="1.0" encoding="utf-8"?>
<a:theme xmlns:a="http://schemas.openxmlformats.org/drawingml/2006/main" name="1_English_DINA4_example_template_AllianzGI_05-18">
  <a:themeElements>
    <a:clrScheme name="AllianzGI">
      <a:dk1>
        <a:srgbClr val="000000"/>
      </a:dk1>
      <a:lt1>
        <a:srgbClr val="FFFFFF"/>
      </a:lt1>
      <a:dk2>
        <a:srgbClr val="003781"/>
      </a:dk2>
      <a:lt2>
        <a:srgbClr val="9E5330"/>
      </a:lt2>
      <a:accent1>
        <a:srgbClr val="964661"/>
      </a:accent1>
      <a:accent2>
        <a:srgbClr val="7E5475"/>
      </a:accent2>
      <a:accent3>
        <a:srgbClr val="007396"/>
      </a:accent3>
      <a:accent4>
        <a:srgbClr val="275D38"/>
      </a:accent4>
      <a:accent5>
        <a:srgbClr val="2A5B6C"/>
      </a:accent5>
      <a:accent6>
        <a:srgbClr val="D0822F"/>
      </a:accent6>
      <a:hlink>
        <a:srgbClr val="003781"/>
      </a:hlink>
      <a:folHlink>
        <a:srgbClr val="7F7F7F"/>
      </a:folHlink>
    </a:clrScheme>
    <a:fontScheme name="AllianzGI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326295"/>
        </a:solidFill>
        <a:ln w="6350" cap="flat" cmpd="sng" algn="ctr">
          <a:noFill/>
          <a:prstDash val="solid"/>
          <a:round/>
          <a:headEnd type="none" w="med" len="med"/>
          <a:tailEnd type="none" w="med" len="med"/>
        </a:ln>
        <a:effectLst/>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marL="0" marR="0" indent="0" algn="l" defTabSz="914400" rtl="0" eaLnBrk="1" fontAlgn="base" latinLnBrk="0" hangingPunct="1">
          <a:spcAft>
            <a:spcPct val="25000"/>
          </a:spcAft>
          <a:buClr>
            <a:schemeClr val="tx2"/>
          </a:buClr>
          <a:buSzTx/>
          <a:buFont typeface="Wingdings" pitchFamily="2" charset="2"/>
          <a:buNone/>
          <a:tabLst/>
          <a:defRPr kumimoji="0" sz="1200" b="0" i="0" u="none" strike="noStrike" cap="none" normalizeH="0" baseline="0" dirty="0" err="1" smtClean="0">
            <a:ln>
              <a:noFill/>
            </a:ln>
            <a:solidFill>
              <a:schemeClr val="bg1"/>
            </a:solidFill>
            <a:effectLst/>
            <a:latin typeface="Arial" charset="0"/>
          </a:defRPr>
        </a:defPPr>
      </a:lstStyle>
    </a:spDef>
    <a:lnDef>
      <a:spPr bwMode="auto">
        <a:noFill/>
        <a:ln w="12700" cap="flat" cmpd="sng" algn="ctr">
          <a:solidFill>
            <a:srgbClr val="326295"/>
          </a:solidFill>
          <a:prstDash val="solid"/>
          <a:round/>
          <a:headEnd type="none" w="med" len="med"/>
          <a:tailEnd type="none" w="med" len="med"/>
        </a:ln>
        <a:effectLst/>
      </a:spPr>
      <a:bodyPr/>
      <a:lstStyle/>
    </a:lnDef>
    <a:txDef>
      <a:spPr>
        <a:noFill/>
      </a:spPr>
      <a:bodyPr wrap="square" lIns="0" tIns="0" rIns="0" bIns="0" rtlCol="0">
        <a:spAutoFit/>
      </a:bodyPr>
      <a:lstStyle>
        <a:defPPr algn="l">
          <a:spcBef>
            <a:spcPts val="360"/>
          </a:spcBef>
          <a:spcAft>
            <a:spcPts val="360"/>
          </a:spcAft>
          <a:buClr>
            <a:schemeClr val="tx2"/>
          </a:buClr>
          <a:tabLst/>
          <a:defRPr sz="1200" dirty="0" err="1" smtClean="0"/>
        </a:defPPr>
      </a:lstStyle>
    </a:txDef>
  </a:objectDefaults>
  <a:extraClrSchemeLst/>
  <a:custClrLst>
    <a:custClr name="Light Gray">
      <a:srgbClr val="EDEDED"/>
    </a:custClr>
    <a:custClr name="Black 75%">
      <a:srgbClr val="4C4C4C"/>
    </a:custClr>
    <a:custClr name="Maron 70%">
      <a:srgbClr val="BB876E"/>
    </a:custClr>
    <a:custClr name="Corp Blue">
      <a:srgbClr val="326295"/>
    </a:custClr>
    <a:custClr name="Wine 70%">
      <a:srgbClr val="B57D90"/>
    </a:custClr>
    <a:custClr name="Plum 70%">
      <a:srgbClr val="A5879E"/>
    </a:custClr>
    <a:custClr name="Petrol 70%">
      <a:srgbClr val="4D9DB6"/>
    </a:custClr>
    <a:custClr name="Dark Green 70%">
      <a:srgbClr val="688E74"/>
    </a:custClr>
    <a:custClr name="Ocean 70%">
      <a:srgbClr val="6A8C98"/>
    </a:custClr>
    <a:custClr name="Butterscotch 70%">
      <a:srgbClr val="DEA86D"/>
    </a:custClr>
    <a:custClr name="Royal 100%">
      <a:srgbClr val="3583C9"/>
    </a:custClr>
    <a:custClr name="Black 60%">
      <a:srgbClr val="878787"/>
    </a:custClr>
    <a:custClr name="Maron 50%">
      <a:srgbClr val="CEA997"/>
    </a:custClr>
    <a:custClr name="Corp Blue 70%">
      <a:srgbClr val="7091B5"/>
    </a:custClr>
    <a:custClr name="Wine 50%">
      <a:srgbClr val="CAA2B0"/>
    </a:custClr>
    <a:custClr name="Plum 50%">
      <a:srgbClr val="BEA9BA"/>
    </a:custClr>
    <a:custClr name="Petrol 50%">
      <a:srgbClr val="80B9CB"/>
    </a:custClr>
    <a:custClr name="Dark Green 50%">
      <a:srgbClr val="93AE9C"/>
    </a:custClr>
    <a:custClr name="Ocean 50%">
      <a:srgbClr val="95ADB6"/>
    </a:custClr>
    <a:custClr name="Butterscotch 50%">
      <a:srgbClr val="E8C197"/>
    </a:custClr>
    <a:custClr name="Royal 50%">
      <a:srgbClr val="9AC1E4"/>
    </a:custClr>
    <a:custClr name="Black 40%">
      <a:srgbClr val="B2B2B2"/>
    </a:custClr>
    <a:custClr name="Orange 100%">
      <a:srgbClr val="E8610C"/>
    </a:custClr>
    <a:custClr name="Corp Blue 50%">
      <a:srgbClr val="99B1CA"/>
    </a:custClr>
    <a:custClr name="Berry 100%">
      <a:srgbClr val="861F41"/>
    </a:custClr>
    <a:custClr name="Purple 100%">
      <a:srgbClr val="6A2A5B"/>
    </a:custClr>
    <a:custClr name="Cyan 100%">
      <a:srgbClr val="0093B2"/>
    </a:custClr>
    <a:custClr name="Light Green 100%">
      <a:srgbClr val="007A33"/>
    </a:custClr>
    <a:custClr name="Steel 100%">
      <a:srgbClr val="6B8F9C"/>
    </a:custClr>
    <a:custClr name="Yellow 100%">
      <a:srgbClr val="F7A919"/>
    </a:custClr>
    <a:custClr name="Royal 20%">
      <a:srgbClr val="D7E6F4"/>
    </a:custClr>
    <a:custClr name="Black 20%">
      <a:srgbClr val="DADADA"/>
    </a:custClr>
    <a:custClr name="Orange 50%">
      <a:srgbClr val="F3B085"/>
    </a:custClr>
    <a:custClr name="Corp Blue 20%">
      <a:srgbClr val="D6E0EA"/>
    </a:custClr>
    <a:custClr name="Berry 50%">
      <a:srgbClr val="C28FA0"/>
    </a:custClr>
    <a:custClr name="Purple 50%">
      <a:srgbClr val="B594AD"/>
    </a:custClr>
    <a:custClr name="Cyan 50%">
      <a:srgbClr val="80C9D8"/>
    </a:custClr>
    <a:custClr name="Light Green 50%">
      <a:srgbClr val="80BC99"/>
    </a:custClr>
    <a:custClr name="Steel 50%">
      <a:srgbClr val="B5C7CD"/>
    </a:custClr>
    <a:custClr name="Yellow 50%">
      <a:srgbClr val="FBD48C"/>
    </a:custClr>
    <a:custClr name="Highlight Red">
      <a:srgbClr val="DD0031"/>
    </a:custClr>
    <a:custClr name="Highlight Green">
      <a:srgbClr val="007E62"/>
    </a:custClr>
    <a:custClr name="Orange 20%">
      <a:srgbClr val="FADFCE"/>
    </a:custClr>
    <a:custClr name="Dark Gray">
      <a:srgbClr val="3C3C3C"/>
    </a:custClr>
    <a:custClr name="Berry 20%">
      <a:srgbClr val="E7D2D9"/>
    </a:custClr>
    <a:custClr name="Purple 20%">
      <a:srgbClr val="E1D4DE"/>
    </a:custClr>
    <a:custClr name="Cyan 20%">
      <a:srgbClr val="CCE9F0"/>
    </a:custClr>
    <a:custClr name="Light Green 20%">
      <a:srgbClr val="CCE4D6"/>
    </a:custClr>
    <a:custClr name="Steel 20%">
      <a:srgbClr val="E1E9EB"/>
    </a:custClr>
    <a:custClr name="Yellow 20%">
      <a:srgbClr val="FDEED1"/>
    </a:custClr>
  </a:custClrLst>
</a:theme>
</file>

<file path=ppt/theme/theme9.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Morgan Stanley (All Purpose)">
    <a:dk1>
      <a:srgbClr val="142959"/>
    </a:dk1>
    <a:lt1>
      <a:srgbClr val="FFFFFF"/>
    </a:lt1>
    <a:dk2>
      <a:srgbClr val="7FCE6C"/>
    </a:dk2>
    <a:lt2>
      <a:srgbClr val="9C9C9C"/>
    </a:lt2>
    <a:accent1>
      <a:srgbClr val="F0EBE3"/>
    </a:accent1>
    <a:accent2>
      <a:srgbClr val="937D68"/>
    </a:accent2>
    <a:accent3>
      <a:srgbClr val="E8F0F9"/>
    </a:accent3>
    <a:accent4>
      <a:srgbClr val="E69008"/>
    </a:accent4>
    <a:accent5>
      <a:srgbClr val="180D55"/>
    </a:accent5>
    <a:accent6>
      <a:srgbClr val="67838A"/>
    </a:accent6>
    <a:hlink>
      <a:srgbClr val="C9E5F2"/>
    </a:hlink>
    <a:folHlink>
      <a:srgbClr val="9C9C9C"/>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明朝"/>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template-2021-v5</Template>
  <TotalTime>14780</TotalTime>
  <Words>6513</Words>
  <Application>Microsoft Office PowerPoint</Application>
  <PresentationFormat>Breedbeeld</PresentationFormat>
  <Paragraphs>734</Paragraphs>
  <Slides>70</Slides>
  <Notes>18</Notes>
  <HiddenSlides>0</HiddenSlides>
  <MMClips>0</MMClips>
  <ScaleCrop>false</ScaleCrop>
  <HeadingPairs>
    <vt:vector size="8" baseType="variant">
      <vt:variant>
        <vt:lpstr>Gebruikte lettertypen</vt:lpstr>
      </vt:variant>
      <vt:variant>
        <vt:i4>15</vt:i4>
      </vt:variant>
      <vt:variant>
        <vt:lpstr>Thema</vt:lpstr>
      </vt:variant>
      <vt:variant>
        <vt:i4>8</vt:i4>
      </vt:variant>
      <vt:variant>
        <vt:lpstr>Ingesloten OLE-bronprogramma's</vt:lpstr>
      </vt:variant>
      <vt:variant>
        <vt:i4>1</vt:i4>
      </vt:variant>
      <vt:variant>
        <vt:lpstr>Diatitels</vt:lpstr>
      </vt:variant>
      <vt:variant>
        <vt:i4>70</vt:i4>
      </vt:variant>
    </vt:vector>
  </HeadingPairs>
  <TitlesOfParts>
    <vt:vector size="94" baseType="lpstr">
      <vt:lpstr>Aharoni</vt:lpstr>
      <vt:lpstr>Allianz Sans</vt:lpstr>
      <vt:lpstr>Arial</vt:lpstr>
      <vt:lpstr>Arial Narrow</vt:lpstr>
      <vt:lpstr>Arial Unicode MS</vt:lpstr>
      <vt:lpstr>Calibri</vt:lpstr>
      <vt:lpstr>Calibri Light</vt:lpstr>
      <vt:lpstr>Courier New</vt:lpstr>
      <vt:lpstr>gentium_plusregular</vt:lpstr>
      <vt:lpstr>Open Sans</vt:lpstr>
      <vt:lpstr>Open Sans bold</vt:lpstr>
      <vt:lpstr>Tenorite</vt:lpstr>
      <vt:lpstr>Ubuntu</vt:lpstr>
      <vt:lpstr>Ubuntu Light</vt:lpstr>
      <vt:lpstr>Wingdings</vt:lpstr>
      <vt:lpstr>Tripple A 16-9</vt:lpstr>
      <vt:lpstr>Slidedocs</vt:lpstr>
      <vt:lpstr>1_Tripple A 16-9</vt:lpstr>
      <vt:lpstr>Terugblik</vt:lpstr>
      <vt:lpstr>Kantoorthema</vt:lpstr>
      <vt:lpstr>English_DINA4_example_template_AllianzGI_05-18</vt:lpstr>
      <vt:lpstr>New_AGI</vt:lpstr>
      <vt:lpstr>1_English_DINA4_example_template_AllianzGI_05-18</vt:lpstr>
      <vt:lpstr>think-cell Folie</vt:lpstr>
      <vt:lpstr>Beleidsopties Wet Toekomst Pensioenen</vt:lpstr>
      <vt:lpstr>Introductie sprekers</vt:lpstr>
      <vt:lpstr>Agenda</vt:lpstr>
      <vt:lpstr>INLEIDING </vt:lpstr>
      <vt:lpstr>Inleiding Wet Toekomst Pensioenen</vt:lpstr>
      <vt:lpstr>Inleiding Wet Toekomst Pensioenen</vt:lpstr>
      <vt:lpstr>Contractkeuze en overwegingen</vt:lpstr>
      <vt:lpstr>TRANSITIE EN AANDACHTSPUNTEN </vt:lpstr>
      <vt:lpstr>STAPPENPLAN ONDERSTEUNING PENSIOENFONDSEN</vt:lpstr>
      <vt:lpstr>Evenwichtigheid in het kort</vt:lpstr>
      <vt:lpstr>Inclusieve marktwaarde</vt:lpstr>
      <vt:lpstr>Inclusieve marktwaarde</vt:lpstr>
      <vt:lpstr>Netto profijt</vt:lpstr>
      <vt:lpstr>Uitgangssituatie voorbeeld</vt:lpstr>
      <vt:lpstr>Uitgangssituatie voorbeeld</vt:lpstr>
      <vt:lpstr>Uitgangssituatie voorbeeld</vt:lpstr>
      <vt:lpstr>Uitgangssituatie voorbeeld</vt:lpstr>
      <vt:lpstr>Voorbeeld 1</vt:lpstr>
      <vt:lpstr>Voorbeeld 1</vt:lpstr>
      <vt:lpstr>Voorbeeld 1</vt:lpstr>
      <vt:lpstr>Voorbeeld 1</vt:lpstr>
      <vt:lpstr>Voorbeeld 2</vt:lpstr>
      <vt:lpstr>Voorbeeld 2</vt:lpstr>
      <vt:lpstr>Voorbeeld 2</vt:lpstr>
      <vt:lpstr>Invaren </vt:lpstr>
      <vt:lpstr>Compensatie (1)</vt:lpstr>
      <vt:lpstr>Compensatie (2)</vt:lpstr>
      <vt:lpstr>Compensatie (3)</vt:lpstr>
      <vt:lpstr>Compensatie (4)</vt:lpstr>
      <vt:lpstr>BELEIDSOPTIES EN OVERWEGINGEN</vt:lpstr>
      <vt:lpstr>Invaren maakt de transitie ‘betaalbaar’</vt:lpstr>
      <vt:lpstr>Beleidsopties tegen om in te spelen op verliesaversie</vt:lpstr>
      <vt:lpstr>Invaren en richtdekkingsgraad</vt:lpstr>
      <vt:lpstr>Beleidsopties die voorsorteren op invaren</vt:lpstr>
      <vt:lpstr>Solidariteitsreserve (1)</vt:lpstr>
      <vt:lpstr>Solidariteitsreserve (2)</vt:lpstr>
      <vt:lpstr>Solidariteitsreserve (3)</vt:lpstr>
      <vt:lpstr>Transitie en beleid (1)</vt:lpstr>
      <vt:lpstr>Transitie en beleid (2) </vt:lpstr>
      <vt:lpstr>Beschermingsrendement: delen of verzekeren? (1)</vt:lpstr>
      <vt:lpstr>Beschermingsrendement: delen of verzekeren? (2)</vt:lpstr>
      <vt:lpstr>ZEKERSTELLEN VAN PENSIOEN</vt:lpstr>
      <vt:lpstr>PowerPoint-presentatie</vt:lpstr>
      <vt:lpstr>Waar komen we vandaan?</vt:lpstr>
      <vt:lpstr>De verwarring neemt verder toe</vt:lpstr>
      <vt:lpstr>Het Pensioen akkoord nadert haar apotheose </vt:lpstr>
      <vt:lpstr>PowerPoint-presentatie</vt:lpstr>
      <vt:lpstr>Is mijn pensioen  af te stemmen  op mijn vitaliteit?</vt:lpstr>
      <vt:lpstr>We brengen de opties in kaart, zien we niets over het hoofd?</vt:lpstr>
      <vt:lpstr>Wat is er zoal mogelijk voor invoering?</vt:lpstr>
      <vt:lpstr>En hoe zit dat na invoering?</vt:lpstr>
      <vt:lpstr>Hoe krijgen wij het vertrouwen van onze deelnemers die dit in hun hoofd hebben?</vt:lpstr>
      <vt:lpstr>PowerPoint-presentatie</vt:lpstr>
      <vt:lpstr>BESCHERMING VAN (RICHT)DEKKINGSGRAAD</vt:lpstr>
      <vt:lpstr>PowerPoint-presentatie</vt:lpstr>
      <vt:lpstr>Increasing Risk in Equity Markets</vt:lpstr>
      <vt:lpstr>Why It Matters Now More Than Ever?</vt:lpstr>
      <vt:lpstr>Dynamic Tail Risk Management Tail Risk Hedging</vt:lpstr>
      <vt:lpstr>Why AllianzGI Dynamic Tail Risk-Management (DTRM) Solution </vt:lpstr>
      <vt:lpstr>Dynamic Tail Risk Management  Why Dynamic Hedging?</vt:lpstr>
      <vt:lpstr>Overview of Asset Allocations</vt:lpstr>
      <vt:lpstr>What Does An Equity Drawdown Mean For The Coverage Ratio?</vt:lpstr>
      <vt:lpstr>How our DTRM can protect your pension fund’s coverage ratio</vt:lpstr>
      <vt:lpstr>Effect of Including DTRM with 80% Protection Level</vt:lpstr>
      <vt:lpstr>Effect of Including DTRM with PE Utilization of the Freed-Up VEV</vt:lpstr>
      <vt:lpstr>Summary Simulation: Projected Coverage Ratio in 2025 </vt:lpstr>
      <vt:lpstr>It Seems to be the Right Time to Implement a Risk Management Framework!</vt:lpstr>
      <vt:lpstr>Disclaimer</vt:lpstr>
      <vt:lpstr>PowerPoint-presentatie</vt:lpstr>
      <vt:lpstr>Bedankt voor uw aandacht</vt:lpstr>
    </vt:vector>
  </TitlesOfParts>
  <Company>TripleA Riskfinan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Jack Tol</dc:creator>
  <cp:lastModifiedBy>Terri Bosga</cp:lastModifiedBy>
  <cp:revision>523</cp:revision>
  <dcterms:created xsi:type="dcterms:W3CDTF">2022-01-03T11:11:33Z</dcterms:created>
  <dcterms:modified xsi:type="dcterms:W3CDTF">2022-03-31T06:55:40Z</dcterms:modified>
</cp:coreProperties>
</file>